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4.xml" ContentType="application/vnd.openxmlformats-officedocument.theme+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79" r:id="rId5"/>
    <p:sldMasterId id="2147483692" r:id="rId6"/>
    <p:sldMasterId id="2147483715" r:id="rId7"/>
    <p:sldMasterId id="2147483728" r:id="rId8"/>
  </p:sldMasterIdLst>
  <p:notesMasterIdLst>
    <p:notesMasterId r:id="rId27"/>
  </p:notesMasterIdLst>
  <p:handoutMasterIdLst>
    <p:handoutMasterId r:id="rId28"/>
  </p:handoutMasterIdLst>
  <p:sldIdLst>
    <p:sldId id="261" r:id="rId9"/>
    <p:sldId id="258" r:id="rId10"/>
    <p:sldId id="3464" r:id="rId11"/>
    <p:sldId id="257" r:id="rId12"/>
    <p:sldId id="2147471262" r:id="rId13"/>
    <p:sldId id="2147471257" r:id="rId14"/>
    <p:sldId id="2147473990" r:id="rId15"/>
    <p:sldId id="2147473995" r:id="rId16"/>
    <p:sldId id="2147473996" r:id="rId17"/>
    <p:sldId id="260" r:id="rId18"/>
    <p:sldId id="2147473992" r:id="rId19"/>
    <p:sldId id="2147473993" r:id="rId20"/>
    <p:sldId id="2147473994" r:id="rId21"/>
    <p:sldId id="2147474002" r:id="rId22"/>
    <p:sldId id="3580" r:id="rId23"/>
    <p:sldId id="2147473999" r:id="rId24"/>
    <p:sldId id="2147474000" r:id="rId25"/>
    <p:sldId id="2147474001" r:id="rId2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0A000"/>
    <a:srgbClr val="7F0035"/>
    <a:srgbClr val="65FFDB"/>
    <a:srgbClr val="FFFF00"/>
    <a:srgbClr val="B1F4DB"/>
    <a:srgbClr val="FFFFB4"/>
    <a:srgbClr val="00EBFF"/>
    <a:srgbClr val="A8DBF7"/>
    <a:srgbClr val="F6BCD1"/>
    <a:srgbClr val="FF00C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426E1E7-9928-C9E7-37C9-15FF26D07916}" v="17" dt="2026-03-30T15:27:18.89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 Type="http://schemas.openxmlformats.org/officeDocument/2006/relationships/customXml" Target="../customXml/item3.xml"/><Relationship Id="rId21" Type="http://schemas.openxmlformats.org/officeDocument/2006/relationships/slide" Target="slides/slide13.xml"/><Relationship Id="rId34" Type="http://schemas.microsoft.com/office/2015/10/relationships/revisionInfo" Target="revisionInfo.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handoutMaster" Target="handoutMasters/handoutMaster1.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notesMaster" Target="notesMasters/notesMaster1.xml"/><Relationship Id="rId30" Type="http://schemas.openxmlformats.org/officeDocument/2006/relationships/viewProps" Target="viewProps.xml"/><Relationship Id="rId8" Type="http://schemas.openxmlformats.org/officeDocument/2006/relationships/slideMaster" Target="slideMasters/slideMaster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driana Thursby-Pelham" userId="S::adriana.thursby-pelham@thenhsalliance.org::2d9703c3-e800-46f5-b497-90b89a00f369" providerId="AD" clId="Web-{8426E1E7-9928-C9E7-37C9-15FF26D07916}"/>
    <pc:docChg chg="delSld">
      <pc:chgData name="Adriana Thursby-Pelham" userId="S::adriana.thursby-pelham@thenhsalliance.org::2d9703c3-e800-46f5-b497-90b89a00f369" providerId="AD" clId="Web-{8426E1E7-9928-C9E7-37C9-15FF26D07916}" dt="2026-03-30T15:27:18.891" v="16"/>
      <pc:docMkLst>
        <pc:docMk/>
      </pc:docMkLst>
      <pc:sldChg chg="del">
        <pc:chgData name="Adriana Thursby-Pelham" userId="S::adriana.thursby-pelham@thenhsalliance.org::2d9703c3-e800-46f5-b497-90b89a00f369" providerId="AD" clId="Web-{8426E1E7-9928-C9E7-37C9-15FF26D07916}" dt="2026-03-30T15:27:00.594" v="3"/>
        <pc:sldMkLst>
          <pc:docMk/>
          <pc:sldMk cId="1251959372" sldId="272"/>
        </pc:sldMkLst>
      </pc:sldChg>
      <pc:sldChg chg="del">
        <pc:chgData name="Adriana Thursby-Pelham" userId="S::adriana.thursby-pelham@thenhsalliance.org::2d9703c3-e800-46f5-b497-90b89a00f369" providerId="AD" clId="Web-{8426E1E7-9928-C9E7-37C9-15FF26D07916}" dt="2026-03-30T15:27:18.891" v="16"/>
        <pc:sldMkLst>
          <pc:docMk/>
          <pc:sldMk cId="1432551160" sldId="273"/>
        </pc:sldMkLst>
      </pc:sldChg>
      <pc:sldChg chg="del">
        <pc:chgData name="Adriana Thursby-Pelham" userId="S::adriana.thursby-pelham@thenhsalliance.org::2d9703c3-e800-46f5-b497-90b89a00f369" providerId="AD" clId="Web-{8426E1E7-9928-C9E7-37C9-15FF26D07916}" dt="2026-03-30T15:26:57.329" v="0"/>
        <pc:sldMkLst>
          <pc:docMk/>
          <pc:sldMk cId="2053643564" sldId="301"/>
        </pc:sldMkLst>
      </pc:sldChg>
      <pc:sldChg chg="del">
        <pc:chgData name="Adriana Thursby-Pelham" userId="S::adriana.thursby-pelham@thenhsalliance.org::2d9703c3-e800-46f5-b497-90b89a00f369" providerId="AD" clId="Web-{8426E1E7-9928-C9E7-37C9-15FF26D07916}" dt="2026-03-30T15:26:59.625" v="1"/>
        <pc:sldMkLst>
          <pc:docMk/>
          <pc:sldMk cId="194440132" sldId="323"/>
        </pc:sldMkLst>
      </pc:sldChg>
      <pc:sldChg chg="del">
        <pc:chgData name="Adriana Thursby-Pelham" userId="S::adriana.thursby-pelham@thenhsalliance.org::2d9703c3-e800-46f5-b497-90b89a00f369" providerId="AD" clId="Web-{8426E1E7-9928-C9E7-37C9-15FF26D07916}" dt="2026-03-30T15:27:04.344" v="7"/>
        <pc:sldMkLst>
          <pc:docMk/>
          <pc:sldMk cId="3347885842" sldId="324"/>
        </pc:sldMkLst>
      </pc:sldChg>
      <pc:sldChg chg="del">
        <pc:chgData name="Adriana Thursby-Pelham" userId="S::adriana.thursby-pelham@thenhsalliance.org::2d9703c3-e800-46f5-b497-90b89a00f369" providerId="AD" clId="Web-{8426E1E7-9928-C9E7-37C9-15FF26D07916}" dt="2026-03-30T15:27:11.391" v="9"/>
        <pc:sldMkLst>
          <pc:docMk/>
          <pc:sldMk cId="1823420329" sldId="325"/>
        </pc:sldMkLst>
      </pc:sldChg>
      <pc:sldChg chg="del">
        <pc:chgData name="Adriana Thursby-Pelham" userId="S::adriana.thursby-pelham@thenhsalliance.org::2d9703c3-e800-46f5-b497-90b89a00f369" providerId="AD" clId="Web-{8426E1E7-9928-C9E7-37C9-15FF26D07916}" dt="2026-03-30T15:27:12.844" v="10"/>
        <pc:sldMkLst>
          <pc:docMk/>
          <pc:sldMk cId="4252721359" sldId="326"/>
        </pc:sldMkLst>
      </pc:sldChg>
      <pc:sldChg chg="del">
        <pc:chgData name="Adriana Thursby-Pelham" userId="S::adriana.thursby-pelham@thenhsalliance.org::2d9703c3-e800-46f5-b497-90b89a00f369" providerId="AD" clId="Web-{8426E1E7-9928-C9E7-37C9-15FF26D07916}" dt="2026-03-30T15:27:09.750" v="8"/>
        <pc:sldMkLst>
          <pc:docMk/>
          <pc:sldMk cId="2596076429" sldId="327"/>
        </pc:sldMkLst>
      </pc:sldChg>
      <pc:sldChg chg="del">
        <pc:chgData name="Adriana Thursby-Pelham" userId="S::adriana.thursby-pelham@thenhsalliance.org::2d9703c3-e800-46f5-b497-90b89a00f369" providerId="AD" clId="Web-{8426E1E7-9928-C9E7-37C9-15FF26D07916}" dt="2026-03-30T15:27:13.532" v="11"/>
        <pc:sldMkLst>
          <pc:docMk/>
          <pc:sldMk cId="665948715" sldId="328"/>
        </pc:sldMkLst>
      </pc:sldChg>
      <pc:sldChg chg="del">
        <pc:chgData name="Adriana Thursby-Pelham" userId="S::adriana.thursby-pelham@thenhsalliance.org::2d9703c3-e800-46f5-b497-90b89a00f369" providerId="AD" clId="Web-{8426E1E7-9928-C9E7-37C9-15FF26D07916}" dt="2026-03-30T15:27:16.094" v="13"/>
        <pc:sldMkLst>
          <pc:docMk/>
          <pc:sldMk cId="823669970" sldId="329"/>
        </pc:sldMkLst>
      </pc:sldChg>
      <pc:sldChg chg="del">
        <pc:chgData name="Adriana Thursby-Pelham" userId="S::adriana.thursby-pelham@thenhsalliance.org::2d9703c3-e800-46f5-b497-90b89a00f369" providerId="AD" clId="Web-{8426E1E7-9928-C9E7-37C9-15FF26D07916}" dt="2026-03-30T15:27:16.735" v="14"/>
        <pc:sldMkLst>
          <pc:docMk/>
          <pc:sldMk cId="2174660710" sldId="330"/>
        </pc:sldMkLst>
      </pc:sldChg>
      <pc:sldChg chg="del">
        <pc:chgData name="Adriana Thursby-Pelham" userId="S::adriana.thursby-pelham@thenhsalliance.org::2d9703c3-e800-46f5-b497-90b89a00f369" providerId="AD" clId="Web-{8426E1E7-9928-C9E7-37C9-15FF26D07916}" dt="2026-03-30T15:26:59.750" v="2"/>
        <pc:sldMkLst>
          <pc:docMk/>
          <pc:sldMk cId="3075410205" sldId="13472"/>
        </pc:sldMkLst>
      </pc:sldChg>
      <pc:sldChg chg="del">
        <pc:chgData name="Adriana Thursby-Pelham" userId="S::adriana.thursby-pelham@thenhsalliance.org::2d9703c3-e800-46f5-b497-90b89a00f369" providerId="AD" clId="Web-{8426E1E7-9928-C9E7-37C9-15FF26D07916}" dt="2026-03-30T15:27:14.844" v="12"/>
        <pc:sldMkLst>
          <pc:docMk/>
          <pc:sldMk cId="3168847051" sldId="13474"/>
        </pc:sldMkLst>
      </pc:sldChg>
      <pc:sldChg chg="del">
        <pc:chgData name="Adriana Thursby-Pelham" userId="S::adriana.thursby-pelham@thenhsalliance.org::2d9703c3-e800-46f5-b497-90b89a00f369" providerId="AD" clId="Web-{8426E1E7-9928-C9E7-37C9-15FF26D07916}" dt="2026-03-30T15:27:01.344" v="4"/>
        <pc:sldMkLst>
          <pc:docMk/>
          <pc:sldMk cId="2507555193" sldId="13552"/>
        </pc:sldMkLst>
      </pc:sldChg>
      <pc:sldChg chg="del">
        <pc:chgData name="Adriana Thursby-Pelham" userId="S::adriana.thursby-pelham@thenhsalliance.org::2d9703c3-e800-46f5-b497-90b89a00f369" providerId="AD" clId="Web-{8426E1E7-9928-C9E7-37C9-15FF26D07916}" dt="2026-03-30T15:27:18.001" v="15"/>
        <pc:sldMkLst>
          <pc:docMk/>
          <pc:sldMk cId="84320069" sldId="13554"/>
        </pc:sldMkLst>
      </pc:sldChg>
      <pc:sldChg chg="del">
        <pc:chgData name="Adriana Thursby-Pelham" userId="S::adriana.thursby-pelham@thenhsalliance.org::2d9703c3-e800-46f5-b497-90b89a00f369" providerId="AD" clId="Web-{8426E1E7-9928-C9E7-37C9-15FF26D07916}" dt="2026-03-30T15:27:02.516" v="5"/>
        <pc:sldMkLst>
          <pc:docMk/>
          <pc:sldMk cId="3576423134" sldId="13555"/>
        </pc:sldMkLst>
      </pc:sldChg>
      <pc:sldChg chg="del">
        <pc:chgData name="Adriana Thursby-Pelham" userId="S::adriana.thursby-pelham@thenhsalliance.org::2d9703c3-e800-46f5-b497-90b89a00f369" providerId="AD" clId="Web-{8426E1E7-9928-C9E7-37C9-15FF26D07916}" dt="2026-03-30T15:27:03.438" v="6"/>
        <pc:sldMkLst>
          <pc:docMk/>
          <pc:sldMk cId="1459616320" sldId="13556"/>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BBC92D7-B0C0-BEFD-C522-2932382E53DA}"/>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74FAFC72-CF6C-4C03-3F39-6333EE2A12F7}"/>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69D7E5A-6D5E-0D40-8FCF-8ABE354C18C2}" type="datetimeFigureOut">
              <a:rPr lang="en-GB" smtClean="0"/>
              <a:t>30/03/2026</a:t>
            </a:fld>
            <a:endParaRPr lang="en-GB"/>
          </a:p>
        </p:txBody>
      </p:sp>
      <p:sp>
        <p:nvSpPr>
          <p:cNvPr id="4" name="Footer Placeholder 3">
            <a:extLst>
              <a:ext uri="{FF2B5EF4-FFF2-40B4-BE49-F238E27FC236}">
                <a16:creationId xmlns:a16="http://schemas.microsoft.com/office/drawing/2014/main" id="{CDE0317F-AEB3-8995-BEFA-B40060FC16B4}"/>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F604C981-1F8B-D060-6790-57C05CECCFBB}"/>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7799406-1946-F74C-B7A6-3DDE3143CB05}" type="slidenum">
              <a:rPr lang="en-GB" smtClean="0"/>
              <a:t>‹#›</a:t>
            </a:fld>
            <a:endParaRPr lang="en-GB"/>
          </a:p>
        </p:txBody>
      </p:sp>
    </p:spTree>
    <p:extLst>
      <p:ext uri="{BB962C8B-B14F-4D97-AF65-F5344CB8AC3E}">
        <p14:creationId xmlns:p14="http://schemas.microsoft.com/office/powerpoint/2010/main" val="3216020573"/>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5930152-2F20-4FEC-B768-77941B026BA2}" type="datetimeFigureOut">
              <a:rPr lang="en-GB" smtClean="0"/>
              <a:t>30/03/2026</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F2AE43E-0D7B-4FCE-9CF5-9F16DA57C808}" type="slidenum">
              <a:rPr lang="en-GB" smtClean="0"/>
              <a:t>‹#›</a:t>
            </a:fld>
            <a:endParaRPr lang="en-GB"/>
          </a:p>
        </p:txBody>
      </p:sp>
    </p:spTree>
    <p:extLst>
      <p:ext uri="{BB962C8B-B14F-4D97-AF65-F5344CB8AC3E}">
        <p14:creationId xmlns:p14="http://schemas.microsoft.com/office/powerpoint/2010/main" val="3873314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a:p>
        </p:txBody>
      </p:sp>
      <p:sp>
        <p:nvSpPr>
          <p:cNvPr id="3" name="Notes Placeholder 2"/>
          <p:cNvSpPr>
            <a:spLocks noGrp="1"/>
          </p:cNvSpPr>
          <p:nvPr>
            <p:ph type="body" idx="1"/>
          </p:nvPr>
        </p:nvSpPr>
        <p:spPr/>
        <p:txBody>
          <a:bodyPr/>
          <a:lstStyle/>
          <a:p>
            <a:r>
              <a:rPr lang="en-GB"/>
              <a:t>Sam</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CE93D7D-C643-4C35-9AD6-75ECBD085C8A}"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3060147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r>
              <a:rPr lang="en-US"/>
              <a:t>Commissioned by NHS RHO in 2022</a:t>
            </a:r>
          </a:p>
          <a:p>
            <a:pPr marL="285750" indent="-285750">
              <a:buFont typeface="Arial" panose="020B0604020202020204" pitchFamily="34" charset="0"/>
              <a:buChar char="•"/>
            </a:pPr>
            <a:r>
              <a:rPr lang="en-US"/>
              <a:t>Aim: to map existing policy interventions designed to tackle ethnic health inequalities in England</a:t>
            </a:r>
          </a:p>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590A4A-2814-407F-A0BE-4EDBADFB623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041701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26AA0C-2D2F-2B7D-CB38-8E65D470C5E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FB36611-5D1A-D819-9DBE-A1E6B341EBE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41E9137-C720-5AFE-43DC-32623821087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3786BD78-A413-66EE-763E-13E47190930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590A4A-2814-407F-A0BE-4EDBADFB623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61438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33BB39-9E14-4CAF-B2FC-5E9EF64E6FD5}"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779094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8" Type="http://schemas.openxmlformats.org/officeDocument/2006/relationships/tags" Target="../tags/tag8.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image" Target="../media/image7.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image" Target="../media/image9.emf"/><Relationship Id="rId5" Type="http://schemas.openxmlformats.org/officeDocument/2006/relationships/tags" Target="../tags/tag5.xml"/><Relationship Id="rId10" Type="http://schemas.openxmlformats.org/officeDocument/2006/relationships/oleObject" Target="../embeddings/oleObject1.bin"/><Relationship Id="rId4" Type="http://schemas.openxmlformats.org/officeDocument/2006/relationships/tags" Target="../tags/tag4.xml"/><Relationship Id="rId9"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vA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01A9196B-05EB-E2C1-7E72-D8811229D8D2}"/>
              </a:ext>
            </a:extLst>
          </p:cNvPr>
          <p:cNvSpPr>
            <a:spLocks noGrp="1"/>
          </p:cNvSpPr>
          <p:nvPr>
            <p:ph type="subTitle" idx="1"/>
          </p:nvPr>
        </p:nvSpPr>
        <p:spPr>
          <a:xfrm>
            <a:off x="442914" y="4217374"/>
            <a:ext cx="5537199" cy="235898"/>
          </a:xfrm>
        </p:spPr>
        <p:txBody>
          <a:bodyPr wrap="square">
            <a:spAutoFit/>
          </a:bodyPr>
          <a:lstStyle>
            <a:lvl1pPr marL="0" indent="0" algn="l">
              <a:buNone/>
              <a:defRPr sz="15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10" name="Title 9">
            <a:extLst>
              <a:ext uri="{FF2B5EF4-FFF2-40B4-BE49-F238E27FC236}">
                <a16:creationId xmlns:a16="http://schemas.microsoft.com/office/drawing/2014/main" id="{61AC5D26-4661-1187-F6D3-B7AC649531E9}"/>
              </a:ext>
            </a:extLst>
          </p:cNvPr>
          <p:cNvSpPr>
            <a:spLocks noGrp="1"/>
          </p:cNvSpPr>
          <p:nvPr>
            <p:ph type="title" hasCustomPrompt="1"/>
          </p:nvPr>
        </p:nvSpPr>
        <p:spPr>
          <a:xfrm>
            <a:off x="442914" y="3145139"/>
            <a:ext cx="5537199" cy="567848"/>
          </a:xfrm>
        </p:spPr>
        <p:txBody>
          <a:bodyPr anchor="b" anchorCtr="0"/>
          <a:lstStyle>
            <a:lvl1pPr>
              <a:lnSpc>
                <a:spcPct val="90000"/>
              </a:lnSpc>
              <a:defRPr sz="4000" spc="-100" baseline="0">
                <a:solidFill>
                  <a:schemeClr val="tx1"/>
                </a:solidFill>
              </a:defRPr>
            </a:lvl1pPr>
          </a:lstStyle>
          <a:p>
            <a:r>
              <a:rPr lang="en-US"/>
              <a:t>Click to add title</a:t>
            </a:r>
            <a:endParaRPr lang="en-GB"/>
          </a:p>
        </p:txBody>
      </p:sp>
      <p:sp>
        <p:nvSpPr>
          <p:cNvPr id="44" name="Freeform 22">
            <a:extLst>
              <a:ext uri="{FF2B5EF4-FFF2-40B4-BE49-F238E27FC236}">
                <a16:creationId xmlns:a16="http://schemas.microsoft.com/office/drawing/2014/main" id="{F10F5381-EC21-ED21-8406-AE92667A6734}"/>
              </a:ext>
            </a:extLst>
          </p:cNvPr>
          <p:cNvSpPr>
            <a:spLocks noChangeAspect="1" noEditPoints="1"/>
          </p:cNvSpPr>
          <p:nvPr userDrawn="1"/>
        </p:nvSpPr>
        <p:spPr bwMode="auto">
          <a:xfrm>
            <a:off x="457200" y="442800"/>
            <a:ext cx="964800" cy="914400"/>
          </a:xfrm>
          <a:custGeom>
            <a:avLst/>
            <a:gdLst>
              <a:gd name="T0" fmla="*/ 791 w 1013"/>
              <a:gd name="T1" fmla="*/ 656 h 959"/>
              <a:gd name="T2" fmla="*/ 872 w 1013"/>
              <a:gd name="T3" fmla="*/ 922 h 959"/>
              <a:gd name="T4" fmla="*/ 791 w 1013"/>
              <a:gd name="T5" fmla="*/ 656 h 959"/>
              <a:gd name="T6" fmla="*/ 345 w 1013"/>
              <a:gd name="T7" fmla="*/ 262 h 959"/>
              <a:gd name="T8" fmla="*/ 435 w 1013"/>
              <a:gd name="T9" fmla="*/ 232 h 959"/>
              <a:gd name="T10" fmla="*/ 207 w 1013"/>
              <a:gd name="T11" fmla="*/ 73 h 959"/>
              <a:gd name="T12" fmla="*/ 345 w 1013"/>
              <a:gd name="T13" fmla="*/ 262 h 959"/>
              <a:gd name="T14" fmla="*/ 240 w 1013"/>
              <a:gd name="T15" fmla="*/ 583 h 959"/>
              <a:gd name="T16" fmla="*/ 159 w 1013"/>
              <a:gd name="T17" fmla="*/ 849 h 959"/>
              <a:gd name="T18" fmla="*/ 240 w 1013"/>
              <a:gd name="T19" fmla="*/ 583 h 959"/>
              <a:gd name="T20" fmla="*/ 495 w 1013"/>
              <a:gd name="T21" fmla="*/ 725 h 959"/>
              <a:gd name="T22" fmla="*/ 495 w 1013"/>
              <a:gd name="T23" fmla="*/ 959 h 959"/>
              <a:gd name="T24" fmla="*/ 586 w 1013"/>
              <a:gd name="T25" fmla="*/ 695 h 959"/>
              <a:gd name="T26" fmla="*/ 495 w 1013"/>
              <a:gd name="T27" fmla="*/ 725 h 959"/>
              <a:gd name="T28" fmla="*/ 207 w 1013"/>
              <a:gd name="T29" fmla="*/ 884 h 959"/>
              <a:gd name="T30" fmla="*/ 435 w 1013"/>
              <a:gd name="T31" fmla="*/ 725 h 959"/>
              <a:gd name="T32" fmla="*/ 207 w 1013"/>
              <a:gd name="T33" fmla="*/ 884 h 959"/>
              <a:gd name="T34" fmla="*/ 709 w 1013"/>
              <a:gd name="T35" fmla="*/ 526 h 959"/>
              <a:gd name="T36" fmla="*/ 931 w 1013"/>
              <a:gd name="T37" fmla="*/ 598 h 959"/>
              <a:gd name="T38" fmla="*/ 709 w 1013"/>
              <a:gd name="T39" fmla="*/ 431 h 959"/>
              <a:gd name="T40" fmla="*/ 709 w 1013"/>
              <a:gd name="T41" fmla="*/ 526 h 959"/>
              <a:gd name="T42" fmla="*/ 222 w 1013"/>
              <a:gd name="T43" fmla="*/ 431 h 959"/>
              <a:gd name="T44" fmla="*/ 0 w 1013"/>
              <a:gd name="T45" fmla="*/ 598 h 959"/>
              <a:gd name="T46" fmla="*/ 222 w 1013"/>
              <a:gd name="T47" fmla="*/ 431 h 959"/>
              <a:gd name="T48" fmla="*/ 690 w 1013"/>
              <a:gd name="T49" fmla="*/ 374 h 959"/>
              <a:gd name="T50" fmla="*/ 913 w 1013"/>
              <a:gd name="T51" fmla="*/ 302 h 959"/>
              <a:gd name="T52" fmla="*/ 634 w 1013"/>
              <a:gd name="T53" fmla="*/ 297 h 959"/>
              <a:gd name="T54" fmla="*/ 690 w 1013"/>
              <a:gd name="T55" fmla="*/ 374 h 959"/>
              <a:gd name="T56" fmla="*/ 296 w 1013"/>
              <a:gd name="T57" fmla="*/ 297 h 959"/>
              <a:gd name="T58" fmla="*/ 18 w 1013"/>
              <a:gd name="T59" fmla="*/ 302 h 959"/>
              <a:gd name="T60" fmla="*/ 296 w 1013"/>
              <a:gd name="T61" fmla="*/ 297 h 959"/>
              <a:gd name="T62" fmla="*/ 586 w 1013"/>
              <a:gd name="T63" fmla="*/ 262 h 959"/>
              <a:gd name="T64" fmla="*/ 495 w 1013"/>
              <a:gd name="T65" fmla="*/ 232 h 959"/>
              <a:gd name="T66" fmla="*/ 723 w 1013"/>
              <a:gd name="T67" fmla="*/ 73 h 9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13" h="959">
                <a:moveTo>
                  <a:pt x="791" y="656"/>
                </a:moveTo>
                <a:lnTo>
                  <a:pt x="791" y="656"/>
                </a:lnTo>
                <a:lnTo>
                  <a:pt x="735" y="733"/>
                </a:lnTo>
                <a:lnTo>
                  <a:pt x="872" y="922"/>
                </a:lnTo>
                <a:lnTo>
                  <a:pt x="1013" y="729"/>
                </a:lnTo>
                <a:lnTo>
                  <a:pt x="791" y="656"/>
                </a:lnTo>
                <a:lnTo>
                  <a:pt x="791" y="656"/>
                </a:lnTo>
                <a:close/>
                <a:moveTo>
                  <a:pt x="345" y="262"/>
                </a:moveTo>
                <a:lnTo>
                  <a:pt x="345" y="262"/>
                </a:lnTo>
                <a:lnTo>
                  <a:pt x="435" y="232"/>
                </a:lnTo>
                <a:lnTo>
                  <a:pt x="435" y="0"/>
                </a:lnTo>
                <a:lnTo>
                  <a:pt x="207" y="73"/>
                </a:lnTo>
                <a:lnTo>
                  <a:pt x="345" y="262"/>
                </a:lnTo>
                <a:lnTo>
                  <a:pt x="345" y="262"/>
                </a:lnTo>
                <a:close/>
                <a:moveTo>
                  <a:pt x="240" y="583"/>
                </a:moveTo>
                <a:lnTo>
                  <a:pt x="240" y="583"/>
                </a:lnTo>
                <a:lnTo>
                  <a:pt x="18" y="655"/>
                </a:lnTo>
                <a:lnTo>
                  <a:pt x="159" y="849"/>
                </a:lnTo>
                <a:lnTo>
                  <a:pt x="296" y="660"/>
                </a:lnTo>
                <a:lnTo>
                  <a:pt x="240" y="583"/>
                </a:lnTo>
                <a:lnTo>
                  <a:pt x="240" y="583"/>
                </a:lnTo>
                <a:close/>
                <a:moveTo>
                  <a:pt x="495" y="725"/>
                </a:moveTo>
                <a:lnTo>
                  <a:pt x="495" y="725"/>
                </a:lnTo>
                <a:lnTo>
                  <a:pt x="495" y="959"/>
                </a:lnTo>
                <a:lnTo>
                  <a:pt x="723" y="884"/>
                </a:lnTo>
                <a:lnTo>
                  <a:pt x="586" y="695"/>
                </a:lnTo>
                <a:lnTo>
                  <a:pt x="495" y="725"/>
                </a:lnTo>
                <a:lnTo>
                  <a:pt x="495" y="725"/>
                </a:lnTo>
                <a:close/>
                <a:moveTo>
                  <a:pt x="207" y="884"/>
                </a:moveTo>
                <a:lnTo>
                  <a:pt x="207" y="884"/>
                </a:lnTo>
                <a:lnTo>
                  <a:pt x="435" y="959"/>
                </a:lnTo>
                <a:lnTo>
                  <a:pt x="435" y="725"/>
                </a:lnTo>
                <a:lnTo>
                  <a:pt x="345" y="695"/>
                </a:lnTo>
                <a:lnTo>
                  <a:pt x="207" y="884"/>
                </a:lnTo>
                <a:lnTo>
                  <a:pt x="207" y="884"/>
                </a:lnTo>
                <a:close/>
                <a:moveTo>
                  <a:pt x="709" y="526"/>
                </a:moveTo>
                <a:lnTo>
                  <a:pt x="709" y="526"/>
                </a:lnTo>
                <a:lnTo>
                  <a:pt x="931" y="598"/>
                </a:lnTo>
                <a:lnTo>
                  <a:pt x="931" y="359"/>
                </a:lnTo>
                <a:lnTo>
                  <a:pt x="709" y="431"/>
                </a:lnTo>
                <a:lnTo>
                  <a:pt x="709" y="526"/>
                </a:lnTo>
                <a:lnTo>
                  <a:pt x="709" y="526"/>
                </a:lnTo>
                <a:close/>
                <a:moveTo>
                  <a:pt x="222" y="431"/>
                </a:moveTo>
                <a:lnTo>
                  <a:pt x="222" y="431"/>
                </a:lnTo>
                <a:lnTo>
                  <a:pt x="0" y="359"/>
                </a:lnTo>
                <a:lnTo>
                  <a:pt x="0" y="598"/>
                </a:lnTo>
                <a:lnTo>
                  <a:pt x="222" y="526"/>
                </a:lnTo>
                <a:lnTo>
                  <a:pt x="222" y="431"/>
                </a:lnTo>
                <a:lnTo>
                  <a:pt x="222" y="431"/>
                </a:lnTo>
                <a:close/>
                <a:moveTo>
                  <a:pt x="690" y="374"/>
                </a:moveTo>
                <a:lnTo>
                  <a:pt x="690" y="374"/>
                </a:lnTo>
                <a:lnTo>
                  <a:pt x="913" y="302"/>
                </a:lnTo>
                <a:lnTo>
                  <a:pt x="772" y="108"/>
                </a:lnTo>
                <a:lnTo>
                  <a:pt x="634" y="297"/>
                </a:lnTo>
                <a:lnTo>
                  <a:pt x="690" y="374"/>
                </a:lnTo>
                <a:lnTo>
                  <a:pt x="690" y="374"/>
                </a:lnTo>
                <a:close/>
                <a:moveTo>
                  <a:pt x="296" y="297"/>
                </a:moveTo>
                <a:lnTo>
                  <a:pt x="296" y="297"/>
                </a:lnTo>
                <a:lnTo>
                  <a:pt x="159" y="108"/>
                </a:lnTo>
                <a:lnTo>
                  <a:pt x="18" y="302"/>
                </a:lnTo>
                <a:lnTo>
                  <a:pt x="240" y="374"/>
                </a:lnTo>
                <a:lnTo>
                  <a:pt x="296" y="297"/>
                </a:lnTo>
                <a:lnTo>
                  <a:pt x="296" y="297"/>
                </a:lnTo>
                <a:close/>
                <a:moveTo>
                  <a:pt x="586" y="262"/>
                </a:moveTo>
                <a:lnTo>
                  <a:pt x="586" y="262"/>
                </a:lnTo>
                <a:lnTo>
                  <a:pt x="495" y="232"/>
                </a:lnTo>
                <a:lnTo>
                  <a:pt x="495" y="0"/>
                </a:lnTo>
                <a:lnTo>
                  <a:pt x="723" y="73"/>
                </a:lnTo>
                <a:lnTo>
                  <a:pt x="586" y="262"/>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35" name="Picture Placeholder 34">
            <a:extLst>
              <a:ext uri="{FF2B5EF4-FFF2-40B4-BE49-F238E27FC236}">
                <a16:creationId xmlns:a16="http://schemas.microsoft.com/office/drawing/2014/main" id="{CED56BC5-AA9A-B7BD-B894-8C188FB05DFC}"/>
              </a:ext>
            </a:extLst>
          </p:cNvPr>
          <p:cNvSpPr>
            <a:spLocks noGrp="1" noChangeAspect="1"/>
          </p:cNvSpPr>
          <p:nvPr>
            <p:ph type="pic" sz="quarter" idx="10"/>
          </p:nvPr>
        </p:nvSpPr>
        <p:spPr>
          <a:xfrm>
            <a:off x="6617948" y="1066077"/>
            <a:ext cx="2898914" cy="2905611"/>
          </a:xfrm>
          <a:custGeom>
            <a:avLst/>
            <a:gdLst>
              <a:gd name="connsiteX0" fmla="*/ 1979909 w 2898914"/>
              <a:gd name="connsiteY0" fmla="*/ 0 h 2905611"/>
              <a:gd name="connsiteX1" fmla="*/ 2669401 w 2898914"/>
              <a:gd name="connsiteY1" fmla="*/ 430461 h 2905611"/>
              <a:gd name="connsiteX2" fmla="*/ 2898914 w 2898914"/>
              <a:gd name="connsiteY2" fmla="*/ 1413283 h 2905611"/>
              <a:gd name="connsiteX3" fmla="*/ 2669401 w 2898914"/>
              <a:gd name="connsiteY3" fmla="*/ 2415152 h 2905611"/>
              <a:gd name="connsiteX4" fmla="*/ 1979909 w 2898914"/>
              <a:gd name="connsiteY4" fmla="*/ 2905611 h 2905611"/>
              <a:gd name="connsiteX5" fmla="*/ 918053 w 2898914"/>
              <a:gd name="connsiteY5" fmla="*/ 2837042 h 2905611"/>
              <a:gd name="connsiteX6" fmla="*/ 383792 w 2898914"/>
              <a:gd name="connsiteY6" fmla="*/ 2600860 h 2905611"/>
              <a:gd name="connsiteX7" fmla="*/ 0 w 2898914"/>
              <a:gd name="connsiteY7" fmla="*/ 1833268 h 2905611"/>
              <a:gd name="connsiteX8" fmla="*/ 0 w 2898914"/>
              <a:gd name="connsiteY8" fmla="*/ 1063772 h 2905611"/>
              <a:gd name="connsiteX9" fmla="*/ 624733 w 2898914"/>
              <a:gd name="connsiteY9" fmla="*/ 130472 h 29056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98914" h="2905611">
                <a:moveTo>
                  <a:pt x="1979909" y="0"/>
                </a:moveTo>
                <a:lnTo>
                  <a:pt x="2669401" y="430461"/>
                </a:lnTo>
                <a:lnTo>
                  <a:pt x="2898914" y="1413283"/>
                </a:lnTo>
                <a:lnTo>
                  <a:pt x="2669401" y="2415152"/>
                </a:lnTo>
                <a:lnTo>
                  <a:pt x="1979909" y="2905611"/>
                </a:lnTo>
                <a:lnTo>
                  <a:pt x="918053" y="2837042"/>
                </a:lnTo>
                <a:lnTo>
                  <a:pt x="383792" y="2600860"/>
                </a:lnTo>
                <a:lnTo>
                  <a:pt x="0" y="1833268"/>
                </a:lnTo>
                <a:lnTo>
                  <a:pt x="0" y="1063772"/>
                </a:lnTo>
                <a:lnTo>
                  <a:pt x="624733" y="130472"/>
                </a:lnTo>
                <a:close/>
              </a:path>
            </a:pathLst>
          </a:custGeom>
          <a:solidFill>
            <a:schemeClr val="bg1">
              <a:lumMod val="95000"/>
            </a:schemeClr>
          </a:solidFill>
        </p:spPr>
        <p:txBody>
          <a:bodyPr wrap="square" anchor="ctr" anchorCtr="1">
            <a:noAutofit/>
          </a:bodyPr>
          <a:lstStyle>
            <a:lvl1pPr>
              <a:defRPr b="0"/>
            </a:lvl1pPr>
          </a:lstStyle>
          <a:p>
            <a:r>
              <a:rPr lang="en-GB"/>
              <a:t>Click icon to add picture</a:t>
            </a:r>
          </a:p>
        </p:txBody>
      </p:sp>
      <p:sp>
        <p:nvSpPr>
          <p:cNvPr id="36" name="Picture Placeholder 35">
            <a:extLst>
              <a:ext uri="{FF2B5EF4-FFF2-40B4-BE49-F238E27FC236}">
                <a16:creationId xmlns:a16="http://schemas.microsoft.com/office/drawing/2014/main" id="{4FA892A0-1A11-1B5D-8BEA-AC8857482791}"/>
              </a:ext>
            </a:extLst>
          </p:cNvPr>
          <p:cNvSpPr>
            <a:spLocks noGrp="1" noChangeAspect="1"/>
          </p:cNvSpPr>
          <p:nvPr>
            <p:ph type="pic" sz="quarter" idx="11"/>
          </p:nvPr>
        </p:nvSpPr>
        <p:spPr>
          <a:xfrm>
            <a:off x="9215983" y="3325622"/>
            <a:ext cx="3199793" cy="3191437"/>
          </a:xfrm>
          <a:custGeom>
            <a:avLst/>
            <a:gdLst>
              <a:gd name="connsiteX0" fmla="*/ 1639429 w 3199793"/>
              <a:gd name="connsiteY0" fmla="*/ 0 h 3191437"/>
              <a:gd name="connsiteX1" fmla="*/ 2751117 w 3199793"/>
              <a:gd name="connsiteY1" fmla="*/ 389641 h 3191437"/>
              <a:gd name="connsiteX2" fmla="*/ 3199793 w 3199793"/>
              <a:gd name="connsiteY2" fmla="*/ 1495689 h 3191437"/>
              <a:gd name="connsiteX3" fmla="*/ 2982599 w 3199793"/>
              <a:gd name="connsiteY3" fmla="*/ 2594114 h 3191437"/>
              <a:gd name="connsiteX4" fmla="*/ 1940452 w 3199793"/>
              <a:gd name="connsiteY4" fmla="*/ 3191437 h 3191437"/>
              <a:gd name="connsiteX5" fmla="*/ 565846 w 3199793"/>
              <a:gd name="connsiteY5" fmla="*/ 2984708 h 3191437"/>
              <a:gd name="connsiteX6" fmla="*/ 0 w 3199793"/>
              <a:gd name="connsiteY6" fmla="*/ 1993934 h 3191437"/>
              <a:gd name="connsiteX7" fmla="*/ 135270 w 3199793"/>
              <a:gd name="connsiteY7" fmla="*/ 1144154 h 3191437"/>
              <a:gd name="connsiteX8" fmla="*/ 453439 w 3199793"/>
              <a:gd name="connsiteY8" fmla="*/ 307712 h 3191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99793" h="3191437">
                <a:moveTo>
                  <a:pt x="1639429" y="0"/>
                </a:moveTo>
                <a:lnTo>
                  <a:pt x="2751117" y="389641"/>
                </a:lnTo>
                <a:lnTo>
                  <a:pt x="3199793" y="1495689"/>
                </a:lnTo>
                <a:lnTo>
                  <a:pt x="2982599" y="2594114"/>
                </a:lnTo>
                <a:lnTo>
                  <a:pt x="1940452" y="3191437"/>
                </a:lnTo>
                <a:lnTo>
                  <a:pt x="565846" y="2984708"/>
                </a:lnTo>
                <a:lnTo>
                  <a:pt x="0" y="1993934"/>
                </a:lnTo>
                <a:lnTo>
                  <a:pt x="135270" y="1144154"/>
                </a:lnTo>
                <a:lnTo>
                  <a:pt x="453439" y="307712"/>
                </a:lnTo>
                <a:close/>
              </a:path>
            </a:pathLst>
          </a:custGeom>
          <a:solidFill>
            <a:schemeClr val="bg1">
              <a:lumMod val="95000"/>
            </a:schemeClr>
          </a:solidFill>
        </p:spPr>
        <p:txBody>
          <a:bodyPr wrap="square" anchor="ctr" anchorCtr="1">
            <a:noAutofit/>
          </a:bodyPr>
          <a:lstStyle>
            <a:lvl1pPr>
              <a:defRPr b="0"/>
            </a:lvl1pPr>
          </a:lstStyle>
          <a:p>
            <a:r>
              <a:rPr lang="en-GB"/>
              <a:t>Click icon to add picture</a:t>
            </a:r>
          </a:p>
        </p:txBody>
      </p:sp>
      <p:pic>
        <p:nvPicPr>
          <p:cNvPr id="2" name="Picture 1" descr="A logo on a black background&#10;&#10;AI-generated content may be incorrect.">
            <a:extLst>
              <a:ext uri="{FF2B5EF4-FFF2-40B4-BE49-F238E27FC236}">
                <a16:creationId xmlns:a16="http://schemas.microsoft.com/office/drawing/2014/main" id="{F536AD3C-3B93-DDE5-95EE-BCCAA79C2C1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47991" y="5434641"/>
            <a:ext cx="5628173" cy="1330780"/>
          </a:xfrm>
          <a:prstGeom prst="rect">
            <a:avLst/>
          </a:prstGeom>
        </p:spPr>
      </p:pic>
    </p:spTree>
    <p:extLst>
      <p:ext uri="{BB962C8B-B14F-4D97-AF65-F5344CB8AC3E}">
        <p14:creationId xmlns:p14="http://schemas.microsoft.com/office/powerpoint/2010/main" val="385233403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2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9541DB-9159-52E1-36ED-A2271EFDC027}"/>
              </a:ext>
            </a:extLst>
          </p:cNvPr>
          <p:cNvSpPr>
            <a:spLocks noGrp="1"/>
          </p:cNvSpPr>
          <p:nvPr>
            <p:ph type="title"/>
          </p:nvPr>
        </p:nvSpPr>
        <p:spPr>
          <a:xfrm>
            <a:off x="442914" y="404813"/>
            <a:ext cx="11306174" cy="382284"/>
          </a:xfrm>
        </p:spPr>
        <p:txBody>
          <a:bodyPr/>
          <a:lstStyle/>
          <a:p>
            <a:r>
              <a:rPr lang="en-GB"/>
              <a:t>Click to edit Master title style</a:t>
            </a:r>
          </a:p>
        </p:txBody>
      </p:sp>
      <p:sp>
        <p:nvSpPr>
          <p:cNvPr id="3" name="Content Placeholder 2">
            <a:extLst>
              <a:ext uri="{FF2B5EF4-FFF2-40B4-BE49-F238E27FC236}">
                <a16:creationId xmlns:a16="http://schemas.microsoft.com/office/drawing/2014/main" id="{D66370DB-D8BA-987C-5976-9F9A695233D7}"/>
              </a:ext>
            </a:extLst>
          </p:cNvPr>
          <p:cNvSpPr>
            <a:spLocks noGrp="1"/>
          </p:cNvSpPr>
          <p:nvPr>
            <p:ph idx="1"/>
          </p:nvPr>
        </p:nvSpPr>
        <p:spPr>
          <a:xfrm>
            <a:off x="457200" y="1484314"/>
            <a:ext cx="5524500" cy="4548186"/>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0F414784-DF0B-C117-2497-A8A415ABF3CE}"/>
              </a:ext>
            </a:extLst>
          </p:cNvPr>
          <p:cNvSpPr>
            <a:spLocks noGrp="1"/>
          </p:cNvSpPr>
          <p:nvPr>
            <p:ph type="dt" sz="half" idx="10"/>
          </p:nvPr>
        </p:nvSpPr>
        <p:spPr/>
        <p:txBody>
          <a:bodyPr/>
          <a:lstStyle/>
          <a:p>
            <a:r>
              <a:rPr lang="en-US"/>
              <a:t>25 March 2026</a:t>
            </a:r>
            <a:endParaRPr lang="en-GB"/>
          </a:p>
        </p:txBody>
      </p:sp>
      <p:sp>
        <p:nvSpPr>
          <p:cNvPr id="5" name="Footer Placeholder 4">
            <a:extLst>
              <a:ext uri="{FF2B5EF4-FFF2-40B4-BE49-F238E27FC236}">
                <a16:creationId xmlns:a16="http://schemas.microsoft.com/office/drawing/2014/main" id="{746C971E-9D30-B3A7-DEE4-B7BB3F23D10F}"/>
              </a:ext>
            </a:extLst>
          </p:cNvPr>
          <p:cNvSpPr>
            <a:spLocks noGrp="1"/>
          </p:cNvSpPr>
          <p:nvPr>
            <p:ph type="ftr" sz="quarter" idx="11"/>
          </p:nvPr>
        </p:nvSpPr>
        <p:spPr/>
        <p:txBody>
          <a:bodyPr/>
          <a:lstStyle/>
          <a:p>
            <a:r>
              <a:rPr lang="en-GB"/>
              <a:t>Q member event</a:t>
            </a:r>
          </a:p>
        </p:txBody>
      </p:sp>
      <p:sp>
        <p:nvSpPr>
          <p:cNvPr id="6" name="Slide Number Placeholder 5">
            <a:extLst>
              <a:ext uri="{FF2B5EF4-FFF2-40B4-BE49-F238E27FC236}">
                <a16:creationId xmlns:a16="http://schemas.microsoft.com/office/drawing/2014/main" id="{F736F856-1147-9EF5-CC3C-F2CDFD6CB6DE}"/>
              </a:ext>
            </a:extLst>
          </p:cNvPr>
          <p:cNvSpPr>
            <a:spLocks noGrp="1"/>
          </p:cNvSpPr>
          <p:nvPr>
            <p:ph type="sldNum" sz="quarter" idx="12"/>
          </p:nvPr>
        </p:nvSpPr>
        <p:spPr/>
        <p:txBody>
          <a:bodyPr/>
          <a:lstStyle/>
          <a:p>
            <a:fld id="{C790EBD1-482B-4C6F-AFC1-9F7ACF0A1A11}" type="slidenum">
              <a:rPr lang="en-GB" smtClean="0"/>
              <a:t>‹#›</a:t>
            </a:fld>
            <a:endParaRPr lang="en-GB"/>
          </a:p>
        </p:txBody>
      </p:sp>
      <p:sp>
        <p:nvSpPr>
          <p:cNvPr id="11" name="Picture Placeholder 9">
            <a:extLst>
              <a:ext uri="{FF2B5EF4-FFF2-40B4-BE49-F238E27FC236}">
                <a16:creationId xmlns:a16="http://schemas.microsoft.com/office/drawing/2014/main" id="{596637BC-31BD-BA0F-7D39-FB9258CF58AE}"/>
              </a:ext>
            </a:extLst>
          </p:cNvPr>
          <p:cNvSpPr>
            <a:spLocks noGrp="1"/>
          </p:cNvSpPr>
          <p:nvPr>
            <p:ph type="pic" sz="quarter" idx="14"/>
          </p:nvPr>
        </p:nvSpPr>
        <p:spPr>
          <a:xfrm>
            <a:off x="6210300" y="1524000"/>
            <a:ext cx="5524499" cy="4508501"/>
          </a:xfrm>
          <a:solidFill>
            <a:schemeClr val="bg1">
              <a:lumMod val="95000"/>
            </a:schemeClr>
          </a:solidFill>
        </p:spPr>
        <p:txBody>
          <a:bodyPr anchor="ctr" anchorCtr="1"/>
          <a:lstStyle>
            <a:lvl1pPr algn="ctr">
              <a:defRPr b="0"/>
            </a:lvl1pPr>
          </a:lstStyle>
          <a:p>
            <a:r>
              <a:rPr lang="en-GB"/>
              <a:t>Click icon to add picture</a:t>
            </a:r>
          </a:p>
        </p:txBody>
      </p:sp>
      <p:sp>
        <p:nvSpPr>
          <p:cNvPr id="7" name="Text Placeholder 10">
            <a:extLst>
              <a:ext uri="{FF2B5EF4-FFF2-40B4-BE49-F238E27FC236}">
                <a16:creationId xmlns:a16="http://schemas.microsoft.com/office/drawing/2014/main" id="{4645A915-552C-38C3-E761-125DD5A66CE5}"/>
              </a:ext>
            </a:extLst>
          </p:cNvPr>
          <p:cNvSpPr>
            <a:spLocks noGrp="1"/>
          </p:cNvSpPr>
          <p:nvPr>
            <p:ph type="body" sz="quarter" idx="15"/>
          </p:nvPr>
        </p:nvSpPr>
        <p:spPr>
          <a:xfrm>
            <a:off x="457200" y="936000"/>
            <a:ext cx="5524500" cy="157287"/>
          </a:xfrm>
        </p:spPr>
        <p:txBody>
          <a:bodyPr>
            <a:spAutoFit/>
          </a:bodyPr>
          <a:lstStyle>
            <a:lvl1pPr>
              <a:defRPr sz="1000" b="0"/>
            </a:lvl1pPr>
            <a:lvl2pPr>
              <a:defRPr sz="1000" b="0"/>
            </a:lvl2pPr>
            <a:lvl3pPr>
              <a:defRPr sz="1000" b="0"/>
            </a:lvl3pPr>
            <a:lvl4pPr>
              <a:defRPr sz="1000" b="0"/>
            </a:lvl4pPr>
            <a:lvl5pPr>
              <a:defRPr sz="1000" b="0"/>
            </a:lvl5pPr>
          </a:lstStyle>
          <a:p>
            <a:pPr lvl="0"/>
            <a:r>
              <a:rPr lang="en-GB"/>
              <a:t>Click to edit Master text styles</a:t>
            </a:r>
          </a:p>
        </p:txBody>
      </p:sp>
      <p:sp>
        <p:nvSpPr>
          <p:cNvPr id="8" name="Freeform 5">
            <a:extLst>
              <a:ext uri="{FF2B5EF4-FFF2-40B4-BE49-F238E27FC236}">
                <a16:creationId xmlns:a16="http://schemas.microsoft.com/office/drawing/2014/main" id="{358B64DC-1B6B-1FD1-0ED1-2388F241B541}"/>
              </a:ext>
            </a:extLst>
          </p:cNvPr>
          <p:cNvSpPr>
            <a:spLocks/>
          </p:cNvSpPr>
          <p:nvPr userDrawn="1"/>
        </p:nvSpPr>
        <p:spPr bwMode="auto">
          <a:xfrm>
            <a:off x="457200" y="6184803"/>
            <a:ext cx="11293312" cy="57600"/>
          </a:xfrm>
          <a:custGeom>
            <a:avLst/>
            <a:gdLst>
              <a:gd name="T0" fmla="*/ 11754 w 11830"/>
              <a:gd name="T1" fmla="*/ 5 h 60"/>
              <a:gd name="T2" fmla="*/ 11665 w 11830"/>
              <a:gd name="T3" fmla="*/ 3 h 60"/>
              <a:gd name="T4" fmla="*/ 10458 w 11830"/>
              <a:gd name="T5" fmla="*/ 8 h 60"/>
              <a:gd name="T6" fmla="*/ 9631 w 11830"/>
              <a:gd name="T7" fmla="*/ 9 h 60"/>
              <a:gd name="T8" fmla="*/ 9276 w 11830"/>
              <a:gd name="T9" fmla="*/ 7 h 60"/>
              <a:gd name="T10" fmla="*/ 8873 w 11830"/>
              <a:gd name="T11" fmla="*/ 7 h 60"/>
              <a:gd name="T12" fmla="*/ 8453 w 11830"/>
              <a:gd name="T13" fmla="*/ 4 h 60"/>
              <a:gd name="T14" fmla="*/ 7526 w 11830"/>
              <a:gd name="T15" fmla="*/ 4 h 60"/>
              <a:gd name="T16" fmla="*/ 7003 w 11830"/>
              <a:gd name="T17" fmla="*/ 2 h 60"/>
              <a:gd name="T18" fmla="*/ 6547 w 11830"/>
              <a:gd name="T19" fmla="*/ 3 h 60"/>
              <a:gd name="T20" fmla="*/ 6086 w 11830"/>
              <a:gd name="T21" fmla="*/ 5 h 60"/>
              <a:gd name="T22" fmla="*/ 5731 w 11830"/>
              <a:gd name="T23" fmla="*/ 6 h 60"/>
              <a:gd name="T24" fmla="*/ 5501 w 11830"/>
              <a:gd name="T25" fmla="*/ 3 h 60"/>
              <a:gd name="T26" fmla="*/ 5358 w 11830"/>
              <a:gd name="T27" fmla="*/ 3 h 60"/>
              <a:gd name="T28" fmla="*/ 5047 w 11830"/>
              <a:gd name="T29" fmla="*/ 3 h 60"/>
              <a:gd name="T30" fmla="*/ 4870 w 11830"/>
              <a:gd name="T31" fmla="*/ 5 h 60"/>
              <a:gd name="T32" fmla="*/ 4531 w 11830"/>
              <a:gd name="T33" fmla="*/ 6 h 60"/>
              <a:gd name="T34" fmla="*/ 4227 w 11830"/>
              <a:gd name="T35" fmla="*/ 7 h 60"/>
              <a:gd name="T36" fmla="*/ 3756 w 11830"/>
              <a:gd name="T37" fmla="*/ 8 h 60"/>
              <a:gd name="T38" fmla="*/ 3345 w 11830"/>
              <a:gd name="T39" fmla="*/ 8 h 60"/>
              <a:gd name="T40" fmla="*/ 2866 w 11830"/>
              <a:gd name="T41" fmla="*/ 7 h 60"/>
              <a:gd name="T42" fmla="*/ 2614 w 11830"/>
              <a:gd name="T43" fmla="*/ 5 h 60"/>
              <a:gd name="T44" fmla="*/ 2388 w 11830"/>
              <a:gd name="T45" fmla="*/ 8 h 60"/>
              <a:gd name="T46" fmla="*/ 2137 w 11830"/>
              <a:gd name="T47" fmla="*/ 3 h 60"/>
              <a:gd name="T48" fmla="*/ 1820 w 11830"/>
              <a:gd name="T49" fmla="*/ 4 h 60"/>
              <a:gd name="T50" fmla="*/ 1474 w 11830"/>
              <a:gd name="T51" fmla="*/ 3 h 60"/>
              <a:gd name="T52" fmla="*/ 1351 w 11830"/>
              <a:gd name="T53" fmla="*/ 2 h 60"/>
              <a:gd name="T54" fmla="*/ 1145 w 11830"/>
              <a:gd name="T55" fmla="*/ 2 h 60"/>
              <a:gd name="T56" fmla="*/ 871 w 11830"/>
              <a:gd name="T57" fmla="*/ 3 h 60"/>
              <a:gd name="T58" fmla="*/ 639 w 11830"/>
              <a:gd name="T59" fmla="*/ 4 h 60"/>
              <a:gd name="T60" fmla="*/ 457 w 11830"/>
              <a:gd name="T61" fmla="*/ 3 h 60"/>
              <a:gd name="T62" fmla="*/ 157 w 11830"/>
              <a:gd name="T63" fmla="*/ 3 h 60"/>
              <a:gd name="T64" fmla="*/ 83 w 11830"/>
              <a:gd name="T65" fmla="*/ 54 h 60"/>
              <a:gd name="T66" fmla="*/ 1390 w 11830"/>
              <a:gd name="T67" fmla="*/ 50 h 60"/>
              <a:gd name="T68" fmla="*/ 2221 w 11830"/>
              <a:gd name="T69" fmla="*/ 49 h 60"/>
              <a:gd name="T70" fmla="*/ 2606 w 11830"/>
              <a:gd name="T71" fmla="*/ 52 h 60"/>
              <a:gd name="T72" fmla="*/ 2985 w 11830"/>
              <a:gd name="T73" fmla="*/ 52 h 60"/>
              <a:gd name="T74" fmla="*/ 3428 w 11830"/>
              <a:gd name="T75" fmla="*/ 54 h 60"/>
              <a:gd name="T76" fmla="*/ 4520 w 11830"/>
              <a:gd name="T77" fmla="*/ 54 h 60"/>
              <a:gd name="T78" fmla="*/ 4885 w 11830"/>
              <a:gd name="T79" fmla="*/ 53 h 60"/>
              <a:gd name="T80" fmla="*/ 5255 w 11830"/>
              <a:gd name="T81" fmla="*/ 54 h 60"/>
              <a:gd name="T82" fmla="*/ 5655 w 11830"/>
              <a:gd name="T83" fmla="*/ 51 h 60"/>
              <a:gd name="T84" fmla="*/ 6196 w 11830"/>
              <a:gd name="T85" fmla="*/ 54 h 60"/>
              <a:gd name="T86" fmla="*/ 6491 w 11830"/>
              <a:gd name="T87" fmla="*/ 56 h 60"/>
              <a:gd name="T88" fmla="*/ 6723 w 11830"/>
              <a:gd name="T89" fmla="*/ 57 h 60"/>
              <a:gd name="T90" fmla="*/ 6936 w 11830"/>
              <a:gd name="T91" fmla="*/ 54 h 60"/>
              <a:gd name="T92" fmla="*/ 7150 w 11830"/>
              <a:gd name="T93" fmla="*/ 53 h 60"/>
              <a:gd name="T94" fmla="*/ 7433 w 11830"/>
              <a:gd name="T95" fmla="*/ 52 h 60"/>
              <a:gd name="T96" fmla="*/ 7830 w 11830"/>
              <a:gd name="T97" fmla="*/ 52 h 60"/>
              <a:gd name="T98" fmla="*/ 8274 w 11830"/>
              <a:gd name="T99" fmla="*/ 51 h 60"/>
              <a:gd name="T100" fmla="*/ 8700 w 11830"/>
              <a:gd name="T101" fmla="*/ 50 h 60"/>
              <a:gd name="T102" fmla="*/ 9077 w 11830"/>
              <a:gd name="T103" fmla="*/ 51 h 60"/>
              <a:gd name="T104" fmla="*/ 9302 w 11830"/>
              <a:gd name="T105" fmla="*/ 53 h 60"/>
              <a:gd name="T106" fmla="*/ 9538 w 11830"/>
              <a:gd name="T107" fmla="*/ 54 h 60"/>
              <a:gd name="T108" fmla="*/ 9855 w 11830"/>
              <a:gd name="T109" fmla="*/ 55 h 60"/>
              <a:gd name="T110" fmla="*/ 10279 w 11830"/>
              <a:gd name="T111" fmla="*/ 55 h 60"/>
              <a:gd name="T112" fmla="*/ 10495 w 11830"/>
              <a:gd name="T113" fmla="*/ 58 h 60"/>
              <a:gd name="T114" fmla="*/ 10755 w 11830"/>
              <a:gd name="T115" fmla="*/ 56 h 60"/>
              <a:gd name="T116" fmla="*/ 11049 w 11830"/>
              <a:gd name="T117" fmla="*/ 58 h 60"/>
              <a:gd name="T118" fmla="*/ 11259 w 11830"/>
              <a:gd name="T119" fmla="*/ 55 h 60"/>
              <a:gd name="T120" fmla="*/ 11479 w 11830"/>
              <a:gd name="T121" fmla="*/ 51 h 60"/>
              <a:gd name="T122" fmla="*/ 11691 w 11830"/>
              <a:gd name="T123" fmla="*/ 5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830" h="60">
                <a:moveTo>
                  <a:pt x="11828" y="47"/>
                </a:moveTo>
                <a:lnTo>
                  <a:pt x="11828" y="47"/>
                </a:lnTo>
                <a:cubicBezTo>
                  <a:pt x="11828" y="46"/>
                  <a:pt x="11828" y="46"/>
                  <a:pt x="11829" y="45"/>
                </a:cubicBezTo>
                <a:cubicBezTo>
                  <a:pt x="11829" y="45"/>
                  <a:pt x="11828" y="44"/>
                  <a:pt x="11828" y="43"/>
                </a:cubicBezTo>
                <a:cubicBezTo>
                  <a:pt x="11828" y="43"/>
                  <a:pt x="11828" y="43"/>
                  <a:pt x="11828" y="43"/>
                </a:cubicBezTo>
                <a:cubicBezTo>
                  <a:pt x="11828" y="42"/>
                  <a:pt x="11829" y="42"/>
                  <a:pt x="11829" y="42"/>
                </a:cubicBezTo>
                <a:cubicBezTo>
                  <a:pt x="11829" y="42"/>
                  <a:pt x="11829" y="41"/>
                  <a:pt x="11829" y="41"/>
                </a:cubicBezTo>
                <a:cubicBezTo>
                  <a:pt x="11830" y="40"/>
                  <a:pt x="11829" y="39"/>
                  <a:pt x="11829" y="38"/>
                </a:cubicBezTo>
                <a:cubicBezTo>
                  <a:pt x="11829" y="38"/>
                  <a:pt x="11829" y="37"/>
                  <a:pt x="11829" y="37"/>
                </a:cubicBezTo>
                <a:cubicBezTo>
                  <a:pt x="11829" y="36"/>
                  <a:pt x="11829" y="35"/>
                  <a:pt x="11829" y="34"/>
                </a:cubicBezTo>
                <a:cubicBezTo>
                  <a:pt x="11829" y="32"/>
                  <a:pt x="11829" y="31"/>
                  <a:pt x="11829" y="30"/>
                </a:cubicBezTo>
                <a:cubicBezTo>
                  <a:pt x="11829" y="27"/>
                  <a:pt x="11828" y="25"/>
                  <a:pt x="11827" y="22"/>
                </a:cubicBezTo>
                <a:cubicBezTo>
                  <a:pt x="11826" y="21"/>
                  <a:pt x="11826" y="20"/>
                  <a:pt x="11825" y="19"/>
                </a:cubicBezTo>
                <a:cubicBezTo>
                  <a:pt x="11825" y="19"/>
                  <a:pt x="11825" y="18"/>
                  <a:pt x="11825" y="18"/>
                </a:cubicBezTo>
                <a:cubicBezTo>
                  <a:pt x="11824" y="17"/>
                  <a:pt x="11824" y="17"/>
                  <a:pt x="11824" y="16"/>
                </a:cubicBezTo>
                <a:cubicBezTo>
                  <a:pt x="11823" y="15"/>
                  <a:pt x="11824" y="13"/>
                  <a:pt x="11824" y="11"/>
                </a:cubicBezTo>
                <a:cubicBezTo>
                  <a:pt x="11823" y="9"/>
                  <a:pt x="11823" y="8"/>
                  <a:pt x="11822" y="6"/>
                </a:cubicBezTo>
                <a:cubicBezTo>
                  <a:pt x="11822" y="6"/>
                  <a:pt x="11821" y="6"/>
                  <a:pt x="11821" y="6"/>
                </a:cubicBezTo>
                <a:cubicBezTo>
                  <a:pt x="11821" y="5"/>
                  <a:pt x="11818" y="4"/>
                  <a:pt x="11817" y="4"/>
                </a:cubicBezTo>
                <a:cubicBezTo>
                  <a:pt x="11808" y="3"/>
                  <a:pt x="11807" y="5"/>
                  <a:pt x="11799" y="4"/>
                </a:cubicBezTo>
                <a:cubicBezTo>
                  <a:pt x="11794" y="3"/>
                  <a:pt x="11790" y="4"/>
                  <a:pt x="11784" y="4"/>
                </a:cubicBezTo>
                <a:cubicBezTo>
                  <a:pt x="11782" y="4"/>
                  <a:pt x="11775" y="4"/>
                  <a:pt x="11772" y="4"/>
                </a:cubicBezTo>
                <a:cubicBezTo>
                  <a:pt x="11770" y="4"/>
                  <a:pt x="11761" y="5"/>
                  <a:pt x="11760" y="5"/>
                </a:cubicBezTo>
                <a:cubicBezTo>
                  <a:pt x="11759" y="5"/>
                  <a:pt x="11759" y="5"/>
                  <a:pt x="11759" y="5"/>
                </a:cubicBezTo>
                <a:cubicBezTo>
                  <a:pt x="11757" y="5"/>
                  <a:pt x="11756" y="5"/>
                  <a:pt x="11754" y="5"/>
                </a:cubicBezTo>
                <a:cubicBezTo>
                  <a:pt x="11754" y="5"/>
                  <a:pt x="11754" y="5"/>
                  <a:pt x="11753" y="5"/>
                </a:cubicBezTo>
                <a:cubicBezTo>
                  <a:pt x="11751" y="5"/>
                  <a:pt x="11749" y="5"/>
                  <a:pt x="11747" y="5"/>
                </a:cubicBezTo>
                <a:cubicBezTo>
                  <a:pt x="11747" y="4"/>
                  <a:pt x="11747" y="4"/>
                  <a:pt x="11747" y="4"/>
                </a:cubicBezTo>
                <a:cubicBezTo>
                  <a:pt x="11746" y="4"/>
                  <a:pt x="11744" y="3"/>
                  <a:pt x="11743" y="4"/>
                </a:cubicBezTo>
                <a:cubicBezTo>
                  <a:pt x="11743" y="4"/>
                  <a:pt x="11743" y="4"/>
                  <a:pt x="11744" y="4"/>
                </a:cubicBezTo>
                <a:cubicBezTo>
                  <a:pt x="11744" y="4"/>
                  <a:pt x="11744" y="4"/>
                  <a:pt x="11744" y="4"/>
                </a:cubicBezTo>
                <a:cubicBezTo>
                  <a:pt x="11738" y="4"/>
                  <a:pt x="11732" y="4"/>
                  <a:pt x="11726" y="4"/>
                </a:cubicBezTo>
                <a:cubicBezTo>
                  <a:pt x="11724" y="4"/>
                  <a:pt x="11723" y="4"/>
                  <a:pt x="11722" y="4"/>
                </a:cubicBezTo>
                <a:cubicBezTo>
                  <a:pt x="11720" y="4"/>
                  <a:pt x="11719" y="4"/>
                  <a:pt x="11717" y="4"/>
                </a:cubicBezTo>
                <a:cubicBezTo>
                  <a:pt x="11716" y="4"/>
                  <a:pt x="11714" y="4"/>
                  <a:pt x="11713" y="4"/>
                </a:cubicBezTo>
                <a:cubicBezTo>
                  <a:pt x="11712" y="4"/>
                  <a:pt x="11710" y="4"/>
                  <a:pt x="11710" y="4"/>
                </a:cubicBezTo>
                <a:cubicBezTo>
                  <a:pt x="11710" y="4"/>
                  <a:pt x="11710" y="4"/>
                  <a:pt x="11710" y="4"/>
                </a:cubicBezTo>
                <a:cubicBezTo>
                  <a:pt x="11708" y="4"/>
                  <a:pt x="11707" y="4"/>
                  <a:pt x="11706" y="4"/>
                </a:cubicBezTo>
                <a:cubicBezTo>
                  <a:pt x="11705" y="4"/>
                  <a:pt x="11704" y="4"/>
                  <a:pt x="11704" y="4"/>
                </a:cubicBezTo>
                <a:cubicBezTo>
                  <a:pt x="11703" y="4"/>
                  <a:pt x="11702" y="4"/>
                  <a:pt x="11701" y="4"/>
                </a:cubicBezTo>
                <a:cubicBezTo>
                  <a:pt x="11701" y="4"/>
                  <a:pt x="11701" y="4"/>
                  <a:pt x="11701" y="4"/>
                </a:cubicBezTo>
                <a:cubicBezTo>
                  <a:pt x="11700" y="4"/>
                  <a:pt x="11700" y="4"/>
                  <a:pt x="11699" y="4"/>
                </a:cubicBezTo>
                <a:cubicBezTo>
                  <a:pt x="11699" y="4"/>
                  <a:pt x="11698" y="4"/>
                  <a:pt x="11698" y="4"/>
                </a:cubicBezTo>
                <a:cubicBezTo>
                  <a:pt x="11698" y="4"/>
                  <a:pt x="11698" y="4"/>
                  <a:pt x="11698" y="4"/>
                </a:cubicBezTo>
                <a:cubicBezTo>
                  <a:pt x="11691" y="4"/>
                  <a:pt x="11683" y="4"/>
                  <a:pt x="11676" y="4"/>
                </a:cubicBezTo>
                <a:cubicBezTo>
                  <a:pt x="11676" y="3"/>
                  <a:pt x="11676" y="3"/>
                  <a:pt x="11675" y="3"/>
                </a:cubicBezTo>
                <a:cubicBezTo>
                  <a:pt x="11675" y="3"/>
                  <a:pt x="11675" y="3"/>
                  <a:pt x="11675" y="4"/>
                </a:cubicBezTo>
                <a:cubicBezTo>
                  <a:pt x="11674" y="4"/>
                  <a:pt x="11673" y="4"/>
                  <a:pt x="11672" y="4"/>
                </a:cubicBezTo>
                <a:cubicBezTo>
                  <a:pt x="11671" y="3"/>
                  <a:pt x="11671" y="3"/>
                  <a:pt x="11670" y="3"/>
                </a:cubicBezTo>
                <a:cubicBezTo>
                  <a:pt x="11668" y="3"/>
                  <a:pt x="11667" y="3"/>
                  <a:pt x="11665" y="3"/>
                </a:cubicBezTo>
                <a:cubicBezTo>
                  <a:pt x="11662" y="3"/>
                  <a:pt x="11659" y="3"/>
                  <a:pt x="11658" y="3"/>
                </a:cubicBezTo>
                <a:cubicBezTo>
                  <a:pt x="11657" y="4"/>
                  <a:pt x="11655" y="3"/>
                  <a:pt x="11653" y="3"/>
                </a:cubicBezTo>
                <a:cubicBezTo>
                  <a:pt x="11653" y="3"/>
                  <a:pt x="11653" y="3"/>
                  <a:pt x="11652" y="3"/>
                </a:cubicBezTo>
                <a:cubicBezTo>
                  <a:pt x="11652" y="3"/>
                  <a:pt x="11652" y="3"/>
                  <a:pt x="11652" y="3"/>
                </a:cubicBezTo>
                <a:cubicBezTo>
                  <a:pt x="11651" y="3"/>
                  <a:pt x="11649" y="3"/>
                  <a:pt x="11648" y="3"/>
                </a:cubicBezTo>
                <a:cubicBezTo>
                  <a:pt x="11648" y="3"/>
                  <a:pt x="11647" y="3"/>
                  <a:pt x="11647" y="3"/>
                </a:cubicBezTo>
                <a:cubicBezTo>
                  <a:pt x="11646" y="3"/>
                  <a:pt x="11645" y="3"/>
                  <a:pt x="11644" y="3"/>
                </a:cubicBezTo>
                <a:cubicBezTo>
                  <a:pt x="11643" y="3"/>
                  <a:pt x="11643" y="3"/>
                  <a:pt x="11642" y="3"/>
                </a:cubicBezTo>
                <a:cubicBezTo>
                  <a:pt x="11632" y="3"/>
                  <a:pt x="11623" y="3"/>
                  <a:pt x="11613" y="3"/>
                </a:cubicBezTo>
                <a:cubicBezTo>
                  <a:pt x="11604" y="3"/>
                  <a:pt x="11595" y="4"/>
                  <a:pt x="11586" y="4"/>
                </a:cubicBezTo>
                <a:cubicBezTo>
                  <a:pt x="11579" y="4"/>
                  <a:pt x="11572" y="4"/>
                  <a:pt x="11565" y="4"/>
                </a:cubicBezTo>
                <a:cubicBezTo>
                  <a:pt x="11554" y="4"/>
                  <a:pt x="11542" y="3"/>
                  <a:pt x="11531" y="5"/>
                </a:cubicBezTo>
                <a:cubicBezTo>
                  <a:pt x="11526" y="5"/>
                  <a:pt x="11523" y="6"/>
                  <a:pt x="11517" y="6"/>
                </a:cubicBezTo>
                <a:cubicBezTo>
                  <a:pt x="11512" y="6"/>
                  <a:pt x="11507" y="6"/>
                  <a:pt x="11501" y="6"/>
                </a:cubicBezTo>
                <a:cubicBezTo>
                  <a:pt x="11363" y="5"/>
                  <a:pt x="11024" y="4"/>
                  <a:pt x="10959" y="5"/>
                </a:cubicBezTo>
                <a:cubicBezTo>
                  <a:pt x="10945" y="5"/>
                  <a:pt x="10915" y="5"/>
                  <a:pt x="10892" y="5"/>
                </a:cubicBezTo>
                <a:cubicBezTo>
                  <a:pt x="10868" y="5"/>
                  <a:pt x="10833" y="6"/>
                  <a:pt x="10813" y="6"/>
                </a:cubicBezTo>
                <a:cubicBezTo>
                  <a:pt x="10702" y="7"/>
                  <a:pt x="10658" y="7"/>
                  <a:pt x="10548" y="7"/>
                </a:cubicBezTo>
                <a:cubicBezTo>
                  <a:pt x="10538" y="7"/>
                  <a:pt x="10528" y="7"/>
                  <a:pt x="10518" y="7"/>
                </a:cubicBezTo>
                <a:cubicBezTo>
                  <a:pt x="10515" y="7"/>
                  <a:pt x="10511" y="7"/>
                  <a:pt x="10507" y="7"/>
                </a:cubicBezTo>
                <a:cubicBezTo>
                  <a:pt x="10504" y="7"/>
                  <a:pt x="10501" y="8"/>
                  <a:pt x="10499" y="8"/>
                </a:cubicBezTo>
                <a:cubicBezTo>
                  <a:pt x="10494" y="9"/>
                  <a:pt x="10493" y="9"/>
                  <a:pt x="10488" y="8"/>
                </a:cubicBezTo>
                <a:cubicBezTo>
                  <a:pt x="10485" y="7"/>
                  <a:pt x="10481" y="6"/>
                  <a:pt x="10477" y="7"/>
                </a:cubicBezTo>
                <a:cubicBezTo>
                  <a:pt x="10476" y="7"/>
                  <a:pt x="10476" y="8"/>
                  <a:pt x="10475" y="8"/>
                </a:cubicBezTo>
                <a:cubicBezTo>
                  <a:pt x="10471" y="9"/>
                  <a:pt x="10463" y="8"/>
                  <a:pt x="10458" y="8"/>
                </a:cubicBezTo>
                <a:cubicBezTo>
                  <a:pt x="10452" y="8"/>
                  <a:pt x="10445" y="8"/>
                  <a:pt x="10439" y="8"/>
                </a:cubicBezTo>
                <a:cubicBezTo>
                  <a:pt x="10426" y="8"/>
                  <a:pt x="10413" y="8"/>
                  <a:pt x="10400" y="8"/>
                </a:cubicBezTo>
                <a:cubicBezTo>
                  <a:pt x="10360" y="8"/>
                  <a:pt x="10325" y="8"/>
                  <a:pt x="10322" y="8"/>
                </a:cubicBezTo>
                <a:cubicBezTo>
                  <a:pt x="10320" y="8"/>
                  <a:pt x="10318" y="9"/>
                  <a:pt x="10316" y="9"/>
                </a:cubicBezTo>
                <a:cubicBezTo>
                  <a:pt x="10314" y="8"/>
                  <a:pt x="10311" y="7"/>
                  <a:pt x="10306" y="8"/>
                </a:cubicBezTo>
                <a:cubicBezTo>
                  <a:pt x="10301" y="8"/>
                  <a:pt x="10296" y="8"/>
                  <a:pt x="10289" y="8"/>
                </a:cubicBezTo>
                <a:cubicBezTo>
                  <a:pt x="10282" y="8"/>
                  <a:pt x="10275" y="8"/>
                  <a:pt x="10267" y="8"/>
                </a:cubicBezTo>
                <a:cubicBezTo>
                  <a:pt x="10253" y="8"/>
                  <a:pt x="10238" y="8"/>
                  <a:pt x="10223" y="8"/>
                </a:cubicBezTo>
                <a:cubicBezTo>
                  <a:pt x="10158" y="8"/>
                  <a:pt x="10092" y="8"/>
                  <a:pt x="10027" y="7"/>
                </a:cubicBezTo>
                <a:cubicBezTo>
                  <a:pt x="9998" y="7"/>
                  <a:pt x="9969" y="7"/>
                  <a:pt x="9941" y="7"/>
                </a:cubicBezTo>
                <a:cubicBezTo>
                  <a:pt x="9920" y="7"/>
                  <a:pt x="9898" y="7"/>
                  <a:pt x="9877" y="7"/>
                </a:cubicBezTo>
                <a:cubicBezTo>
                  <a:pt x="9857" y="7"/>
                  <a:pt x="9836" y="7"/>
                  <a:pt x="9815" y="7"/>
                </a:cubicBezTo>
                <a:cubicBezTo>
                  <a:pt x="9806" y="7"/>
                  <a:pt x="9797" y="7"/>
                  <a:pt x="9788" y="7"/>
                </a:cubicBezTo>
                <a:lnTo>
                  <a:pt x="9776" y="7"/>
                </a:lnTo>
                <a:cubicBezTo>
                  <a:pt x="9773" y="7"/>
                  <a:pt x="9766" y="7"/>
                  <a:pt x="9764" y="7"/>
                </a:cubicBezTo>
                <a:cubicBezTo>
                  <a:pt x="9762" y="7"/>
                  <a:pt x="9761" y="7"/>
                  <a:pt x="9759" y="7"/>
                </a:cubicBezTo>
                <a:cubicBezTo>
                  <a:pt x="9759" y="7"/>
                  <a:pt x="9758" y="7"/>
                  <a:pt x="9757" y="7"/>
                </a:cubicBezTo>
                <a:cubicBezTo>
                  <a:pt x="9753" y="7"/>
                  <a:pt x="9751" y="9"/>
                  <a:pt x="9747" y="9"/>
                </a:cubicBezTo>
                <a:cubicBezTo>
                  <a:pt x="9744" y="9"/>
                  <a:pt x="9740" y="8"/>
                  <a:pt x="9737" y="7"/>
                </a:cubicBezTo>
                <a:cubicBezTo>
                  <a:pt x="9732" y="7"/>
                  <a:pt x="9725" y="7"/>
                  <a:pt x="9720" y="7"/>
                </a:cubicBezTo>
                <a:cubicBezTo>
                  <a:pt x="9711" y="7"/>
                  <a:pt x="9703" y="7"/>
                  <a:pt x="9694" y="7"/>
                </a:cubicBezTo>
                <a:cubicBezTo>
                  <a:pt x="9689" y="7"/>
                  <a:pt x="9664" y="6"/>
                  <a:pt x="9662" y="8"/>
                </a:cubicBezTo>
                <a:cubicBezTo>
                  <a:pt x="9662" y="9"/>
                  <a:pt x="9662" y="9"/>
                  <a:pt x="9662" y="9"/>
                </a:cubicBezTo>
                <a:cubicBezTo>
                  <a:pt x="9661" y="10"/>
                  <a:pt x="9650" y="10"/>
                  <a:pt x="9648" y="10"/>
                </a:cubicBezTo>
                <a:cubicBezTo>
                  <a:pt x="9645" y="10"/>
                  <a:pt x="9632" y="10"/>
                  <a:pt x="9631" y="9"/>
                </a:cubicBezTo>
                <a:cubicBezTo>
                  <a:pt x="9631" y="8"/>
                  <a:pt x="9628" y="8"/>
                  <a:pt x="9627" y="9"/>
                </a:cubicBezTo>
                <a:cubicBezTo>
                  <a:pt x="9623" y="9"/>
                  <a:pt x="9625" y="10"/>
                  <a:pt x="9620" y="10"/>
                </a:cubicBezTo>
                <a:cubicBezTo>
                  <a:pt x="9618" y="10"/>
                  <a:pt x="9615" y="10"/>
                  <a:pt x="9613" y="10"/>
                </a:cubicBezTo>
                <a:cubicBezTo>
                  <a:pt x="9610" y="10"/>
                  <a:pt x="9610" y="8"/>
                  <a:pt x="9607" y="8"/>
                </a:cubicBezTo>
                <a:cubicBezTo>
                  <a:pt x="9600" y="7"/>
                  <a:pt x="9590" y="7"/>
                  <a:pt x="9582" y="7"/>
                </a:cubicBezTo>
                <a:cubicBezTo>
                  <a:pt x="9575" y="7"/>
                  <a:pt x="9567" y="7"/>
                  <a:pt x="9562" y="9"/>
                </a:cubicBezTo>
                <a:cubicBezTo>
                  <a:pt x="9558" y="10"/>
                  <a:pt x="9555" y="9"/>
                  <a:pt x="9550" y="9"/>
                </a:cubicBezTo>
                <a:cubicBezTo>
                  <a:pt x="9544" y="8"/>
                  <a:pt x="9538" y="8"/>
                  <a:pt x="9532" y="8"/>
                </a:cubicBezTo>
                <a:cubicBezTo>
                  <a:pt x="9525" y="8"/>
                  <a:pt x="9521" y="8"/>
                  <a:pt x="9515" y="9"/>
                </a:cubicBezTo>
                <a:cubicBezTo>
                  <a:pt x="9512" y="9"/>
                  <a:pt x="9508" y="10"/>
                  <a:pt x="9506" y="10"/>
                </a:cubicBezTo>
                <a:cubicBezTo>
                  <a:pt x="9503" y="10"/>
                  <a:pt x="9500" y="9"/>
                  <a:pt x="9498" y="9"/>
                </a:cubicBezTo>
                <a:cubicBezTo>
                  <a:pt x="9496" y="9"/>
                  <a:pt x="9494" y="8"/>
                  <a:pt x="9492" y="8"/>
                </a:cubicBezTo>
                <a:cubicBezTo>
                  <a:pt x="9487" y="7"/>
                  <a:pt x="9481" y="7"/>
                  <a:pt x="9476" y="7"/>
                </a:cubicBezTo>
                <a:cubicBezTo>
                  <a:pt x="9469" y="7"/>
                  <a:pt x="9462" y="7"/>
                  <a:pt x="9455" y="7"/>
                </a:cubicBezTo>
                <a:cubicBezTo>
                  <a:pt x="9434" y="7"/>
                  <a:pt x="9413" y="7"/>
                  <a:pt x="9392" y="7"/>
                </a:cubicBezTo>
                <a:cubicBezTo>
                  <a:pt x="9382" y="7"/>
                  <a:pt x="9373" y="7"/>
                  <a:pt x="9364" y="7"/>
                </a:cubicBezTo>
                <a:cubicBezTo>
                  <a:pt x="9358" y="7"/>
                  <a:pt x="9351" y="7"/>
                  <a:pt x="9345" y="8"/>
                </a:cubicBezTo>
                <a:cubicBezTo>
                  <a:pt x="9340" y="8"/>
                  <a:pt x="9337" y="9"/>
                  <a:pt x="9333" y="10"/>
                </a:cubicBezTo>
                <a:cubicBezTo>
                  <a:pt x="9330" y="10"/>
                  <a:pt x="9326" y="10"/>
                  <a:pt x="9323" y="9"/>
                </a:cubicBezTo>
                <a:cubicBezTo>
                  <a:pt x="9321" y="9"/>
                  <a:pt x="9314" y="9"/>
                  <a:pt x="9306" y="9"/>
                </a:cubicBezTo>
                <a:cubicBezTo>
                  <a:pt x="9303" y="9"/>
                  <a:pt x="9299" y="10"/>
                  <a:pt x="9296" y="9"/>
                </a:cubicBezTo>
                <a:cubicBezTo>
                  <a:pt x="9294" y="9"/>
                  <a:pt x="9293" y="9"/>
                  <a:pt x="9293" y="8"/>
                </a:cubicBezTo>
                <a:cubicBezTo>
                  <a:pt x="9293" y="8"/>
                  <a:pt x="9294" y="8"/>
                  <a:pt x="9294" y="8"/>
                </a:cubicBezTo>
                <a:cubicBezTo>
                  <a:pt x="9294" y="7"/>
                  <a:pt x="9292" y="7"/>
                  <a:pt x="9290" y="7"/>
                </a:cubicBezTo>
                <a:cubicBezTo>
                  <a:pt x="9286" y="7"/>
                  <a:pt x="9281" y="7"/>
                  <a:pt x="9276" y="7"/>
                </a:cubicBezTo>
                <a:cubicBezTo>
                  <a:pt x="9263" y="7"/>
                  <a:pt x="9250" y="6"/>
                  <a:pt x="9247" y="6"/>
                </a:cubicBezTo>
                <a:cubicBezTo>
                  <a:pt x="9245" y="6"/>
                  <a:pt x="9225" y="6"/>
                  <a:pt x="9204" y="6"/>
                </a:cubicBezTo>
                <a:cubicBezTo>
                  <a:pt x="9197" y="6"/>
                  <a:pt x="9190" y="7"/>
                  <a:pt x="9183" y="7"/>
                </a:cubicBezTo>
                <a:cubicBezTo>
                  <a:pt x="9180" y="7"/>
                  <a:pt x="9171" y="6"/>
                  <a:pt x="9169" y="7"/>
                </a:cubicBezTo>
                <a:cubicBezTo>
                  <a:pt x="9167" y="8"/>
                  <a:pt x="9167" y="8"/>
                  <a:pt x="9164" y="9"/>
                </a:cubicBezTo>
                <a:cubicBezTo>
                  <a:pt x="9162" y="9"/>
                  <a:pt x="9158" y="8"/>
                  <a:pt x="9157" y="8"/>
                </a:cubicBezTo>
                <a:cubicBezTo>
                  <a:pt x="9157" y="8"/>
                  <a:pt x="9157" y="8"/>
                  <a:pt x="9157" y="7"/>
                </a:cubicBezTo>
                <a:cubicBezTo>
                  <a:pt x="9155" y="6"/>
                  <a:pt x="9138" y="7"/>
                  <a:pt x="9134" y="7"/>
                </a:cubicBezTo>
                <a:cubicBezTo>
                  <a:pt x="9111" y="7"/>
                  <a:pt x="9099" y="6"/>
                  <a:pt x="9083" y="5"/>
                </a:cubicBezTo>
                <a:cubicBezTo>
                  <a:pt x="9070" y="4"/>
                  <a:pt x="9019" y="4"/>
                  <a:pt x="8990" y="5"/>
                </a:cubicBezTo>
                <a:cubicBezTo>
                  <a:pt x="8986" y="5"/>
                  <a:pt x="8982" y="5"/>
                  <a:pt x="8978" y="6"/>
                </a:cubicBezTo>
                <a:cubicBezTo>
                  <a:pt x="8976" y="6"/>
                  <a:pt x="8973" y="6"/>
                  <a:pt x="8971" y="6"/>
                </a:cubicBezTo>
                <a:cubicBezTo>
                  <a:pt x="8970" y="6"/>
                  <a:pt x="8969" y="6"/>
                  <a:pt x="8968" y="6"/>
                </a:cubicBezTo>
                <a:cubicBezTo>
                  <a:pt x="8966" y="6"/>
                  <a:pt x="8965" y="6"/>
                  <a:pt x="8964" y="6"/>
                </a:cubicBezTo>
                <a:cubicBezTo>
                  <a:pt x="8963" y="6"/>
                  <a:pt x="8961" y="6"/>
                  <a:pt x="8959" y="6"/>
                </a:cubicBezTo>
                <a:cubicBezTo>
                  <a:pt x="8956" y="6"/>
                  <a:pt x="8954" y="6"/>
                  <a:pt x="8951" y="6"/>
                </a:cubicBezTo>
                <a:cubicBezTo>
                  <a:pt x="8948" y="5"/>
                  <a:pt x="8944" y="6"/>
                  <a:pt x="8941" y="6"/>
                </a:cubicBezTo>
                <a:cubicBezTo>
                  <a:pt x="8935" y="6"/>
                  <a:pt x="8931" y="5"/>
                  <a:pt x="8926" y="6"/>
                </a:cubicBezTo>
                <a:cubicBezTo>
                  <a:pt x="8923" y="7"/>
                  <a:pt x="8920" y="8"/>
                  <a:pt x="8915" y="7"/>
                </a:cubicBezTo>
                <a:cubicBezTo>
                  <a:pt x="8912" y="7"/>
                  <a:pt x="8909" y="6"/>
                  <a:pt x="8906" y="6"/>
                </a:cubicBezTo>
                <a:cubicBezTo>
                  <a:pt x="8905" y="6"/>
                  <a:pt x="8904" y="6"/>
                  <a:pt x="8903" y="6"/>
                </a:cubicBezTo>
                <a:cubicBezTo>
                  <a:pt x="8902" y="6"/>
                  <a:pt x="8902" y="6"/>
                  <a:pt x="8901" y="6"/>
                </a:cubicBezTo>
                <a:cubicBezTo>
                  <a:pt x="8900" y="6"/>
                  <a:pt x="8900" y="6"/>
                  <a:pt x="8900" y="6"/>
                </a:cubicBezTo>
                <a:cubicBezTo>
                  <a:pt x="8895" y="8"/>
                  <a:pt x="8887" y="8"/>
                  <a:pt x="8880" y="8"/>
                </a:cubicBezTo>
                <a:cubicBezTo>
                  <a:pt x="8877" y="8"/>
                  <a:pt x="8874" y="8"/>
                  <a:pt x="8873" y="7"/>
                </a:cubicBezTo>
                <a:cubicBezTo>
                  <a:pt x="8871" y="7"/>
                  <a:pt x="8871" y="6"/>
                  <a:pt x="8869" y="6"/>
                </a:cubicBezTo>
                <a:cubicBezTo>
                  <a:pt x="8867" y="5"/>
                  <a:pt x="8865" y="6"/>
                  <a:pt x="8864" y="6"/>
                </a:cubicBezTo>
                <a:cubicBezTo>
                  <a:pt x="8859" y="7"/>
                  <a:pt x="8855" y="5"/>
                  <a:pt x="8849" y="5"/>
                </a:cubicBezTo>
                <a:cubicBezTo>
                  <a:pt x="8844" y="5"/>
                  <a:pt x="8839" y="5"/>
                  <a:pt x="8834" y="5"/>
                </a:cubicBezTo>
                <a:cubicBezTo>
                  <a:pt x="8830" y="5"/>
                  <a:pt x="8811" y="4"/>
                  <a:pt x="8809" y="6"/>
                </a:cubicBezTo>
                <a:cubicBezTo>
                  <a:pt x="8808" y="6"/>
                  <a:pt x="8809" y="6"/>
                  <a:pt x="8809" y="6"/>
                </a:cubicBezTo>
                <a:cubicBezTo>
                  <a:pt x="8808" y="8"/>
                  <a:pt x="8800" y="7"/>
                  <a:pt x="8797" y="7"/>
                </a:cubicBezTo>
                <a:cubicBezTo>
                  <a:pt x="8791" y="7"/>
                  <a:pt x="8789" y="7"/>
                  <a:pt x="8784" y="6"/>
                </a:cubicBezTo>
                <a:cubicBezTo>
                  <a:pt x="8782" y="6"/>
                  <a:pt x="8780" y="6"/>
                  <a:pt x="8778" y="5"/>
                </a:cubicBezTo>
                <a:cubicBezTo>
                  <a:pt x="8776" y="5"/>
                  <a:pt x="8773" y="6"/>
                  <a:pt x="8773" y="6"/>
                </a:cubicBezTo>
                <a:cubicBezTo>
                  <a:pt x="8772" y="6"/>
                  <a:pt x="8772" y="7"/>
                  <a:pt x="8772" y="7"/>
                </a:cubicBezTo>
                <a:cubicBezTo>
                  <a:pt x="8772" y="7"/>
                  <a:pt x="8771" y="7"/>
                  <a:pt x="8770" y="7"/>
                </a:cubicBezTo>
                <a:cubicBezTo>
                  <a:pt x="8768" y="7"/>
                  <a:pt x="8765" y="7"/>
                  <a:pt x="8763" y="7"/>
                </a:cubicBezTo>
                <a:cubicBezTo>
                  <a:pt x="8760" y="7"/>
                  <a:pt x="8758" y="6"/>
                  <a:pt x="8757" y="6"/>
                </a:cubicBezTo>
                <a:cubicBezTo>
                  <a:pt x="8757" y="5"/>
                  <a:pt x="8757" y="5"/>
                  <a:pt x="8755" y="5"/>
                </a:cubicBezTo>
                <a:cubicBezTo>
                  <a:pt x="8752" y="5"/>
                  <a:pt x="8750" y="5"/>
                  <a:pt x="8747" y="5"/>
                </a:cubicBezTo>
                <a:cubicBezTo>
                  <a:pt x="8728" y="5"/>
                  <a:pt x="8684" y="4"/>
                  <a:pt x="8673" y="4"/>
                </a:cubicBezTo>
                <a:cubicBezTo>
                  <a:pt x="8670" y="4"/>
                  <a:pt x="8662" y="4"/>
                  <a:pt x="8655" y="4"/>
                </a:cubicBezTo>
                <a:cubicBezTo>
                  <a:pt x="8648" y="4"/>
                  <a:pt x="8636" y="4"/>
                  <a:pt x="8628" y="4"/>
                </a:cubicBezTo>
                <a:cubicBezTo>
                  <a:pt x="8620" y="3"/>
                  <a:pt x="8606" y="3"/>
                  <a:pt x="8597" y="3"/>
                </a:cubicBezTo>
                <a:cubicBezTo>
                  <a:pt x="8584" y="3"/>
                  <a:pt x="8569" y="2"/>
                  <a:pt x="8557" y="3"/>
                </a:cubicBezTo>
                <a:cubicBezTo>
                  <a:pt x="8554" y="3"/>
                  <a:pt x="8552" y="3"/>
                  <a:pt x="8548" y="3"/>
                </a:cubicBezTo>
                <a:cubicBezTo>
                  <a:pt x="8540" y="3"/>
                  <a:pt x="8531" y="3"/>
                  <a:pt x="8523" y="3"/>
                </a:cubicBezTo>
                <a:cubicBezTo>
                  <a:pt x="8505" y="3"/>
                  <a:pt x="8482" y="4"/>
                  <a:pt x="8471" y="4"/>
                </a:cubicBezTo>
                <a:cubicBezTo>
                  <a:pt x="8465" y="4"/>
                  <a:pt x="8459" y="4"/>
                  <a:pt x="8453" y="4"/>
                </a:cubicBezTo>
                <a:cubicBezTo>
                  <a:pt x="8451" y="4"/>
                  <a:pt x="8449" y="4"/>
                  <a:pt x="8449" y="5"/>
                </a:cubicBezTo>
                <a:cubicBezTo>
                  <a:pt x="8449" y="5"/>
                  <a:pt x="8452" y="6"/>
                  <a:pt x="8452" y="6"/>
                </a:cubicBezTo>
                <a:cubicBezTo>
                  <a:pt x="8449" y="6"/>
                  <a:pt x="8446" y="6"/>
                  <a:pt x="8444" y="6"/>
                </a:cubicBezTo>
                <a:cubicBezTo>
                  <a:pt x="8442" y="6"/>
                  <a:pt x="8441" y="6"/>
                  <a:pt x="8441" y="6"/>
                </a:cubicBezTo>
                <a:cubicBezTo>
                  <a:pt x="8441" y="5"/>
                  <a:pt x="8441" y="5"/>
                  <a:pt x="8441" y="5"/>
                </a:cubicBezTo>
                <a:cubicBezTo>
                  <a:pt x="8441" y="5"/>
                  <a:pt x="8441" y="5"/>
                  <a:pt x="8440" y="5"/>
                </a:cubicBezTo>
                <a:cubicBezTo>
                  <a:pt x="8436" y="4"/>
                  <a:pt x="8429" y="4"/>
                  <a:pt x="8425" y="4"/>
                </a:cubicBezTo>
                <a:cubicBezTo>
                  <a:pt x="8422" y="4"/>
                  <a:pt x="8415" y="5"/>
                  <a:pt x="8413" y="5"/>
                </a:cubicBezTo>
                <a:cubicBezTo>
                  <a:pt x="8410" y="4"/>
                  <a:pt x="8407" y="5"/>
                  <a:pt x="8407" y="5"/>
                </a:cubicBezTo>
                <a:cubicBezTo>
                  <a:pt x="8405" y="7"/>
                  <a:pt x="8404" y="7"/>
                  <a:pt x="8400" y="6"/>
                </a:cubicBezTo>
                <a:cubicBezTo>
                  <a:pt x="8399" y="6"/>
                  <a:pt x="8397" y="6"/>
                  <a:pt x="8397" y="5"/>
                </a:cubicBezTo>
                <a:cubicBezTo>
                  <a:pt x="8396" y="5"/>
                  <a:pt x="8394" y="4"/>
                  <a:pt x="8393" y="4"/>
                </a:cubicBezTo>
                <a:cubicBezTo>
                  <a:pt x="8390" y="4"/>
                  <a:pt x="8381" y="4"/>
                  <a:pt x="8379" y="3"/>
                </a:cubicBezTo>
                <a:cubicBezTo>
                  <a:pt x="8379" y="3"/>
                  <a:pt x="8379" y="3"/>
                  <a:pt x="8378" y="3"/>
                </a:cubicBezTo>
                <a:cubicBezTo>
                  <a:pt x="8378" y="3"/>
                  <a:pt x="8376" y="3"/>
                  <a:pt x="8374" y="3"/>
                </a:cubicBezTo>
                <a:cubicBezTo>
                  <a:pt x="8371" y="3"/>
                  <a:pt x="8368" y="3"/>
                  <a:pt x="8364" y="4"/>
                </a:cubicBezTo>
                <a:cubicBezTo>
                  <a:pt x="8361" y="4"/>
                  <a:pt x="8357" y="4"/>
                  <a:pt x="8353" y="4"/>
                </a:cubicBezTo>
                <a:cubicBezTo>
                  <a:pt x="8343" y="4"/>
                  <a:pt x="8334" y="4"/>
                  <a:pt x="8325" y="4"/>
                </a:cubicBezTo>
                <a:cubicBezTo>
                  <a:pt x="8306" y="4"/>
                  <a:pt x="8287" y="4"/>
                  <a:pt x="8268" y="4"/>
                </a:cubicBezTo>
                <a:cubicBezTo>
                  <a:pt x="8215" y="4"/>
                  <a:pt x="8163" y="4"/>
                  <a:pt x="8152" y="4"/>
                </a:cubicBezTo>
                <a:cubicBezTo>
                  <a:pt x="8142" y="4"/>
                  <a:pt x="8100" y="4"/>
                  <a:pt x="8059" y="4"/>
                </a:cubicBezTo>
                <a:cubicBezTo>
                  <a:pt x="8018" y="4"/>
                  <a:pt x="7950" y="4"/>
                  <a:pt x="7909" y="4"/>
                </a:cubicBezTo>
                <a:cubicBezTo>
                  <a:pt x="7867" y="4"/>
                  <a:pt x="7758" y="4"/>
                  <a:pt x="7667" y="4"/>
                </a:cubicBezTo>
                <a:cubicBezTo>
                  <a:pt x="7636" y="4"/>
                  <a:pt x="7604" y="4"/>
                  <a:pt x="7573" y="4"/>
                </a:cubicBezTo>
                <a:cubicBezTo>
                  <a:pt x="7557" y="4"/>
                  <a:pt x="7542" y="4"/>
                  <a:pt x="7526" y="4"/>
                </a:cubicBezTo>
                <a:cubicBezTo>
                  <a:pt x="7519" y="4"/>
                  <a:pt x="7511" y="3"/>
                  <a:pt x="7504" y="4"/>
                </a:cubicBezTo>
                <a:cubicBezTo>
                  <a:pt x="7498" y="4"/>
                  <a:pt x="7497" y="5"/>
                  <a:pt x="7492" y="4"/>
                </a:cubicBezTo>
                <a:cubicBezTo>
                  <a:pt x="7487" y="3"/>
                  <a:pt x="7480" y="4"/>
                  <a:pt x="7475" y="4"/>
                </a:cubicBezTo>
                <a:cubicBezTo>
                  <a:pt x="7468" y="4"/>
                  <a:pt x="7462" y="4"/>
                  <a:pt x="7455" y="4"/>
                </a:cubicBezTo>
                <a:cubicBezTo>
                  <a:pt x="7442" y="4"/>
                  <a:pt x="7428" y="4"/>
                  <a:pt x="7415" y="4"/>
                </a:cubicBezTo>
                <a:cubicBezTo>
                  <a:pt x="7401" y="4"/>
                  <a:pt x="7387" y="4"/>
                  <a:pt x="7373" y="4"/>
                </a:cubicBezTo>
                <a:cubicBezTo>
                  <a:pt x="7363" y="4"/>
                  <a:pt x="7348" y="4"/>
                  <a:pt x="7340" y="5"/>
                </a:cubicBezTo>
                <a:cubicBezTo>
                  <a:pt x="7338" y="5"/>
                  <a:pt x="7335" y="5"/>
                  <a:pt x="7332" y="5"/>
                </a:cubicBezTo>
                <a:cubicBezTo>
                  <a:pt x="7324" y="4"/>
                  <a:pt x="7314" y="4"/>
                  <a:pt x="7306" y="4"/>
                </a:cubicBezTo>
                <a:cubicBezTo>
                  <a:pt x="7290" y="4"/>
                  <a:pt x="7251" y="4"/>
                  <a:pt x="7218" y="4"/>
                </a:cubicBezTo>
                <a:cubicBezTo>
                  <a:pt x="7200" y="4"/>
                  <a:pt x="7181" y="5"/>
                  <a:pt x="7163" y="4"/>
                </a:cubicBezTo>
                <a:cubicBezTo>
                  <a:pt x="7160" y="4"/>
                  <a:pt x="7158" y="4"/>
                  <a:pt x="7156" y="4"/>
                </a:cubicBezTo>
                <a:cubicBezTo>
                  <a:pt x="7155" y="4"/>
                  <a:pt x="7154" y="3"/>
                  <a:pt x="7153" y="3"/>
                </a:cubicBezTo>
                <a:cubicBezTo>
                  <a:pt x="7149" y="3"/>
                  <a:pt x="7141" y="3"/>
                  <a:pt x="7136" y="3"/>
                </a:cubicBezTo>
                <a:cubicBezTo>
                  <a:pt x="7132" y="3"/>
                  <a:pt x="7127" y="4"/>
                  <a:pt x="7122" y="4"/>
                </a:cubicBezTo>
                <a:cubicBezTo>
                  <a:pt x="7118" y="4"/>
                  <a:pt x="7114" y="4"/>
                  <a:pt x="7111" y="4"/>
                </a:cubicBezTo>
                <a:cubicBezTo>
                  <a:pt x="7108" y="5"/>
                  <a:pt x="7107" y="5"/>
                  <a:pt x="7104" y="5"/>
                </a:cubicBezTo>
                <a:cubicBezTo>
                  <a:pt x="7100" y="5"/>
                  <a:pt x="7096" y="4"/>
                  <a:pt x="7092" y="4"/>
                </a:cubicBezTo>
                <a:cubicBezTo>
                  <a:pt x="7087" y="4"/>
                  <a:pt x="7084" y="5"/>
                  <a:pt x="7080" y="5"/>
                </a:cubicBezTo>
                <a:cubicBezTo>
                  <a:pt x="7078" y="5"/>
                  <a:pt x="7077" y="5"/>
                  <a:pt x="7075" y="5"/>
                </a:cubicBezTo>
                <a:cubicBezTo>
                  <a:pt x="7068" y="4"/>
                  <a:pt x="7057" y="4"/>
                  <a:pt x="7049" y="4"/>
                </a:cubicBezTo>
                <a:cubicBezTo>
                  <a:pt x="7041" y="4"/>
                  <a:pt x="7033" y="4"/>
                  <a:pt x="7025" y="4"/>
                </a:cubicBezTo>
                <a:cubicBezTo>
                  <a:pt x="7021" y="4"/>
                  <a:pt x="7012" y="5"/>
                  <a:pt x="7009" y="4"/>
                </a:cubicBezTo>
                <a:cubicBezTo>
                  <a:pt x="7006" y="3"/>
                  <a:pt x="7007" y="3"/>
                  <a:pt x="7006" y="3"/>
                </a:cubicBezTo>
                <a:cubicBezTo>
                  <a:pt x="7005" y="2"/>
                  <a:pt x="7004" y="2"/>
                  <a:pt x="7003" y="2"/>
                </a:cubicBezTo>
                <a:cubicBezTo>
                  <a:pt x="6999" y="2"/>
                  <a:pt x="6995" y="1"/>
                  <a:pt x="6991" y="2"/>
                </a:cubicBezTo>
                <a:cubicBezTo>
                  <a:pt x="6990" y="2"/>
                  <a:pt x="6988" y="2"/>
                  <a:pt x="6988" y="2"/>
                </a:cubicBezTo>
                <a:cubicBezTo>
                  <a:pt x="6987" y="3"/>
                  <a:pt x="6989" y="3"/>
                  <a:pt x="6989" y="3"/>
                </a:cubicBezTo>
                <a:cubicBezTo>
                  <a:pt x="6989" y="3"/>
                  <a:pt x="6988" y="4"/>
                  <a:pt x="6986" y="4"/>
                </a:cubicBezTo>
                <a:cubicBezTo>
                  <a:pt x="6980" y="5"/>
                  <a:pt x="6972" y="5"/>
                  <a:pt x="6965" y="5"/>
                </a:cubicBezTo>
                <a:cubicBezTo>
                  <a:pt x="6956" y="4"/>
                  <a:pt x="6948" y="3"/>
                  <a:pt x="6940" y="3"/>
                </a:cubicBezTo>
                <a:cubicBezTo>
                  <a:pt x="6931" y="3"/>
                  <a:pt x="6921" y="2"/>
                  <a:pt x="6912" y="3"/>
                </a:cubicBezTo>
                <a:cubicBezTo>
                  <a:pt x="6905" y="3"/>
                  <a:pt x="6900" y="4"/>
                  <a:pt x="6892" y="3"/>
                </a:cubicBezTo>
                <a:cubicBezTo>
                  <a:pt x="6888" y="3"/>
                  <a:pt x="6884" y="3"/>
                  <a:pt x="6880" y="3"/>
                </a:cubicBezTo>
                <a:cubicBezTo>
                  <a:pt x="6876" y="3"/>
                  <a:pt x="6873" y="3"/>
                  <a:pt x="6869" y="3"/>
                </a:cubicBezTo>
                <a:cubicBezTo>
                  <a:pt x="6865" y="2"/>
                  <a:pt x="6860" y="2"/>
                  <a:pt x="6856" y="2"/>
                </a:cubicBezTo>
                <a:cubicBezTo>
                  <a:pt x="6849" y="2"/>
                  <a:pt x="6842" y="2"/>
                  <a:pt x="6835" y="2"/>
                </a:cubicBezTo>
                <a:cubicBezTo>
                  <a:pt x="6827" y="2"/>
                  <a:pt x="6816" y="1"/>
                  <a:pt x="6808" y="2"/>
                </a:cubicBezTo>
                <a:cubicBezTo>
                  <a:pt x="6803" y="3"/>
                  <a:pt x="6807" y="4"/>
                  <a:pt x="6802" y="4"/>
                </a:cubicBezTo>
                <a:cubicBezTo>
                  <a:pt x="6797" y="5"/>
                  <a:pt x="6790" y="5"/>
                  <a:pt x="6785" y="5"/>
                </a:cubicBezTo>
                <a:cubicBezTo>
                  <a:pt x="6780" y="5"/>
                  <a:pt x="6748" y="3"/>
                  <a:pt x="6747" y="5"/>
                </a:cubicBezTo>
                <a:cubicBezTo>
                  <a:pt x="6747" y="5"/>
                  <a:pt x="6747" y="5"/>
                  <a:pt x="6746" y="5"/>
                </a:cubicBezTo>
                <a:cubicBezTo>
                  <a:pt x="6738" y="5"/>
                  <a:pt x="6731" y="5"/>
                  <a:pt x="6723" y="5"/>
                </a:cubicBezTo>
                <a:cubicBezTo>
                  <a:pt x="6688" y="4"/>
                  <a:pt x="6663" y="3"/>
                  <a:pt x="6625" y="4"/>
                </a:cubicBezTo>
                <a:cubicBezTo>
                  <a:pt x="6612" y="4"/>
                  <a:pt x="6598" y="4"/>
                  <a:pt x="6584" y="4"/>
                </a:cubicBezTo>
                <a:cubicBezTo>
                  <a:pt x="6584" y="4"/>
                  <a:pt x="6584" y="4"/>
                  <a:pt x="6584" y="3"/>
                </a:cubicBezTo>
                <a:cubicBezTo>
                  <a:pt x="6583" y="3"/>
                  <a:pt x="6583" y="3"/>
                  <a:pt x="6582" y="3"/>
                </a:cubicBezTo>
                <a:cubicBezTo>
                  <a:pt x="6580" y="3"/>
                  <a:pt x="6578" y="3"/>
                  <a:pt x="6576" y="3"/>
                </a:cubicBezTo>
                <a:cubicBezTo>
                  <a:pt x="6570" y="4"/>
                  <a:pt x="6567" y="3"/>
                  <a:pt x="6561" y="3"/>
                </a:cubicBezTo>
                <a:cubicBezTo>
                  <a:pt x="6556" y="2"/>
                  <a:pt x="6550" y="2"/>
                  <a:pt x="6547" y="3"/>
                </a:cubicBezTo>
                <a:cubicBezTo>
                  <a:pt x="6546" y="3"/>
                  <a:pt x="6546" y="3"/>
                  <a:pt x="6546" y="3"/>
                </a:cubicBezTo>
                <a:cubicBezTo>
                  <a:pt x="6543" y="4"/>
                  <a:pt x="6532" y="4"/>
                  <a:pt x="6528" y="4"/>
                </a:cubicBezTo>
                <a:cubicBezTo>
                  <a:pt x="6522" y="4"/>
                  <a:pt x="6516" y="4"/>
                  <a:pt x="6510" y="4"/>
                </a:cubicBezTo>
                <a:cubicBezTo>
                  <a:pt x="6490" y="4"/>
                  <a:pt x="6471" y="4"/>
                  <a:pt x="6467" y="4"/>
                </a:cubicBezTo>
                <a:cubicBezTo>
                  <a:pt x="6459" y="4"/>
                  <a:pt x="6452" y="4"/>
                  <a:pt x="6444" y="4"/>
                </a:cubicBezTo>
                <a:cubicBezTo>
                  <a:pt x="6443" y="3"/>
                  <a:pt x="6441" y="3"/>
                  <a:pt x="6441" y="3"/>
                </a:cubicBezTo>
                <a:cubicBezTo>
                  <a:pt x="6439" y="3"/>
                  <a:pt x="6438" y="3"/>
                  <a:pt x="6433" y="3"/>
                </a:cubicBezTo>
                <a:cubicBezTo>
                  <a:pt x="6429" y="3"/>
                  <a:pt x="6424" y="3"/>
                  <a:pt x="6420" y="3"/>
                </a:cubicBezTo>
                <a:cubicBezTo>
                  <a:pt x="6418" y="3"/>
                  <a:pt x="6417" y="3"/>
                  <a:pt x="6416" y="3"/>
                </a:cubicBezTo>
                <a:cubicBezTo>
                  <a:pt x="6414" y="3"/>
                  <a:pt x="6415" y="3"/>
                  <a:pt x="6414" y="3"/>
                </a:cubicBezTo>
                <a:cubicBezTo>
                  <a:pt x="6411" y="4"/>
                  <a:pt x="6405" y="3"/>
                  <a:pt x="6401" y="4"/>
                </a:cubicBezTo>
                <a:cubicBezTo>
                  <a:pt x="6393" y="4"/>
                  <a:pt x="6385" y="4"/>
                  <a:pt x="6377" y="3"/>
                </a:cubicBezTo>
                <a:cubicBezTo>
                  <a:pt x="6369" y="3"/>
                  <a:pt x="6362" y="3"/>
                  <a:pt x="6355" y="4"/>
                </a:cubicBezTo>
                <a:cubicBezTo>
                  <a:pt x="6351" y="4"/>
                  <a:pt x="6348" y="5"/>
                  <a:pt x="6344" y="5"/>
                </a:cubicBezTo>
                <a:cubicBezTo>
                  <a:pt x="6338" y="6"/>
                  <a:pt x="6333" y="5"/>
                  <a:pt x="6328" y="5"/>
                </a:cubicBezTo>
                <a:cubicBezTo>
                  <a:pt x="6313" y="4"/>
                  <a:pt x="6295" y="5"/>
                  <a:pt x="6280" y="5"/>
                </a:cubicBezTo>
                <a:cubicBezTo>
                  <a:pt x="6255" y="5"/>
                  <a:pt x="6229" y="6"/>
                  <a:pt x="6221" y="6"/>
                </a:cubicBezTo>
                <a:cubicBezTo>
                  <a:pt x="6215" y="6"/>
                  <a:pt x="6206" y="6"/>
                  <a:pt x="6202" y="7"/>
                </a:cubicBezTo>
                <a:cubicBezTo>
                  <a:pt x="6201" y="7"/>
                  <a:pt x="6201" y="7"/>
                  <a:pt x="6200" y="7"/>
                </a:cubicBezTo>
                <a:cubicBezTo>
                  <a:pt x="6200" y="7"/>
                  <a:pt x="6199" y="7"/>
                  <a:pt x="6199" y="7"/>
                </a:cubicBezTo>
                <a:cubicBezTo>
                  <a:pt x="6197" y="7"/>
                  <a:pt x="6195" y="7"/>
                  <a:pt x="6193" y="7"/>
                </a:cubicBezTo>
                <a:cubicBezTo>
                  <a:pt x="6192" y="7"/>
                  <a:pt x="6191" y="7"/>
                  <a:pt x="6189" y="6"/>
                </a:cubicBezTo>
                <a:cubicBezTo>
                  <a:pt x="6181" y="5"/>
                  <a:pt x="6168" y="6"/>
                  <a:pt x="6158" y="6"/>
                </a:cubicBezTo>
                <a:cubicBezTo>
                  <a:pt x="6147" y="6"/>
                  <a:pt x="6136" y="6"/>
                  <a:pt x="6124" y="6"/>
                </a:cubicBezTo>
                <a:cubicBezTo>
                  <a:pt x="6111" y="6"/>
                  <a:pt x="6099" y="6"/>
                  <a:pt x="6086" y="5"/>
                </a:cubicBezTo>
                <a:cubicBezTo>
                  <a:pt x="6079" y="5"/>
                  <a:pt x="6073" y="5"/>
                  <a:pt x="6066" y="5"/>
                </a:cubicBezTo>
                <a:cubicBezTo>
                  <a:pt x="6062" y="5"/>
                  <a:pt x="6059" y="6"/>
                  <a:pt x="6055" y="6"/>
                </a:cubicBezTo>
                <a:cubicBezTo>
                  <a:pt x="6054" y="6"/>
                  <a:pt x="6053" y="6"/>
                  <a:pt x="6051" y="6"/>
                </a:cubicBezTo>
                <a:cubicBezTo>
                  <a:pt x="6050" y="6"/>
                  <a:pt x="6049" y="7"/>
                  <a:pt x="6047" y="7"/>
                </a:cubicBezTo>
                <a:cubicBezTo>
                  <a:pt x="6039" y="6"/>
                  <a:pt x="6032" y="5"/>
                  <a:pt x="6024" y="5"/>
                </a:cubicBezTo>
                <a:cubicBezTo>
                  <a:pt x="6015" y="5"/>
                  <a:pt x="6007" y="5"/>
                  <a:pt x="5998" y="5"/>
                </a:cubicBezTo>
                <a:cubicBezTo>
                  <a:pt x="5991" y="5"/>
                  <a:pt x="5984" y="6"/>
                  <a:pt x="5977" y="6"/>
                </a:cubicBezTo>
                <a:cubicBezTo>
                  <a:pt x="5971" y="6"/>
                  <a:pt x="5966" y="6"/>
                  <a:pt x="5962" y="7"/>
                </a:cubicBezTo>
                <a:cubicBezTo>
                  <a:pt x="5960" y="8"/>
                  <a:pt x="5957" y="8"/>
                  <a:pt x="5954" y="8"/>
                </a:cubicBezTo>
                <a:cubicBezTo>
                  <a:pt x="5949" y="8"/>
                  <a:pt x="5943" y="8"/>
                  <a:pt x="5937" y="8"/>
                </a:cubicBezTo>
                <a:cubicBezTo>
                  <a:pt x="5932" y="8"/>
                  <a:pt x="5926" y="8"/>
                  <a:pt x="5920" y="8"/>
                </a:cubicBezTo>
                <a:cubicBezTo>
                  <a:pt x="5918" y="8"/>
                  <a:pt x="5916" y="8"/>
                  <a:pt x="5914" y="8"/>
                </a:cubicBezTo>
                <a:cubicBezTo>
                  <a:pt x="5913" y="9"/>
                  <a:pt x="5913" y="9"/>
                  <a:pt x="5913" y="9"/>
                </a:cubicBezTo>
                <a:cubicBezTo>
                  <a:pt x="5912" y="9"/>
                  <a:pt x="5912" y="9"/>
                  <a:pt x="5911" y="9"/>
                </a:cubicBezTo>
                <a:cubicBezTo>
                  <a:pt x="5909" y="9"/>
                  <a:pt x="5906" y="9"/>
                  <a:pt x="5904" y="8"/>
                </a:cubicBezTo>
                <a:cubicBezTo>
                  <a:pt x="5900" y="8"/>
                  <a:pt x="5895" y="8"/>
                  <a:pt x="5890" y="8"/>
                </a:cubicBezTo>
                <a:cubicBezTo>
                  <a:pt x="5885" y="7"/>
                  <a:pt x="5880" y="7"/>
                  <a:pt x="5876" y="7"/>
                </a:cubicBezTo>
                <a:cubicBezTo>
                  <a:pt x="5875" y="7"/>
                  <a:pt x="5873" y="7"/>
                  <a:pt x="5872" y="7"/>
                </a:cubicBezTo>
                <a:cubicBezTo>
                  <a:pt x="5864" y="7"/>
                  <a:pt x="5855" y="7"/>
                  <a:pt x="5848" y="7"/>
                </a:cubicBezTo>
                <a:cubicBezTo>
                  <a:pt x="5843" y="7"/>
                  <a:pt x="5839" y="7"/>
                  <a:pt x="5834" y="7"/>
                </a:cubicBezTo>
                <a:cubicBezTo>
                  <a:pt x="5829" y="7"/>
                  <a:pt x="5825" y="7"/>
                  <a:pt x="5820" y="6"/>
                </a:cubicBezTo>
                <a:cubicBezTo>
                  <a:pt x="5817" y="6"/>
                  <a:pt x="5815" y="5"/>
                  <a:pt x="5811" y="5"/>
                </a:cubicBezTo>
                <a:cubicBezTo>
                  <a:pt x="5804" y="5"/>
                  <a:pt x="5797" y="5"/>
                  <a:pt x="5790" y="5"/>
                </a:cubicBezTo>
                <a:cubicBezTo>
                  <a:pt x="5771" y="5"/>
                  <a:pt x="5753" y="6"/>
                  <a:pt x="5734" y="6"/>
                </a:cubicBezTo>
                <a:cubicBezTo>
                  <a:pt x="5733" y="6"/>
                  <a:pt x="5732" y="6"/>
                  <a:pt x="5731" y="6"/>
                </a:cubicBezTo>
                <a:cubicBezTo>
                  <a:pt x="5729" y="6"/>
                  <a:pt x="5727" y="5"/>
                  <a:pt x="5726" y="5"/>
                </a:cubicBezTo>
                <a:cubicBezTo>
                  <a:pt x="5723" y="5"/>
                  <a:pt x="5720" y="4"/>
                  <a:pt x="5716" y="4"/>
                </a:cubicBezTo>
                <a:cubicBezTo>
                  <a:pt x="5714" y="4"/>
                  <a:pt x="5710" y="4"/>
                  <a:pt x="5707" y="4"/>
                </a:cubicBezTo>
                <a:cubicBezTo>
                  <a:pt x="5700" y="4"/>
                  <a:pt x="5694" y="4"/>
                  <a:pt x="5687" y="4"/>
                </a:cubicBezTo>
                <a:cubicBezTo>
                  <a:pt x="5680" y="4"/>
                  <a:pt x="5674" y="4"/>
                  <a:pt x="5668" y="4"/>
                </a:cubicBezTo>
                <a:cubicBezTo>
                  <a:pt x="5665" y="4"/>
                  <a:pt x="5663" y="4"/>
                  <a:pt x="5660" y="4"/>
                </a:cubicBezTo>
                <a:cubicBezTo>
                  <a:pt x="5658" y="4"/>
                  <a:pt x="5655" y="4"/>
                  <a:pt x="5653" y="4"/>
                </a:cubicBezTo>
                <a:cubicBezTo>
                  <a:pt x="5650" y="4"/>
                  <a:pt x="5643" y="7"/>
                  <a:pt x="5638" y="6"/>
                </a:cubicBezTo>
                <a:cubicBezTo>
                  <a:pt x="5635" y="5"/>
                  <a:pt x="5640" y="4"/>
                  <a:pt x="5638" y="3"/>
                </a:cubicBezTo>
                <a:cubicBezTo>
                  <a:pt x="5636" y="3"/>
                  <a:pt x="5627" y="3"/>
                  <a:pt x="5625" y="3"/>
                </a:cubicBezTo>
                <a:cubicBezTo>
                  <a:pt x="5624" y="3"/>
                  <a:pt x="5625" y="3"/>
                  <a:pt x="5627" y="3"/>
                </a:cubicBezTo>
                <a:cubicBezTo>
                  <a:pt x="5629" y="3"/>
                  <a:pt x="5631" y="4"/>
                  <a:pt x="5631" y="4"/>
                </a:cubicBezTo>
                <a:cubicBezTo>
                  <a:pt x="5631" y="5"/>
                  <a:pt x="5630" y="5"/>
                  <a:pt x="5630" y="5"/>
                </a:cubicBezTo>
                <a:cubicBezTo>
                  <a:pt x="5626" y="5"/>
                  <a:pt x="5621" y="5"/>
                  <a:pt x="5617" y="5"/>
                </a:cubicBezTo>
                <a:cubicBezTo>
                  <a:pt x="5614" y="5"/>
                  <a:pt x="5612" y="5"/>
                  <a:pt x="5609" y="5"/>
                </a:cubicBezTo>
                <a:cubicBezTo>
                  <a:pt x="5608" y="5"/>
                  <a:pt x="5606" y="5"/>
                  <a:pt x="5603" y="5"/>
                </a:cubicBezTo>
                <a:cubicBezTo>
                  <a:pt x="5603" y="4"/>
                  <a:pt x="5602" y="4"/>
                  <a:pt x="5600" y="4"/>
                </a:cubicBezTo>
                <a:cubicBezTo>
                  <a:pt x="5599" y="4"/>
                  <a:pt x="5598" y="5"/>
                  <a:pt x="5598" y="5"/>
                </a:cubicBezTo>
                <a:cubicBezTo>
                  <a:pt x="5598" y="5"/>
                  <a:pt x="5598" y="5"/>
                  <a:pt x="5598" y="5"/>
                </a:cubicBezTo>
                <a:cubicBezTo>
                  <a:pt x="5600" y="7"/>
                  <a:pt x="5590" y="6"/>
                  <a:pt x="5586" y="6"/>
                </a:cubicBezTo>
                <a:cubicBezTo>
                  <a:pt x="5579" y="6"/>
                  <a:pt x="5570" y="5"/>
                  <a:pt x="5566" y="4"/>
                </a:cubicBezTo>
                <a:cubicBezTo>
                  <a:pt x="5559" y="3"/>
                  <a:pt x="5552" y="3"/>
                  <a:pt x="5545" y="3"/>
                </a:cubicBezTo>
                <a:cubicBezTo>
                  <a:pt x="5539" y="3"/>
                  <a:pt x="5533" y="3"/>
                  <a:pt x="5528" y="3"/>
                </a:cubicBezTo>
                <a:cubicBezTo>
                  <a:pt x="5522" y="3"/>
                  <a:pt x="5517" y="3"/>
                  <a:pt x="5511" y="3"/>
                </a:cubicBezTo>
                <a:cubicBezTo>
                  <a:pt x="5509" y="3"/>
                  <a:pt x="5501" y="3"/>
                  <a:pt x="5501" y="3"/>
                </a:cubicBezTo>
                <a:cubicBezTo>
                  <a:pt x="5500" y="3"/>
                  <a:pt x="5498" y="3"/>
                  <a:pt x="5497" y="3"/>
                </a:cubicBezTo>
                <a:cubicBezTo>
                  <a:pt x="5497" y="4"/>
                  <a:pt x="5497" y="4"/>
                  <a:pt x="5497" y="4"/>
                </a:cubicBezTo>
                <a:cubicBezTo>
                  <a:pt x="5497" y="4"/>
                  <a:pt x="5498" y="4"/>
                  <a:pt x="5498" y="5"/>
                </a:cubicBezTo>
                <a:cubicBezTo>
                  <a:pt x="5497" y="5"/>
                  <a:pt x="5489" y="5"/>
                  <a:pt x="5489" y="5"/>
                </a:cubicBezTo>
                <a:cubicBezTo>
                  <a:pt x="5489" y="4"/>
                  <a:pt x="5491" y="4"/>
                  <a:pt x="5491" y="4"/>
                </a:cubicBezTo>
                <a:cubicBezTo>
                  <a:pt x="5491" y="3"/>
                  <a:pt x="5480" y="3"/>
                  <a:pt x="5478" y="3"/>
                </a:cubicBezTo>
                <a:cubicBezTo>
                  <a:pt x="5474" y="3"/>
                  <a:pt x="5471" y="3"/>
                  <a:pt x="5467" y="3"/>
                </a:cubicBezTo>
                <a:cubicBezTo>
                  <a:pt x="5466" y="3"/>
                  <a:pt x="5465" y="3"/>
                  <a:pt x="5464" y="3"/>
                </a:cubicBezTo>
                <a:cubicBezTo>
                  <a:pt x="5463" y="3"/>
                  <a:pt x="5461" y="3"/>
                  <a:pt x="5460" y="3"/>
                </a:cubicBezTo>
                <a:cubicBezTo>
                  <a:pt x="5458" y="3"/>
                  <a:pt x="5456" y="3"/>
                  <a:pt x="5455" y="3"/>
                </a:cubicBezTo>
                <a:cubicBezTo>
                  <a:pt x="5454" y="3"/>
                  <a:pt x="5453" y="3"/>
                  <a:pt x="5453" y="3"/>
                </a:cubicBezTo>
                <a:cubicBezTo>
                  <a:pt x="5449" y="4"/>
                  <a:pt x="5461" y="5"/>
                  <a:pt x="5463" y="5"/>
                </a:cubicBezTo>
                <a:cubicBezTo>
                  <a:pt x="5465" y="4"/>
                  <a:pt x="5469" y="4"/>
                  <a:pt x="5469" y="5"/>
                </a:cubicBezTo>
                <a:cubicBezTo>
                  <a:pt x="5469" y="6"/>
                  <a:pt x="5468" y="6"/>
                  <a:pt x="5464" y="6"/>
                </a:cubicBezTo>
                <a:cubicBezTo>
                  <a:pt x="5459" y="6"/>
                  <a:pt x="5455" y="6"/>
                  <a:pt x="5450" y="6"/>
                </a:cubicBezTo>
                <a:cubicBezTo>
                  <a:pt x="5441" y="6"/>
                  <a:pt x="5432" y="6"/>
                  <a:pt x="5423" y="6"/>
                </a:cubicBezTo>
                <a:cubicBezTo>
                  <a:pt x="5412" y="6"/>
                  <a:pt x="5402" y="6"/>
                  <a:pt x="5391" y="5"/>
                </a:cubicBezTo>
                <a:cubicBezTo>
                  <a:pt x="5387" y="5"/>
                  <a:pt x="5383" y="5"/>
                  <a:pt x="5379" y="5"/>
                </a:cubicBezTo>
                <a:cubicBezTo>
                  <a:pt x="5376" y="5"/>
                  <a:pt x="5373" y="5"/>
                  <a:pt x="5370" y="5"/>
                </a:cubicBezTo>
                <a:cubicBezTo>
                  <a:pt x="5371" y="5"/>
                  <a:pt x="5371" y="5"/>
                  <a:pt x="5371" y="5"/>
                </a:cubicBezTo>
                <a:cubicBezTo>
                  <a:pt x="5369" y="5"/>
                  <a:pt x="5368" y="5"/>
                  <a:pt x="5366" y="5"/>
                </a:cubicBezTo>
                <a:cubicBezTo>
                  <a:pt x="5364" y="4"/>
                  <a:pt x="5372" y="4"/>
                  <a:pt x="5373" y="3"/>
                </a:cubicBezTo>
                <a:cubicBezTo>
                  <a:pt x="5375" y="3"/>
                  <a:pt x="5371" y="3"/>
                  <a:pt x="5368" y="3"/>
                </a:cubicBezTo>
                <a:cubicBezTo>
                  <a:pt x="5366" y="3"/>
                  <a:pt x="5366" y="4"/>
                  <a:pt x="5363" y="4"/>
                </a:cubicBezTo>
                <a:cubicBezTo>
                  <a:pt x="5360" y="4"/>
                  <a:pt x="5359" y="3"/>
                  <a:pt x="5358" y="3"/>
                </a:cubicBezTo>
                <a:cubicBezTo>
                  <a:pt x="5355" y="3"/>
                  <a:pt x="5352" y="3"/>
                  <a:pt x="5349" y="3"/>
                </a:cubicBezTo>
                <a:cubicBezTo>
                  <a:pt x="5343" y="3"/>
                  <a:pt x="5337" y="3"/>
                  <a:pt x="5331" y="3"/>
                </a:cubicBezTo>
                <a:cubicBezTo>
                  <a:pt x="5318" y="3"/>
                  <a:pt x="5307" y="3"/>
                  <a:pt x="5305" y="3"/>
                </a:cubicBezTo>
                <a:cubicBezTo>
                  <a:pt x="5300" y="3"/>
                  <a:pt x="5291" y="3"/>
                  <a:pt x="5287" y="2"/>
                </a:cubicBezTo>
                <a:cubicBezTo>
                  <a:pt x="5285" y="2"/>
                  <a:pt x="5283" y="2"/>
                  <a:pt x="5281" y="3"/>
                </a:cubicBezTo>
                <a:cubicBezTo>
                  <a:pt x="5281" y="3"/>
                  <a:pt x="5281" y="3"/>
                  <a:pt x="5281" y="3"/>
                </a:cubicBezTo>
                <a:cubicBezTo>
                  <a:pt x="5281" y="4"/>
                  <a:pt x="5281" y="4"/>
                  <a:pt x="5279" y="4"/>
                </a:cubicBezTo>
                <a:cubicBezTo>
                  <a:pt x="5276" y="4"/>
                  <a:pt x="5273" y="3"/>
                  <a:pt x="5271" y="3"/>
                </a:cubicBezTo>
                <a:cubicBezTo>
                  <a:pt x="5268" y="3"/>
                  <a:pt x="5265" y="3"/>
                  <a:pt x="5262" y="3"/>
                </a:cubicBezTo>
                <a:cubicBezTo>
                  <a:pt x="5256" y="3"/>
                  <a:pt x="5250" y="3"/>
                  <a:pt x="5243" y="3"/>
                </a:cubicBezTo>
                <a:cubicBezTo>
                  <a:pt x="5241" y="3"/>
                  <a:pt x="5239" y="3"/>
                  <a:pt x="5236" y="3"/>
                </a:cubicBezTo>
                <a:cubicBezTo>
                  <a:pt x="5236" y="3"/>
                  <a:pt x="5236" y="3"/>
                  <a:pt x="5236" y="4"/>
                </a:cubicBezTo>
                <a:cubicBezTo>
                  <a:pt x="5223" y="4"/>
                  <a:pt x="5211" y="3"/>
                  <a:pt x="5199" y="3"/>
                </a:cubicBezTo>
                <a:cubicBezTo>
                  <a:pt x="5191" y="3"/>
                  <a:pt x="5184" y="3"/>
                  <a:pt x="5177" y="3"/>
                </a:cubicBezTo>
                <a:cubicBezTo>
                  <a:pt x="5175" y="3"/>
                  <a:pt x="5173" y="3"/>
                  <a:pt x="5170" y="3"/>
                </a:cubicBezTo>
                <a:cubicBezTo>
                  <a:pt x="5169" y="3"/>
                  <a:pt x="5162" y="4"/>
                  <a:pt x="5164" y="3"/>
                </a:cubicBezTo>
                <a:cubicBezTo>
                  <a:pt x="5165" y="3"/>
                  <a:pt x="5173" y="3"/>
                  <a:pt x="5172" y="2"/>
                </a:cubicBezTo>
                <a:cubicBezTo>
                  <a:pt x="5172" y="1"/>
                  <a:pt x="5166" y="2"/>
                  <a:pt x="5165" y="2"/>
                </a:cubicBezTo>
                <a:cubicBezTo>
                  <a:pt x="5163" y="3"/>
                  <a:pt x="5159" y="3"/>
                  <a:pt x="5157" y="3"/>
                </a:cubicBezTo>
                <a:cubicBezTo>
                  <a:pt x="5155" y="3"/>
                  <a:pt x="5153" y="3"/>
                  <a:pt x="5153" y="3"/>
                </a:cubicBezTo>
                <a:cubicBezTo>
                  <a:pt x="5153" y="3"/>
                  <a:pt x="5153" y="3"/>
                  <a:pt x="5152" y="3"/>
                </a:cubicBezTo>
                <a:cubicBezTo>
                  <a:pt x="5145" y="2"/>
                  <a:pt x="5136" y="2"/>
                  <a:pt x="5129" y="2"/>
                </a:cubicBezTo>
                <a:cubicBezTo>
                  <a:pt x="5115" y="1"/>
                  <a:pt x="5101" y="2"/>
                  <a:pt x="5087" y="2"/>
                </a:cubicBezTo>
                <a:cubicBezTo>
                  <a:pt x="5080" y="2"/>
                  <a:pt x="5073" y="3"/>
                  <a:pt x="5066" y="3"/>
                </a:cubicBezTo>
                <a:cubicBezTo>
                  <a:pt x="5060" y="3"/>
                  <a:pt x="5053" y="3"/>
                  <a:pt x="5047" y="3"/>
                </a:cubicBezTo>
                <a:cubicBezTo>
                  <a:pt x="5046" y="3"/>
                  <a:pt x="5046" y="3"/>
                  <a:pt x="5045" y="3"/>
                </a:cubicBezTo>
                <a:cubicBezTo>
                  <a:pt x="5045" y="3"/>
                  <a:pt x="5044" y="3"/>
                  <a:pt x="5044" y="3"/>
                </a:cubicBezTo>
                <a:cubicBezTo>
                  <a:pt x="5041" y="3"/>
                  <a:pt x="5038" y="3"/>
                  <a:pt x="5035" y="3"/>
                </a:cubicBezTo>
                <a:cubicBezTo>
                  <a:pt x="5034" y="3"/>
                  <a:pt x="5031" y="3"/>
                  <a:pt x="5031" y="3"/>
                </a:cubicBezTo>
                <a:cubicBezTo>
                  <a:pt x="5030" y="4"/>
                  <a:pt x="5031" y="4"/>
                  <a:pt x="5028" y="4"/>
                </a:cubicBezTo>
                <a:cubicBezTo>
                  <a:pt x="5025" y="5"/>
                  <a:pt x="5021" y="4"/>
                  <a:pt x="5019" y="4"/>
                </a:cubicBezTo>
                <a:cubicBezTo>
                  <a:pt x="5016" y="4"/>
                  <a:pt x="5012" y="3"/>
                  <a:pt x="5007" y="4"/>
                </a:cubicBezTo>
                <a:cubicBezTo>
                  <a:pt x="5005" y="4"/>
                  <a:pt x="5002" y="5"/>
                  <a:pt x="4998" y="5"/>
                </a:cubicBezTo>
                <a:cubicBezTo>
                  <a:pt x="4995" y="5"/>
                  <a:pt x="4990" y="5"/>
                  <a:pt x="4987" y="5"/>
                </a:cubicBezTo>
                <a:cubicBezTo>
                  <a:pt x="4978" y="5"/>
                  <a:pt x="4964" y="5"/>
                  <a:pt x="4956" y="4"/>
                </a:cubicBezTo>
                <a:cubicBezTo>
                  <a:pt x="4953" y="4"/>
                  <a:pt x="4950" y="4"/>
                  <a:pt x="4946" y="3"/>
                </a:cubicBezTo>
                <a:cubicBezTo>
                  <a:pt x="4944" y="3"/>
                  <a:pt x="4942" y="3"/>
                  <a:pt x="4938" y="4"/>
                </a:cubicBezTo>
                <a:cubicBezTo>
                  <a:pt x="4937" y="4"/>
                  <a:pt x="4936" y="4"/>
                  <a:pt x="4935" y="3"/>
                </a:cubicBezTo>
                <a:cubicBezTo>
                  <a:pt x="4929" y="3"/>
                  <a:pt x="4925" y="4"/>
                  <a:pt x="4922" y="5"/>
                </a:cubicBezTo>
                <a:cubicBezTo>
                  <a:pt x="4921" y="5"/>
                  <a:pt x="4917" y="5"/>
                  <a:pt x="4916" y="5"/>
                </a:cubicBezTo>
                <a:cubicBezTo>
                  <a:pt x="4914" y="5"/>
                  <a:pt x="4913" y="4"/>
                  <a:pt x="4911" y="4"/>
                </a:cubicBezTo>
                <a:cubicBezTo>
                  <a:pt x="4908" y="3"/>
                  <a:pt x="4905" y="3"/>
                  <a:pt x="4901" y="3"/>
                </a:cubicBezTo>
                <a:cubicBezTo>
                  <a:pt x="4900" y="3"/>
                  <a:pt x="4899" y="3"/>
                  <a:pt x="4897" y="3"/>
                </a:cubicBezTo>
                <a:cubicBezTo>
                  <a:pt x="4895" y="3"/>
                  <a:pt x="4896" y="3"/>
                  <a:pt x="4894" y="3"/>
                </a:cubicBezTo>
                <a:cubicBezTo>
                  <a:pt x="4893" y="3"/>
                  <a:pt x="4892" y="3"/>
                  <a:pt x="4891" y="3"/>
                </a:cubicBezTo>
                <a:cubicBezTo>
                  <a:pt x="4891" y="3"/>
                  <a:pt x="4890" y="3"/>
                  <a:pt x="4888" y="3"/>
                </a:cubicBezTo>
                <a:cubicBezTo>
                  <a:pt x="4886" y="3"/>
                  <a:pt x="4885" y="3"/>
                  <a:pt x="4884" y="4"/>
                </a:cubicBezTo>
                <a:cubicBezTo>
                  <a:pt x="4883" y="4"/>
                  <a:pt x="4883" y="5"/>
                  <a:pt x="4884" y="5"/>
                </a:cubicBezTo>
                <a:cubicBezTo>
                  <a:pt x="4882" y="5"/>
                  <a:pt x="4880" y="5"/>
                  <a:pt x="4878" y="5"/>
                </a:cubicBezTo>
                <a:cubicBezTo>
                  <a:pt x="4875" y="5"/>
                  <a:pt x="4872" y="5"/>
                  <a:pt x="4870" y="5"/>
                </a:cubicBezTo>
                <a:cubicBezTo>
                  <a:pt x="4860" y="5"/>
                  <a:pt x="4850" y="4"/>
                  <a:pt x="4840" y="4"/>
                </a:cubicBezTo>
                <a:cubicBezTo>
                  <a:pt x="4836" y="4"/>
                  <a:pt x="4832" y="4"/>
                  <a:pt x="4828" y="3"/>
                </a:cubicBezTo>
                <a:cubicBezTo>
                  <a:pt x="4825" y="3"/>
                  <a:pt x="4821" y="3"/>
                  <a:pt x="4819" y="3"/>
                </a:cubicBezTo>
                <a:cubicBezTo>
                  <a:pt x="4815" y="3"/>
                  <a:pt x="4812" y="3"/>
                  <a:pt x="4807" y="3"/>
                </a:cubicBezTo>
                <a:cubicBezTo>
                  <a:pt x="4803" y="3"/>
                  <a:pt x="4798" y="3"/>
                  <a:pt x="4795" y="3"/>
                </a:cubicBezTo>
                <a:cubicBezTo>
                  <a:pt x="4793" y="3"/>
                  <a:pt x="4792" y="3"/>
                  <a:pt x="4791" y="4"/>
                </a:cubicBezTo>
                <a:cubicBezTo>
                  <a:pt x="4790" y="4"/>
                  <a:pt x="4790" y="4"/>
                  <a:pt x="4789" y="4"/>
                </a:cubicBezTo>
                <a:cubicBezTo>
                  <a:pt x="4788" y="5"/>
                  <a:pt x="4786" y="5"/>
                  <a:pt x="4784" y="5"/>
                </a:cubicBezTo>
                <a:cubicBezTo>
                  <a:pt x="4772" y="5"/>
                  <a:pt x="4761" y="2"/>
                  <a:pt x="4749" y="3"/>
                </a:cubicBezTo>
                <a:cubicBezTo>
                  <a:pt x="4748" y="3"/>
                  <a:pt x="4747" y="3"/>
                  <a:pt x="4745" y="3"/>
                </a:cubicBezTo>
                <a:cubicBezTo>
                  <a:pt x="4741" y="4"/>
                  <a:pt x="4736" y="4"/>
                  <a:pt x="4730" y="4"/>
                </a:cubicBezTo>
                <a:cubicBezTo>
                  <a:pt x="4727" y="4"/>
                  <a:pt x="4724" y="4"/>
                  <a:pt x="4720" y="4"/>
                </a:cubicBezTo>
                <a:cubicBezTo>
                  <a:pt x="4718" y="4"/>
                  <a:pt x="4717" y="5"/>
                  <a:pt x="4715" y="5"/>
                </a:cubicBezTo>
                <a:cubicBezTo>
                  <a:pt x="4713" y="5"/>
                  <a:pt x="4712" y="6"/>
                  <a:pt x="4709" y="6"/>
                </a:cubicBezTo>
                <a:cubicBezTo>
                  <a:pt x="4705" y="6"/>
                  <a:pt x="4701" y="6"/>
                  <a:pt x="4697" y="6"/>
                </a:cubicBezTo>
                <a:cubicBezTo>
                  <a:pt x="4695" y="5"/>
                  <a:pt x="4693" y="5"/>
                  <a:pt x="4690" y="5"/>
                </a:cubicBezTo>
                <a:cubicBezTo>
                  <a:pt x="4687" y="4"/>
                  <a:pt x="4681" y="4"/>
                  <a:pt x="4677" y="4"/>
                </a:cubicBezTo>
                <a:cubicBezTo>
                  <a:pt x="4672" y="4"/>
                  <a:pt x="4668" y="4"/>
                  <a:pt x="4663" y="4"/>
                </a:cubicBezTo>
                <a:cubicBezTo>
                  <a:pt x="4658" y="4"/>
                  <a:pt x="4653" y="4"/>
                  <a:pt x="4648" y="4"/>
                </a:cubicBezTo>
                <a:cubicBezTo>
                  <a:pt x="4645" y="4"/>
                  <a:pt x="4641" y="4"/>
                  <a:pt x="4638" y="4"/>
                </a:cubicBezTo>
                <a:cubicBezTo>
                  <a:pt x="4634" y="5"/>
                  <a:pt x="4635" y="7"/>
                  <a:pt x="4630" y="7"/>
                </a:cubicBezTo>
                <a:cubicBezTo>
                  <a:pt x="4625" y="7"/>
                  <a:pt x="4620" y="6"/>
                  <a:pt x="4616" y="6"/>
                </a:cubicBezTo>
                <a:cubicBezTo>
                  <a:pt x="4611" y="6"/>
                  <a:pt x="4605" y="6"/>
                  <a:pt x="4600" y="6"/>
                </a:cubicBezTo>
                <a:cubicBezTo>
                  <a:pt x="4593" y="6"/>
                  <a:pt x="4586" y="6"/>
                  <a:pt x="4579" y="6"/>
                </a:cubicBezTo>
                <a:cubicBezTo>
                  <a:pt x="4563" y="6"/>
                  <a:pt x="4547" y="6"/>
                  <a:pt x="4531" y="6"/>
                </a:cubicBezTo>
                <a:cubicBezTo>
                  <a:pt x="4527" y="6"/>
                  <a:pt x="4522" y="6"/>
                  <a:pt x="4518" y="6"/>
                </a:cubicBezTo>
                <a:cubicBezTo>
                  <a:pt x="4514" y="6"/>
                  <a:pt x="4511" y="5"/>
                  <a:pt x="4507" y="5"/>
                </a:cubicBezTo>
                <a:cubicBezTo>
                  <a:pt x="4506" y="5"/>
                  <a:pt x="4505" y="5"/>
                  <a:pt x="4504" y="5"/>
                </a:cubicBezTo>
                <a:cubicBezTo>
                  <a:pt x="4503" y="5"/>
                  <a:pt x="4503" y="5"/>
                  <a:pt x="4503" y="5"/>
                </a:cubicBezTo>
                <a:cubicBezTo>
                  <a:pt x="4500" y="6"/>
                  <a:pt x="4496" y="6"/>
                  <a:pt x="4493" y="6"/>
                </a:cubicBezTo>
                <a:cubicBezTo>
                  <a:pt x="4490" y="6"/>
                  <a:pt x="4486" y="6"/>
                  <a:pt x="4482" y="6"/>
                </a:cubicBezTo>
                <a:cubicBezTo>
                  <a:pt x="4476" y="6"/>
                  <a:pt x="4469" y="6"/>
                  <a:pt x="4463" y="6"/>
                </a:cubicBezTo>
                <a:cubicBezTo>
                  <a:pt x="4460" y="6"/>
                  <a:pt x="4453" y="7"/>
                  <a:pt x="4450" y="6"/>
                </a:cubicBezTo>
                <a:cubicBezTo>
                  <a:pt x="4449" y="6"/>
                  <a:pt x="4449" y="5"/>
                  <a:pt x="4448" y="5"/>
                </a:cubicBezTo>
                <a:cubicBezTo>
                  <a:pt x="4446" y="5"/>
                  <a:pt x="4445" y="5"/>
                  <a:pt x="4443" y="5"/>
                </a:cubicBezTo>
                <a:cubicBezTo>
                  <a:pt x="4443" y="5"/>
                  <a:pt x="4444" y="6"/>
                  <a:pt x="4444" y="6"/>
                </a:cubicBezTo>
                <a:cubicBezTo>
                  <a:pt x="4449" y="7"/>
                  <a:pt x="4438" y="9"/>
                  <a:pt x="4434" y="8"/>
                </a:cubicBezTo>
                <a:cubicBezTo>
                  <a:pt x="4431" y="8"/>
                  <a:pt x="4432" y="7"/>
                  <a:pt x="4430" y="6"/>
                </a:cubicBezTo>
                <a:cubicBezTo>
                  <a:pt x="4428" y="6"/>
                  <a:pt x="4426" y="6"/>
                  <a:pt x="4424" y="6"/>
                </a:cubicBezTo>
                <a:cubicBezTo>
                  <a:pt x="4420" y="6"/>
                  <a:pt x="4417" y="6"/>
                  <a:pt x="4414" y="6"/>
                </a:cubicBezTo>
                <a:cubicBezTo>
                  <a:pt x="4411" y="6"/>
                  <a:pt x="4406" y="5"/>
                  <a:pt x="4403" y="5"/>
                </a:cubicBezTo>
                <a:cubicBezTo>
                  <a:pt x="4402" y="5"/>
                  <a:pt x="4402" y="6"/>
                  <a:pt x="4401" y="6"/>
                </a:cubicBezTo>
                <a:cubicBezTo>
                  <a:pt x="4397" y="7"/>
                  <a:pt x="4396" y="6"/>
                  <a:pt x="4393" y="6"/>
                </a:cubicBezTo>
                <a:cubicBezTo>
                  <a:pt x="4390" y="5"/>
                  <a:pt x="4386" y="6"/>
                  <a:pt x="4384" y="7"/>
                </a:cubicBezTo>
                <a:cubicBezTo>
                  <a:pt x="4381" y="7"/>
                  <a:pt x="4380" y="7"/>
                  <a:pt x="4377" y="7"/>
                </a:cubicBezTo>
                <a:cubicBezTo>
                  <a:pt x="4377" y="7"/>
                  <a:pt x="4376" y="7"/>
                  <a:pt x="4375" y="7"/>
                </a:cubicBezTo>
                <a:cubicBezTo>
                  <a:pt x="4374" y="7"/>
                  <a:pt x="4373" y="7"/>
                  <a:pt x="4372" y="6"/>
                </a:cubicBezTo>
                <a:cubicBezTo>
                  <a:pt x="4368" y="6"/>
                  <a:pt x="4360" y="6"/>
                  <a:pt x="4356" y="6"/>
                </a:cubicBezTo>
                <a:cubicBezTo>
                  <a:pt x="4296" y="6"/>
                  <a:pt x="4270" y="7"/>
                  <a:pt x="4267" y="7"/>
                </a:cubicBezTo>
                <a:cubicBezTo>
                  <a:pt x="4266" y="7"/>
                  <a:pt x="4234" y="7"/>
                  <a:pt x="4227" y="7"/>
                </a:cubicBezTo>
                <a:cubicBezTo>
                  <a:pt x="4224" y="7"/>
                  <a:pt x="4219" y="6"/>
                  <a:pt x="4216" y="6"/>
                </a:cubicBezTo>
                <a:cubicBezTo>
                  <a:pt x="4213" y="5"/>
                  <a:pt x="4211" y="5"/>
                  <a:pt x="4208" y="5"/>
                </a:cubicBezTo>
                <a:cubicBezTo>
                  <a:pt x="4205" y="5"/>
                  <a:pt x="4203" y="5"/>
                  <a:pt x="4200" y="5"/>
                </a:cubicBezTo>
                <a:cubicBezTo>
                  <a:pt x="4199" y="5"/>
                  <a:pt x="4197" y="5"/>
                  <a:pt x="4196" y="5"/>
                </a:cubicBezTo>
                <a:cubicBezTo>
                  <a:pt x="4195" y="4"/>
                  <a:pt x="4197" y="4"/>
                  <a:pt x="4195" y="4"/>
                </a:cubicBezTo>
                <a:cubicBezTo>
                  <a:pt x="4194" y="3"/>
                  <a:pt x="4190" y="3"/>
                  <a:pt x="4187" y="3"/>
                </a:cubicBezTo>
                <a:cubicBezTo>
                  <a:pt x="4184" y="3"/>
                  <a:pt x="4179" y="4"/>
                  <a:pt x="4176" y="4"/>
                </a:cubicBezTo>
                <a:cubicBezTo>
                  <a:pt x="4171" y="4"/>
                  <a:pt x="4165" y="5"/>
                  <a:pt x="4158" y="4"/>
                </a:cubicBezTo>
                <a:cubicBezTo>
                  <a:pt x="4158" y="4"/>
                  <a:pt x="4157" y="3"/>
                  <a:pt x="4156" y="3"/>
                </a:cubicBezTo>
                <a:cubicBezTo>
                  <a:pt x="4152" y="3"/>
                  <a:pt x="4151" y="4"/>
                  <a:pt x="4149" y="4"/>
                </a:cubicBezTo>
                <a:cubicBezTo>
                  <a:pt x="4147" y="5"/>
                  <a:pt x="4143" y="5"/>
                  <a:pt x="4140" y="5"/>
                </a:cubicBezTo>
                <a:cubicBezTo>
                  <a:pt x="4134" y="5"/>
                  <a:pt x="4128" y="5"/>
                  <a:pt x="4122" y="5"/>
                </a:cubicBezTo>
                <a:cubicBezTo>
                  <a:pt x="4104" y="5"/>
                  <a:pt x="4086" y="5"/>
                  <a:pt x="4080" y="5"/>
                </a:cubicBezTo>
                <a:cubicBezTo>
                  <a:pt x="4075" y="5"/>
                  <a:pt x="4068" y="5"/>
                  <a:pt x="4064" y="6"/>
                </a:cubicBezTo>
                <a:cubicBezTo>
                  <a:pt x="4061" y="6"/>
                  <a:pt x="4058" y="6"/>
                  <a:pt x="4056" y="6"/>
                </a:cubicBezTo>
                <a:cubicBezTo>
                  <a:pt x="4054" y="7"/>
                  <a:pt x="4053" y="7"/>
                  <a:pt x="4051" y="7"/>
                </a:cubicBezTo>
                <a:cubicBezTo>
                  <a:pt x="4046" y="8"/>
                  <a:pt x="4039" y="7"/>
                  <a:pt x="4034" y="7"/>
                </a:cubicBezTo>
                <a:cubicBezTo>
                  <a:pt x="4031" y="7"/>
                  <a:pt x="4027" y="6"/>
                  <a:pt x="4023" y="6"/>
                </a:cubicBezTo>
                <a:cubicBezTo>
                  <a:pt x="4020" y="6"/>
                  <a:pt x="4018" y="6"/>
                  <a:pt x="4015" y="6"/>
                </a:cubicBezTo>
                <a:cubicBezTo>
                  <a:pt x="4006" y="6"/>
                  <a:pt x="3998" y="6"/>
                  <a:pt x="3989" y="6"/>
                </a:cubicBezTo>
                <a:cubicBezTo>
                  <a:pt x="3971" y="7"/>
                  <a:pt x="3946" y="7"/>
                  <a:pt x="3918" y="7"/>
                </a:cubicBezTo>
                <a:cubicBezTo>
                  <a:pt x="3864" y="7"/>
                  <a:pt x="3806" y="7"/>
                  <a:pt x="3791" y="7"/>
                </a:cubicBezTo>
                <a:cubicBezTo>
                  <a:pt x="3785" y="7"/>
                  <a:pt x="3779" y="7"/>
                  <a:pt x="3773" y="7"/>
                </a:cubicBezTo>
                <a:cubicBezTo>
                  <a:pt x="3769" y="7"/>
                  <a:pt x="3763" y="7"/>
                  <a:pt x="3760" y="8"/>
                </a:cubicBezTo>
                <a:cubicBezTo>
                  <a:pt x="3758" y="8"/>
                  <a:pt x="3757" y="8"/>
                  <a:pt x="3756" y="8"/>
                </a:cubicBezTo>
                <a:cubicBezTo>
                  <a:pt x="3755" y="8"/>
                  <a:pt x="3754" y="8"/>
                  <a:pt x="3752" y="8"/>
                </a:cubicBezTo>
                <a:cubicBezTo>
                  <a:pt x="3752" y="8"/>
                  <a:pt x="3751" y="8"/>
                  <a:pt x="3751" y="8"/>
                </a:cubicBezTo>
                <a:cubicBezTo>
                  <a:pt x="3746" y="8"/>
                  <a:pt x="3741" y="8"/>
                  <a:pt x="3737" y="8"/>
                </a:cubicBezTo>
                <a:cubicBezTo>
                  <a:pt x="3732" y="8"/>
                  <a:pt x="3728" y="8"/>
                  <a:pt x="3723" y="8"/>
                </a:cubicBezTo>
                <a:cubicBezTo>
                  <a:pt x="3718" y="8"/>
                  <a:pt x="3713" y="7"/>
                  <a:pt x="3708" y="8"/>
                </a:cubicBezTo>
                <a:cubicBezTo>
                  <a:pt x="3708" y="8"/>
                  <a:pt x="3707" y="8"/>
                  <a:pt x="3706" y="8"/>
                </a:cubicBezTo>
                <a:cubicBezTo>
                  <a:pt x="3700" y="9"/>
                  <a:pt x="3695" y="9"/>
                  <a:pt x="3687" y="9"/>
                </a:cubicBezTo>
                <a:cubicBezTo>
                  <a:pt x="3687" y="9"/>
                  <a:pt x="3686" y="9"/>
                  <a:pt x="3686" y="9"/>
                </a:cubicBezTo>
                <a:cubicBezTo>
                  <a:pt x="3684" y="8"/>
                  <a:pt x="3685" y="8"/>
                  <a:pt x="3685" y="7"/>
                </a:cubicBezTo>
                <a:cubicBezTo>
                  <a:pt x="3680" y="6"/>
                  <a:pt x="3672" y="7"/>
                  <a:pt x="3666" y="7"/>
                </a:cubicBezTo>
                <a:cubicBezTo>
                  <a:pt x="3659" y="7"/>
                  <a:pt x="3652" y="8"/>
                  <a:pt x="3644" y="8"/>
                </a:cubicBezTo>
                <a:cubicBezTo>
                  <a:pt x="3637" y="7"/>
                  <a:pt x="3630" y="7"/>
                  <a:pt x="3622" y="7"/>
                </a:cubicBezTo>
                <a:cubicBezTo>
                  <a:pt x="3617" y="7"/>
                  <a:pt x="3598" y="7"/>
                  <a:pt x="3579" y="7"/>
                </a:cubicBezTo>
                <a:cubicBezTo>
                  <a:pt x="3573" y="7"/>
                  <a:pt x="3566" y="7"/>
                  <a:pt x="3560" y="7"/>
                </a:cubicBezTo>
                <a:cubicBezTo>
                  <a:pt x="3555" y="8"/>
                  <a:pt x="3549" y="8"/>
                  <a:pt x="3545" y="8"/>
                </a:cubicBezTo>
                <a:cubicBezTo>
                  <a:pt x="3543" y="8"/>
                  <a:pt x="3541" y="9"/>
                  <a:pt x="3539" y="9"/>
                </a:cubicBezTo>
                <a:cubicBezTo>
                  <a:pt x="3536" y="9"/>
                  <a:pt x="3532" y="8"/>
                  <a:pt x="3529" y="8"/>
                </a:cubicBezTo>
                <a:cubicBezTo>
                  <a:pt x="3520" y="7"/>
                  <a:pt x="3510" y="8"/>
                  <a:pt x="3501" y="7"/>
                </a:cubicBezTo>
                <a:cubicBezTo>
                  <a:pt x="3491" y="7"/>
                  <a:pt x="3481" y="7"/>
                  <a:pt x="3471" y="7"/>
                </a:cubicBezTo>
                <a:cubicBezTo>
                  <a:pt x="3460" y="7"/>
                  <a:pt x="3449" y="7"/>
                  <a:pt x="3438" y="7"/>
                </a:cubicBezTo>
                <a:cubicBezTo>
                  <a:pt x="3433" y="7"/>
                  <a:pt x="3429" y="7"/>
                  <a:pt x="3424" y="7"/>
                </a:cubicBezTo>
                <a:cubicBezTo>
                  <a:pt x="3419" y="8"/>
                  <a:pt x="3415" y="7"/>
                  <a:pt x="3410" y="8"/>
                </a:cubicBezTo>
                <a:cubicBezTo>
                  <a:pt x="3404" y="8"/>
                  <a:pt x="3399" y="9"/>
                  <a:pt x="3393" y="9"/>
                </a:cubicBezTo>
                <a:cubicBezTo>
                  <a:pt x="3385" y="9"/>
                  <a:pt x="3377" y="9"/>
                  <a:pt x="3369" y="8"/>
                </a:cubicBezTo>
                <a:cubicBezTo>
                  <a:pt x="3361" y="8"/>
                  <a:pt x="3353" y="8"/>
                  <a:pt x="3345" y="8"/>
                </a:cubicBezTo>
                <a:cubicBezTo>
                  <a:pt x="3326" y="8"/>
                  <a:pt x="3308" y="8"/>
                  <a:pt x="3290" y="8"/>
                </a:cubicBezTo>
                <a:cubicBezTo>
                  <a:pt x="3276" y="8"/>
                  <a:pt x="3263" y="8"/>
                  <a:pt x="3250" y="8"/>
                </a:cubicBezTo>
                <a:cubicBezTo>
                  <a:pt x="3238" y="8"/>
                  <a:pt x="3227" y="8"/>
                  <a:pt x="3216" y="8"/>
                </a:cubicBezTo>
                <a:cubicBezTo>
                  <a:pt x="3213" y="9"/>
                  <a:pt x="3209" y="9"/>
                  <a:pt x="3206" y="9"/>
                </a:cubicBezTo>
                <a:cubicBezTo>
                  <a:pt x="3205" y="9"/>
                  <a:pt x="3204" y="9"/>
                  <a:pt x="3202" y="9"/>
                </a:cubicBezTo>
                <a:cubicBezTo>
                  <a:pt x="3200" y="9"/>
                  <a:pt x="3198" y="9"/>
                  <a:pt x="3196" y="9"/>
                </a:cubicBezTo>
                <a:cubicBezTo>
                  <a:pt x="3195" y="10"/>
                  <a:pt x="3193" y="9"/>
                  <a:pt x="3193" y="9"/>
                </a:cubicBezTo>
                <a:cubicBezTo>
                  <a:pt x="3191" y="8"/>
                  <a:pt x="3180" y="8"/>
                  <a:pt x="3176" y="8"/>
                </a:cubicBezTo>
                <a:cubicBezTo>
                  <a:pt x="3173" y="7"/>
                  <a:pt x="3163" y="7"/>
                  <a:pt x="3160" y="7"/>
                </a:cubicBezTo>
                <a:cubicBezTo>
                  <a:pt x="3160" y="8"/>
                  <a:pt x="3160" y="8"/>
                  <a:pt x="3159" y="8"/>
                </a:cubicBezTo>
                <a:cubicBezTo>
                  <a:pt x="3159" y="8"/>
                  <a:pt x="3158" y="8"/>
                  <a:pt x="3157" y="8"/>
                </a:cubicBezTo>
                <a:cubicBezTo>
                  <a:pt x="3152" y="8"/>
                  <a:pt x="3147" y="8"/>
                  <a:pt x="3142" y="8"/>
                </a:cubicBezTo>
                <a:cubicBezTo>
                  <a:pt x="3133" y="8"/>
                  <a:pt x="3117" y="8"/>
                  <a:pt x="3108" y="8"/>
                </a:cubicBezTo>
                <a:cubicBezTo>
                  <a:pt x="3092" y="8"/>
                  <a:pt x="3051" y="8"/>
                  <a:pt x="3027" y="8"/>
                </a:cubicBezTo>
                <a:cubicBezTo>
                  <a:pt x="3022" y="8"/>
                  <a:pt x="3011" y="8"/>
                  <a:pt x="3001" y="8"/>
                </a:cubicBezTo>
                <a:cubicBezTo>
                  <a:pt x="2994" y="8"/>
                  <a:pt x="2987" y="9"/>
                  <a:pt x="2980" y="8"/>
                </a:cubicBezTo>
                <a:cubicBezTo>
                  <a:pt x="2977" y="7"/>
                  <a:pt x="2976" y="7"/>
                  <a:pt x="2973" y="7"/>
                </a:cubicBezTo>
                <a:cubicBezTo>
                  <a:pt x="2969" y="7"/>
                  <a:pt x="2965" y="7"/>
                  <a:pt x="2962" y="7"/>
                </a:cubicBezTo>
                <a:cubicBezTo>
                  <a:pt x="2955" y="8"/>
                  <a:pt x="2944" y="8"/>
                  <a:pt x="2938" y="7"/>
                </a:cubicBezTo>
                <a:cubicBezTo>
                  <a:pt x="2934" y="7"/>
                  <a:pt x="2931" y="7"/>
                  <a:pt x="2928" y="7"/>
                </a:cubicBezTo>
                <a:cubicBezTo>
                  <a:pt x="2927" y="6"/>
                  <a:pt x="2925" y="6"/>
                  <a:pt x="2924" y="7"/>
                </a:cubicBezTo>
                <a:cubicBezTo>
                  <a:pt x="2923" y="7"/>
                  <a:pt x="2923" y="7"/>
                  <a:pt x="2922" y="7"/>
                </a:cubicBezTo>
                <a:cubicBezTo>
                  <a:pt x="2919" y="8"/>
                  <a:pt x="2915" y="7"/>
                  <a:pt x="2911" y="7"/>
                </a:cubicBezTo>
                <a:cubicBezTo>
                  <a:pt x="2906" y="7"/>
                  <a:pt x="2901" y="7"/>
                  <a:pt x="2896" y="7"/>
                </a:cubicBezTo>
                <a:cubicBezTo>
                  <a:pt x="2886" y="7"/>
                  <a:pt x="2876" y="7"/>
                  <a:pt x="2866" y="7"/>
                </a:cubicBezTo>
                <a:cubicBezTo>
                  <a:pt x="2848" y="7"/>
                  <a:pt x="2830" y="7"/>
                  <a:pt x="2813" y="7"/>
                </a:cubicBezTo>
                <a:cubicBezTo>
                  <a:pt x="2810" y="8"/>
                  <a:pt x="2807" y="8"/>
                  <a:pt x="2804" y="8"/>
                </a:cubicBezTo>
                <a:cubicBezTo>
                  <a:pt x="2803" y="9"/>
                  <a:pt x="2801" y="9"/>
                  <a:pt x="2799" y="9"/>
                </a:cubicBezTo>
                <a:cubicBezTo>
                  <a:pt x="2798" y="9"/>
                  <a:pt x="2797" y="9"/>
                  <a:pt x="2797" y="9"/>
                </a:cubicBezTo>
                <a:cubicBezTo>
                  <a:pt x="2793" y="9"/>
                  <a:pt x="2791" y="9"/>
                  <a:pt x="2788" y="8"/>
                </a:cubicBezTo>
                <a:cubicBezTo>
                  <a:pt x="2784" y="8"/>
                  <a:pt x="2780" y="8"/>
                  <a:pt x="2776" y="8"/>
                </a:cubicBezTo>
                <a:cubicBezTo>
                  <a:pt x="2772" y="7"/>
                  <a:pt x="2763" y="7"/>
                  <a:pt x="2761" y="8"/>
                </a:cubicBezTo>
                <a:cubicBezTo>
                  <a:pt x="2760" y="8"/>
                  <a:pt x="2760" y="9"/>
                  <a:pt x="2759" y="9"/>
                </a:cubicBezTo>
                <a:cubicBezTo>
                  <a:pt x="2759" y="9"/>
                  <a:pt x="2757" y="9"/>
                  <a:pt x="2756" y="9"/>
                </a:cubicBezTo>
                <a:cubicBezTo>
                  <a:pt x="2755" y="9"/>
                  <a:pt x="2754" y="9"/>
                  <a:pt x="2751" y="8"/>
                </a:cubicBezTo>
                <a:cubicBezTo>
                  <a:pt x="2750" y="7"/>
                  <a:pt x="2742" y="7"/>
                  <a:pt x="2738" y="7"/>
                </a:cubicBezTo>
                <a:cubicBezTo>
                  <a:pt x="2732" y="7"/>
                  <a:pt x="2726" y="7"/>
                  <a:pt x="2720" y="6"/>
                </a:cubicBezTo>
                <a:cubicBezTo>
                  <a:pt x="2720" y="6"/>
                  <a:pt x="2719" y="6"/>
                  <a:pt x="2718" y="6"/>
                </a:cubicBezTo>
                <a:cubicBezTo>
                  <a:pt x="2716" y="6"/>
                  <a:pt x="2714" y="6"/>
                  <a:pt x="2713" y="6"/>
                </a:cubicBezTo>
                <a:cubicBezTo>
                  <a:pt x="2712" y="7"/>
                  <a:pt x="2710" y="7"/>
                  <a:pt x="2710" y="7"/>
                </a:cubicBezTo>
                <a:cubicBezTo>
                  <a:pt x="2709" y="7"/>
                  <a:pt x="2707" y="7"/>
                  <a:pt x="2706" y="7"/>
                </a:cubicBezTo>
                <a:cubicBezTo>
                  <a:pt x="2705" y="8"/>
                  <a:pt x="2703" y="7"/>
                  <a:pt x="2702" y="7"/>
                </a:cubicBezTo>
                <a:cubicBezTo>
                  <a:pt x="2702" y="7"/>
                  <a:pt x="2702" y="6"/>
                  <a:pt x="2702" y="6"/>
                </a:cubicBezTo>
                <a:cubicBezTo>
                  <a:pt x="2700" y="6"/>
                  <a:pt x="2699" y="5"/>
                  <a:pt x="2698" y="5"/>
                </a:cubicBezTo>
                <a:cubicBezTo>
                  <a:pt x="2693" y="5"/>
                  <a:pt x="2691" y="7"/>
                  <a:pt x="2687" y="7"/>
                </a:cubicBezTo>
                <a:cubicBezTo>
                  <a:pt x="2684" y="7"/>
                  <a:pt x="2682" y="7"/>
                  <a:pt x="2679" y="7"/>
                </a:cubicBezTo>
                <a:cubicBezTo>
                  <a:pt x="2674" y="7"/>
                  <a:pt x="2669" y="7"/>
                  <a:pt x="2664" y="7"/>
                </a:cubicBezTo>
                <a:cubicBezTo>
                  <a:pt x="2650" y="7"/>
                  <a:pt x="2633" y="7"/>
                  <a:pt x="2626" y="7"/>
                </a:cubicBezTo>
                <a:cubicBezTo>
                  <a:pt x="2623" y="6"/>
                  <a:pt x="2618" y="6"/>
                  <a:pt x="2615" y="6"/>
                </a:cubicBezTo>
                <a:cubicBezTo>
                  <a:pt x="2615" y="6"/>
                  <a:pt x="2614" y="6"/>
                  <a:pt x="2614" y="5"/>
                </a:cubicBezTo>
                <a:cubicBezTo>
                  <a:pt x="2613" y="5"/>
                  <a:pt x="2611" y="4"/>
                  <a:pt x="2608" y="5"/>
                </a:cubicBezTo>
                <a:cubicBezTo>
                  <a:pt x="2606" y="5"/>
                  <a:pt x="2609" y="6"/>
                  <a:pt x="2605" y="7"/>
                </a:cubicBezTo>
                <a:cubicBezTo>
                  <a:pt x="2601" y="7"/>
                  <a:pt x="2594" y="7"/>
                  <a:pt x="2590" y="6"/>
                </a:cubicBezTo>
                <a:cubicBezTo>
                  <a:pt x="2577" y="6"/>
                  <a:pt x="2564" y="6"/>
                  <a:pt x="2551" y="6"/>
                </a:cubicBezTo>
                <a:cubicBezTo>
                  <a:pt x="2546" y="6"/>
                  <a:pt x="2541" y="6"/>
                  <a:pt x="2536" y="6"/>
                </a:cubicBezTo>
                <a:cubicBezTo>
                  <a:pt x="2534" y="6"/>
                  <a:pt x="2531" y="6"/>
                  <a:pt x="2529" y="6"/>
                </a:cubicBezTo>
                <a:cubicBezTo>
                  <a:pt x="2528" y="6"/>
                  <a:pt x="2526" y="5"/>
                  <a:pt x="2525" y="5"/>
                </a:cubicBezTo>
                <a:cubicBezTo>
                  <a:pt x="2524" y="5"/>
                  <a:pt x="2522" y="5"/>
                  <a:pt x="2521" y="5"/>
                </a:cubicBezTo>
                <a:cubicBezTo>
                  <a:pt x="2520" y="5"/>
                  <a:pt x="2518" y="5"/>
                  <a:pt x="2517" y="5"/>
                </a:cubicBezTo>
                <a:cubicBezTo>
                  <a:pt x="2514" y="5"/>
                  <a:pt x="2515" y="6"/>
                  <a:pt x="2514" y="6"/>
                </a:cubicBezTo>
                <a:cubicBezTo>
                  <a:pt x="2513" y="7"/>
                  <a:pt x="2510" y="7"/>
                  <a:pt x="2508" y="7"/>
                </a:cubicBezTo>
                <a:cubicBezTo>
                  <a:pt x="2501" y="8"/>
                  <a:pt x="2493" y="8"/>
                  <a:pt x="2486" y="8"/>
                </a:cubicBezTo>
                <a:cubicBezTo>
                  <a:pt x="2481" y="8"/>
                  <a:pt x="2476" y="8"/>
                  <a:pt x="2471" y="8"/>
                </a:cubicBezTo>
                <a:cubicBezTo>
                  <a:pt x="2468" y="7"/>
                  <a:pt x="2464" y="7"/>
                  <a:pt x="2460" y="7"/>
                </a:cubicBezTo>
                <a:cubicBezTo>
                  <a:pt x="2458" y="6"/>
                  <a:pt x="2455" y="6"/>
                  <a:pt x="2454" y="6"/>
                </a:cubicBezTo>
                <a:cubicBezTo>
                  <a:pt x="2453" y="6"/>
                  <a:pt x="2453" y="6"/>
                  <a:pt x="2453" y="6"/>
                </a:cubicBezTo>
                <a:cubicBezTo>
                  <a:pt x="2451" y="5"/>
                  <a:pt x="2450" y="5"/>
                  <a:pt x="2449" y="6"/>
                </a:cubicBezTo>
                <a:cubicBezTo>
                  <a:pt x="2448" y="6"/>
                  <a:pt x="2447" y="6"/>
                  <a:pt x="2447" y="6"/>
                </a:cubicBezTo>
                <a:cubicBezTo>
                  <a:pt x="2447" y="6"/>
                  <a:pt x="2446" y="6"/>
                  <a:pt x="2445" y="6"/>
                </a:cubicBezTo>
                <a:cubicBezTo>
                  <a:pt x="2440" y="6"/>
                  <a:pt x="2434" y="5"/>
                  <a:pt x="2429" y="6"/>
                </a:cubicBezTo>
                <a:cubicBezTo>
                  <a:pt x="2428" y="6"/>
                  <a:pt x="2428" y="6"/>
                  <a:pt x="2426" y="6"/>
                </a:cubicBezTo>
                <a:cubicBezTo>
                  <a:pt x="2422" y="5"/>
                  <a:pt x="2417" y="6"/>
                  <a:pt x="2414" y="6"/>
                </a:cubicBezTo>
                <a:cubicBezTo>
                  <a:pt x="2411" y="7"/>
                  <a:pt x="2408" y="7"/>
                  <a:pt x="2405" y="7"/>
                </a:cubicBezTo>
                <a:cubicBezTo>
                  <a:pt x="2402" y="8"/>
                  <a:pt x="2400" y="8"/>
                  <a:pt x="2398" y="9"/>
                </a:cubicBezTo>
                <a:cubicBezTo>
                  <a:pt x="2394" y="9"/>
                  <a:pt x="2391" y="9"/>
                  <a:pt x="2388" y="8"/>
                </a:cubicBezTo>
                <a:cubicBezTo>
                  <a:pt x="2384" y="8"/>
                  <a:pt x="2381" y="7"/>
                  <a:pt x="2378" y="7"/>
                </a:cubicBezTo>
                <a:cubicBezTo>
                  <a:pt x="2370" y="7"/>
                  <a:pt x="2363" y="6"/>
                  <a:pt x="2356" y="6"/>
                </a:cubicBezTo>
                <a:cubicBezTo>
                  <a:pt x="2350" y="6"/>
                  <a:pt x="2344" y="6"/>
                  <a:pt x="2338" y="6"/>
                </a:cubicBezTo>
                <a:cubicBezTo>
                  <a:pt x="2334" y="5"/>
                  <a:pt x="2329" y="5"/>
                  <a:pt x="2326" y="5"/>
                </a:cubicBezTo>
                <a:cubicBezTo>
                  <a:pt x="2325" y="5"/>
                  <a:pt x="2324" y="4"/>
                  <a:pt x="2323" y="4"/>
                </a:cubicBezTo>
                <a:cubicBezTo>
                  <a:pt x="2322" y="4"/>
                  <a:pt x="2321" y="4"/>
                  <a:pt x="2321" y="5"/>
                </a:cubicBezTo>
                <a:cubicBezTo>
                  <a:pt x="2320" y="5"/>
                  <a:pt x="2319" y="5"/>
                  <a:pt x="2318" y="5"/>
                </a:cubicBezTo>
                <a:cubicBezTo>
                  <a:pt x="2318" y="5"/>
                  <a:pt x="2317" y="5"/>
                  <a:pt x="2317" y="5"/>
                </a:cubicBezTo>
                <a:cubicBezTo>
                  <a:pt x="2317" y="4"/>
                  <a:pt x="2315" y="5"/>
                  <a:pt x="2315" y="5"/>
                </a:cubicBezTo>
                <a:cubicBezTo>
                  <a:pt x="2314" y="5"/>
                  <a:pt x="2313" y="5"/>
                  <a:pt x="2312" y="5"/>
                </a:cubicBezTo>
                <a:cubicBezTo>
                  <a:pt x="2311" y="5"/>
                  <a:pt x="2310" y="5"/>
                  <a:pt x="2309" y="5"/>
                </a:cubicBezTo>
                <a:cubicBezTo>
                  <a:pt x="2308" y="5"/>
                  <a:pt x="2307" y="5"/>
                  <a:pt x="2302" y="5"/>
                </a:cubicBezTo>
                <a:cubicBezTo>
                  <a:pt x="2287" y="5"/>
                  <a:pt x="2273" y="6"/>
                  <a:pt x="2258" y="6"/>
                </a:cubicBezTo>
                <a:cubicBezTo>
                  <a:pt x="2252" y="6"/>
                  <a:pt x="2246" y="6"/>
                  <a:pt x="2240" y="6"/>
                </a:cubicBezTo>
                <a:cubicBezTo>
                  <a:pt x="2235" y="6"/>
                  <a:pt x="2233" y="6"/>
                  <a:pt x="2229" y="5"/>
                </a:cubicBezTo>
                <a:cubicBezTo>
                  <a:pt x="2227" y="5"/>
                  <a:pt x="2226" y="4"/>
                  <a:pt x="2224" y="4"/>
                </a:cubicBezTo>
                <a:lnTo>
                  <a:pt x="2212" y="3"/>
                </a:lnTo>
                <a:cubicBezTo>
                  <a:pt x="2209" y="3"/>
                  <a:pt x="2203" y="3"/>
                  <a:pt x="2200" y="3"/>
                </a:cubicBezTo>
                <a:cubicBezTo>
                  <a:pt x="2200" y="5"/>
                  <a:pt x="2191" y="4"/>
                  <a:pt x="2189" y="3"/>
                </a:cubicBezTo>
                <a:cubicBezTo>
                  <a:pt x="2182" y="3"/>
                  <a:pt x="2175" y="3"/>
                  <a:pt x="2168" y="3"/>
                </a:cubicBezTo>
                <a:cubicBezTo>
                  <a:pt x="2165" y="3"/>
                  <a:pt x="2162" y="3"/>
                  <a:pt x="2159" y="3"/>
                </a:cubicBezTo>
                <a:cubicBezTo>
                  <a:pt x="2156" y="3"/>
                  <a:pt x="2154" y="4"/>
                  <a:pt x="2152" y="4"/>
                </a:cubicBezTo>
                <a:cubicBezTo>
                  <a:pt x="2150" y="4"/>
                  <a:pt x="2147" y="5"/>
                  <a:pt x="2144" y="4"/>
                </a:cubicBezTo>
                <a:cubicBezTo>
                  <a:pt x="2144" y="4"/>
                  <a:pt x="2143" y="4"/>
                  <a:pt x="2142" y="4"/>
                </a:cubicBezTo>
                <a:cubicBezTo>
                  <a:pt x="2144" y="3"/>
                  <a:pt x="2139" y="3"/>
                  <a:pt x="2137" y="3"/>
                </a:cubicBezTo>
                <a:cubicBezTo>
                  <a:pt x="2135" y="3"/>
                  <a:pt x="2133" y="3"/>
                  <a:pt x="2131" y="3"/>
                </a:cubicBezTo>
                <a:cubicBezTo>
                  <a:pt x="2129" y="3"/>
                  <a:pt x="2123" y="3"/>
                  <a:pt x="2122" y="3"/>
                </a:cubicBezTo>
                <a:cubicBezTo>
                  <a:pt x="2121" y="3"/>
                  <a:pt x="2121" y="4"/>
                  <a:pt x="2121" y="4"/>
                </a:cubicBezTo>
                <a:cubicBezTo>
                  <a:pt x="2121" y="4"/>
                  <a:pt x="2120" y="4"/>
                  <a:pt x="2119" y="5"/>
                </a:cubicBezTo>
                <a:cubicBezTo>
                  <a:pt x="2116" y="5"/>
                  <a:pt x="2112" y="5"/>
                  <a:pt x="2108" y="5"/>
                </a:cubicBezTo>
                <a:cubicBezTo>
                  <a:pt x="2103" y="5"/>
                  <a:pt x="2098" y="5"/>
                  <a:pt x="2093" y="4"/>
                </a:cubicBezTo>
                <a:cubicBezTo>
                  <a:pt x="2080" y="4"/>
                  <a:pt x="2048" y="3"/>
                  <a:pt x="2024" y="3"/>
                </a:cubicBezTo>
                <a:cubicBezTo>
                  <a:pt x="2015" y="3"/>
                  <a:pt x="2007" y="3"/>
                  <a:pt x="1999" y="3"/>
                </a:cubicBezTo>
                <a:cubicBezTo>
                  <a:pt x="1992" y="3"/>
                  <a:pt x="1984" y="4"/>
                  <a:pt x="1977" y="3"/>
                </a:cubicBezTo>
                <a:cubicBezTo>
                  <a:pt x="1974" y="3"/>
                  <a:pt x="1972" y="3"/>
                  <a:pt x="1969" y="3"/>
                </a:cubicBezTo>
                <a:cubicBezTo>
                  <a:pt x="1968" y="3"/>
                  <a:pt x="1968" y="3"/>
                  <a:pt x="1967" y="3"/>
                </a:cubicBezTo>
                <a:cubicBezTo>
                  <a:pt x="1966" y="3"/>
                  <a:pt x="1964" y="3"/>
                  <a:pt x="1963" y="3"/>
                </a:cubicBezTo>
                <a:cubicBezTo>
                  <a:pt x="1962" y="3"/>
                  <a:pt x="1962" y="3"/>
                  <a:pt x="1961" y="4"/>
                </a:cubicBezTo>
                <a:cubicBezTo>
                  <a:pt x="1961" y="4"/>
                  <a:pt x="1961" y="4"/>
                  <a:pt x="1958" y="4"/>
                </a:cubicBezTo>
                <a:cubicBezTo>
                  <a:pt x="1955" y="4"/>
                  <a:pt x="1952" y="4"/>
                  <a:pt x="1949" y="4"/>
                </a:cubicBezTo>
                <a:cubicBezTo>
                  <a:pt x="1944" y="3"/>
                  <a:pt x="1934" y="3"/>
                  <a:pt x="1927" y="3"/>
                </a:cubicBezTo>
                <a:cubicBezTo>
                  <a:pt x="1924" y="3"/>
                  <a:pt x="1921" y="3"/>
                  <a:pt x="1918" y="3"/>
                </a:cubicBezTo>
                <a:cubicBezTo>
                  <a:pt x="1916" y="3"/>
                  <a:pt x="1913" y="3"/>
                  <a:pt x="1910" y="3"/>
                </a:cubicBezTo>
                <a:cubicBezTo>
                  <a:pt x="1910" y="3"/>
                  <a:pt x="1909" y="3"/>
                  <a:pt x="1908" y="3"/>
                </a:cubicBezTo>
                <a:cubicBezTo>
                  <a:pt x="1908" y="3"/>
                  <a:pt x="1908" y="3"/>
                  <a:pt x="1910" y="3"/>
                </a:cubicBezTo>
                <a:cubicBezTo>
                  <a:pt x="1910" y="3"/>
                  <a:pt x="1910" y="4"/>
                  <a:pt x="1909" y="4"/>
                </a:cubicBezTo>
                <a:cubicBezTo>
                  <a:pt x="1908" y="4"/>
                  <a:pt x="1907" y="4"/>
                  <a:pt x="1906" y="4"/>
                </a:cubicBezTo>
                <a:cubicBezTo>
                  <a:pt x="1901" y="4"/>
                  <a:pt x="1896" y="4"/>
                  <a:pt x="1891" y="4"/>
                </a:cubicBezTo>
                <a:cubicBezTo>
                  <a:pt x="1880" y="3"/>
                  <a:pt x="1866" y="3"/>
                  <a:pt x="1859" y="3"/>
                </a:cubicBezTo>
                <a:cubicBezTo>
                  <a:pt x="1852" y="4"/>
                  <a:pt x="1834" y="4"/>
                  <a:pt x="1820" y="4"/>
                </a:cubicBezTo>
                <a:cubicBezTo>
                  <a:pt x="1806" y="4"/>
                  <a:pt x="1770" y="4"/>
                  <a:pt x="1740" y="3"/>
                </a:cubicBezTo>
                <a:cubicBezTo>
                  <a:pt x="1730" y="3"/>
                  <a:pt x="1720" y="3"/>
                  <a:pt x="1711" y="3"/>
                </a:cubicBezTo>
                <a:cubicBezTo>
                  <a:pt x="1705" y="3"/>
                  <a:pt x="1700" y="3"/>
                  <a:pt x="1695" y="3"/>
                </a:cubicBezTo>
                <a:cubicBezTo>
                  <a:pt x="1693" y="3"/>
                  <a:pt x="1686" y="4"/>
                  <a:pt x="1685" y="3"/>
                </a:cubicBezTo>
                <a:cubicBezTo>
                  <a:pt x="1685" y="3"/>
                  <a:pt x="1684" y="3"/>
                  <a:pt x="1683" y="3"/>
                </a:cubicBezTo>
                <a:cubicBezTo>
                  <a:pt x="1681" y="2"/>
                  <a:pt x="1673" y="2"/>
                  <a:pt x="1669" y="3"/>
                </a:cubicBezTo>
                <a:cubicBezTo>
                  <a:pt x="1664" y="3"/>
                  <a:pt x="1660" y="3"/>
                  <a:pt x="1656" y="2"/>
                </a:cubicBezTo>
                <a:cubicBezTo>
                  <a:pt x="1655" y="2"/>
                  <a:pt x="1653" y="2"/>
                  <a:pt x="1652" y="2"/>
                </a:cubicBezTo>
                <a:cubicBezTo>
                  <a:pt x="1650" y="2"/>
                  <a:pt x="1650" y="2"/>
                  <a:pt x="1649" y="2"/>
                </a:cubicBezTo>
                <a:cubicBezTo>
                  <a:pt x="1648" y="2"/>
                  <a:pt x="1647" y="2"/>
                  <a:pt x="1646" y="2"/>
                </a:cubicBezTo>
                <a:cubicBezTo>
                  <a:pt x="1645" y="2"/>
                  <a:pt x="1645" y="2"/>
                  <a:pt x="1643" y="3"/>
                </a:cubicBezTo>
                <a:cubicBezTo>
                  <a:pt x="1641" y="3"/>
                  <a:pt x="1634" y="3"/>
                  <a:pt x="1629" y="3"/>
                </a:cubicBezTo>
                <a:cubicBezTo>
                  <a:pt x="1624" y="3"/>
                  <a:pt x="1613" y="3"/>
                  <a:pt x="1605" y="3"/>
                </a:cubicBezTo>
                <a:cubicBezTo>
                  <a:pt x="1602" y="4"/>
                  <a:pt x="1599" y="4"/>
                  <a:pt x="1597" y="4"/>
                </a:cubicBezTo>
                <a:cubicBezTo>
                  <a:pt x="1594" y="4"/>
                  <a:pt x="1593" y="4"/>
                  <a:pt x="1590" y="4"/>
                </a:cubicBezTo>
                <a:cubicBezTo>
                  <a:pt x="1588" y="4"/>
                  <a:pt x="1588" y="3"/>
                  <a:pt x="1587" y="3"/>
                </a:cubicBezTo>
                <a:cubicBezTo>
                  <a:pt x="1583" y="3"/>
                  <a:pt x="1578" y="3"/>
                  <a:pt x="1574" y="3"/>
                </a:cubicBezTo>
                <a:cubicBezTo>
                  <a:pt x="1571" y="3"/>
                  <a:pt x="1567" y="3"/>
                  <a:pt x="1564" y="3"/>
                </a:cubicBezTo>
                <a:cubicBezTo>
                  <a:pt x="1561" y="3"/>
                  <a:pt x="1558" y="3"/>
                  <a:pt x="1555" y="3"/>
                </a:cubicBezTo>
                <a:cubicBezTo>
                  <a:pt x="1553" y="3"/>
                  <a:pt x="1551" y="2"/>
                  <a:pt x="1548" y="2"/>
                </a:cubicBezTo>
                <a:cubicBezTo>
                  <a:pt x="1546" y="2"/>
                  <a:pt x="1545" y="3"/>
                  <a:pt x="1544" y="3"/>
                </a:cubicBezTo>
                <a:cubicBezTo>
                  <a:pt x="1540" y="3"/>
                  <a:pt x="1536" y="3"/>
                  <a:pt x="1533" y="3"/>
                </a:cubicBezTo>
                <a:cubicBezTo>
                  <a:pt x="1527" y="3"/>
                  <a:pt x="1519" y="3"/>
                  <a:pt x="1516" y="3"/>
                </a:cubicBezTo>
                <a:cubicBezTo>
                  <a:pt x="1509" y="4"/>
                  <a:pt x="1504" y="4"/>
                  <a:pt x="1496" y="4"/>
                </a:cubicBezTo>
                <a:cubicBezTo>
                  <a:pt x="1488" y="4"/>
                  <a:pt x="1481" y="3"/>
                  <a:pt x="1474" y="3"/>
                </a:cubicBezTo>
                <a:cubicBezTo>
                  <a:pt x="1471" y="3"/>
                  <a:pt x="1467" y="3"/>
                  <a:pt x="1464" y="3"/>
                </a:cubicBezTo>
                <a:cubicBezTo>
                  <a:pt x="1463" y="3"/>
                  <a:pt x="1461" y="3"/>
                  <a:pt x="1461" y="3"/>
                </a:cubicBezTo>
                <a:cubicBezTo>
                  <a:pt x="1459" y="3"/>
                  <a:pt x="1460" y="4"/>
                  <a:pt x="1458" y="4"/>
                </a:cubicBezTo>
                <a:cubicBezTo>
                  <a:pt x="1457" y="4"/>
                  <a:pt x="1455" y="4"/>
                  <a:pt x="1454" y="4"/>
                </a:cubicBezTo>
                <a:cubicBezTo>
                  <a:pt x="1452" y="4"/>
                  <a:pt x="1448" y="4"/>
                  <a:pt x="1446" y="4"/>
                </a:cubicBezTo>
                <a:cubicBezTo>
                  <a:pt x="1444" y="3"/>
                  <a:pt x="1444" y="3"/>
                  <a:pt x="1443" y="3"/>
                </a:cubicBezTo>
                <a:cubicBezTo>
                  <a:pt x="1442" y="3"/>
                  <a:pt x="1440" y="3"/>
                  <a:pt x="1439" y="2"/>
                </a:cubicBezTo>
                <a:cubicBezTo>
                  <a:pt x="1438" y="2"/>
                  <a:pt x="1436" y="1"/>
                  <a:pt x="1435" y="1"/>
                </a:cubicBezTo>
                <a:cubicBezTo>
                  <a:pt x="1432" y="1"/>
                  <a:pt x="1431" y="2"/>
                  <a:pt x="1428" y="2"/>
                </a:cubicBezTo>
                <a:cubicBezTo>
                  <a:pt x="1428" y="2"/>
                  <a:pt x="1428" y="2"/>
                  <a:pt x="1428" y="2"/>
                </a:cubicBezTo>
                <a:cubicBezTo>
                  <a:pt x="1428" y="2"/>
                  <a:pt x="1428" y="1"/>
                  <a:pt x="1428" y="1"/>
                </a:cubicBezTo>
                <a:cubicBezTo>
                  <a:pt x="1428" y="1"/>
                  <a:pt x="1427" y="1"/>
                  <a:pt x="1427" y="1"/>
                </a:cubicBezTo>
                <a:cubicBezTo>
                  <a:pt x="1425" y="0"/>
                  <a:pt x="1423" y="0"/>
                  <a:pt x="1422" y="1"/>
                </a:cubicBezTo>
                <a:cubicBezTo>
                  <a:pt x="1421" y="1"/>
                  <a:pt x="1421" y="1"/>
                  <a:pt x="1421" y="1"/>
                </a:cubicBezTo>
                <a:cubicBezTo>
                  <a:pt x="1421" y="2"/>
                  <a:pt x="1421" y="2"/>
                  <a:pt x="1421" y="2"/>
                </a:cubicBezTo>
                <a:cubicBezTo>
                  <a:pt x="1422" y="2"/>
                  <a:pt x="1423" y="3"/>
                  <a:pt x="1424" y="3"/>
                </a:cubicBezTo>
                <a:cubicBezTo>
                  <a:pt x="1425" y="3"/>
                  <a:pt x="1423" y="3"/>
                  <a:pt x="1421" y="4"/>
                </a:cubicBezTo>
                <a:cubicBezTo>
                  <a:pt x="1420" y="4"/>
                  <a:pt x="1419" y="4"/>
                  <a:pt x="1417" y="4"/>
                </a:cubicBezTo>
                <a:cubicBezTo>
                  <a:pt x="1416" y="4"/>
                  <a:pt x="1415" y="3"/>
                  <a:pt x="1413" y="3"/>
                </a:cubicBezTo>
                <a:cubicBezTo>
                  <a:pt x="1411" y="3"/>
                  <a:pt x="1410" y="2"/>
                  <a:pt x="1407" y="2"/>
                </a:cubicBezTo>
                <a:cubicBezTo>
                  <a:pt x="1405" y="2"/>
                  <a:pt x="1402" y="2"/>
                  <a:pt x="1400" y="2"/>
                </a:cubicBezTo>
                <a:cubicBezTo>
                  <a:pt x="1395" y="2"/>
                  <a:pt x="1382" y="1"/>
                  <a:pt x="1371" y="1"/>
                </a:cubicBezTo>
                <a:cubicBezTo>
                  <a:pt x="1367" y="1"/>
                  <a:pt x="1364" y="1"/>
                  <a:pt x="1360" y="1"/>
                </a:cubicBezTo>
                <a:cubicBezTo>
                  <a:pt x="1359" y="1"/>
                  <a:pt x="1354" y="1"/>
                  <a:pt x="1352" y="1"/>
                </a:cubicBezTo>
                <a:cubicBezTo>
                  <a:pt x="1351" y="1"/>
                  <a:pt x="1350" y="2"/>
                  <a:pt x="1351" y="2"/>
                </a:cubicBezTo>
                <a:cubicBezTo>
                  <a:pt x="1348" y="2"/>
                  <a:pt x="1345" y="2"/>
                  <a:pt x="1342" y="2"/>
                </a:cubicBezTo>
                <a:cubicBezTo>
                  <a:pt x="1339" y="3"/>
                  <a:pt x="1335" y="3"/>
                  <a:pt x="1332" y="3"/>
                </a:cubicBezTo>
                <a:cubicBezTo>
                  <a:pt x="1327" y="3"/>
                  <a:pt x="1320" y="3"/>
                  <a:pt x="1316" y="3"/>
                </a:cubicBezTo>
                <a:cubicBezTo>
                  <a:pt x="1315" y="3"/>
                  <a:pt x="1313" y="2"/>
                  <a:pt x="1312" y="2"/>
                </a:cubicBezTo>
                <a:cubicBezTo>
                  <a:pt x="1311" y="2"/>
                  <a:pt x="1309" y="1"/>
                  <a:pt x="1309" y="1"/>
                </a:cubicBezTo>
                <a:cubicBezTo>
                  <a:pt x="1310" y="1"/>
                  <a:pt x="1311" y="1"/>
                  <a:pt x="1309" y="0"/>
                </a:cubicBezTo>
                <a:cubicBezTo>
                  <a:pt x="1305" y="0"/>
                  <a:pt x="1301" y="0"/>
                  <a:pt x="1297" y="0"/>
                </a:cubicBezTo>
                <a:cubicBezTo>
                  <a:pt x="1295" y="0"/>
                  <a:pt x="1292" y="1"/>
                  <a:pt x="1289" y="1"/>
                </a:cubicBezTo>
                <a:cubicBezTo>
                  <a:pt x="1287" y="1"/>
                  <a:pt x="1285" y="1"/>
                  <a:pt x="1284" y="1"/>
                </a:cubicBezTo>
                <a:cubicBezTo>
                  <a:pt x="1283" y="1"/>
                  <a:pt x="1283" y="1"/>
                  <a:pt x="1282" y="1"/>
                </a:cubicBezTo>
                <a:cubicBezTo>
                  <a:pt x="1280" y="2"/>
                  <a:pt x="1277" y="2"/>
                  <a:pt x="1275" y="3"/>
                </a:cubicBezTo>
                <a:cubicBezTo>
                  <a:pt x="1274" y="3"/>
                  <a:pt x="1273" y="3"/>
                  <a:pt x="1272" y="3"/>
                </a:cubicBezTo>
                <a:cubicBezTo>
                  <a:pt x="1272" y="3"/>
                  <a:pt x="1269" y="3"/>
                  <a:pt x="1269" y="3"/>
                </a:cubicBezTo>
                <a:cubicBezTo>
                  <a:pt x="1268" y="3"/>
                  <a:pt x="1268" y="3"/>
                  <a:pt x="1266" y="2"/>
                </a:cubicBezTo>
                <a:cubicBezTo>
                  <a:pt x="1266" y="2"/>
                  <a:pt x="1264" y="2"/>
                  <a:pt x="1263" y="2"/>
                </a:cubicBezTo>
                <a:cubicBezTo>
                  <a:pt x="1256" y="2"/>
                  <a:pt x="1250" y="2"/>
                  <a:pt x="1243" y="2"/>
                </a:cubicBezTo>
                <a:cubicBezTo>
                  <a:pt x="1240" y="2"/>
                  <a:pt x="1233" y="3"/>
                  <a:pt x="1231" y="2"/>
                </a:cubicBezTo>
                <a:cubicBezTo>
                  <a:pt x="1229" y="2"/>
                  <a:pt x="1217" y="2"/>
                  <a:pt x="1202" y="2"/>
                </a:cubicBezTo>
                <a:cubicBezTo>
                  <a:pt x="1198" y="2"/>
                  <a:pt x="1193" y="2"/>
                  <a:pt x="1188" y="2"/>
                </a:cubicBezTo>
                <a:cubicBezTo>
                  <a:pt x="1184" y="2"/>
                  <a:pt x="1179" y="1"/>
                  <a:pt x="1176" y="2"/>
                </a:cubicBezTo>
                <a:cubicBezTo>
                  <a:pt x="1175" y="2"/>
                  <a:pt x="1173" y="2"/>
                  <a:pt x="1171" y="3"/>
                </a:cubicBezTo>
                <a:cubicBezTo>
                  <a:pt x="1169" y="3"/>
                  <a:pt x="1165" y="3"/>
                  <a:pt x="1161" y="3"/>
                </a:cubicBezTo>
                <a:cubicBezTo>
                  <a:pt x="1160" y="3"/>
                  <a:pt x="1157" y="3"/>
                  <a:pt x="1156" y="3"/>
                </a:cubicBezTo>
                <a:cubicBezTo>
                  <a:pt x="1155" y="3"/>
                  <a:pt x="1154" y="3"/>
                  <a:pt x="1152" y="2"/>
                </a:cubicBezTo>
                <a:cubicBezTo>
                  <a:pt x="1150" y="2"/>
                  <a:pt x="1147" y="2"/>
                  <a:pt x="1145" y="2"/>
                </a:cubicBezTo>
                <a:cubicBezTo>
                  <a:pt x="1142" y="2"/>
                  <a:pt x="1138" y="2"/>
                  <a:pt x="1135" y="2"/>
                </a:cubicBezTo>
                <a:cubicBezTo>
                  <a:pt x="1128" y="2"/>
                  <a:pt x="1120" y="2"/>
                  <a:pt x="1115" y="3"/>
                </a:cubicBezTo>
                <a:cubicBezTo>
                  <a:pt x="1112" y="3"/>
                  <a:pt x="1106" y="4"/>
                  <a:pt x="1102" y="3"/>
                </a:cubicBezTo>
                <a:cubicBezTo>
                  <a:pt x="1099" y="3"/>
                  <a:pt x="1095" y="3"/>
                  <a:pt x="1093" y="3"/>
                </a:cubicBezTo>
                <a:cubicBezTo>
                  <a:pt x="1092" y="3"/>
                  <a:pt x="1091" y="2"/>
                  <a:pt x="1088" y="2"/>
                </a:cubicBezTo>
                <a:cubicBezTo>
                  <a:pt x="1084" y="2"/>
                  <a:pt x="1079" y="2"/>
                  <a:pt x="1075" y="2"/>
                </a:cubicBezTo>
                <a:cubicBezTo>
                  <a:pt x="1067" y="2"/>
                  <a:pt x="1056" y="2"/>
                  <a:pt x="1052" y="1"/>
                </a:cubicBezTo>
                <a:cubicBezTo>
                  <a:pt x="1048" y="1"/>
                  <a:pt x="1034" y="1"/>
                  <a:pt x="1020" y="1"/>
                </a:cubicBezTo>
                <a:cubicBezTo>
                  <a:pt x="1013" y="1"/>
                  <a:pt x="1006" y="1"/>
                  <a:pt x="998" y="1"/>
                </a:cubicBezTo>
                <a:cubicBezTo>
                  <a:pt x="998" y="1"/>
                  <a:pt x="997" y="1"/>
                  <a:pt x="997" y="1"/>
                </a:cubicBezTo>
                <a:cubicBezTo>
                  <a:pt x="996" y="1"/>
                  <a:pt x="996" y="2"/>
                  <a:pt x="997" y="2"/>
                </a:cubicBezTo>
                <a:cubicBezTo>
                  <a:pt x="997" y="2"/>
                  <a:pt x="996" y="2"/>
                  <a:pt x="995" y="2"/>
                </a:cubicBezTo>
                <a:cubicBezTo>
                  <a:pt x="994" y="2"/>
                  <a:pt x="993" y="2"/>
                  <a:pt x="992" y="2"/>
                </a:cubicBezTo>
                <a:cubicBezTo>
                  <a:pt x="988" y="3"/>
                  <a:pt x="986" y="3"/>
                  <a:pt x="982" y="3"/>
                </a:cubicBezTo>
                <a:cubicBezTo>
                  <a:pt x="980" y="3"/>
                  <a:pt x="977" y="3"/>
                  <a:pt x="975" y="3"/>
                </a:cubicBezTo>
                <a:cubicBezTo>
                  <a:pt x="970" y="3"/>
                  <a:pt x="965" y="3"/>
                  <a:pt x="959" y="3"/>
                </a:cubicBezTo>
                <a:cubicBezTo>
                  <a:pt x="952" y="3"/>
                  <a:pt x="944" y="3"/>
                  <a:pt x="937" y="3"/>
                </a:cubicBezTo>
                <a:cubicBezTo>
                  <a:pt x="933" y="3"/>
                  <a:pt x="930" y="3"/>
                  <a:pt x="926" y="3"/>
                </a:cubicBezTo>
                <a:cubicBezTo>
                  <a:pt x="925" y="3"/>
                  <a:pt x="922" y="3"/>
                  <a:pt x="921" y="3"/>
                </a:cubicBezTo>
                <a:cubicBezTo>
                  <a:pt x="920" y="3"/>
                  <a:pt x="921" y="3"/>
                  <a:pt x="921" y="3"/>
                </a:cubicBezTo>
                <a:cubicBezTo>
                  <a:pt x="920" y="2"/>
                  <a:pt x="919" y="2"/>
                  <a:pt x="917" y="2"/>
                </a:cubicBezTo>
                <a:cubicBezTo>
                  <a:pt x="915" y="2"/>
                  <a:pt x="912" y="2"/>
                  <a:pt x="909" y="2"/>
                </a:cubicBezTo>
                <a:cubicBezTo>
                  <a:pt x="902" y="2"/>
                  <a:pt x="892" y="2"/>
                  <a:pt x="886" y="2"/>
                </a:cubicBezTo>
                <a:cubicBezTo>
                  <a:pt x="882" y="2"/>
                  <a:pt x="876" y="1"/>
                  <a:pt x="873" y="2"/>
                </a:cubicBezTo>
                <a:cubicBezTo>
                  <a:pt x="872" y="2"/>
                  <a:pt x="871" y="2"/>
                  <a:pt x="871" y="3"/>
                </a:cubicBezTo>
                <a:cubicBezTo>
                  <a:pt x="871" y="3"/>
                  <a:pt x="871" y="3"/>
                  <a:pt x="871" y="3"/>
                </a:cubicBezTo>
                <a:cubicBezTo>
                  <a:pt x="870" y="3"/>
                  <a:pt x="869" y="3"/>
                  <a:pt x="868" y="3"/>
                </a:cubicBezTo>
                <a:cubicBezTo>
                  <a:pt x="860" y="3"/>
                  <a:pt x="852" y="3"/>
                  <a:pt x="844" y="3"/>
                </a:cubicBezTo>
                <a:cubicBezTo>
                  <a:pt x="838" y="3"/>
                  <a:pt x="832" y="3"/>
                  <a:pt x="826" y="3"/>
                </a:cubicBezTo>
                <a:cubicBezTo>
                  <a:pt x="824" y="3"/>
                  <a:pt x="822" y="3"/>
                  <a:pt x="821" y="3"/>
                </a:cubicBezTo>
                <a:cubicBezTo>
                  <a:pt x="821" y="3"/>
                  <a:pt x="822" y="3"/>
                  <a:pt x="820" y="3"/>
                </a:cubicBezTo>
                <a:cubicBezTo>
                  <a:pt x="820" y="3"/>
                  <a:pt x="819" y="3"/>
                  <a:pt x="818" y="3"/>
                </a:cubicBezTo>
                <a:cubicBezTo>
                  <a:pt x="814" y="3"/>
                  <a:pt x="806" y="4"/>
                  <a:pt x="802" y="3"/>
                </a:cubicBezTo>
                <a:cubicBezTo>
                  <a:pt x="802" y="3"/>
                  <a:pt x="802" y="3"/>
                  <a:pt x="802" y="3"/>
                </a:cubicBezTo>
                <a:cubicBezTo>
                  <a:pt x="802" y="3"/>
                  <a:pt x="802" y="3"/>
                  <a:pt x="802" y="2"/>
                </a:cubicBezTo>
                <a:cubicBezTo>
                  <a:pt x="802" y="2"/>
                  <a:pt x="801" y="1"/>
                  <a:pt x="800" y="1"/>
                </a:cubicBezTo>
                <a:cubicBezTo>
                  <a:pt x="799" y="1"/>
                  <a:pt x="797" y="1"/>
                  <a:pt x="796" y="1"/>
                </a:cubicBezTo>
                <a:cubicBezTo>
                  <a:pt x="794" y="1"/>
                  <a:pt x="793" y="1"/>
                  <a:pt x="792" y="1"/>
                </a:cubicBezTo>
                <a:cubicBezTo>
                  <a:pt x="791" y="1"/>
                  <a:pt x="791" y="1"/>
                  <a:pt x="790" y="2"/>
                </a:cubicBezTo>
                <a:cubicBezTo>
                  <a:pt x="788" y="2"/>
                  <a:pt x="787" y="0"/>
                  <a:pt x="785" y="0"/>
                </a:cubicBezTo>
                <a:cubicBezTo>
                  <a:pt x="781" y="0"/>
                  <a:pt x="776" y="0"/>
                  <a:pt x="772" y="0"/>
                </a:cubicBezTo>
                <a:cubicBezTo>
                  <a:pt x="761" y="0"/>
                  <a:pt x="751" y="0"/>
                  <a:pt x="740" y="0"/>
                </a:cubicBezTo>
                <a:cubicBezTo>
                  <a:pt x="731" y="0"/>
                  <a:pt x="723" y="0"/>
                  <a:pt x="714" y="0"/>
                </a:cubicBezTo>
                <a:cubicBezTo>
                  <a:pt x="710" y="0"/>
                  <a:pt x="705" y="0"/>
                  <a:pt x="701" y="0"/>
                </a:cubicBezTo>
                <a:cubicBezTo>
                  <a:pt x="698" y="0"/>
                  <a:pt x="693" y="0"/>
                  <a:pt x="692" y="1"/>
                </a:cubicBezTo>
                <a:cubicBezTo>
                  <a:pt x="691" y="2"/>
                  <a:pt x="690" y="2"/>
                  <a:pt x="687" y="2"/>
                </a:cubicBezTo>
                <a:cubicBezTo>
                  <a:pt x="685" y="2"/>
                  <a:pt x="681" y="3"/>
                  <a:pt x="679" y="3"/>
                </a:cubicBezTo>
                <a:cubicBezTo>
                  <a:pt x="676" y="4"/>
                  <a:pt x="675" y="4"/>
                  <a:pt x="669" y="4"/>
                </a:cubicBezTo>
                <a:cubicBezTo>
                  <a:pt x="665" y="4"/>
                  <a:pt x="661" y="4"/>
                  <a:pt x="657" y="4"/>
                </a:cubicBezTo>
                <a:cubicBezTo>
                  <a:pt x="652" y="4"/>
                  <a:pt x="645" y="4"/>
                  <a:pt x="639" y="4"/>
                </a:cubicBezTo>
                <a:cubicBezTo>
                  <a:pt x="638" y="4"/>
                  <a:pt x="637" y="4"/>
                  <a:pt x="636" y="4"/>
                </a:cubicBezTo>
                <a:cubicBezTo>
                  <a:pt x="634" y="4"/>
                  <a:pt x="634" y="4"/>
                  <a:pt x="633" y="4"/>
                </a:cubicBezTo>
                <a:cubicBezTo>
                  <a:pt x="632" y="4"/>
                  <a:pt x="631" y="4"/>
                  <a:pt x="630" y="4"/>
                </a:cubicBezTo>
                <a:cubicBezTo>
                  <a:pt x="627" y="4"/>
                  <a:pt x="624" y="4"/>
                  <a:pt x="621" y="4"/>
                </a:cubicBezTo>
                <a:cubicBezTo>
                  <a:pt x="618" y="4"/>
                  <a:pt x="614" y="4"/>
                  <a:pt x="610" y="4"/>
                </a:cubicBezTo>
                <a:cubicBezTo>
                  <a:pt x="610" y="4"/>
                  <a:pt x="609" y="4"/>
                  <a:pt x="608" y="4"/>
                </a:cubicBezTo>
                <a:cubicBezTo>
                  <a:pt x="608" y="3"/>
                  <a:pt x="608" y="3"/>
                  <a:pt x="606" y="3"/>
                </a:cubicBezTo>
                <a:cubicBezTo>
                  <a:pt x="605" y="3"/>
                  <a:pt x="603" y="3"/>
                  <a:pt x="602" y="3"/>
                </a:cubicBezTo>
                <a:cubicBezTo>
                  <a:pt x="600" y="3"/>
                  <a:pt x="599" y="3"/>
                  <a:pt x="597" y="3"/>
                </a:cubicBezTo>
                <a:cubicBezTo>
                  <a:pt x="597" y="3"/>
                  <a:pt x="596" y="3"/>
                  <a:pt x="596" y="3"/>
                </a:cubicBezTo>
                <a:cubicBezTo>
                  <a:pt x="595" y="3"/>
                  <a:pt x="596" y="3"/>
                  <a:pt x="596" y="3"/>
                </a:cubicBezTo>
                <a:cubicBezTo>
                  <a:pt x="600" y="5"/>
                  <a:pt x="594" y="4"/>
                  <a:pt x="590" y="4"/>
                </a:cubicBezTo>
                <a:cubicBezTo>
                  <a:pt x="586" y="5"/>
                  <a:pt x="582" y="4"/>
                  <a:pt x="579" y="3"/>
                </a:cubicBezTo>
                <a:cubicBezTo>
                  <a:pt x="576" y="3"/>
                  <a:pt x="572" y="3"/>
                  <a:pt x="568" y="3"/>
                </a:cubicBezTo>
                <a:cubicBezTo>
                  <a:pt x="566" y="3"/>
                  <a:pt x="563" y="3"/>
                  <a:pt x="561" y="3"/>
                </a:cubicBezTo>
                <a:cubicBezTo>
                  <a:pt x="561" y="3"/>
                  <a:pt x="560" y="3"/>
                  <a:pt x="560" y="3"/>
                </a:cubicBezTo>
                <a:cubicBezTo>
                  <a:pt x="560" y="3"/>
                  <a:pt x="560" y="4"/>
                  <a:pt x="560" y="4"/>
                </a:cubicBezTo>
                <a:cubicBezTo>
                  <a:pt x="560" y="4"/>
                  <a:pt x="559" y="4"/>
                  <a:pt x="558" y="4"/>
                </a:cubicBezTo>
                <a:cubicBezTo>
                  <a:pt x="552" y="5"/>
                  <a:pt x="544" y="5"/>
                  <a:pt x="537" y="5"/>
                </a:cubicBezTo>
                <a:cubicBezTo>
                  <a:pt x="530" y="5"/>
                  <a:pt x="523" y="5"/>
                  <a:pt x="516" y="5"/>
                </a:cubicBezTo>
                <a:cubicBezTo>
                  <a:pt x="507" y="5"/>
                  <a:pt x="498" y="5"/>
                  <a:pt x="489" y="5"/>
                </a:cubicBezTo>
                <a:cubicBezTo>
                  <a:pt x="485" y="5"/>
                  <a:pt x="481" y="5"/>
                  <a:pt x="476" y="5"/>
                </a:cubicBezTo>
                <a:cubicBezTo>
                  <a:pt x="475" y="5"/>
                  <a:pt x="474" y="5"/>
                  <a:pt x="473" y="5"/>
                </a:cubicBezTo>
                <a:cubicBezTo>
                  <a:pt x="473" y="4"/>
                  <a:pt x="474" y="4"/>
                  <a:pt x="472" y="3"/>
                </a:cubicBezTo>
                <a:cubicBezTo>
                  <a:pt x="469" y="3"/>
                  <a:pt x="459" y="4"/>
                  <a:pt x="457" y="3"/>
                </a:cubicBezTo>
                <a:cubicBezTo>
                  <a:pt x="457" y="3"/>
                  <a:pt x="458" y="3"/>
                  <a:pt x="458" y="3"/>
                </a:cubicBezTo>
                <a:cubicBezTo>
                  <a:pt x="458" y="3"/>
                  <a:pt x="457" y="3"/>
                  <a:pt x="457" y="3"/>
                </a:cubicBezTo>
                <a:cubicBezTo>
                  <a:pt x="456" y="3"/>
                  <a:pt x="455" y="3"/>
                  <a:pt x="454" y="3"/>
                </a:cubicBezTo>
                <a:cubicBezTo>
                  <a:pt x="439" y="3"/>
                  <a:pt x="425" y="3"/>
                  <a:pt x="410" y="3"/>
                </a:cubicBezTo>
                <a:cubicBezTo>
                  <a:pt x="407" y="3"/>
                  <a:pt x="404" y="3"/>
                  <a:pt x="400" y="3"/>
                </a:cubicBezTo>
                <a:cubicBezTo>
                  <a:pt x="396" y="4"/>
                  <a:pt x="395" y="4"/>
                  <a:pt x="392" y="5"/>
                </a:cubicBezTo>
                <a:cubicBezTo>
                  <a:pt x="389" y="6"/>
                  <a:pt x="387" y="6"/>
                  <a:pt x="383" y="7"/>
                </a:cubicBezTo>
                <a:cubicBezTo>
                  <a:pt x="380" y="7"/>
                  <a:pt x="377" y="7"/>
                  <a:pt x="374" y="7"/>
                </a:cubicBezTo>
                <a:cubicBezTo>
                  <a:pt x="371" y="7"/>
                  <a:pt x="368" y="7"/>
                  <a:pt x="365" y="7"/>
                </a:cubicBezTo>
                <a:cubicBezTo>
                  <a:pt x="365" y="7"/>
                  <a:pt x="364" y="7"/>
                  <a:pt x="364" y="6"/>
                </a:cubicBezTo>
                <a:cubicBezTo>
                  <a:pt x="364" y="6"/>
                  <a:pt x="363" y="5"/>
                  <a:pt x="362" y="5"/>
                </a:cubicBezTo>
                <a:cubicBezTo>
                  <a:pt x="359" y="5"/>
                  <a:pt x="356" y="5"/>
                  <a:pt x="353" y="5"/>
                </a:cubicBezTo>
                <a:cubicBezTo>
                  <a:pt x="349" y="5"/>
                  <a:pt x="348" y="5"/>
                  <a:pt x="345" y="4"/>
                </a:cubicBezTo>
                <a:cubicBezTo>
                  <a:pt x="343" y="3"/>
                  <a:pt x="340" y="3"/>
                  <a:pt x="336" y="3"/>
                </a:cubicBezTo>
                <a:cubicBezTo>
                  <a:pt x="333" y="3"/>
                  <a:pt x="329" y="3"/>
                  <a:pt x="326" y="3"/>
                </a:cubicBezTo>
                <a:cubicBezTo>
                  <a:pt x="322" y="3"/>
                  <a:pt x="316" y="3"/>
                  <a:pt x="312" y="3"/>
                </a:cubicBezTo>
                <a:cubicBezTo>
                  <a:pt x="310" y="3"/>
                  <a:pt x="309" y="4"/>
                  <a:pt x="307" y="4"/>
                </a:cubicBezTo>
                <a:cubicBezTo>
                  <a:pt x="304" y="5"/>
                  <a:pt x="301" y="4"/>
                  <a:pt x="299" y="4"/>
                </a:cubicBezTo>
                <a:cubicBezTo>
                  <a:pt x="294" y="4"/>
                  <a:pt x="278" y="4"/>
                  <a:pt x="263" y="4"/>
                </a:cubicBezTo>
                <a:cubicBezTo>
                  <a:pt x="257" y="4"/>
                  <a:pt x="252" y="4"/>
                  <a:pt x="246" y="4"/>
                </a:cubicBezTo>
                <a:cubicBezTo>
                  <a:pt x="217" y="5"/>
                  <a:pt x="190" y="3"/>
                  <a:pt x="160" y="3"/>
                </a:cubicBezTo>
                <a:cubicBezTo>
                  <a:pt x="160" y="3"/>
                  <a:pt x="160" y="3"/>
                  <a:pt x="160" y="3"/>
                </a:cubicBezTo>
                <a:cubicBezTo>
                  <a:pt x="160" y="3"/>
                  <a:pt x="159" y="3"/>
                  <a:pt x="159" y="3"/>
                </a:cubicBezTo>
                <a:cubicBezTo>
                  <a:pt x="159" y="3"/>
                  <a:pt x="158" y="3"/>
                  <a:pt x="158" y="3"/>
                </a:cubicBezTo>
                <a:cubicBezTo>
                  <a:pt x="158" y="3"/>
                  <a:pt x="158" y="3"/>
                  <a:pt x="157" y="3"/>
                </a:cubicBezTo>
                <a:cubicBezTo>
                  <a:pt x="157" y="3"/>
                  <a:pt x="157" y="3"/>
                  <a:pt x="157" y="3"/>
                </a:cubicBezTo>
                <a:cubicBezTo>
                  <a:pt x="146" y="3"/>
                  <a:pt x="134" y="3"/>
                  <a:pt x="121" y="3"/>
                </a:cubicBezTo>
                <a:cubicBezTo>
                  <a:pt x="121" y="3"/>
                  <a:pt x="121" y="3"/>
                  <a:pt x="121" y="3"/>
                </a:cubicBezTo>
                <a:cubicBezTo>
                  <a:pt x="120" y="3"/>
                  <a:pt x="120" y="3"/>
                  <a:pt x="120" y="3"/>
                </a:cubicBezTo>
                <a:cubicBezTo>
                  <a:pt x="119" y="3"/>
                  <a:pt x="117" y="3"/>
                  <a:pt x="116" y="3"/>
                </a:cubicBezTo>
                <a:cubicBezTo>
                  <a:pt x="111" y="3"/>
                  <a:pt x="107" y="3"/>
                  <a:pt x="102" y="3"/>
                </a:cubicBezTo>
                <a:cubicBezTo>
                  <a:pt x="84" y="3"/>
                  <a:pt x="59" y="3"/>
                  <a:pt x="37" y="3"/>
                </a:cubicBezTo>
                <a:cubicBezTo>
                  <a:pt x="34" y="3"/>
                  <a:pt x="30" y="3"/>
                  <a:pt x="27" y="3"/>
                </a:cubicBezTo>
                <a:cubicBezTo>
                  <a:pt x="19" y="3"/>
                  <a:pt x="7" y="1"/>
                  <a:pt x="1" y="7"/>
                </a:cubicBezTo>
                <a:cubicBezTo>
                  <a:pt x="0" y="9"/>
                  <a:pt x="0" y="11"/>
                  <a:pt x="0" y="14"/>
                </a:cubicBezTo>
                <a:cubicBezTo>
                  <a:pt x="0" y="14"/>
                  <a:pt x="0" y="15"/>
                  <a:pt x="0" y="15"/>
                </a:cubicBezTo>
                <a:cubicBezTo>
                  <a:pt x="0" y="19"/>
                  <a:pt x="0" y="24"/>
                  <a:pt x="0" y="27"/>
                </a:cubicBezTo>
                <a:cubicBezTo>
                  <a:pt x="0" y="31"/>
                  <a:pt x="2" y="34"/>
                  <a:pt x="3" y="38"/>
                </a:cubicBezTo>
                <a:cubicBezTo>
                  <a:pt x="3" y="39"/>
                  <a:pt x="3" y="43"/>
                  <a:pt x="4" y="44"/>
                </a:cubicBezTo>
                <a:cubicBezTo>
                  <a:pt x="5" y="46"/>
                  <a:pt x="6" y="46"/>
                  <a:pt x="7" y="47"/>
                </a:cubicBezTo>
                <a:cubicBezTo>
                  <a:pt x="12" y="49"/>
                  <a:pt x="14" y="50"/>
                  <a:pt x="19" y="51"/>
                </a:cubicBezTo>
                <a:cubicBezTo>
                  <a:pt x="24" y="52"/>
                  <a:pt x="29" y="53"/>
                  <a:pt x="34" y="53"/>
                </a:cubicBezTo>
                <a:cubicBezTo>
                  <a:pt x="38" y="54"/>
                  <a:pt x="43" y="54"/>
                  <a:pt x="48" y="54"/>
                </a:cubicBezTo>
                <a:cubicBezTo>
                  <a:pt x="49" y="54"/>
                  <a:pt x="50" y="54"/>
                  <a:pt x="52" y="53"/>
                </a:cubicBezTo>
                <a:cubicBezTo>
                  <a:pt x="53" y="53"/>
                  <a:pt x="54" y="53"/>
                  <a:pt x="55" y="53"/>
                </a:cubicBezTo>
                <a:cubicBezTo>
                  <a:pt x="56" y="53"/>
                  <a:pt x="58" y="54"/>
                  <a:pt x="59" y="54"/>
                </a:cubicBezTo>
                <a:cubicBezTo>
                  <a:pt x="61" y="54"/>
                  <a:pt x="62" y="54"/>
                  <a:pt x="63" y="54"/>
                </a:cubicBezTo>
                <a:cubicBezTo>
                  <a:pt x="66" y="54"/>
                  <a:pt x="68" y="55"/>
                  <a:pt x="70" y="55"/>
                </a:cubicBezTo>
                <a:cubicBezTo>
                  <a:pt x="72" y="55"/>
                  <a:pt x="74" y="54"/>
                  <a:pt x="76" y="54"/>
                </a:cubicBezTo>
                <a:cubicBezTo>
                  <a:pt x="78" y="54"/>
                  <a:pt x="81" y="54"/>
                  <a:pt x="83" y="54"/>
                </a:cubicBezTo>
                <a:cubicBezTo>
                  <a:pt x="84" y="54"/>
                  <a:pt x="86" y="53"/>
                  <a:pt x="87" y="53"/>
                </a:cubicBezTo>
                <a:cubicBezTo>
                  <a:pt x="89" y="52"/>
                  <a:pt x="91" y="52"/>
                  <a:pt x="93" y="53"/>
                </a:cubicBezTo>
                <a:cubicBezTo>
                  <a:pt x="98" y="53"/>
                  <a:pt x="104" y="53"/>
                  <a:pt x="111" y="53"/>
                </a:cubicBezTo>
                <a:cubicBezTo>
                  <a:pt x="117" y="53"/>
                  <a:pt x="123" y="53"/>
                  <a:pt x="129" y="53"/>
                </a:cubicBezTo>
                <a:cubicBezTo>
                  <a:pt x="146" y="54"/>
                  <a:pt x="164" y="54"/>
                  <a:pt x="181" y="54"/>
                </a:cubicBezTo>
                <a:cubicBezTo>
                  <a:pt x="187" y="54"/>
                  <a:pt x="192" y="54"/>
                  <a:pt x="198" y="53"/>
                </a:cubicBezTo>
                <a:cubicBezTo>
                  <a:pt x="201" y="53"/>
                  <a:pt x="205" y="53"/>
                  <a:pt x="209" y="53"/>
                </a:cubicBezTo>
                <a:cubicBezTo>
                  <a:pt x="214" y="53"/>
                  <a:pt x="220" y="54"/>
                  <a:pt x="226" y="54"/>
                </a:cubicBezTo>
                <a:cubicBezTo>
                  <a:pt x="231" y="54"/>
                  <a:pt x="236" y="54"/>
                  <a:pt x="241" y="54"/>
                </a:cubicBezTo>
                <a:cubicBezTo>
                  <a:pt x="249" y="54"/>
                  <a:pt x="257" y="55"/>
                  <a:pt x="264" y="55"/>
                </a:cubicBezTo>
                <a:cubicBezTo>
                  <a:pt x="272" y="55"/>
                  <a:pt x="280" y="54"/>
                  <a:pt x="288" y="54"/>
                </a:cubicBezTo>
                <a:cubicBezTo>
                  <a:pt x="297" y="54"/>
                  <a:pt x="306" y="54"/>
                  <a:pt x="315" y="54"/>
                </a:cubicBezTo>
                <a:cubicBezTo>
                  <a:pt x="321" y="54"/>
                  <a:pt x="325" y="53"/>
                  <a:pt x="330" y="53"/>
                </a:cubicBezTo>
                <a:cubicBezTo>
                  <a:pt x="337" y="52"/>
                  <a:pt x="345" y="52"/>
                  <a:pt x="352" y="53"/>
                </a:cubicBezTo>
                <a:cubicBezTo>
                  <a:pt x="490" y="54"/>
                  <a:pt x="829" y="54"/>
                  <a:pt x="894" y="53"/>
                </a:cubicBezTo>
                <a:cubicBezTo>
                  <a:pt x="908" y="53"/>
                  <a:pt x="939" y="53"/>
                  <a:pt x="962" y="53"/>
                </a:cubicBezTo>
                <a:cubicBezTo>
                  <a:pt x="985" y="53"/>
                  <a:pt x="1020" y="53"/>
                  <a:pt x="1041" y="52"/>
                </a:cubicBezTo>
                <a:cubicBezTo>
                  <a:pt x="1151" y="52"/>
                  <a:pt x="1195" y="51"/>
                  <a:pt x="1306" y="51"/>
                </a:cubicBezTo>
                <a:cubicBezTo>
                  <a:pt x="1314" y="51"/>
                  <a:pt x="1323" y="51"/>
                  <a:pt x="1332" y="51"/>
                </a:cubicBezTo>
                <a:cubicBezTo>
                  <a:pt x="1339" y="51"/>
                  <a:pt x="1350" y="51"/>
                  <a:pt x="1356" y="51"/>
                </a:cubicBezTo>
                <a:cubicBezTo>
                  <a:pt x="1357" y="50"/>
                  <a:pt x="1357" y="50"/>
                  <a:pt x="1358" y="50"/>
                </a:cubicBezTo>
                <a:cubicBezTo>
                  <a:pt x="1361" y="50"/>
                  <a:pt x="1363" y="51"/>
                  <a:pt x="1366" y="51"/>
                </a:cubicBezTo>
                <a:cubicBezTo>
                  <a:pt x="1368" y="52"/>
                  <a:pt x="1371" y="52"/>
                  <a:pt x="1375" y="52"/>
                </a:cubicBezTo>
                <a:cubicBezTo>
                  <a:pt x="1376" y="52"/>
                  <a:pt x="1376" y="51"/>
                  <a:pt x="1377" y="51"/>
                </a:cubicBezTo>
                <a:cubicBezTo>
                  <a:pt x="1380" y="50"/>
                  <a:pt x="1385" y="50"/>
                  <a:pt x="1390" y="50"/>
                </a:cubicBezTo>
                <a:cubicBezTo>
                  <a:pt x="1396" y="50"/>
                  <a:pt x="1403" y="50"/>
                  <a:pt x="1410" y="50"/>
                </a:cubicBezTo>
                <a:cubicBezTo>
                  <a:pt x="1424" y="50"/>
                  <a:pt x="1439" y="50"/>
                  <a:pt x="1454" y="50"/>
                </a:cubicBezTo>
                <a:cubicBezTo>
                  <a:pt x="1468" y="50"/>
                  <a:pt x="1483" y="50"/>
                  <a:pt x="1497" y="50"/>
                </a:cubicBezTo>
                <a:cubicBezTo>
                  <a:pt x="1503" y="50"/>
                  <a:pt x="1509" y="50"/>
                  <a:pt x="1514" y="50"/>
                </a:cubicBezTo>
                <a:cubicBezTo>
                  <a:pt x="1520" y="50"/>
                  <a:pt x="1528" y="50"/>
                  <a:pt x="1533" y="51"/>
                </a:cubicBezTo>
                <a:cubicBezTo>
                  <a:pt x="1537" y="52"/>
                  <a:pt x="1541" y="53"/>
                  <a:pt x="1546" y="51"/>
                </a:cubicBezTo>
                <a:cubicBezTo>
                  <a:pt x="1547" y="51"/>
                  <a:pt x="1547" y="51"/>
                  <a:pt x="1548" y="51"/>
                </a:cubicBezTo>
                <a:cubicBezTo>
                  <a:pt x="1549" y="51"/>
                  <a:pt x="1550" y="51"/>
                  <a:pt x="1551" y="51"/>
                </a:cubicBezTo>
                <a:cubicBezTo>
                  <a:pt x="1565" y="50"/>
                  <a:pt x="1582" y="50"/>
                  <a:pt x="1596" y="50"/>
                </a:cubicBezTo>
                <a:cubicBezTo>
                  <a:pt x="1613" y="50"/>
                  <a:pt x="1629" y="50"/>
                  <a:pt x="1645" y="50"/>
                </a:cubicBezTo>
                <a:cubicBezTo>
                  <a:pt x="1678" y="50"/>
                  <a:pt x="1711" y="51"/>
                  <a:pt x="1744" y="51"/>
                </a:cubicBezTo>
                <a:cubicBezTo>
                  <a:pt x="1771" y="51"/>
                  <a:pt x="1799" y="51"/>
                  <a:pt x="1826" y="51"/>
                </a:cubicBezTo>
                <a:cubicBezTo>
                  <a:pt x="1891" y="51"/>
                  <a:pt x="1957" y="51"/>
                  <a:pt x="2022" y="51"/>
                </a:cubicBezTo>
                <a:cubicBezTo>
                  <a:pt x="2036" y="51"/>
                  <a:pt x="2051" y="51"/>
                  <a:pt x="2065" y="51"/>
                </a:cubicBezTo>
                <a:cubicBezTo>
                  <a:pt x="2072" y="51"/>
                  <a:pt x="2079" y="51"/>
                  <a:pt x="2087" y="51"/>
                </a:cubicBezTo>
                <a:cubicBezTo>
                  <a:pt x="2092" y="51"/>
                  <a:pt x="2098" y="52"/>
                  <a:pt x="2103" y="51"/>
                </a:cubicBezTo>
                <a:cubicBezTo>
                  <a:pt x="2108" y="50"/>
                  <a:pt x="2108" y="51"/>
                  <a:pt x="2112" y="51"/>
                </a:cubicBezTo>
                <a:cubicBezTo>
                  <a:pt x="2113" y="51"/>
                  <a:pt x="2122" y="52"/>
                  <a:pt x="2123" y="51"/>
                </a:cubicBezTo>
                <a:cubicBezTo>
                  <a:pt x="2124" y="51"/>
                  <a:pt x="2129" y="51"/>
                  <a:pt x="2130" y="51"/>
                </a:cubicBezTo>
                <a:cubicBezTo>
                  <a:pt x="2137" y="51"/>
                  <a:pt x="2143" y="51"/>
                  <a:pt x="2149" y="51"/>
                </a:cubicBezTo>
                <a:cubicBezTo>
                  <a:pt x="2163" y="51"/>
                  <a:pt x="2177" y="51"/>
                  <a:pt x="2191" y="51"/>
                </a:cubicBezTo>
                <a:cubicBezTo>
                  <a:pt x="2192" y="51"/>
                  <a:pt x="2193" y="51"/>
                  <a:pt x="2195" y="51"/>
                </a:cubicBezTo>
                <a:cubicBezTo>
                  <a:pt x="2196" y="51"/>
                  <a:pt x="2197" y="51"/>
                  <a:pt x="2198" y="50"/>
                </a:cubicBezTo>
                <a:cubicBezTo>
                  <a:pt x="2202" y="49"/>
                  <a:pt x="2210" y="49"/>
                  <a:pt x="2215" y="49"/>
                </a:cubicBezTo>
                <a:cubicBezTo>
                  <a:pt x="2217" y="49"/>
                  <a:pt x="2221" y="49"/>
                  <a:pt x="2221" y="49"/>
                </a:cubicBezTo>
                <a:cubicBezTo>
                  <a:pt x="2222" y="50"/>
                  <a:pt x="2216" y="51"/>
                  <a:pt x="2223" y="51"/>
                </a:cubicBezTo>
                <a:cubicBezTo>
                  <a:pt x="2225" y="51"/>
                  <a:pt x="2227" y="51"/>
                  <a:pt x="2229" y="50"/>
                </a:cubicBezTo>
                <a:cubicBezTo>
                  <a:pt x="2231" y="50"/>
                  <a:pt x="2234" y="50"/>
                  <a:pt x="2235" y="51"/>
                </a:cubicBezTo>
                <a:cubicBezTo>
                  <a:pt x="2235" y="51"/>
                  <a:pt x="2236" y="51"/>
                  <a:pt x="2237" y="51"/>
                </a:cubicBezTo>
                <a:cubicBezTo>
                  <a:pt x="2246" y="51"/>
                  <a:pt x="2254" y="51"/>
                  <a:pt x="2263" y="51"/>
                </a:cubicBezTo>
                <a:cubicBezTo>
                  <a:pt x="2270" y="51"/>
                  <a:pt x="2282" y="51"/>
                  <a:pt x="2289" y="50"/>
                </a:cubicBezTo>
                <a:cubicBezTo>
                  <a:pt x="2291" y="50"/>
                  <a:pt x="2292" y="50"/>
                  <a:pt x="2294" y="50"/>
                </a:cubicBezTo>
                <a:cubicBezTo>
                  <a:pt x="2297" y="49"/>
                  <a:pt x="2302" y="49"/>
                  <a:pt x="2305" y="49"/>
                </a:cubicBezTo>
                <a:cubicBezTo>
                  <a:pt x="2311" y="50"/>
                  <a:pt x="2317" y="50"/>
                  <a:pt x="2322" y="50"/>
                </a:cubicBezTo>
                <a:cubicBezTo>
                  <a:pt x="2328" y="51"/>
                  <a:pt x="2334" y="51"/>
                  <a:pt x="2339" y="50"/>
                </a:cubicBezTo>
                <a:cubicBezTo>
                  <a:pt x="2340" y="50"/>
                  <a:pt x="2341" y="50"/>
                  <a:pt x="2342" y="50"/>
                </a:cubicBezTo>
                <a:cubicBezTo>
                  <a:pt x="2342" y="50"/>
                  <a:pt x="2343" y="50"/>
                  <a:pt x="2344" y="50"/>
                </a:cubicBezTo>
                <a:cubicBezTo>
                  <a:pt x="2346" y="50"/>
                  <a:pt x="2348" y="50"/>
                  <a:pt x="2351" y="50"/>
                </a:cubicBezTo>
                <a:cubicBezTo>
                  <a:pt x="2352" y="51"/>
                  <a:pt x="2369" y="51"/>
                  <a:pt x="2372" y="51"/>
                </a:cubicBezTo>
                <a:cubicBezTo>
                  <a:pt x="2380" y="51"/>
                  <a:pt x="2389" y="51"/>
                  <a:pt x="2398" y="51"/>
                </a:cubicBezTo>
                <a:cubicBezTo>
                  <a:pt x="2420" y="51"/>
                  <a:pt x="2443" y="52"/>
                  <a:pt x="2465" y="52"/>
                </a:cubicBezTo>
                <a:cubicBezTo>
                  <a:pt x="2474" y="52"/>
                  <a:pt x="2483" y="51"/>
                  <a:pt x="2492" y="51"/>
                </a:cubicBezTo>
                <a:cubicBezTo>
                  <a:pt x="2496" y="51"/>
                  <a:pt x="2501" y="52"/>
                  <a:pt x="2506" y="51"/>
                </a:cubicBezTo>
                <a:cubicBezTo>
                  <a:pt x="2509" y="51"/>
                  <a:pt x="2512" y="51"/>
                  <a:pt x="2516" y="51"/>
                </a:cubicBezTo>
                <a:cubicBezTo>
                  <a:pt x="2520" y="51"/>
                  <a:pt x="2525" y="51"/>
                  <a:pt x="2529" y="51"/>
                </a:cubicBezTo>
                <a:cubicBezTo>
                  <a:pt x="2531" y="51"/>
                  <a:pt x="2533" y="51"/>
                  <a:pt x="2535" y="51"/>
                </a:cubicBezTo>
                <a:cubicBezTo>
                  <a:pt x="2537" y="51"/>
                  <a:pt x="2539" y="50"/>
                  <a:pt x="2542" y="50"/>
                </a:cubicBezTo>
                <a:cubicBezTo>
                  <a:pt x="2545" y="50"/>
                  <a:pt x="2548" y="51"/>
                  <a:pt x="2551" y="51"/>
                </a:cubicBezTo>
                <a:cubicBezTo>
                  <a:pt x="2560" y="52"/>
                  <a:pt x="2568" y="51"/>
                  <a:pt x="2578" y="52"/>
                </a:cubicBezTo>
                <a:cubicBezTo>
                  <a:pt x="2590" y="52"/>
                  <a:pt x="2603" y="52"/>
                  <a:pt x="2606" y="52"/>
                </a:cubicBezTo>
                <a:cubicBezTo>
                  <a:pt x="2609" y="52"/>
                  <a:pt x="2628" y="52"/>
                  <a:pt x="2649" y="52"/>
                </a:cubicBezTo>
                <a:cubicBezTo>
                  <a:pt x="2656" y="52"/>
                  <a:pt x="2663" y="52"/>
                  <a:pt x="2671" y="52"/>
                </a:cubicBezTo>
                <a:cubicBezTo>
                  <a:pt x="2674" y="52"/>
                  <a:pt x="2677" y="52"/>
                  <a:pt x="2680" y="52"/>
                </a:cubicBezTo>
                <a:cubicBezTo>
                  <a:pt x="2683" y="52"/>
                  <a:pt x="2686" y="52"/>
                  <a:pt x="2688" y="52"/>
                </a:cubicBezTo>
                <a:cubicBezTo>
                  <a:pt x="2689" y="51"/>
                  <a:pt x="2690" y="51"/>
                  <a:pt x="2691" y="51"/>
                </a:cubicBezTo>
                <a:cubicBezTo>
                  <a:pt x="2692" y="51"/>
                  <a:pt x="2692" y="51"/>
                  <a:pt x="2692" y="52"/>
                </a:cubicBezTo>
                <a:cubicBezTo>
                  <a:pt x="2694" y="52"/>
                  <a:pt x="2699" y="52"/>
                  <a:pt x="2702" y="51"/>
                </a:cubicBezTo>
                <a:cubicBezTo>
                  <a:pt x="2708" y="51"/>
                  <a:pt x="2714" y="52"/>
                  <a:pt x="2720" y="52"/>
                </a:cubicBezTo>
                <a:cubicBezTo>
                  <a:pt x="2743" y="52"/>
                  <a:pt x="2754" y="52"/>
                  <a:pt x="2770" y="53"/>
                </a:cubicBezTo>
                <a:cubicBezTo>
                  <a:pt x="2783" y="54"/>
                  <a:pt x="2834" y="54"/>
                  <a:pt x="2863" y="53"/>
                </a:cubicBezTo>
                <a:cubicBezTo>
                  <a:pt x="2871" y="53"/>
                  <a:pt x="2885" y="53"/>
                  <a:pt x="2891" y="52"/>
                </a:cubicBezTo>
                <a:cubicBezTo>
                  <a:pt x="2893" y="51"/>
                  <a:pt x="2895" y="51"/>
                  <a:pt x="2897" y="51"/>
                </a:cubicBezTo>
                <a:cubicBezTo>
                  <a:pt x="2899" y="52"/>
                  <a:pt x="2898" y="52"/>
                  <a:pt x="2902" y="53"/>
                </a:cubicBezTo>
                <a:cubicBezTo>
                  <a:pt x="2903" y="53"/>
                  <a:pt x="2910" y="53"/>
                  <a:pt x="2912" y="53"/>
                </a:cubicBezTo>
                <a:cubicBezTo>
                  <a:pt x="2916" y="53"/>
                  <a:pt x="2926" y="53"/>
                  <a:pt x="2927" y="52"/>
                </a:cubicBezTo>
                <a:cubicBezTo>
                  <a:pt x="2928" y="52"/>
                  <a:pt x="2928" y="51"/>
                  <a:pt x="2930" y="51"/>
                </a:cubicBezTo>
                <a:cubicBezTo>
                  <a:pt x="2931" y="51"/>
                  <a:pt x="2932" y="51"/>
                  <a:pt x="2932" y="51"/>
                </a:cubicBezTo>
                <a:cubicBezTo>
                  <a:pt x="2935" y="51"/>
                  <a:pt x="2938" y="51"/>
                  <a:pt x="2942" y="51"/>
                </a:cubicBezTo>
                <a:cubicBezTo>
                  <a:pt x="2943" y="51"/>
                  <a:pt x="2943" y="51"/>
                  <a:pt x="2942" y="52"/>
                </a:cubicBezTo>
                <a:cubicBezTo>
                  <a:pt x="2941" y="52"/>
                  <a:pt x="2939" y="52"/>
                  <a:pt x="2940" y="52"/>
                </a:cubicBezTo>
                <a:cubicBezTo>
                  <a:pt x="2940" y="53"/>
                  <a:pt x="2942" y="53"/>
                  <a:pt x="2944" y="53"/>
                </a:cubicBezTo>
                <a:cubicBezTo>
                  <a:pt x="2945" y="53"/>
                  <a:pt x="2947" y="53"/>
                  <a:pt x="2948" y="52"/>
                </a:cubicBezTo>
                <a:cubicBezTo>
                  <a:pt x="2952" y="52"/>
                  <a:pt x="2957" y="51"/>
                  <a:pt x="2961" y="51"/>
                </a:cubicBezTo>
                <a:cubicBezTo>
                  <a:pt x="2965" y="51"/>
                  <a:pt x="2969" y="51"/>
                  <a:pt x="2974" y="51"/>
                </a:cubicBezTo>
                <a:cubicBezTo>
                  <a:pt x="2978" y="51"/>
                  <a:pt x="2983" y="50"/>
                  <a:pt x="2985" y="52"/>
                </a:cubicBezTo>
                <a:cubicBezTo>
                  <a:pt x="2988" y="53"/>
                  <a:pt x="2986" y="53"/>
                  <a:pt x="2991" y="53"/>
                </a:cubicBezTo>
                <a:cubicBezTo>
                  <a:pt x="2994" y="53"/>
                  <a:pt x="2994" y="52"/>
                  <a:pt x="2997" y="52"/>
                </a:cubicBezTo>
                <a:cubicBezTo>
                  <a:pt x="3004" y="53"/>
                  <a:pt x="3011" y="53"/>
                  <a:pt x="3019" y="53"/>
                </a:cubicBezTo>
                <a:cubicBezTo>
                  <a:pt x="3026" y="53"/>
                  <a:pt x="3037" y="54"/>
                  <a:pt x="3043" y="52"/>
                </a:cubicBezTo>
                <a:cubicBezTo>
                  <a:pt x="3045" y="52"/>
                  <a:pt x="3046" y="52"/>
                  <a:pt x="3047" y="51"/>
                </a:cubicBezTo>
                <a:cubicBezTo>
                  <a:pt x="3051" y="50"/>
                  <a:pt x="3063" y="50"/>
                  <a:pt x="3066" y="52"/>
                </a:cubicBezTo>
                <a:cubicBezTo>
                  <a:pt x="3066" y="52"/>
                  <a:pt x="3066" y="52"/>
                  <a:pt x="3067" y="52"/>
                </a:cubicBezTo>
                <a:cubicBezTo>
                  <a:pt x="3067" y="53"/>
                  <a:pt x="3070" y="53"/>
                  <a:pt x="3074" y="54"/>
                </a:cubicBezTo>
                <a:cubicBezTo>
                  <a:pt x="3075" y="54"/>
                  <a:pt x="3076" y="54"/>
                  <a:pt x="3076" y="53"/>
                </a:cubicBezTo>
                <a:cubicBezTo>
                  <a:pt x="3077" y="53"/>
                  <a:pt x="3079" y="52"/>
                  <a:pt x="3081" y="53"/>
                </a:cubicBezTo>
                <a:cubicBezTo>
                  <a:pt x="3081" y="53"/>
                  <a:pt x="3083" y="53"/>
                  <a:pt x="3085" y="53"/>
                </a:cubicBezTo>
                <a:cubicBezTo>
                  <a:pt x="3085" y="54"/>
                  <a:pt x="3086" y="54"/>
                  <a:pt x="3087" y="54"/>
                </a:cubicBezTo>
                <a:cubicBezTo>
                  <a:pt x="3118" y="54"/>
                  <a:pt x="3149" y="53"/>
                  <a:pt x="3180" y="54"/>
                </a:cubicBezTo>
                <a:cubicBezTo>
                  <a:pt x="3183" y="54"/>
                  <a:pt x="3191" y="54"/>
                  <a:pt x="3198" y="54"/>
                </a:cubicBezTo>
                <a:cubicBezTo>
                  <a:pt x="3205" y="54"/>
                  <a:pt x="3217" y="54"/>
                  <a:pt x="3225" y="55"/>
                </a:cubicBezTo>
                <a:cubicBezTo>
                  <a:pt x="3233" y="55"/>
                  <a:pt x="3247" y="55"/>
                  <a:pt x="3256" y="55"/>
                </a:cubicBezTo>
                <a:cubicBezTo>
                  <a:pt x="3262" y="56"/>
                  <a:pt x="3268" y="56"/>
                  <a:pt x="3274" y="56"/>
                </a:cubicBezTo>
                <a:cubicBezTo>
                  <a:pt x="3279" y="56"/>
                  <a:pt x="3284" y="57"/>
                  <a:pt x="3289" y="56"/>
                </a:cubicBezTo>
                <a:cubicBezTo>
                  <a:pt x="3295" y="56"/>
                  <a:pt x="3298" y="55"/>
                  <a:pt x="3305" y="55"/>
                </a:cubicBezTo>
                <a:cubicBezTo>
                  <a:pt x="3313" y="55"/>
                  <a:pt x="3322" y="55"/>
                  <a:pt x="3330" y="55"/>
                </a:cubicBezTo>
                <a:cubicBezTo>
                  <a:pt x="3342" y="55"/>
                  <a:pt x="3354" y="55"/>
                  <a:pt x="3367" y="55"/>
                </a:cubicBezTo>
                <a:cubicBezTo>
                  <a:pt x="3378" y="55"/>
                  <a:pt x="3390" y="55"/>
                  <a:pt x="3401" y="55"/>
                </a:cubicBezTo>
                <a:cubicBezTo>
                  <a:pt x="3401" y="54"/>
                  <a:pt x="3403" y="54"/>
                  <a:pt x="3405" y="53"/>
                </a:cubicBezTo>
                <a:cubicBezTo>
                  <a:pt x="3407" y="53"/>
                  <a:pt x="3409" y="53"/>
                  <a:pt x="3411" y="53"/>
                </a:cubicBezTo>
                <a:cubicBezTo>
                  <a:pt x="3411" y="55"/>
                  <a:pt x="3424" y="54"/>
                  <a:pt x="3428" y="54"/>
                </a:cubicBezTo>
                <a:cubicBezTo>
                  <a:pt x="3432" y="54"/>
                  <a:pt x="3440" y="54"/>
                  <a:pt x="3443" y="54"/>
                </a:cubicBezTo>
                <a:cubicBezTo>
                  <a:pt x="3445" y="54"/>
                  <a:pt x="3449" y="52"/>
                  <a:pt x="3451" y="53"/>
                </a:cubicBezTo>
                <a:cubicBezTo>
                  <a:pt x="3449" y="53"/>
                  <a:pt x="3450" y="54"/>
                  <a:pt x="3452" y="54"/>
                </a:cubicBezTo>
                <a:cubicBezTo>
                  <a:pt x="3453" y="54"/>
                  <a:pt x="3455" y="54"/>
                  <a:pt x="3457" y="54"/>
                </a:cubicBezTo>
                <a:cubicBezTo>
                  <a:pt x="3461" y="54"/>
                  <a:pt x="3468" y="54"/>
                  <a:pt x="3472" y="55"/>
                </a:cubicBezTo>
                <a:cubicBezTo>
                  <a:pt x="3475" y="55"/>
                  <a:pt x="3474" y="58"/>
                  <a:pt x="3481" y="57"/>
                </a:cubicBezTo>
                <a:cubicBezTo>
                  <a:pt x="3483" y="56"/>
                  <a:pt x="3484" y="56"/>
                  <a:pt x="3486" y="55"/>
                </a:cubicBezTo>
                <a:cubicBezTo>
                  <a:pt x="3490" y="54"/>
                  <a:pt x="3497" y="54"/>
                  <a:pt x="3503" y="54"/>
                </a:cubicBezTo>
                <a:cubicBezTo>
                  <a:pt x="3512" y="54"/>
                  <a:pt x="3522" y="54"/>
                  <a:pt x="3531" y="54"/>
                </a:cubicBezTo>
                <a:cubicBezTo>
                  <a:pt x="3549" y="54"/>
                  <a:pt x="3567" y="54"/>
                  <a:pt x="3585" y="54"/>
                </a:cubicBezTo>
                <a:cubicBezTo>
                  <a:pt x="3638" y="54"/>
                  <a:pt x="3690" y="55"/>
                  <a:pt x="3701" y="55"/>
                </a:cubicBezTo>
                <a:cubicBezTo>
                  <a:pt x="3712" y="55"/>
                  <a:pt x="3754" y="54"/>
                  <a:pt x="3795" y="54"/>
                </a:cubicBezTo>
                <a:cubicBezTo>
                  <a:pt x="3835" y="54"/>
                  <a:pt x="3903" y="54"/>
                  <a:pt x="3945" y="54"/>
                </a:cubicBezTo>
                <a:cubicBezTo>
                  <a:pt x="3986" y="54"/>
                  <a:pt x="4095" y="54"/>
                  <a:pt x="4186" y="55"/>
                </a:cubicBezTo>
                <a:cubicBezTo>
                  <a:pt x="4215" y="55"/>
                  <a:pt x="4243" y="55"/>
                  <a:pt x="4272" y="55"/>
                </a:cubicBezTo>
                <a:cubicBezTo>
                  <a:pt x="4286" y="55"/>
                  <a:pt x="4300" y="55"/>
                  <a:pt x="4315" y="55"/>
                </a:cubicBezTo>
                <a:cubicBezTo>
                  <a:pt x="4327" y="55"/>
                  <a:pt x="4343" y="55"/>
                  <a:pt x="4355" y="54"/>
                </a:cubicBezTo>
                <a:cubicBezTo>
                  <a:pt x="4356" y="54"/>
                  <a:pt x="4356" y="54"/>
                  <a:pt x="4357" y="54"/>
                </a:cubicBezTo>
                <a:cubicBezTo>
                  <a:pt x="4362" y="54"/>
                  <a:pt x="4367" y="55"/>
                  <a:pt x="4372" y="54"/>
                </a:cubicBezTo>
                <a:cubicBezTo>
                  <a:pt x="4379" y="54"/>
                  <a:pt x="4387" y="54"/>
                  <a:pt x="4394" y="54"/>
                </a:cubicBezTo>
                <a:cubicBezTo>
                  <a:pt x="4409" y="54"/>
                  <a:pt x="4423" y="54"/>
                  <a:pt x="4438" y="54"/>
                </a:cubicBezTo>
                <a:cubicBezTo>
                  <a:pt x="4451" y="54"/>
                  <a:pt x="4464" y="54"/>
                  <a:pt x="4477" y="54"/>
                </a:cubicBezTo>
                <a:cubicBezTo>
                  <a:pt x="4484" y="54"/>
                  <a:pt x="4490" y="54"/>
                  <a:pt x="4497" y="54"/>
                </a:cubicBezTo>
                <a:cubicBezTo>
                  <a:pt x="4502" y="54"/>
                  <a:pt x="4509" y="54"/>
                  <a:pt x="4514" y="54"/>
                </a:cubicBezTo>
                <a:cubicBezTo>
                  <a:pt x="4515" y="54"/>
                  <a:pt x="4518" y="54"/>
                  <a:pt x="4520" y="54"/>
                </a:cubicBezTo>
                <a:cubicBezTo>
                  <a:pt x="4524" y="54"/>
                  <a:pt x="4528" y="54"/>
                  <a:pt x="4532" y="54"/>
                </a:cubicBezTo>
                <a:cubicBezTo>
                  <a:pt x="4537" y="54"/>
                  <a:pt x="4542" y="54"/>
                  <a:pt x="4547" y="54"/>
                </a:cubicBezTo>
                <a:cubicBezTo>
                  <a:pt x="4563" y="54"/>
                  <a:pt x="4602" y="54"/>
                  <a:pt x="4635" y="54"/>
                </a:cubicBezTo>
                <a:cubicBezTo>
                  <a:pt x="4645" y="54"/>
                  <a:pt x="4654" y="54"/>
                  <a:pt x="4664" y="54"/>
                </a:cubicBezTo>
                <a:cubicBezTo>
                  <a:pt x="4672" y="54"/>
                  <a:pt x="4683" y="53"/>
                  <a:pt x="4691" y="54"/>
                </a:cubicBezTo>
                <a:cubicBezTo>
                  <a:pt x="4691" y="54"/>
                  <a:pt x="4692" y="54"/>
                  <a:pt x="4692" y="54"/>
                </a:cubicBezTo>
                <a:cubicBezTo>
                  <a:pt x="4692" y="54"/>
                  <a:pt x="4692" y="54"/>
                  <a:pt x="4692" y="55"/>
                </a:cubicBezTo>
                <a:cubicBezTo>
                  <a:pt x="4693" y="55"/>
                  <a:pt x="4695" y="56"/>
                  <a:pt x="4697" y="56"/>
                </a:cubicBezTo>
                <a:cubicBezTo>
                  <a:pt x="4700" y="56"/>
                  <a:pt x="4702" y="56"/>
                  <a:pt x="4704" y="56"/>
                </a:cubicBezTo>
                <a:cubicBezTo>
                  <a:pt x="4710" y="55"/>
                  <a:pt x="4715" y="55"/>
                  <a:pt x="4720" y="55"/>
                </a:cubicBezTo>
                <a:cubicBezTo>
                  <a:pt x="4723" y="55"/>
                  <a:pt x="4725" y="55"/>
                  <a:pt x="4727" y="55"/>
                </a:cubicBezTo>
                <a:cubicBezTo>
                  <a:pt x="4729" y="55"/>
                  <a:pt x="4730" y="54"/>
                  <a:pt x="4731" y="54"/>
                </a:cubicBezTo>
                <a:cubicBezTo>
                  <a:pt x="4733" y="54"/>
                  <a:pt x="4734" y="55"/>
                  <a:pt x="4736" y="54"/>
                </a:cubicBezTo>
                <a:cubicBezTo>
                  <a:pt x="4736" y="54"/>
                  <a:pt x="4737" y="54"/>
                  <a:pt x="4737" y="54"/>
                </a:cubicBezTo>
                <a:cubicBezTo>
                  <a:pt x="4741" y="53"/>
                  <a:pt x="4750" y="54"/>
                  <a:pt x="4754" y="54"/>
                </a:cubicBezTo>
                <a:cubicBezTo>
                  <a:pt x="4759" y="54"/>
                  <a:pt x="4762" y="55"/>
                  <a:pt x="4769" y="54"/>
                </a:cubicBezTo>
                <a:cubicBezTo>
                  <a:pt x="4771" y="55"/>
                  <a:pt x="4782" y="54"/>
                  <a:pt x="4785" y="54"/>
                </a:cubicBezTo>
                <a:cubicBezTo>
                  <a:pt x="4791" y="54"/>
                  <a:pt x="4798" y="54"/>
                  <a:pt x="4804" y="54"/>
                </a:cubicBezTo>
                <a:cubicBezTo>
                  <a:pt x="4812" y="54"/>
                  <a:pt x="4819" y="54"/>
                  <a:pt x="4827" y="54"/>
                </a:cubicBezTo>
                <a:cubicBezTo>
                  <a:pt x="4831" y="54"/>
                  <a:pt x="4840" y="54"/>
                  <a:pt x="4843" y="55"/>
                </a:cubicBezTo>
                <a:cubicBezTo>
                  <a:pt x="4844" y="55"/>
                  <a:pt x="4844" y="55"/>
                  <a:pt x="4845" y="55"/>
                </a:cubicBezTo>
                <a:cubicBezTo>
                  <a:pt x="4847" y="56"/>
                  <a:pt x="4849" y="56"/>
                  <a:pt x="4851" y="56"/>
                </a:cubicBezTo>
                <a:cubicBezTo>
                  <a:pt x="4853" y="56"/>
                  <a:pt x="4855" y="55"/>
                  <a:pt x="4856" y="55"/>
                </a:cubicBezTo>
                <a:cubicBezTo>
                  <a:pt x="4863" y="54"/>
                  <a:pt x="4870" y="54"/>
                  <a:pt x="4877" y="54"/>
                </a:cubicBezTo>
                <a:cubicBezTo>
                  <a:pt x="4880" y="54"/>
                  <a:pt x="4883" y="54"/>
                  <a:pt x="4885" y="53"/>
                </a:cubicBezTo>
                <a:cubicBezTo>
                  <a:pt x="4895" y="54"/>
                  <a:pt x="4904" y="55"/>
                  <a:pt x="4914" y="55"/>
                </a:cubicBezTo>
                <a:cubicBezTo>
                  <a:pt x="4919" y="56"/>
                  <a:pt x="4924" y="56"/>
                  <a:pt x="4929" y="56"/>
                </a:cubicBezTo>
                <a:cubicBezTo>
                  <a:pt x="4932" y="57"/>
                  <a:pt x="4936" y="57"/>
                  <a:pt x="4940" y="57"/>
                </a:cubicBezTo>
                <a:cubicBezTo>
                  <a:pt x="4943" y="57"/>
                  <a:pt x="4945" y="56"/>
                  <a:pt x="4948" y="56"/>
                </a:cubicBezTo>
                <a:cubicBezTo>
                  <a:pt x="4950" y="55"/>
                  <a:pt x="4954" y="55"/>
                  <a:pt x="4958" y="55"/>
                </a:cubicBezTo>
                <a:cubicBezTo>
                  <a:pt x="4963" y="55"/>
                  <a:pt x="4962" y="56"/>
                  <a:pt x="4966" y="57"/>
                </a:cubicBezTo>
                <a:cubicBezTo>
                  <a:pt x="4969" y="57"/>
                  <a:pt x="4973" y="55"/>
                  <a:pt x="4977" y="56"/>
                </a:cubicBezTo>
                <a:cubicBezTo>
                  <a:pt x="4977" y="56"/>
                  <a:pt x="4978" y="56"/>
                  <a:pt x="4979" y="56"/>
                </a:cubicBezTo>
                <a:cubicBezTo>
                  <a:pt x="4981" y="56"/>
                  <a:pt x="4982" y="57"/>
                  <a:pt x="4984" y="57"/>
                </a:cubicBezTo>
                <a:cubicBezTo>
                  <a:pt x="4985" y="57"/>
                  <a:pt x="4985" y="57"/>
                  <a:pt x="4986" y="57"/>
                </a:cubicBezTo>
                <a:cubicBezTo>
                  <a:pt x="4987" y="58"/>
                  <a:pt x="4987" y="58"/>
                  <a:pt x="4988" y="58"/>
                </a:cubicBezTo>
                <a:cubicBezTo>
                  <a:pt x="4990" y="58"/>
                  <a:pt x="4992" y="58"/>
                  <a:pt x="4994" y="58"/>
                </a:cubicBezTo>
                <a:cubicBezTo>
                  <a:pt x="4997" y="58"/>
                  <a:pt x="5001" y="57"/>
                  <a:pt x="5005" y="57"/>
                </a:cubicBezTo>
                <a:cubicBezTo>
                  <a:pt x="5009" y="57"/>
                  <a:pt x="5014" y="57"/>
                  <a:pt x="5018" y="57"/>
                </a:cubicBezTo>
                <a:cubicBezTo>
                  <a:pt x="5027" y="57"/>
                  <a:pt x="5040" y="58"/>
                  <a:pt x="5048" y="57"/>
                </a:cubicBezTo>
                <a:cubicBezTo>
                  <a:pt x="5054" y="56"/>
                  <a:pt x="5049" y="55"/>
                  <a:pt x="5049" y="54"/>
                </a:cubicBezTo>
                <a:cubicBezTo>
                  <a:pt x="5049" y="53"/>
                  <a:pt x="5051" y="53"/>
                  <a:pt x="5052" y="53"/>
                </a:cubicBezTo>
                <a:cubicBezTo>
                  <a:pt x="5054" y="53"/>
                  <a:pt x="5057" y="54"/>
                  <a:pt x="5059" y="54"/>
                </a:cubicBezTo>
                <a:cubicBezTo>
                  <a:pt x="5062" y="54"/>
                  <a:pt x="5065" y="54"/>
                  <a:pt x="5068" y="54"/>
                </a:cubicBezTo>
                <a:cubicBezTo>
                  <a:pt x="5076" y="54"/>
                  <a:pt x="5084" y="54"/>
                  <a:pt x="5092" y="54"/>
                </a:cubicBezTo>
                <a:cubicBezTo>
                  <a:pt x="5097" y="54"/>
                  <a:pt x="5113" y="56"/>
                  <a:pt x="5116" y="54"/>
                </a:cubicBezTo>
                <a:cubicBezTo>
                  <a:pt x="5116" y="54"/>
                  <a:pt x="5116" y="53"/>
                  <a:pt x="5116" y="53"/>
                </a:cubicBezTo>
                <a:cubicBezTo>
                  <a:pt x="5118" y="52"/>
                  <a:pt x="5128" y="53"/>
                  <a:pt x="5130" y="53"/>
                </a:cubicBezTo>
                <a:cubicBezTo>
                  <a:pt x="5165" y="55"/>
                  <a:pt x="5190" y="55"/>
                  <a:pt x="5228" y="55"/>
                </a:cubicBezTo>
                <a:cubicBezTo>
                  <a:pt x="5237" y="55"/>
                  <a:pt x="5247" y="54"/>
                  <a:pt x="5255" y="54"/>
                </a:cubicBezTo>
                <a:cubicBezTo>
                  <a:pt x="5259" y="54"/>
                  <a:pt x="5260" y="55"/>
                  <a:pt x="5263" y="55"/>
                </a:cubicBezTo>
                <a:cubicBezTo>
                  <a:pt x="5266" y="56"/>
                  <a:pt x="5270" y="56"/>
                  <a:pt x="5274" y="56"/>
                </a:cubicBezTo>
                <a:cubicBezTo>
                  <a:pt x="5279" y="56"/>
                  <a:pt x="5284" y="55"/>
                  <a:pt x="5289" y="56"/>
                </a:cubicBezTo>
                <a:cubicBezTo>
                  <a:pt x="5292" y="56"/>
                  <a:pt x="5294" y="57"/>
                  <a:pt x="5298" y="57"/>
                </a:cubicBezTo>
                <a:cubicBezTo>
                  <a:pt x="5302" y="58"/>
                  <a:pt x="5306" y="57"/>
                  <a:pt x="5309" y="56"/>
                </a:cubicBezTo>
                <a:cubicBezTo>
                  <a:pt x="5314" y="54"/>
                  <a:pt x="5316" y="54"/>
                  <a:pt x="5322" y="55"/>
                </a:cubicBezTo>
                <a:cubicBezTo>
                  <a:pt x="5329" y="55"/>
                  <a:pt x="5337" y="54"/>
                  <a:pt x="5343" y="54"/>
                </a:cubicBezTo>
                <a:cubicBezTo>
                  <a:pt x="5363" y="54"/>
                  <a:pt x="5382" y="54"/>
                  <a:pt x="5386" y="54"/>
                </a:cubicBezTo>
                <a:cubicBezTo>
                  <a:pt x="5389" y="54"/>
                  <a:pt x="5393" y="54"/>
                  <a:pt x="5396" y="54"/>
                </a:cubicBezTo>
                <a:cubicBezTo>
                  <a:pt x="5399" y="54"/>
                  <a:pt x="5401" y="55"/>
                  <a:pt x="5403" y="56"/>
                </a:cubicBezTo>
                <a:cubicBezTo>
                  <a:pt x="5405" y="56"/>
                  <a:pt x="5409" y="56"/>
                  <a:pt x="5412" y="57"/>
                </a:cubicBezTo>
                <a:cubicBezTo>
                  <a:pt x="5417" y="57"/>
                  <a:pt x="5423" y="57"/>
                  <a:pt x="5429" y="57"/>
                </a:cubicBezTo>
                <a:cubicBezTo>
                  <a:pt x="5431" y="57"/>
                  <a:pt x="5432" y="57"/>
                  <a:pt x="5434" y="57"/>
                </a:cubicBezTo>
                <a:cubicBezTo>
                  <a:pt x="5436" y="57"/>
                  <a:pt x="5437" y="56"/>
                  <a:pt x="5439" y="56"/>
                </a:cubicBezTo>
                <a:cubicBezTo>
                  <a:pt x="5447" y="54"/>
                  <a:pt x="5460" y="54"/>
                  <a:pt x="5471" y="55"/>
                </a:cubicBezTo>
                <a:cubicBezTo>
                  <a:pt x="5477" y="56"/>
                  <a:pt x="5485" y="56"/>
                  <a:pt x="5492" y="56"/>
                </a:cubicBezTo>
                <a:cubicBezTo>
                  <a:pt x="5494" y="56"/>
                  <a:pt x="5497" y="55"/>
                  <a:pt x="5499" y="55"/>
                </a:cubicBezTo>
                <a:cubicBezTo>
                  <a:pt x="5500" y="55"/>
                  <a:pt x="5501" y="54"/>
                  <a:pt x="5502" y="54"/>
                </a:cubicBezTo>
                <a:cubicBezTo>
                  <a:pt x="5505" y="53"/>
                  <a:pt x="5510" y="53"/>
                  <a:pt x="5515" y="53"/>
                </a:cubicBezTo>
                <a:cubicBezTo>
                  <a:pt x="5519" y="53"/>
                  <a:pt x="5523" y="54"/>
                  <a:pt x="5528" y="54"/>
                </a:cubicBezTo>
                <a:cubicBezTo>
                  <a:pt x="5535" y="54"/>
                  <a:pt x="5542" y="54"/>
                  <a:pt x="5549" y="54"/>
                </a:cubicBezTo>
                <a:cubicBezTo>
                  <a:pt x="5557" y="53"/>
                  <a:pt x="5565" y="53"/>
                  <a:pt x="5573" y="53"/>
                </a:cubicBezTo>
                <a:cubicBezTo>
                  <a:pt x="5598" y="53"/>
                  <a:pt x="5625" y="52"/>
                  <a:pt x="5633" y="52"/>
                </a:cubicBezTo>
                <a:cubicBezTo>
                  <a:pt x="5639" y="52"/>
                  <a:pt x="5648" y="53"/>
                  <a:pt x="5653" y="52"/>
                </a:cubicBezTo>
                <a:cubicBezTo>
                  <a:pt x="5654" y="52"/>
                  <a:pt x="5655" y="51"/>
                  <a:pt x="5655" y="51"/>
                </a:cubicBezTo>
                <a:cubicBezTo>
                  <a:pt x="5661" y="51"/>
                  <a:pt x="5667" y="52"/>
                  <a:pt x="5672" y="52"/>
                </a:cubicBezTo>
                <a:cubicBezTo>
                  <a:pt x="5677" y="53"/>
                  <a:pt x="5682" y="53"/>
                  <a:pt x="5687" y="53"/>
                </a:cubicBezTo>
                <a:cubicBezTo>
                  <a:pt x="5701" y="53"/>
                  <a:pt x="5715" y="53"/>
                  <a:pt x="5729" y="52"/>
                </a:cubicBezTo>
                <a:cubicBezTo>
                  <a:pt x="5740" y="52"/>
                  <a:pt x="5752" y="53"/>
                  <a:pt x="5763" y="53"/>
                </a:cubicBezTo>
                <a:cubicBezTo>
                  <a:pt x="5772" y="53"/>
                  <a:pt x="5788" y="54"/>
                  <a:pt x="5796" y="53"/>
                </a:cubicBezTo>
                <a:cubicBezTo>
                  <a:pt x="5797" y="52"/>
                  <a:pt x="5799" y="52"/>
                  <a:pt x="5801" y="52"/>
                </a:cubicBezTo>
                <a:cubicBezTo>
                  <a:pt x="5801" y="52"/>
                  <a:pt x="5802" y="52"/>
                  <a:pt x="5803" y="52"/>
                </a:cubicBezTo>
                <a:cubicBezTo>
                  <a:pt x="5808" y="52"/>
                  <a:pt x="5811" y="52"/>
                  <a:pt x="5815" y="53"/>
                </a:cubicBezTo>
                <a:cubicBezTo>
                  <a:pt x="5819" y="53"/>
                  <a:pt x="5823" y="53"/>
                  <a:pt x="5828" y="54"/>
                </a:cubicBezTo>
                <a:cubicBezTo>
                  <a:pt x="5837" y="54"/>
                  <a:pt x="5846" y="53"/>
                  <a:pt x="5855" y="53"/>
                </a:cubicBezTo>
                <a:cubicBezTo>
                  <a:pt x="5863" y="53"/>
                  <a:pt x="5870" y="53"/>
                  <a:pt x="5878" y="53"/>
                </a:cubicBezTo>
                <a:cubicBezTo>
                  <a:pt x="5881" y="53"/>
                  <a:pt x="5884" y="53"/>
                  <a:pt x="5887" y="52"/>
                </a:cubicBezTo>
                <a:cubicBezTo>
                  <a:pt x="5890" y="52"/>
                  <a:pt x="5891" y="51"/>
                  <a:pt x="5894" y="51"/>
                </a:cubicBezTo>
                <a:cubicBezTo>
                  <a:pt x="5896" y="50"/>
                  <a:pt x="5899" y="50"/>
                  <a:pt x="5902" y="50"/>
                </a:cubicBezTo>
                <a:cubicBezTo>
                  <a:pt x="5914" y="50"/>
                  <a:pt x="5927" y="51"/>
                  <a:pt x="5939" y="50"/>
                </a:cubicBezTo>
                <a:cubicBezTo>
                  <a:pt x="5951" y="50"/>
                  <a:pt x="5962" y="51"/>
                  <a:pt x="5974" y="51"/>
                </a:cubicBezTo>
                <a:cubicBezTo>
                  <a:pt x="5988" y="51"/>
                  <a:pt x="6001" y="51"/>
                  <a:pt x="6015" y="51"/>
                </a:cubicBezTo>
                <a:cubicBezTo>
                  <a:pt x="6027" y="51"/>
                  <a:pt x="6037" y="53"/>
                  <a:pt x="6049" y="53"/>
                </a:cubicBezTo>
                <a:cubicBezTo>
                  <a:pt x="6060" y="53"/>
                  <a:pt x="6071" y="53"/>
                  <a:pt x="6082" y="53"/>
                </a:cubicBezTo>
                <a:cubicBezTo>
                  <a:pt x="6088" y="53"/>
                  <a:pt x="6093" y="53"/>
                  <a:pt x="6099" y="53"/>
                </a:cubicBezTo>
                <a:cubicBezTo>
                  <a:pt x="6103" y="53"/>
                  <a:pt x="6107" y="52"/>
                  <a:pt x="6112" y="53"/>
                </a:cubicBezTo>
                <a:cubicBezTo>
                  <a:pt x="6114" y="53"/>
                  <a:pt x="6116" y="53"/>
                  <a:pt x="6118" y="53"/>
                </a:cubicBezTo>
                <a:cubicBezTo>
                  <a:pt x="6126" y="53"/>
                  <a:pt x="6135" y="54"/>
                  <a:pt x="6143" y="54"/>
                </a:cubicBezTo>
                <a:cubicBezTo>
                  <a:pt x="6154" y="54"/>
                  <a:pt x="6165" y="55"/>
                  <a:pt x="6177" y="55"/>
                </a:cubicBezTo>
                <a:cubicBezTo>
                  <a:pt x="6183" y="55"/>
                  <a:pt x="6190" y="55"/>
                  <a:pt x="6196" y="54"/>
                </a:cubicBezTo>
                <a:cubicBezTo>
                  <a:pt x="6203" y="54"/>
                  <a:pt x="6207" y="53"/>
                  <a:pt x="6214" y="53"/>
                </a:cubicBezTo>
                <a:cubicBezTo>
                  <a:pt x="6215" y="53"/>
                  <a:pt x="6217" y="53"/>
                  <a:pt x="6218" y="53"/>
                </a:cubicBezTo>
                <a:cubicBezTo>
                  <a:pt x="6220" y="54"/>
                  <a:pt x="6222" y="54"/>
                  <a:pt x="6224" y="53"/>
                </a:cubicBezTo>
                <a:cubicBezTo>
                  <a:pt x="6231" y="53"/>
                  <a:pt x="6237" y="53"/>
                  <a:pt x="6243" y="53"/>
                </a:cubicBezTo>
                <a:cubicBezTo>
                  <a:pt x="6245" y="52"/>
                  <a:pt x="6246" y="52"/>
                  <a:pt x="6248" y="52"/>
                </a:cubicBezTo>
                <a:cubicBezTo>
                  <a:pt x="6249" y="52"/>
                  <a:pt x="6251" y="52"/>
                  <a:pt x="6252" y="52"/>
                </a:cubicBezTo>
                <a:cubicBezTo>
                  <a:pt x="6260" y="52"/>
                  <a:pt x="6268" y="52"/>
                  <a:pt x="6275" y="52"/>
                </a:cubicBezTo>
                <a:cubicBezTo>
                  <a:pt x="6284" y="53"/>
                  <a:pt x="6293" y="53"/>
                  <a:pt x="6301" y="54"/>
                </a:cubicBezTo>
                <a:cubicBezTo>
                  <a:pt x="6311" y="54"/>
                  <a:pt x="6320" y="55"/>
                  <a:pt x="6329" y="55"/>
                </a:cubicBezTo>
                <a:cubicBezTo>
                  <a:pt x="6338" y="55"/>
                  <a:pt x="6345" y="55"/>
                  <a:pt x="6354" y="55"/>
                </a:cubicBezTo>
                <a:cubicBezTo>
                  <a:pt x="6355" y="55"/>
                  <a:pt x="6356" y="55"/>
                  <a:pt x="6357" y="55"/>
                </a:cubicBezTo>
                <a:cubicBezTo>
                  <a:pt x="6358" y="55"/>
                  <a:pt x="6359" y="55"/>
                  <a:pt x="6360" y="55"/>
                </a:cubicBezTo>
                <a:cubicBezTo>
                  <a:pt x="6361" y="55"/>
                  <a:pt x="6362" y="55"/>
                  <a:pt x="6364" y="55"/>
                </a:cubicBezTo>
                <a:cubicBezTo>
                  <a:pt x="6370" y="55"/>
                  <a:pt x="6377" y="56"/>
                  <a:pt x="6383" y="56"/>
                </a:cubicBezTo>
                <a:cubicBezTo>
                  <a:pt x="6388" y="56"/>
                  <a:pt x="6391" y="56"/>
                  <a:pt x="6395" y="56"/>
                </a:cubicBezTo>
                <a:cubicBezTo>
                  <a:pt x="6399" y="56"/>
                  <a:pt x="6404" y="56"/>
                  <a:pt x="6407" y="56"/>
                </a:cubicBezTo>
                <a:cubicBezTo>
                  <a:pt x="6410" y="55"/>
                  <a:pt x="6402" y="54"/>
                  <a:pt x="6405" y="53"/>
                </a:cubicBezTo>
                <a:cubicBezTo>
                  <a:pt x="6407" y="52"/>
                  <a:pt x="6416" y="52"/>
                  <a:pt x="6420" y="52"/>
                </a:cubicBezTo>
                <a:cubicBezTo>
                  <a:pt x="6427" y="52"/>
                  <a:pt x="6434" y="52"/>
                  <a:pt x="6441" y="52"/>
                </a:cubicBezTo>
                <a:cubicBezTo>
                  <a:pt x="6448" y="53"/>
                  <a:pt x="6455" y="53"/>
                  <a:pt x="6463" y="53"/>
                </a:cubicBezTo>
                <a:cubicBezTo>
                  <a:pt x="6470" y="53"/>
                  <a:pt x="6474" y="52"/>
                  <a:pt x="6475" y="54"/>
                </a:cubicBezTo>
                <a:cubicBezTo>
                  <a:pt x="6475" y="55"/>
                  <a:pt x="6478" y="56"/>
                  <a:pt x="6482" y="56"/>
                </a:cubicBezTo>
                <a:cubicBezTo>
                  <a:pt x="6483" y="56"/>
                  <a:pt x="6484" y="56"/>
                  <a:pt x="6485" y="56"/>
                </a:cubicBezTo>
                <a:cubicBezTo>
                  <a:pt x="6486" y="56"/>
                  <a:pt x="6487" y="56"/>
                  <a:pt x="6488" y="56"/>
                </a:cubicBezTo>
                <a:cubicBezTo>
                  <a:pt x="6489" y="56"/>
                  <a:pt x="6490" y="56"/>
                  <a:pt x="6491" y="56"/>
                </a:cubicBezTo>
                <a:cubicBezTo>
                  <a:pt x="6494" y="57"/>
                  <a:pt x="6498" y="57"/>
                  <a:pt x="6501" y="56"/>
                </a:cubicBezTo>
                <a:cubicBezTo>
                  <a:pt x="6502" y="56"/>
                  <a:pt x="6503" y="56"/>
                  <a:pt x="6504" y="56"/>
                </a:cubicBezTo>
                <a:cubicBezTo>
                  <a:pt x="6505" y="56"/>
                  <a:pt x="6506" y="57"/>
                  <a:pt x="6507" y="57"/>
                </a:cubicBezTo>
                <a:cubicBezTo>
                  <a:pt x="6511" y="57"/>
                  <a:pt x="6516" y="56"/>
                  <a:pt x="6521" y="56"/>
                </a:cubicBezTo>
                <a:cubicBezTo>
                  <a:pt x="6528" y="57"/>
                  <a:pt x="6534" y="56"/>
                  <a:pt x="6541" y="56"/>
                </a:cubicBezTo>
                <a:cubicBezTo>
                  <a:pt x="6547" y="56"/>
                  <a:pt x="6554" y="57"/>
                  <a:pt x="6560" y="57"/>
                </a:cubicBezTo>
                <a:cubicBezTo>
                  <a:pt x="6564" y="57"/>
                  <a:pt x="6567" y="57"/>
                  <a:pt x="6570" y="57"/>
                </a:cubicBezTo>
                <a:cubicBezTo>
                  <a:pt x="6572" y="57"/>
                  <a:pt x="6574" y="57"/>
                  <a:pt x="6576" y="57"/>
                </a:cubicBezTo>
                <a:cubicBezTo>
                  <a:pt x="6583" y="56"/>
                  <a:pt x="6591" y="56"/>
                  <a:pt x="6598" y="56"/>
                </a:cubicBezTo>
                <a:cubicBezTo>
                  <a:pt x="6605" y="56"/>
                  <a:pt x="6611" y="56"/>
                  <a:pt x="6617" y="55"/>
                </a:cubicBezTo>
                <a:cubicBezTo>
                  <a:pt x="6624" y="55"/>
                  <a:pt x="6629" y="55"/>
                  <a:pt x="6636" y="55"/>
                </a:cubicBezTo>
                <a:cubicBezTo>
                  <a:pt x="6643" y="55"/>
                  <a:pt x="6650" y="55"/>
                  <a:pt x="6657" y="56"/>
                </a:cubicBezTo>
                <a:cubicBezTo>
                  <a:pt x="6660" y="56"/>
                  <a:pt x="6664" y="56"/>
                  <a:pt x="6668" y="56"/>
                </a:cubicBezTo>
                <a:cubicBezTo>
                  <a:pt x="6671" y="56"/>
                  <a:pt x="6676" y="55"/>
                  <a:pt x="6679" y="56"/>
                </a:cubicBezTo>
                <a:cubicBezTo>
                  <a:pt x="6680" y="56"/>
                  <a:pt x="6679" y="56"/>
                  <a:pt x="6678" y="56"/>
                </a:cubicBezTo>
                <a:cubicBezTo>
                  <a:pt x="6677" y="56"/>
                  <a:pt x="6678" y="57"/>
                  <a:pt x="6679" y="57"/>
                </a:cubicBezTo>
                <a:cubicBezTo>
                  <a:pt x="6679" y="57"/>
                  <a:pt x="6680" y="58"/>
                  <a:pt x="6681" y="58"/>
                </a:cubicBezTo>
                <a:cubicBezTo>
                  <a:pt x="6682" y="58"/>
                  <a:pt x="6684" y="58"/>
                  <a:pt x="6685" y="58"/>
                </a:cubicBezTo>
                <a:cubicBezTo>
                  <a:pt x="6686" y="57"/>
                  <a:pt x="6687" y="57"/>
                  <a:pt x="6688" y="57"/>
                </a:cubicBezTo>
                <a:cubicBezTo>
                  <a:pt x="6689" y="57"/>
                  <a:pt x="6689" y="57"/>
                  <a:pt x="6690" y="57"/>
                </a:cubicBezTo>
                <a:cubicBezTo>
                  <a:pt x="6691" y="57"/>
                  <a:pt x="6691" y="57"/>
                  <a:pt x="6691" y="57"/>
                </a:cubicBezTo>
                <a:cubicBezTo>
                  <a:pt x="6692" y="57"/>
                  <a:pt x="6693" y="58"/>
                  <a:pt x="6694" y="58"/>
                </a:cubicBezTo>
                <a:cubicBezTo>
                  <a:pt x="6695" y="58"/>
                  <a:pt x="6696" y="57"/>
                  <a:pt x="6696" y="57"/>
                </a:cubicBezTo>
                <a:cubicBezTo>
                  <a:pt x="6699" y="57"/>
                  <a:pt x="6703" y="57"/>
                  <a:pt x="6706" y="57"/>
                </a:cubicBezTo>
                <a:cubicBezTo>
                  <a:pt x="6711" y="57"/>
                  <a:pt x="6719" y="57"/>
                  <a:pt x="6723" y="57"/>
                </a:cubicBezTo>
                <a:cubicBezTo>
                  <a:pt x="6736" y="58"/>
                  <a:pt x="6749" y="58"/>
                  <a:pt x="6762" y="57"/>
                </a:cubicBezTo>
                <a:cubicBezTo>
                  <a:pt x="6769" y="57"/>
                  <a:pt x="6776" y="57"/>
                  <a:pt x="6783" y="57"/>
                </a:cubicBezTo>
                <a:cubicBezTo>
                  <a:pt x="6785" y="56"/>
                  <a:pt x="6788" y="56"/>
                  <a:pt x="6791" y="56"/>
                </a:cubicBezTo>
                <a:cubicBezTo>
                  <a:pt x="6794" y="56"/>
                  <a:pt x="6796" y="55"/>
                  <a:pt x="6801" y="55"/>
                </a:cubicBezTo>
                <a:cubicBezTo>
                  <a:pt x="6802" y="55"/>
                  <a:pt x="6802" y="55"/>
                  <a:pt x="6803" y="55"/>
                </a:cubicBezTo>
                <a:cubicBezTo>
                  <a:pt x="6803" y="55"/>
                  <a:pt x="6804" y="56"/>
                  <a:pt x="6804" y="56"/>
                </a:cubicBezTo>
                <a:cubicBezTo>
                  <a:pt x="6806" y="56"/>
                  <a:pt x="6809" y="57"/>
                  <a:pt x="6812" y="57"/>
                </a:cubicBezTo>
                <a:cubicBezTo>
                  <a:pt x="6813" y="57"/>
                  <a:pt x="6814" y="57"/>
                  <a:pt x="6815" y="57"/>
                </a:cubicBezTo>
                <a:cubicBezTo>
                  <a:pt x="6818" y="57"/>
                  <a:pt x="6818" y="56"/>
                  <a:pt x="6819" y="56"/>
                </a:cubicBezTo>
                <a:cubicBezTo>
                  <a:pt x="6821" y="55"/>
                  <a:pt x="6823" y="55"/>
                  <a:pt x="6826" y="55"/>
                </a:cubicBezTo>
                <a:cubicBezTo>
                  <a:pt x="6828" y="54"/>
                  <a:pt x="6830" y="54"/>
                  <a:pt x="6833" y="54"/>
                </a:cubicBezTo>
                <a:cubicBezTo>
                  <a:pt x="6836" y="54"/>
                  <a:pt x="6839" y="55"/>
                  <a:pt x="6843" y="55"/>
                </a:cubicBezTo>
                <a:cubicBezTo>
                  <a:pt x="6848" y="54"/>
                  <a:pt x="6848" y="54"/>
                  <a:pt x="6851" y="53"/>
                </a:cubicBezTo>
                <a:cubicBezTo>
                  <a:pt x="6854" y="53"/>
                  <a:pt x="6862" y="53"/>
                  <a:pt x="6866" y="53"/>
                </a:cubicBezTo>
                <a:cubicBezTo>
                  <a:pt x="6873" y="53"/>
                  <a:pt x="6880" y="53"/>
                  <a:pt x="6887" y="54"/>
                </a:cubicBezTo>
                <a:cubicBezTo>
                  <a:pt x="6889" y="54"/>
                  <a:pt x="6893" y="54"/>
                  <a:pt x="6896" y="54"/>
                </a:cubicBezTo>
                <a:cubicBezTo>
                  <a:pt x="6898" y="54"/>
                  <a:pt x="6900" y="55"/>
                  <a:pt x="6903" y="56"/>
                </a:cubicBezTo>
                <a:cubicBezTo>
                  <a:pt x="6905" y="56"/>
                  <a:pt x="6908" y="56"/>
                  <a:pt x="6910" y="55"/>
                </a:cubicBezTo>
                <a:cubicBezTo>
                  <a:pt x="6911" y="55"/>
                  <a:pt x="6911" y="55"/>
                  <a:pt x="6912" y="54"/>
                </a:cubicBezTo>
                <a:cubicBezTo>
                  <a:pt x="6913" y="54"/>
                  <a:pt x="6915" y="54"/>
                  <a:pt x="6916" y="55"/>
                </a:cubicBezTo>
                <a:cubicBezTo>
                  <a:pt x="6916" y="55"/>
                  <a:pt x="6917" y="55"/>
                  <a:pt x="6918" y="56"/>
                </a:cubicBezTo>
                <a:cubicBezTo>
                  <a:pt x="6919" y="56"/>
                  <a:pt x="6921" y="56"/>
                  <a:pt x="6922" y="55"/>
                </a:cubicBezTo>
                <a:cubicBezTo>
                  <a:pt x="6924" y="55"/>
                  <a:pt x="6924" y="54"/>
                  <a:pt x="6927" y="54"/>
                </a:cubicBezTo>
                <a:cubicBezTo>
                  <a:pt x="6929" y="53"/>
                  <a:pt x="6932" y="54"/>
                  <a:pt x="6935" y="54"/>
                </a:cubicBezTo>
                <a:cubicBezTo>
                  <a:pt x="6936" y="54"/>
                  <a:pt x="6936" y="54"/>
                  <a:pt x="6936" y="54"/>
                </a:cubicBezTo>
                <a:cubicBezTo>
                  <a:pt x="6938" y="55"/>
                  <a:pt x="6943" y="54"/>
                  <a:pt x="6946" y="55"/>
                </a:cubicBezTo>
                <a:cubicBezTo>
                  <a:pt x="6948" y="55"/>
                  <a:pt x="6949" y="56"/>
                  <a:pt x="6952" y="56"/>
                </a:cubicBezTo>
                <a:cubicBezTo>
                  <a:pt x="6955" y="56"/>
                  <a:pt x="6957" y="56"/>
                  <a:pt x="6960" y="56"/>
                </a:cubicBezTo>
                <a:cubicBezTo>
                  <a:pt x="6961" y="56"/>
                  <a:pt x="6963" y="56"/>
                  <a:pt x="6964" y="56"/>
                </a:cubicBezTo>
                <a:cubicBezTo>
                  <a:pt x="6965" y="56"/>
                  <a:pt x="6966" y="55"/>
                  <a:pt x="6968" y="55"/>
                </a:cubicBezTo>
                <a:cubicBezTo>
                  <a:pt x="6969" y="55"/>
                  <a:pt x="6969" y="55"/>
                  <a:pt x="6970" y="55"/>
                </a:cubicBezTo>
                <a:cubicBezTo>
                  <a:pt x="6970" y="54"/>
                  <a:pt x="6970" y="54"/>
                  <a:pt x="6971" y="54"/>
                </a:cubicBezTo>
                <a:cubicBezTo>
                  <a:pt x="6972" y="53"/>
                  <a:pt x="6974" y="54"/>
                  <a:pt x="6975" y="54"/>
                </a:cubicBezTo>
                <a:cubicBezTo>
                  <a:pt x="6978" y="54"/>
                  <a:pt x="6980" y="53"/>
                  <a:pt x="6982" y="53"/>
                </a:cubicBezTo>
                <a:cubicBezTo>
                  <a:pt x="6985" y="53"/>
                  <a:pt x="6989" y="53"/>
                  <a:pt x="6992" y="53"/>
                </a:cubicBezTo>
                <a:cubicBezTo>
                  <a:pt x="6999" y="54"/>
                  <a:pt x="7006" y="54"/>
                  <a:pt x="7013" y="54"/>
                </a:cubicBezTo>
                <a:cubicBezTo>
                  <a:pt x="7017" y="54"/>
                  <a:pt x="7032" y="55"/>
                  <a:pt x="7035" y="56"/>
                </a:cubicBezTo>
                <a:cubicBezTo>
                  <a:pt x="7035" y="56"/>
                  <a:pt x="7040" y="56"/>
                  <a:pt x="7046" y="56"/>
                </a:cubicBezTo>
                <a:cubicBezTo>
                  <a:pt x="7049" y="56"/>
                  <a:pt x="7053" y="56"/>
                  <a:pt x="7056" y="56"/>
                </a:cubicBezTo>
                <a:cubicBezTo>
                  <a:pt x="7061" y="56"/>
                  <a:pt x="7063" y="53"/>
                  <a:pt x="7068" y="53"/>
                </a:cubicBezTo>
                <a:cubicBezTo>
                  <a:pt x="7071" y="53"/>
                  <a:pt x="7076" y="54"/>
                  <a:pt x="7079" y="54"/>
                </a:cubicBezTo>
                <a:cubicBezTo>
                  <a:pt x="7084" y="55"/>
                  <a:pt x="7090" y="55"/>
                  <a:pt x="7095" y="56"/>
                </a:cubicBezTo>
                <a:cubicBezTo>
                  <a:pt x="7098" y="56"/>
                  <a:pt x="7103" y="57"/>
                  <a:pt x="7106" y="56"/>
                </a:cubicBezTo>
                <a:cubicBezTo>
                  <a:pt x="7107" y="56"/>
                  <a:pt x="7107" y="55"/>
                  <a:pt x="7107" y="55"/>
                </a:cubicBezTo>
                <a:cubicBezTo>
                  <a:pt x="7108" y="55"/>
                  <a:pt x="7111" y="54"/>
                  <a:pt x="7113" y="54"/>
                </a:cubicBezTo>
                <a:cubicBezTo>
                  <a:pt x="7116" y="54"/>
                  <a:pt x="7120" y="54"/>
                  <a:pt x="7123" y="54"/>
                </a:cubicBezTo>
                <a:cubicBezTo>
                  <a:pt x="7127" y="54"/>
                  <a:pt x="7137" y="54"/>
                  <a:pt x="7140" y="53"/>
                </a:cubicBezTo>
                <a:cubicBezTo>
                  <a:pt x="7140" y="53"/>
                  <a:pt x="7141" y="53"/>
                  <a:pt x="7141" y="53"/>
                </a:cubicBezTo>
                <a:cubicBezTo>
                  <a:pt x="7144" y="53"/>
                  <a:pt x="7146" y="53"/>
                  <a:pt x="7148" y="53"/>
                </a:cubicBezTo>
                <a:cubicBezTo>
                  <a:pt x="7149" y="53"/>
                  <a:pt x="7149" y="53"/>
                  <a:pt x="7150" y="53"/>
                </a:cubicBezTo>
                <a:cubicBezTo>
                  <a:pt x="7152" y="53"/>
                  <a:pt x="7154" y="53"/>
                  <a:pt x="7156" y="53"/>
                </a:cubicBezTo>
                <a:cubicBezTo>
                  <a:pt x="7157" y="53"/>
                  <a:pt x="7157" y="53"/>
                  <a:pt x="7158" y="53"/>
                </a:cubicBezTo>
                <a:cubicBezTo>
                  <a:pt x="7162" y="54"/>
                  <a:pt x="7168" y="54"/>
                  <a:pt x="7172" y="54"/>
                </a:cubicBezTo>
                <a:cubicBezTo>
                  <a:pt x="7178" y="54"/>
                  <a:pt x="7184" y="54"/>
                  <a:pt x="7190" y="54"/>
                </a:cubicBezTo>
                <a:cubicBezTo>
                  <a:pt x="7196" y="54"/>
                  <a:pt x="7202" y="54"/>
                  <a:pt x="7207" y="54"/>
                </a:cubicBezTo>
                <a:cubicBezTo>
                  <a:pt x="7211" y="54"/>
                  <a:pt x="7213" y="53"/>
                  <a:pt x="7216" y="53"/>
                </a:cubicBezTo>
                <a:cubicBezTo>
                  <a:pt x="7218" y="53"/>
                  <a:pt x="7220" y="53"/>
                  <a:pt x="7222" y="53"/>
                </a:cubicBezTo>
                <a:cubicBezTo>
                  <a:pt x="7224" y="53"/>
                  <a:pt x="7226" y="52"/>
                  <a:pt x="7228" y="52"/>
                </a:cubicBezTo>
                <a:cubicBezTo>
                  <a:pt x="7229" y="52"/>
                  <a:pt x="7229" y="52"/>
                  <a:pt x="7230" y="52"/>
                </a:cubicBezTo>
                <a:cubicBezTo>
                  <a:pt x="7230" y="52"/>
                  <a:pt x="7231" y="52"/>
                  <a:pt x="7231" y="52"/>
                </a:cubicBezTo>
                <a:cubicBezTo>
                  <a:pt x="7233" y="52"/>
                  <a:pt x="7234" y="53"/>
                  <a:pt x="7235" y="53"/>
                </a:cubicBezTo>
                <a:cubicBezTo>
                  <a:pt x="7240" y="53"/>
                  <a:pt x="7248" y="53"/>
                  <a:pt x="7253" y="52"/>
                </a:cubicBezTo>
                <a:cubicBezTo>
                  <a:pt x="7260" y="52"/>
                  <a:pt x="7266" y="52"/>
                  <a:pt x="7273" y="52"/>
                </a:cubicBezTo>
                <a:cubicBezTo>
                  <a:pt x="7289" y="52"/>
                  <a:pt x="7304" y="52"/>
                  <a:pt x="7320" y="52"/>
                </a:cubicBezTo>
                <a:cubicBezTo>
                  <a:pt x="7328" y="52"/>
                  <a:pt x="7335" y="52"/>
                  <a:pt x="7343" y="53"/>
                </a:cubicBezTo>
                <a:cubicBezTo>
                  <a:pt x="7345" y="54"/>
                  <a:pt x="7347" y="54"/>
                  <a:pt x="7350" y="54"/>
                </a:cubicBezTo>
                <a:cubicBezTo>
                  <a:pt x="7353" y="53"/>
                  <a:pt x="7354" y="53"/>
                  <a:pt x="7356" y="52"/>
                </a:cubicBezTo>
                <a:cubicBezTo>
                  <a:pt x="7361" y="52"/>
                  <a:pt x="7367" y="53"/>
                  <a:pt x="7371" y="53"/>
                </a:cubicBezTo>
                <a:cubicBezTo>
                  <a:pt x="7381" y="53"/>
                  <a:pt x="7390" y="52"/>
                  <a:pt x="7400" y="53"/>
                </a:cubicBezTo>
                <a:cubicBezTo>
                  <a:pt x="7400" y="53"/>
                  <a:pt x="7401" y="53"/>
                  <a:pt x="7402" y="54"/>
                </a:cubicBezTo>
                <a:cubicBezTo>
                  <a:pt x="7405" y="54"/>
                  <a:pt x="7409" y="54"/>
                  <a:pt x="7413" y="54"/>
                </a:cubicBezTo>
                <a:cubicBezTo>
                  <a:pt x="7415" y="54"/>
                  <a:pt x="7418" y="54"/>
                  <a:pt x="7420" y="53"/>
                </a:cubicBezTo>
                <a:cubicBezTo>
                  <a:pt x="7421" y="53"/>
                  <a:pt x="7418" y="52"/>
                  <a:pt x="7419" y="52"/>
                </a:cubicBezTo>
                <a:cubicBezTo>
                  <a:pt x="7421" y="51"/>
                  <a:pt x="7423" y="52"/>
                  <a:pt x="7425" y="52"/>
                </a:cubicBezTo>
                <a:cubicBezTo>
                  <a:pt x="7428" y="52"/>
                  <a:pt x="7429" y="52"/>
                  <a:pt x="7433" y="52"/>
                </a:cubicBezTo>
                <a:cubicBezTo>
                  <a:pt x="7438" y="52"/>
                  <a:pt x="7441" y="54"/>
                  <a:pt x="7446" y="54"/>
                </a:cubicBezTo>
                <a:cubicBezTo>
                  <a:pt x="7449" y="54"/>
                  <a:pt x="7451" y="53"/>
                  <a:pt x="7454" y="53"/>
                </a:cubicBezTo>
                <a:cubicBezTo>
                  <a:pt x="7456" y="53"/>
                  <a:pt x="7458" y="53"/>
                  <a:pt x="7461" y="53"/>
                </a:cubicBezTo>
                <a:cubicBezTo>
                  <a:pt x="7464" y="53"/>
                  <a:pt x="7466" y="52"/>
                  <a:pt x="7469" y="52"/>
                </a:cubicBezTo>
                <a:cubicBezTo>
                  <a:pt x="7470" y="52"/>
                  <a:pt x="7472" y="52"/>
                  <a:pt x="7475" y="52"/>
                </a:cubicBezTo>
                <a:cubicBezTo>
                  <a:pt x="7476" y="52"/>
                  <a:pt x="7477" y="52"/>
                  <a:pt x="7478" y="52"/>
                </a:cubicBezTo>
                <a:cubicBezTo>
                  <a:pt x="7484" y="53"/>
                  <a:pt x="7491" y="52"/>
                  <a:pt x="7497" y="52"/>
                </a:cubicBezTo>
                <a:cubicBezTo>
                  <a:pt x="7557" y="52"/>
                  <a:pt x="7584" y="52"/>
                  <a:pt x="7586" y="51"/>
                </a:cubicBezTo>
                <a:cubicBezTo>
                  <a:pt x="7587" y="51"/>
                  <a:pt x="7619" y="51"/>
                  <a:pt x="7626" y="52"/>
                </a:cubicBezTo>
                <a:cubicBezTo>
                  <a:pt x="7633" y="52"/>
                  <a:pt x="7640" y="53"/>
                  <a:pt x="7647" y="53"/>
                </a:cubicBezTo>
                <a:cubicBezTo>
                  <a:pt x="7649" y="54"/>
                  <a:pt x="7655" y="53"/>
                  <a:pt x="7656" y="53"/>
                </a:cubicBezTo>
                <a:cubicBezTo>
                  <a:pt x="7659" y="54"/>
                  <a:pt x="7654" y="55"/>
                  <a:pt x="7653" y="55"/>
                </a:cubicBezTo>
                <a:cubicBezTo>
                  <a:pt x="7653" y="56"/>
                  <a:pt x="7653" y="56"/>
                  <a:pt x="7655" y="56"/>
                </a:cubicBezTo>
                <a:cubicBezTo>
                  <a:pt x="7657" y="56"/>
                  <a:pt x="7660" y="56"/>
                  <a:pt x="7662" y="56"/>
                </a:cubicBezTo>
                <a:cubicBezTo>
                  <a:pt x="7665" y="55"/>
                  <a:pt x="7668" y="55"/>
                  <a:pt x="7671" y="55"/>
                </a:cubicBezTo>
                <a:cubicBezTo>
                  <a:pt x="7677" y="54"/>
                  <a:pt x="7682" y="54"/>
                  <a:pt x="7688" y="54"/>
                </a:cubicBezTo>
                <a:cubicBezTo>
                  <a:pt x="7689" y="54"/>
                  <a:pt x="7691" y="54"/>
                  <a:pt x="7692" y="54"/>
                </a:cubicBezTo>
                <a:cubicBezTo>
                  <a:pt x="7694" y="55"/>
                  <a:pt x="7694" y="55"/>
                  <a:pt x="7696" y="55"/>
                </a:cubicBezTo>
                <a:cubicBezTo>
                  <a:pt x="7697" y="56"/>
                  <a:pt x="7699" y="56"/>
                  <a:pt x="7701" y="56"/>
                </a:cubicBezTo>
                <a:cubicBezTo>
                  <a:pt x="7702" y="56"/>
                  <a:pt x="7702" y="56"/>
                  <a:pt x="7703" y="55"/>
                </a:cubicBezTo>
                <a:cubicBezTo>
                  <a:pt x="7707" y="53"/>
                  <a:pt x="7723" y="53"/>
                  <a:pt x="7732" y="53"/>
                </a:cubicBezTo>
                <a:cubicBezTo>
                  <a:pt x="7749" y="53"/>
                  <a:pt x="7767" y="53"/>
                  <a:pt x="7773" y="53"/>
                </a:cubicBezTo>
                <a:cubicBezTo>
                  <a:pt x="7783" y="53"/>
                  <a:pt x="7791" y="53"/>
                  <a:pt x="7801" y="51"/>
                </a:cubicBezTo>
                <a:cubicBezTo>
                  <a:pt x="7805" y="51"/>
                  <a:pt x="7811" y="51"/>
                  <a:pt x="7816" y="51"/>
                </a:cubicBezTo>
                <a:cubicBezTo>
                  <a:pt x="7820" y="52"/>
                  <a:pt x="7825" y="52"/>
                  <a:pt x="7830" y="52"/>
                </a:cubicBezTo>
                <a:cubicBezTo>
                  <a:pt x="7833" y="53"/>
                  <a:pt x="7837" y="53"/>
                  <a:pt x="7840" y="52"/>
                </a:cubicBezTo>
                <a:cubicBezTo>
                  <a:pt x="7855" y="52"/>
                  <a:pt x="7870" y="52"/>
                  <a:pt x="7885" y="52"/>
                </a:cubicBezTo>
                <a:cubicBezTo>
                  <a:pt x="7902" y="52"/>
                  <a:pt x="7918" y="52"/>
                  <a:pt x="7935" y="52"/>
                </a:cubicBezTo>
                <a:cubicBezTo>
                  <a:pt x="7990" y="52"/>
                  <a:pt x="8047" y="51"/>
                  <a:pt x="8063" y="51"/>
                </a:cubicBezTo>
                <a:cubicBezTo>
                  <a:pt x="8069" y="51"/>
                  <a:pt x="8075" y="51"/>
                  <a:pt x="8081" y="51"/>
                </a:cubicBezTo>
                <a:cubicBezTo>
                  <a:pt x="8086" y="51"/>
                  <a:pt x="8092" y="52"/>
                  <a:pt x="8095" y="51"/>
                </a:cubicBezTo>
                <a:cubicBezTo>
                  <a:pt x="8096" y="51"/>
                  <a:pt x="8096" y="51"/>
                  <a:pt x="8096" y="51"/>
                </a:cubicBezTo>
                <a:cubicBezTo>
                  <a:pt x="8096" y="52"/>
                  <a:pt x="8098" y="52"/>
                  <a:pt x="8100" y="52"/>
                </a:cubicBezTo>
                <a:cubicBezTo>
                  <a:pt x="8101" y="52"/>
                  <a:pt x="8103" y="52"/>
                  <a:pt x="8104" y="51"/>
                </a:cubicBezTo>
                <a:cubicBezTo>
                  <a:pt x="8105" y="51"/>
                  <a:pt x="8106" y="51"/>
                  <a:pt x="8107" y="50"/>
                </a:cubicBezTo>
                <a:cubicBezTo>
                  <a:pt x="8112" y="50"/>
                  <a:pt x="8124" y="50"/>
                  <a:pt x="8130" y="51"/>
                </a:cubicBezTo>
                <a:cubicBezTo>
                  <a:pt x="8134" y="51"/>
                  <a:pt x="8143" y="51"/>
                  <a:pt x="8147" y="51"/>
                </a:cubicBezTo>
                <a:cubicBezTo>
                  <a:pt x="8147" y="51"/>
                  <a:pt x="8148" y="51"/>
                  <a:pt x="8149" y="50"/>
                </a:cubicBezTo>
                <a:cubicBezTo>
                  <a:pt x="8150" y="50"/>
                  <a:pt x="8152" y="50"/>
                  <a:pt x="8153" y="50"/>
                </a:cubicBezTo>
                <a:cubicBezTo>
                  <a:pt x="8155" y="50"/>
                  <a:pt x="8155" y="49"/>
                  <a:pt x="8157" y="49"/>
                </a:cubicBezTo>
                <a:cubicBezTo>
                  <a:pt x="8160" y="49"/>
                  <a:pt x="8165" y="50"/>
                  <a:pt x="8164" y="51"/>
                </a:cubicBezTo>
                <a:cubicBezTo>
                  <a:pt x="8163" y="51"/>
                  <a:pt x="8162" y="51"/>
                  <a:pt x="8162" y="52"/>
                </a:cubicBezTo>
                <a:cubicBezTo>
                  <a:pt x="8162" y="52"/>
                  <a:pt x="8164" y="52"/>
                  <a:pt x="8165" y="52"/>
                </a:cubicBezTo>
                <a:cubicBezTo>
                  <a:pt x="8166" y="52"/>
                  <a:pt x="8167" y="52"/>
                  <a:pt x="8168" y="52"/>
                </a:cubicBezTo>
                <a:cubicBezTo>
                  <a:pt x="8173" y="51"/>
                  <a:pt x="8181" y="51"/>
                  <a:pt x="8187" y="51"/>
                </a:cubicBezTo>
                <a:cubicBezTo>
                  <a:pt x="8192" y="51"/>
                  <a:pt x="8204" y="50"/>
                  <a:pt x="8209" y="51"/>
                </a:cubicBezTo>
                <a:cubicBezTo>
                  <a:pt x="8210" y="51"/>
                  <a:pt x="8210" y="51"/>
                  <a:pt x="8211" y="51"/>
                </a:cubicBezTo>
                <a:cubicBezTo>
                  <a:pt x="8213" y="51"/>
                  <a:pt x="8214" y="51"/>
                  <a:pt x="8216" y="51"/>
                </a:cubicBezTo>
                <a:cubicBezTo>
                  <a:pt x="8221" y="51"/>
                  <a:pt x="8226" y="52"/>
                  <a:pt x="8231" y="51"/>
                </a:cubicBezTo>
                <a:cubicBezTo>
                  <a:pt x="8236" y="51"/>
                  <a:pt x="8256" y="51"/>
                  <a:pt x="8274" y="51"/>
                </a:cubicBezTo>
                <a:cubicBezTo>
                  <a:pt x="8281" y="51"/>
                  <a:pt x="8288" y="51"/>
                  <a:pt x="8295" y="51"/>
                </a:cubicBezTo>
                <a:cubicBezTo>
                  <a:pt x="8299" y="51"/>
                  <a:pt x="8303" y="51"/>
                  <a:pt x="8307" y="51"/>
                </a:cubicBezTo>
                <a:cubicBezTo>
                  <a:pt x="8309" y="50"/>
                  <a:pt x="8310" y="50"/>
                  <a:pt x="8312" y="50"/>
                </a:cubicBezTo>
                <a:cubicBezTo>
                  <a:pt x="8315" y="49"/>
                  <a:pt x="8318" y="49"/>
                  <a:pt x="8321" y="49"/>
                </a:cubicBezTo>
                <a:cubicBezTo>
                  <a:pt x="8320" y="49"/>
                  <a:pt x="8323" y="50"/>
                  <a:pt x="8324" y="51"/>
                </a:cubicBezTo>
                <a:cubicBezTo>
                  <a:pt x="8326" y="51"/>
                  <a:pt x="8328" y="51"/>
                  <a:pt x="8329" y="51"/>
                </a:cubicBezTo>
                <a:cubicBezTo>
                  <a:pt x="8335" y="51"/>
                  <a:pt x="8340" y="51"/>
                  <a:pt x="8346" y="51"/>
                </a:cubicBezTo>
                <a:cubicBezTo>
                  <a:pt x="8358" y="51"/>
                  <a:pt x="8370" y="51"/>
                  <a:pt x="8382" y="51"/>
                </a:cubicBezTo>
                <a:cubicBezTo>
                  <a:pt x="8393" y="51"/>
                  <a:pt x="8404" y="51"/>
                  <a:pt x="8416" y="51"/>
                </a:cubicBezTo>
                <a:cubicBezTo>
                  <a:pt x="8425" y="51"/>
                  <a:pt x="8437" y="52"/>
                  <a:pt x="8445" y="50"/>
                </a:cubicBezTo>
                <a:cubicBezTo>
                  <a:pt x="8446" y="50"/>
                  <a:pt x="8447" y="50"/>
                  <a:pt x="8448" y="50"/>
                </a:cubicBezTo>
                <a:cubicBezTo>
                  <a:pt x="8449" y="50"/>
                  <a:pt x="8451" y="50"/>
                  <a:pt x="8452" y="50"/>
                </a:cubicBezTo>
                <a:cubicBezTo>
                  <a:pt x="8453" y="50"/>
                  <a:pt x="8454" y="50"/>
                  <a:pt x="8455" y="50"/>
                </a:cubicBezTo>
                <a:cubicBezTo>
                  <a:pt x="8457" y="50"/>
                  <a:pt x="8458" y="50"/>
                  <a:pt x="8460" y="50"/>
                </a:cubicBezTo>
                <a:cubicBezTo>
                  <a:pt x="8468" y="50"/>
                  <a:pt x="8476" y="50"/>
                  <a:pt x="8484" y="50"/>
                </a:cubicBezTo>
                <a:cubicBezTo>
                  <a:pt x="8492" y="50"/>
                  <a:pt x="8501" y="50"/>
                  <a:pt x="8509" y="51"/>
                </a:cubicBezTo>
                <a:cubicBezTo>
                  <a:pt x="8527" y="51"/>
                  <a:pt x="8545" y="50"/>
                  <a:pt x="8563" y="50"/>
                </a:cubicBezTo>
                <a:cubicBezTo>
                  <a:pt x="8595" y="50"/>
                  <a:pt x="8626" y="50"/>
                  <a:pt x="8659" y="49"/>
                </a:cubicBezTo>
                <a:cubicBezTo>
                  <a:pt x="8659" y="49"/>
                  <a:pt x="8659" y="50"/>
                  <a:pt x="8659" y="50"/>
                </a:cubicBezTo>
                <a:cubicBezTo>
                  <a:pt x="8659" y="50"/>
                  <a:pt x="8660" y="50"/>
                  <a:pt x="8660" y="50"/>
                </a:cubicBezTo>
                <a:cubicBezTo>
                  <a:pt x="8661" y="50"/>
                  <a:pt x="8662" y="50"/>
                  <a:pt x="8663" y="50"/>
                </a:cubicBezTo>
                <a:cubicBezTo>
                  <a:pt x="8667" y="50"/>
                  <a:pt x="8670" y="51"/>
                  <a:pt x="8674" y="51"/>
                </a:cubicBezTo>
                <a:cubicBezTo>
                  <a:pt x="8678" y="51"/>
                  <a:pt x="8682" y="51"/>
                  <a:pt x="8686" y="51"/>
                </a:cubicBezTo>
                <a:cubicBezTo>
                  <a:pt x="8688" y="51"/>
                  <a:pt x="8690" y="52"/>
                  <a:pt x="8693" y="52"/>
                </a:cubicBezTo>
                <a:cubicBezTo>
                  <a:pt x="8696" y="51"/>
                  <a:pt x="8698" y="50"/>
                  <a:pt x="8700" y="50"/>
                </a:cubicBezTo>
                <a:cubicBezTo>
                  <a:pt x="8703" y="50"/>
                  <a:pt x="8708" y="50"/>
                  <a:pt x="8711" y="50"/>
                </a:cubicBezTo>
                <a:cubicBezTo>
                  <a:pt x="8720" y="50"/>
                  <a:pt x="8736" y="51"/>
                  <a:pt x="8746" y="50"/>
                </a:cubicBezTo>
                <a:cubicBezTo>
                  <a:pt x="8761" y="50"/>
                  <a:pt x="8803" y="50"/>
                  <a:pt x="8826" y="50"/>
                </a:cubicBezTo>
                <a:cubicBezTo>
                  <a:pt x="8831" y="51"/>
                  <a:pt x="8842" y="50"/>
                  <a:pt x="8852" y="50"/>
                </a:cubicBezTo>
                <a:cubicBezTo>
                  <a:pt x="8858" y="50"/>
                  <a:pt x="8863" y="50"/>
                  <a:pt x="8869" y="50"/>
                </a:cubicBezTo>
                <a:cubicBezTo>
                  <a:pt x="8869" y="51"/>
                  <a:pt x="8870" y="51"/>
                  <a:pt x="8872" y="51"/>
                </a:cubicBezTo>
                <a:cubicBezTo>
                  <a:pt x="8873" y="51"/>
                  <a:pt x="8875" y="51"/>
                  <a:pt x="8876" y="51"/>
                </a:cubicBezTo>
                <a:cubicBezTo>
                  <a:pt x="8879" y="52"/>
                  <a:pt x="8882" y="52"/>
                  <a:pt x="8884" y="52"/>
                </a:cubicBezTo>
                <a:cubicBezTo>
                  <a:pt x="8886" y="51"/>
                  <a:pt x="8887" y="51"/>
                  <a:pt x="8888" y="51"/>
                </a:cubicBezTo>
                <a:cubicBezTo>
                  <a:pt x="8893" y="51"/>
                  <a:pt x="8901" y="50"/>
                  <a:pt x="8906" y="51"/>
                </a:cubicBezTo>
                <a:cubicBezTo>
                  <a:pt x="8912" y="51"/>
                  <a:pt x="8915" y="53"/>
                  <a:pt x="8918" y="54"/>
                </a:cubicBezTo>
                <a:cubicBezTo>
                  <a:pt x="8920" y="54"/>
                  <a:pt x="8922" y="55"/>
                  <a:pt x="8924" y="54"/>
                </a:cubicBezTo>
                <a:cubicBezTo>
                  <a:pt x="8927" y="53"/>
                  <a:pt x="8931" y="53"/>
                  <a:pt x="8934" y="52"/>
                </a:cubicBezTo>
                <a:cubicBezTo>
                  <a:pt x="8934" y="51"/>
                  <a:pt x="8935" y="51"/>
                  <a:pt x="8935" y="51"/>
                </a:cubicBezTo>
                <a:cubicBezTo>
                  <a:pt x="8936" y="51"/>
                  <a:pt x="8938" y="51"/>
                  <a:pt x="8939" y="51"/>
                </a:cubicBezTo>
                <a:cubicBezTo>
                  <a:pt x="8940" y="51"/>
                  <a:pt x="8940" y="51"/>
                  <a:pt x="8941" y="51"/>
                </a:cubicBezTo>
                <a:cubicBezTo>
                  <a:pt x="8945" y="50"/>
                  <a:pt x="8955" y="51"/>
                  <a:pt x="8959" y="51"/>
                </a:cubicBezTo>
                <a:cubicBezTo>
                  <a:pt x="8969" y="51"/>
                  <a:pt x="8978" y="51"/>
                  <a:pt x="8987" y="51"/>
                </a:cubicBezTo>
                <a:cubicBezTo>
                  <a:pt x="9005" y="51"/>
                  <a:pt x="9024" y="51"/>
                  <a:pt x="9042" y="51"/>
                </a:cubicBezTo>
                <a:cubicBezTo>
                  <a:pt x="9044" y="51"/>
                  <a:pt x="9046" y="51"/>
                  <a:pt x="9048" y="51"/>
                </a:cubicBezTo>
                <a:cubicBezTo>
                  <a:pt x="9048" y="50"/>
                  <a:pt x="9049" y="50"/>
                  <a:pt x="9049" y="50"/>
                </a:cubicBezTo>
                <a:cubicBezTo>
                  <a:pt x="9050" y="50"/>
                  <a:pt x="9051" y="50"/>
                  <a:pt x="9052" y="50"/>
                </a:cubicBezTo>
                <a:cubicBezTo>
                  <a:pt x="9052" y="50"/>
                  <a:pt x="9053" y="50"/>
                  <a:pt x="9053" y="50"/>
                </a:cubicBezTo>
                <a:cubicBezTo>
                  <a:pt x="9055" y="50"/>
                  <a:pt x="9063" y="50"/>
                  <a:pt x="9065" y="50"/>
                </a:cubicBezTo>
                <a:cubicBezTo>
                  <a:pt x="9068" y="50"/>
                  <a:pt x="9072" y="50"/>
                  <a:pt x="9077" y="51"/>
                </a:cubicBezTo>
                <a:cubicBezTo>
                  <a:pt x="9082" y="51"/>
                  <a:pt x="9087" y="51"/>
                  <a:pt x="9092" y="51"/>
                </a:cubicBezTo>
                <a:cubicBezTo>
                  <a:pt x="9092" y="51"/>
                  <a:pt x="9093" y="51"/>
                  <a:pt x="9093" y="51"/>
                </a:cubicBezTo>
                <a:cubicBezTo>
                  <a:pt x="9094" y="51"/>
                  <a:pt x="9095" y="51"/>
                  <a:pt x="9095" y="51"/>
                </a:cubicBezTo>
                <a:cubicBezTo>
                  <a:pt x="9097" y="50"/>
                  <a:pt x="9100" y="50"/>
                  <a:pt x="9102" y="50"/>
                </a:cubicBezTo>
                <a:cubicBezTo>
                  <a:pt x="9102" y="51"/>
                  <a:pt x="9103" y="51"/>
                  <a:pt x="9104" y="51"/>
                </a:cubicBezTo>
                <a:cubicBezTo>
                  <a:pt x="9108" y="51"/>
                  <a:pt x="9112" y="51"/>
                  <a:pt x="9116" y="51"/>
                </a:cubicBezTo>
                <a:cubicBezTo>
                  <a:pt x="9119" y="51"/>
                  <a:pt x="9124" y="51"/>
                  <a:pt x="9128" y="52"/>
                </a:cubicBezTo>
                <a:cubicBezTo>
                  <a:pt x="9130" y="52"/>
                  <a:pt x="9132" y="53"/>
                  <a:pt x="9135" y="53"/>
                </a:cubicBezTo>
                <a:cubicBezTo>
                  <a:pt x="9139" y="53"/>
                  <a:pt x="9146" y="50"/>
                  <a:pt x="9150" y="51"/>
                </a:cubicBezTo>
                <a:cubicBezTo>
                  <a:pt x="9151" y="51"/>
                  <a:pt x="9150" y="52"/>
                  <a:pt x="9150" y="52"/>
                </a:cubicBezTo>
                <a:cubicBezTo>
                  <a:pt x="9150" y="52"/>
                  <a:pt x="9149" y="52"/>
                  <a:pt x="9149" y="53"/>
                </a:cubicBezTo>
                <a:cubicBezTo>
                  <a:pt x="9150" y="53"/>
                  <a:pt x="9150" y="53"/>
                  <a:pt x="9151" y="53"/>
                </a:cubicBezTo>
                <a:cubicBezTo>
                  <a:pt x="9154" y="53"/>
                  <a:pt x="9157" y="53"/>
                  <a:pt x="9159" y="52"/>
                </a:cubicBezTo>
                <a:cubicBezTo>
                  <a:pt x="9159" y="52"/>
                  <a:pt x="9160" y="52"/>
                  <a:pt x="9161" y="52"/>
                </a:cubicBezTo>
                <a:cubicBezTo>
                  <a:pt x="9169" y="51"/>
                  <a:pt x="9180" y="51"/>
                  <a:pt x="9189" y="51"/>
                </a:cubicBezTo>
                <a:cubicBezTo>
                  <a:pt x="9198" y="51"/>
                  <a:pt x="9206" y="51"/>
                  <a:pt x="9214" y="51"/>
                </a:cubicBezTo>
                <a:cubicBezTo>
                  <a:pt x="9218" y="51"/>
                  <a:pt x="9223" y="51"/>
                  <a:pt x="9227" y="52"/>
                </a:cubicBezTo>
                <a:cubicBezTo>
                  <a:pt x="9232" y="52"/>
                  <a:pt x="9230" y="52"/>
                  <a:pt x="9233" y="53"/>
                </a:cubicBezTo>
                <a:cubicBezTo>
                  <a:pt x="9234" y="54"/>
                  <a:pt x="9235" y="54"/>
                  <a:pt x="9235" y="55"/>
                </a:cubicBezTo>
                <a:cubicBezTo>
                  <a:pt x="9237" y="55"/>
                  <a:pt x="9238" y="55"/>
                  <a:pt x="9239" y="55"/>
                </a:cubicBezTo>
                <a:cubicBezTo>
                  <a:pt x="9241" y="55"/>
                  <a:pt x="9243" y="54"/>
                  <a:pt x="9243" y="54"/>
                </a:cubicBezTo>
                <a:cubicBezTo>
                  <a:pt x="9244" y="53"/>
                  <a:pt x="9245" y="53"/>
                  <a:pt x="9248" y="52"/>
                </a:cubicBezTo>
                <a:cubicBezTo>
                  <a:pt x="9252" y="52"/>
                  <a:pt x="9257" y="52"/>
                  <a:pt x="9261" y="52"/>
                </a:cubicBezTo>
                <a:cubicBezTo>
                  <a:pt x="9267" y="52"/>
                  <a:pt x="9272" y="53"/>
                  <a:pt x="9278" y="53"/>
                </a:cubicBezTo>
                <a:cubicBezTo>
                  <a:pt x="9286" y="53"/>
                  <a:pt x="9294" y="53"/>
                  <a:pt x="9302" y="53"/>
                </a:cubicBezTo>
                <a:cubicBezTo>
                  <a:pt x="9306" y="52"/>
                  <a:pt x="9310" y="52"/>
                  <a:pt x="9314" y="52"/>
                </a:cubicBezTo>
                <a:cubicBezTo>
                  <a:pt x="9316" y="52"/>
                  <a:pt x="9318" y="52"/>
                  <a:pt x="9319" y="52"/>
                </a:cubicBezTo>
                <a:cubicBezTo>
                  <a:pt x="9322" y="52"/>
                  <a:pt x="9321" y="53"/>
                  <a:pt x="9323" y="53"/>
                </a:cubicBezTo>
                <a:cubicBezTo>
                  <a:pt x="9325" y="53"/>
                  <a:pt x="9326" y="53"/>
                  <a:pt x="9328" y="54"/>
                </a:cubicBezTo>
                <a:cubicBezTo>
                  <a:pt x="9328" y="54"/>
                  <a:pt x="9329" y="54"/>
                  <a:pt x="9329" y="54"/>
                </a:cubicBezTo>
                <a:cubicBezTo>
                  <a:pt x="9330" y="54"/>
                  <a:pt x="9330" y="53"/>
                  <a:pt x="9331" y="53"/>
                </a:cubicBezTo>
                <a:cubicBezTo>
                  <a:pt x="9332" y="53"/>
                  <a:pt x="9335" y="53"/>
                  <a:pt x="9338" y="52"/>
                </a:cubicBezTo>
                <a:cubicBezTo>
                  <a:pt x="9340" y="52"/>
                  <a:pt x="9342" y="51"/>
                  <a:pt x="9346" y="51"/>
                </a:cubicBezTo>
                <a:cubicBezTo>
                  <a:pt x="9348" y="51"/>
                  <a:pt x="9349" y="51"/>
                  <a:pt x="9351" y="51"/>
                </a:cubicBezTo>
                <a:cubicBezTo>
                  <a:pt x="9361" y="51"/>
                  <a:pt x="9372" y="51"/>
                  <a:pt x="9382" y="51"/>
                </a:cubicBezTo>
                <a:cubicBezTo>
                  <a:pt x="9390" y="51"/>
                  <a:pt x="9394" y="52"/>
                  <a:pt x="9400" y="53"/>
                </a:cubicBezTo>
                <a:cubicBezTo>
                  <a:pt x="9401" y="54"/>
                  <a:pt x="9402" y="54"/>
                  <a:pt x="9403" y="54"/>
                </a:cubicBezTo>
                <a:cubicBezTo>
                  <a:pt x="9406" y="54"/>
                  <a:pt x="9408" y="52"/>
                  <a:pt x="9411" y="52"/>
                </a:cubicBezTo>
                <a:cubicBezTo>
                  <a:pt x="9413" y="52"/>
                  <a:pt x="9415" y="52"/>
                  <a:pt x="9417" y="53"/>
                </a:cubicBezTo>
                <a:cubicBezTo>
                  <a:pt x="9425" y="54"/>
                  <a:pt x="9432" y="53"/>
                  <a:pt x="9439" y="52"/>
                </a:cubicBezTo>
                <a:cubicBezTo>
                  <a:pt x="9443" y="52"/>
                  <a:pt x="9446" y="51"/>
                  <a:pt x="9449" y="51"/>
                </a:cubicBezTo>
                <a:cubicBezTo>
                  <a:pt x="9456" y="51"/>
                  <a:pt x="9463" y="51"/>
                  <a:pt x="9471" y="51"/>
                </a:cubicBezTo>
                <a:cubicBezTo>
                  <a:pt x="9472" y="51"/>
                  <a:pt x="9474" y="51"/>
                  <a:pt x="9476" y="51"/>
                </a:cubicBezTo>
                <a:cubicBezTo>
                  <a:pt x="9483" y="52"/>
                  <a:pt x="9490" y="52"/>
                  <a:pt x="9498" y="52"/>
                </a:cubicBezTo>
                <a:cubicBezTo>
                  <a:pt x="9503" y="52"/>
                  <a:pt x="9509" y="52"/>
                  <a:pt x="9515" y="53"/>
                </a:cubicBezTo>
                <a:cubicBezTo>
                  <a:pt x="9520" y="53"/>
                  <a:pt x="9525" y="54"/>
                  <a:pt x="9530" y="55"/>
                </a:cubicBezTo>
                <a:cubicBezTo>
                  <a:pt x="9530" y="55"/>
                  <a:pt x="9531" y="55"/>
                  <a:pt x="9533" y="55"/>
                </a:cubicBezTo>
                <a:cubicBezTo>
                  <a:pt x="9534" y="55"/>
                  <a:pt x="9535" y="55"/>
                  <a:pt x="9535" y="55"/>
                </a:cubicBezTo>
                <a:cubicBezTo>
                  <a:pt x="9536" y="55"/>
                  <a:pt x="9536" y="54"/>
                  <a:pt x="9536" y="54"/>
                </a:cubicBezTo>
                <a:cubicBezTo>
                  <a:pt x="9536" y="54"/>
                  <a:pt x="9537" y="54"/>
                  <a:pt x="9538" y="54"/>
                </a:cubicBezTo>
                <a:cubicBezTo>
                  <a:pt x="9539" y="54"/>
                  <a:pt x="9538" y="55"/>
                  <a:pt x="9540" y="55"/>
                </a:cubicBezTo>
                <a:cubicBezTo>
                  <a:pt x="9541" y="54"/>
                  <a:pt x="9542" y="54"/>
                  <a:pt x="9543" y="54"/>
                </a:cubicBezTo>
                <a:cubicBezTo>
                  <a:pt x="9544" y="54"/>
                  <a:pt x="9544" y="54"/>
                  <a:pt x="9545" y="54"/>
                </a:cubicBezTo>
                <a:cubicBezTo>
                  <a:pt x="9546" y="53"/>
                  <a:pt x="9547" y="54"/>
                  <a:pt x="9548" y="54"/>
                </a:cubicBezTo>
                <a:cubicBezTo>
                  <a:pt x="9550" y="55"/>
                  <a:pt x="9553" y="54"/>
                  <a:pt x="9555" y="54"/>
                </a:cubicBezTo>
                <a:cubicBezTo>
                  <a:pt x="9563" y="51"/>
                  <a:pt x="9583" y="52"/>
                  <a:pt x="9595" y="52"/>
                </a:cubicBezTo>
                <a:cubicBezTo>
                  <a:pt x="9601" y="52"/>
                  <a:pt x="9609" y="51"/>
                  <a:pt x="9615" y="52"/>
                </a:cubicBezTo>
                <a:cubicBezTo>
                  <a:pt x="9616" y="52"/>
                  <a:pt x="9617" y="52"/>
                  <a:pt x="9618" y="52"/>
                </a:cubicBezTo>
                <a:cubicBezTo>
                  <a:pt x="9620" y="53"/>
                  <a:pt x="9623" y="53"/>
                  <a:pt x="9624" y="53"/>
                </a:cubicBezTo>
                <a:cubicBezTo>
                  <a:pt x="9625" y="53"/>
                  <a:pt x="9626" y="54"/>
                  <a:pt x="9627" y="54"/>
                </a:cubicBezTo>
                <a:cubicBezTo>
                  <a:pt x="9630" y="55"/>
                  <a:pt x="9637" y="55"/>
                  <a:pt x="9642" y="55"/>
                </a:cubicBezTo>
                <a:cubicBezTo>
                  <a:pt x="9646" y="55"/>
                  <a:pt x="9653" y="56"/>
                  <a:pt x="9657" y="55"/>
                </a:cubicBezTo>
                <a:cubicBezTo>
                  <a:pt x="9659" y="54"/>
                  <a:pt x="9666" y="55"/>
                  <a:pt x="9669" y="55"/>
                </a:cubicBezTo>
                <a:cubicBezTo>
                  <a:pt x="9675" y="55"/>
                  <a:pt x="9681" y="55"/>
                  <a:pt x="9688" y="55"/>
                </a:cubicBezTo>
                <a:cubicBezTo>
                  <a:pt x="9690" y="55"/>
                  <a:pt x="9694" y="55"/>
                  <a:pt x="9697" y="55"/>
                </a:cubicBezTo>
                <a:cubicBezTo>
                  <a:pt x="9700" y="55"/>
                  <a:pt x="9701" y="54"/>
                  <a:pt x="9705" y="54"/>
                </a:cubicBezTo>
                <a:cubicBezTo>
                  <a:pt x="9707" y="53"/>
                  <a:pt x="9710" y="54"/>
                  <a:pt x="9710" y="54"/>
                </a:cubicBezTo>
                <a:cubicBezTo>
                  <a:pt x="9710" y="55"/>
                  <a:pt x="9709" y="55"/>
                  <a:pt x="9710" y="55"/>
                </a:cubicBezTo>
                <a:cubicBezTo>
                  <a:pt x="9711" y="56"/>
                  <a:pt x="9721" y="55"/>
                  <a:pt x="9723" y="55"/>
                </a:cubicBezTo>
                <a:cubicBezTo>
                  <a:pt x="9726" y="55"/>
                  <a:pt x="9737" y="56"/>
                  <a:pt x="9738" y="55"/>
                </a:cubicBezTo>
                <a:cubicBezTo>
                  <a:pt x="9738" y="54"/>
                  <a:pt x="9738" y="54"/>
                  <a:pt x="9738" y="54"/>
                </a:cubicBezTo>
                <a:cubicBezTo>
                  <a:pt x="9740" y="53"/>
                  <a:pt x="9746" y="53"/>
                  <a:pt x="9748" y="53"/>
                </a:cubicBezTo>
                <a:cubicBezTo>
                  <a:pt x="9752" y="53"/>
                  <a:pt x="9756" y="54"/>
                  <a:pt x="9760" y="54"/>
                </a:cubicBezTo>
                <a:cubicBezTo>
                  <a:pt x="9774" y="54"/>
                  <a:pt x="9805" y="55"/>
                  <a:pt x="9830" y="55"/>
                </a:cubicBezTo>
                <a:cubicBezTo>
                  <a:pt x="9838" y="55"/>
                  <a:pt x="9846" y="55"/>
                  <a:pt x="9855" y="55"/>
                </a:cubicBezTo>
                <a:cubicBezTo>
                  <a:pt x="9861" y="55"/>
                  <a:pt x="9872" y="54"/>
                  <a:pt x="9878" y="55"/>
                </a:cubicBezTo>
                <a:cubicBezTo>
                  <a:pt x="9879" y="55"/>
                  <a:pt x="9880" y="55"/>
                  <a:pt x="9881" y="56"/>
                </a:cubicBezTo>
                <a:cubicBezTo>
                  <a:pt x="9883" y="56"/>
                  <a:pt x="9886" y="56"/>
                  <a:pt x="9889" y="56"/>
                </a:cubicBezTo>
                <a:cubicBezTo>
                  <a:pt x="9892" y="55"/>
                  <a:pt x="9895" y="55"/>
                  <a:pt x="9897" y="55"/>
                </a:cubicBezTo>
                <a:cubicBezTo>
                  <a:pt x="9898" y="54"/>
                  <a:pt x="9898" y="54"/>
                  <a:pt x="9899" y="54"/>
                </a:cubicBezTo>
                <a:cubicBezTo>
                  <a:pt x="9901" y="54"/>
                  <a:pt x="9903" y="55"/>
                  <a:pt x="9905" y="55"/>
                </a:cubicBezTo>
                <a:cubicBezTo>
                  <a:pt x="9916" y="55"/>
                  <a:pt x="9930" y="56"/>
                  <a:pt x="9941" y="56"/>
                </a:cubicBezTo>
                <a:cubicBezTo>
                  <a:pt x="9942" y="56"/>
                  <a:pt x="9943" y="56"/>
                  <a:pt x="9943" y="55"/>
                </a:cubicBezTo>
                <a:cubicBezTo>
                  <a:pt x="9944" y="53"/>
                  <a:pt x="9958" y="54"/>
                  <a:pt x="9962" y="55"/>
                </a:cubicBezTo>
                <a:cubicBezTo>
                  <a:pt x="9973" y="55"/>
                  <a:pt x="9987" y="55"/>
                  <a:pt x="9994" y="55"/>
                </a:cubicBezTo>
                <a:cubicBezTo>
                  <a:pt x="10001" y="55"/>
                  <a:pt x="10019" y="55"/>
                  <a:pt x="10033" y="55"/>
                </a:cubicBezTo>
                <a:cubicBezTo>
                  <a:pt x="10047" y="55"/>
                  <a:pt x="10083" y="55"/>
                  <a:pt x="10113" y="55"/>
                </a:cubicBezTo>
                <a:cubicBezTo>
                  <a:pt x="10123" y="55"/>
                  <a:pt x="10132" y="55"/>
                  <a:pt x="10142" y="55"/>
                </a:cubicBezTo>
                <a:cubicBezTo>
                  <a:pt x="10145" y="55"/>
                  <a:pt x="10165" y="54"/>
                  <a:pt x="10165" y="55"/>
                </a:cubicBezTo>
                <a:cubicBezTo>
                  <a:pt x="10165" y="56"/>
                  <a:pt x="10164" y="56"/>
                  <a:pt x="10164" y="56"/>
                </a:cubicBezTo>
                <a:cubicBezTo>
                  <a:pt x="10163" y="56"/>
                  <a:pt x="10165" y="57"/>
                  <a:pt x="10166" y="57"/>
                </a:cubicBezTo>
                <a:cubicBezTo>
                  <a:pt x="10169" y="57"/>
                  <a:pt x="10171" y="57"/>
                  <a:pt x="10174" y="57"/>
                </a:cubicBezTo>
                <a:cubicBezTo>
                  <a:pt x="10177" y="57"/>
                  <a:pt x="10181" y="57"/>
                  <a:pt x="10185" y="57"/>
                </a:cubicBezTo>
                <a:cubicBezTo>
                  <a:pt x="10189" y="57"/>
                  <a:pt x="10194" y="57"/>
                  <a:pt x="10199" y="57"/>
                </a:cubicBezTo>
                <a:cubicBezTo>
                  <a:pt x="10202" y="57"/>
                  <a:pt x="10205" y="58"/>
                  <a:pt x="10209" y="57"/>
                </a:cubicBezTo>
                <a:cubicBezTo>
                  <a:pt x="10212" y="57"/>
                  <a:pt x="10214" y="56"/>
                  <a:pt x="10216" y="56"/>
                </a:cubicBezTo>
                <a:cubicBezTo>
                  <a:pt x="10219" y="55"/>
                  <a:pt x="10221" y="55"/>
                  <a:pt x="10225" y="55"/>
                </a:cubicBezTo>
                <a:cubicBezTo>
                  <a:pt x="10229" y="55"/>
                  <a:pt x="10240" y="55"/>
                  <a:pt x="10249" y="55"/>
                </a:cubicBezTo>
                <a:cubicBezTo>
                  <a:pt x="10254" y="55"/>
                  <a:pt x="10261" y="54"/>
                  <a:pt x="10266" y="55"/>
                </a:cubicBezTo>
                <a:cubicBezTo>
                  <a:pt x="10270" y="55"/>
                  <a:pt x="10274" y="55"/>
                  <a:pt x="10279" y="55"/>
                </a:cubicBezTo>
                <a:cubicBezTo>
                  <a:pt x="10284" y="55"/>
                  <a:pt x="10289" y="55"/>
                  <a:pt x="10293" y="55"/>
                </a:cubicBezTo>
                <a:cubicBezTo>
                  <a:pt x="10297" y="56"/>
                  <a:pt x="10299" y="56"/>
                  <a:pt x="10303" y="57"/>
                </a:cubicBezTo>
                <a:cubicBezTo>
                  <a:pt x="10308" y="57"/>
                  <a:pt x="10315" y="56"/>
                  <a:pt x="10320" y="56"/>
                </a:cubicBezTo>
                <a:cubicBezTo>
                  <a:pt x="10329" y="56"/>
                  <a:pt x="10335" y="55"/>
                  <a:pt x="10343" y="54"/>
                </a:cubicBezTo>
                <a:cubicBezTo>
                  <a:pt x="10348" y="54"/>
                  <a:pt x="10353" y="54"/>
                  <a:pt x="10357" y="54"/>
                </a:cubicBezTo>
                <a:cubicBezTo>
                  <a:pt x="10363" y="54"/>
                  <a:pt x="10370" y="55"/>
                  <a:pt x="10376" y="55"/>
                </a:cubicBezTo>
                <a:cubicBezTo>
                  <a:pt x="10381" y="55"/>
                  <a:pt x="10384" y="56"/>
                  <a:pt x="10392" y="56"/>
                </a:cubicBezTo>
                <a:cubicBezTo>
                  <a:pt x="10392" y="56"/>
                  <a:pt x="10392" y="56"/>
                  <a:pt x="10392" y="55"/>
                </a:cubicBezTo>
                <a:cubicBezTo>
                  <a:pt x="10394" y="54"/>
                  <a:pt x="10399" y="54"/>
                  <a:pt x="10402" y="55"/>
                </a:cubicBezTo>
                <a:cubicBezTo>
                  <a:pt x="10404" y="55"/>
                  <a:pt x="10413" y="55"/>
                  <a:pt x="10409" y="56"/>
                </a:cubicBezTo>
                <a:cubicBezTo>
                  <a:pt x="10409" y="56"/>
                  <a:pt x="10410" y="56"/>
                  <a:pt x="10411" y="57"/>
                </a:cubicBezTo>
                <a:cubicBezTo>
                  <a:pt x="10412" y="57"/>
                  <a:pt x="10413" y="57"/>
                  <a:pt x="10413" y="58"/>
                </a:cubicBezTo>
                <a:cubicBezTo>
                  <a:pt x="10414" y="58"/>
                  <a:pt x="10415" y="58"/>
                  <a:pt x="10417" y="58"/>
                </a:cubicBezTo>
                <a:cubicBezTo>
                  <a:pt x="10418" y="58"/>
                  <a:pt x="10418" y="58"/>
                  <a:pt x="10420" y="58"/>
                </a:cubicBezTo>
                <a:cubicBezTo>
                  <a:pt x="10422" y="58"/>
                  <a:pt x="10423" y="58"/>
                  <a:pt x="10425" y="59"/>
                </a:cubicBezTo>
                <a:cubicBezTo>
                  <a:pt x="10426" y="59"/>
                  <a:pt x="10429" y="59"/>
                  <a:pt x="10431" y="59"/>
                </a:cubicBezTo>
                <a:cubicBezTo>
                  <a:pt x="10432" y="59"/>
                  <a:pt x="10434" y="58"/>
                  <a:pt x="10433" y="57"/>
                </a:cubicBezTo>
                <a:cubicBezTo>
                  <a:pt x="10432" y="57"/>
                  <a:pt x="10432" y="57"/>
                  <a:pt x="10432" y="57"/>
                </a:cubicBezTo>
                <a:cubicBezTo>
                  <a:pt x="10432" y="56"/>
                  <a:pt x="10434" y="56"/>
                  <a:pt x="10437" y="56"/>
                </a:cubicBezTo>
                <a:cubicBezTo>
                  <a:pt x="10438" y="56"/>
                  <a:pt x="10439" y="56"/>
                  <a:pt x="10439" y="56"/>
                </a:cubicBezTo>
                <a:cubicBezTo>
                  <a:pt x="10440" y="57"/>
                  <a:pt x="10439" y="57"/>
                  <a:pt x="10441" y="57"/>
                </a:cubicBezTo>
                <a:cubicBezTo>
                  <a:pt x="10446" y="57"/>
                  <a:pt x="10451" y="58"/>
                  <a:pt x="10457" y="58"/>
                </a:cubicBezTo>
                <a:cubicBezTo>
                  <a:pt x="10462" y="58"/>
                  <a:pt x="10467" y="58"/>
                  <a:pt x="10473" y="58"/>
                </a:cubicBezTo>
                <a:cubicBezTo>
                  <a:pt x="10476" y="58"/>
                  <a:pt x="10480" y="58"/>
                  <a:pt x="10483" y="58"/>
                </a:cubicBezTo>
                <a:cubicBezTo>
                  <a:pt x="10487" y="58"/>
                  <a:pt x="10491" y="58"/>
                  <a:pt x="10495" y="58"/>
                </a:cubicBezTo>
                <a:cubicBezTo>
                  <a:pt x="10498" y="58"/>
                  <a:pt x="10501" y="58"/>
                  <a:pt x="10505" y="58"/>
                </a:cubicBezTo>
                <a:cubicBezTo>
                  <a:pt x="10507" y="58"/>
                  <a:pt x="10506" y="57"/>
                  <a:pt x="10508" y="57"/>
                </a:cubicBezTo>
                <a:cubicBezTo>
                  <a:pt x="10509" y="57"/>
                  <a:pt x="10513" y="57"/>
                  <a:pt x="10515" y="57"/>
                </a:cubicBezTo>
                <a:cubicBezTo>
                  <a:pt x="10520" y="57"/>
                  <a:pt x="10525" y="56"/>
                  <a:pt x="10531" y="56"/>
                </a:cubicBezTo>
                <a:cubicBezTo>
                  <a:pt x="10532" y="56"/>
                  <a:pt x="10533" y="56"/>
                  <a:pt x="10534" y="56"/>
                </a:cubicBezTo>
                <a:cubicBezTo>
                  <a:pt x="10535" y="56"/>
                  <a:pt x="10536" y="57"/>
                  <a:pt x="10536" y="57"/>
                </a:cubicBezTo>
                <a:cubicBezTo>
                  <a:pt x="10536" y="57"/>
                  <a:pt x="10535" y="57"/>
                  <a:pt x="10535" y="58"/>
                </a:cubicBezTo>
                <a:cubicBezTo>
                  <a:pt x="10535" y="58"/>
                  <a:pt x="10536" y="59"/>
                  <a:pt x="10538" y="59"/>
                </a:cubicBezTo>
                <a:cubicBezTo>
                  <a:pt x="10539" y="59"/>
                  <a:pt x="10541" y="59"/>
                  <a:pt x="10543" y="59"/>
                </a:cubicBezTo>
                <a:cubicBezTo>
                  <a:pt x="10545" y="60"/>
                  <a:pt x="10552" y="59"/>
                  <a:pt x="10555" y="59"/>
                </a:cubicBezTo>
                <a:cubicBezTo>
                  <a:pt x="10560" y="58"/>
                  <a:pt x="10566" y="59"/>
                  <a:pt x="10572" y="58"/>
                </a:cubicBezTo>
                <a:cubicBezTo>
                  <a:pt x="10573" y="58"/>
                  <a:pt x="10575" y="57"/>
                  <a:pt x="10576" y="57"/>
                </a:cubicBezTo>
                <a:cubicBezTo>
                  <a:pt x="10577" y="57"/>
                  <a:pt x="10578" y="57"/>
                  <a:pt x="10580" y="57"/>
                </a:cubicBezTo>
                <a:cubicBezTo>
                  <a:pt x="10581" y="57"/>
                  <a:pt x="10583" y="56"/>
                  <a:pt x="10584" y="57"/>
                </a:cubicBezTo>
                <a:cubicBezTo>
                  <a:pt x="10588" y="59"/>
                  <a:pt x="10599" y="58"/>
                  <a:pt x="10604" y="57"/>
                </a:cubicBezTo>
                <a:cubicBezTo>
                  <a:pt x="10613" y="57"/>
                  <a:pt x="10621" y="57"/>
                  <a:pt x="10623" y="57"/>
                </a:cubicBezTo>
                <a:cubicBezTo>
                  <a:pt x="10624" y="57"/>
                  <a:pt x="10636" y="57"/>
                  <a:pt x="10651" y="57"/>
                </a:cubicBezTo>
                <a:cubicBezTo>
                  <a:pt x="10656" y="57"/>
                  <a:pt x="10661" y="57"/>
                  <a:pt x="10666" y="58"/>
                </a:cubicBezTo>
                <a:cubicBezTo>
                  <a:pt x="10669" y="58"/>
                  <a:pt x="10673" y="58"/>
                  <a:pt x="10677" y="57"/>
                </a:cubicBezTo>
                <a:cubicBezTo>
                  <a:pt x="10678" y="57"/>
                  <a:pt x="10680" y="57"/>
                  <a:pt x="10681" y="56"/>
                </a:cubicBezTo>
                <a:cubicBezTo>
                  <a:pt x="10683" y="56"/>
                  <a:pt x="10684" y="56"/>
                  <a:pt x="10686" y="56"/>
                </a:cubicBezTo>
                <a:cubicBezTo>
                  <a:pt x="10689" y="55"/>
                  <a:pt x="10690" y="55"/>
                  <a:pt x="10693" y="56"/>
                </a:cubicBezTo>
                <a:cubicBezTo>
                  <a:pt x="10697" y="56"/>
                  <a:pt x="10702" y="57"/>
                  <a:pt x="10703" y="57"/>
                </a:cubicBezTo>
                <a:cubicBezTo>
                  <a:pt x="10706" y="58"/>
                  <a:pt x="10730" y="58"/>
                  <a:pt x="10738" y="56"/>
                </a:cubicBezTo>
                <a:cubicBezTo>
                  <a:pt x="10742" y="56"/>
                  <a:pt x="10751" y="54"/>
                  <a:pt x="10755" y="56"/>
                </a:cubicBezTo>
                <a:cubicBezTo>
                  <a:pt x="10756" y="56"/>
                  <a:pt x="10756" y="56"/>
                  <a:pt x="10756" y="56"/>
                </a:cubicBezTo>
                <a:cubicBezTo>
                  <a:pt x="10757" y="56"/>
                  <a:pt x="10759" y="56"/>
                  <a:pt x="10760" y="57"/>
                </a:cubicBezTo>
                <a:cubicBezTo>
                  <a:pt x="10766" y="57"/>
                  <a:pt x="10772" y="57"/>
                  <a:pt x="10778" y="57"/>
                </a:cubicBezTo>
                <a:cubicBezTo>
                  <a:pt x="10787" y="57"/>
                  <a:pt x="10797" y="58"/>
                  <a:pt x="10801" y="58"/>
                </a:cubicBezTo>
                <a:cubicBezTo>
                  <a:pt x="10805" y="58"/>
                  <a:pt x="10819" y="58"/>
                  <a:pt x="10833" y="58"/>
                </a:cubicBezTo>
                <a:cubicBezTo>
                  <a:pt x="10842" y="58"/>
                  <a:pt x="10859" y="59"/>
                  <a:pt x="10864" y="56"/>
                </a:cubicBezTo>
                <a:cubicBezTo>
                  <a:pt x="10864" y="56"/>
                  <a:pt x="10864" y="56"/>
                  <a:pt x="10865" y="56"/>
                </a:cubicBezTo>
                <a:cubicBezTo>
                  <a:pt x="10866" y="56"/>
                  <a:pt x="10867" y="56"/>
                  <a:pt x="10868" y="56"/>
                </a:cubicBezTo>
                <a:cubicBezTo>
                  <a:pt x="10872" y="56"/>
                  <a:pt x="10875" y="55"/>
                  <a:pt x="10879" y="55"/>
                </a:cubicBezTo>
                <a:cubicBezTo>
                  <a:pt x="10884" y="55"/>
                  <a:pt x="10889" y="55"/>
                  <a:pt x="10894" y="56"/>
                </a:cubicBezTo>
                <a:cubicBezTo>
                  <a:pt x="10900" y="56"/>
                  <a:pt x="10907" y="56"/>
                  <a:pt x="10914" y="56"/>
                </a:cubicBezTo>
                <a:cubicBezTo>
                  <a:pt x="10917" y="56"/>
                  <a:pt x="10927" y="56"/>
                  <a:pt x="10930" y="56"/>
                </a:cubicBezTo>
                <a:cubicBezTo>
                  <a:pt x="10930" y="56"/>
                  <a:pt x="10930" y="56"/>
                  <a:pt x="10931" y="56"/>
                </a:cubicBezTo>
                <a:cubicBezTo>
                  <a:pt x="10934" y="57"/>
                  <a:pt x="10940" y="57"/>
                  <a:pt x="10944" y="57"/>
                </a:cubicBezTo>
                <a:cubicBezTo>
                  <a:pt x="10951" y="57"/>
                  <a:pt x="10961" y="58"/>
                  <a:pt x="10967" y="58"/>
                </a:cubicBezTo>
                <a:cubicBezTo>
                  <a:pt x="10972" y="58"/>
                  <a:pt x="10976" y="58"/>
                  <a:pt x="10981" y="57"/>
                </a:cubicBezTo>
                <a:cubicBezTo>
                  <a:pt x="10984" y="56"/>
                  <a:pt x="10986" y="56"/>
                  <a:pt x="10991" y="56"/>
                </a:cubicBezTo>
                <a:cubicBezTo>
                  <a:pt x="10997" y="55"/>
                  <a:pt x="11003" y="56"/>
                  <a:pt x="11009" y="55"/>
                </a:cubicBezTo>
                <a:cubicBezTo>
                  <a:pt x="11016" y="55"/>
                  <a:pt x="11023" y="55"/>
                  <a:pt x="11030" y="55"/>
                </a:cubicBezTo>
                <a:cubicBezTo>
                  <a:pt x="11030" y="56"/>
                  <a:pt x="11030" y="56"/>
                  <a:pt x="11030" y="56"/>
                </a:cubicBezTo>
                <a:cubicBezTo>
                  <a:pt x="11030" y="57"/>
                  <a:pt x="11031" y="57"/>
                  <a:pt x="11032" y="57"/>
                </a:cubicBezTo>
                <a:cubicBezTo>
                  <a:pt x="11033" y="57"/>
                  <a:pt x="11033" y="57"/>
                  <a:pt x="11034" y="57"/>
                </a:cubicBezTo>
                <a:cubicBezTo>
                  <a:pt x="11038" y="56"/>
                  <a:pt x="11046" y="54"/>
                  <a:pt x="11050" y="56"/>
                </a:cubicBezTo>
                <a:cubicBezTo>
                  <a:pt x="11051" y="56"/>
                  <a:pt x="11051" y="57"/>
                  <a:pt x="11050" y="57"/>
                </a:cubicBezTo>
                <a:cubicBezTo>
                  <a:pt x="11050" y="57"/>
                  <a:pt x="11049" y="57"/>
                  <a:pt x="11049" y="58"/>
                </a:cubicBezTo>
                <a:cubicBezTo>
                  <a:pt x="11049" y="58"/>
                  <a:pt x="11051" y="59"/>
                  <a:pt x="11053" y="59"/>
                </a:cubicBezTo>
                <a:cubicBezTo>
                  <a:pt x="11055" y="59"/>
                  <a:pt x="11057" y="59"/>
                  <a:pt x="11059" y="59"/>
                </a:cubicBezTo>
                <a:cubicBezTo>
                  <a:pt x="11061" y="59"/>
                  <a:pt x="11062" y="58"/>
                  <a:pt x="11065" y="57"/>
                </a:cubicBezTo>
                <a:cubicBezTo>
                  <a:pt x="11066" y="57"/>
                  <a:pt x="11066" y="58"/>
                  <a:pt x="11066" y="58"/>
                </a:cubicBezTo>
                <a:cubicBezTo>
                  <a:pt x="11066" y="58"/>
                  <a:pt x="11066" y="58"/>
                  <a:pt x="11065" y="58"/>
                </a:cubicBezTo>
                <a:cubicBezTo>
                  <a:pt x="11065" y="60"/>
                  <a:pt x="11081" y="59"/>
                  <a:pt x="11084" y="59"/>
                </a:cubicBezTo>
                <a:cubicBezTo>
                  <a:pt x="11093" y="59"/>
                  <a:pt x="11103" y="59"/>
                  <a:pt x="11113" y="59"/>
                </a:cubicBezTo>
                <a:cubicBezTo>
                  <a:pt x="11122" y="59"/>
                  <a:pt x="11131" y="59"/>
                  <a:pt x="11140" y="59"/>
                </a:cubicBezTo>
                <a:cubicBezTo>
                  <a:pt x="11145" y="59"/>
                  <a:pt x="11155" y="60"/>
                  <a:pt x="11160" y="59"/>
                </a:cubicBezTo>
                <a:cubicBezTo>
                  <a:pt x="11161" y="58"/>
                  <a:pt x="11161" y="58"/>
                  <a:pt x="11163" y="57"/>
                </a:cubicBezTo>
                <a:cubicBezTo>
                  <a:pt x="11164" y="57"/>
                  <a:pt x="11166" y="57"/>
                  <a:pt x="11168" y="57"/>
                </a:cubicBezTo>
                <a:cubicBezTo>
                  <a:pt x="11171" y="56"/>
                  <a:pt x="11175" y="56"/>
                  <a:pt x="11178" y="55"/>
                </a:cubicBezTo>
                <a:cubicBezTo>
                  <a:pt x="11181" y="55"/>
                  <a:pt x="11182" y="54"/>
                  <a:pt x="11185" y="54"/>
                </a:cubicBezTo>
                <a:cubicBezTo>
                  <a:pt x="11189" y="54"/>
                  <a:pt x="11193" y="54"/>
                  <a:pt x="11196" y="54"/>
                </a:cubicBezTo>
                <a:cubicBezTo>
                  <a:pt x="11199" y="54"/>
                  <a:pt x="11212" y="54"/>
                  <a:pt x="11214" y="55"/>
                </a:cubicBezTo>
                <a:cubicBezTo>
                  <a:pt x="11214" y="55"/>
                  <a:pt x="11214" y="55"/>
                  <a:pt x="11214" y="55"/>
                </a:cubicBezTo>
                <a:cubicBezTo>
                  <a:pt x="11214" y="56"/>
                  <a:pt x="11216" y="56"/>
                  <a:pt x="11219" y="56"/>
                </a:cubicBezTo>
                <a:cubicBezTo>
                  <a:pt x="11220" y="56"/>
                  <a:pt x="11221" y="56"/>
                  <a:pt x="11221" y="55"/>
                </a:cubicBezTo>
                <a:cubicBezTo>
                  <a:pt x="11221" y="55"/>
                  <a:pt x="11221" y="54"/>
                  <a:pt x="11223" y="54"/>
                </a:cubicBezTo>
                <a:cubicBezTo>
                  <a:pt x="11229" y="54"/>
                  <a:pt x="11237" y="54"/>
                  <a:pt x="11243" y="54"/>
                </a:cubicBezTo>
                <a:cubicBezTo>
                  <a:pt x="11244" y="54"/>
                  <a:pt x="11244" y="54"/>
                  <a:pt x="11245" y="54"/>
                </a:cubicBezTo>
                <a:cubicBezTo>
                  <a:pt x="11246" y="54"/>
                  <a:pt x="11245" y="55"/>
                  <a:pt x="11245" y="55"/>
                </a:cubicBezTo>
                <a:cubicBezTo>
                  <a:pt x="11245" y="56"/>
                  <a:pt x="11252" y="59"/>
                  <a:pt x="11257" y="57"/>
                </a:cubicBezTo>
                <a:cubicBezTo>
                  <a:pt x="11259" y="57"/>
                  <a:pt x="11257" y="56"/>
                  <a:pt x="11257" y="56"/>
                </a:cubicBezTo>
                <a:cubicBezTo>
                  <a:pt x="11258" y="55"/>
                  <a:pt x="11258" y="55"/>
                  <a:pt x="11259" y="55"/>
                </a:cubicBezTo>
                <a:cubicBezTo>
                  <a:pt x="11259" y="55"/>
                  <a:pt x="11259" y="54"/>
                  <a:pt x="11259" y="54"/>
                </a:cubicBezTo>
                <a:cubicBezTo>
                  <a:pt x="11261" y="53"/>
                  <a:pt x="11267" y="54"/>
                  <a:pt x="11269" y="54"/>
                </a:cubicBezTo>
                <a:cubicBezTo>
                  <a:pt x="11272" y="54"/>
                  <a:pt x="11271" y="55"/>
                  <a:pt x="11273" y="56"/>
                </a:cubicBezTo>
                <a:cubicBezTo>
                  <a:pt x="11275" y="56"/>
                  <a:pt x="11280" y="55"/>
                  <a:pt x="11282" y="55"/>
                </a:cubicBezTo>
                <a:cubicBezTo>
                  <a:pt x="11286" y="55"/>
                  <a:pt x="11292" y="56"/>
                  <a:pt x="11296" y="55"/>
                </a:cubicBezTo>
                <a:cubicBezTo>
                  <a:pt x="11300" y="55"/>
                  <a:pt x="11301" y="54"/>
                  <a:pt x="11305" y="54"/>
                </a:cubicBezTo>
                <a:cubicBezTo>
                  <a:pt x="11314" y="53"/>
                  <a:pt x="11327" y="53"/>
                  <a:pt x="11337" y="53"/>
                </a:cubicBezTo>
                <a:cubicBezTo>
                  <a:pt x="11342" y="53"/>
                  <a:pt x="11373" y="52"/>
                  <a:pt x="11374" y="54"/>
                </a:cubicBezTo>
                <a:cubicBezTo>
                  <a:pt x="11375" y="54"/>
                  <a:pt x="11374" y="54"/>
                  <a:pt x="11375" y="54"/>
                </a:cubicBezTo>
                <a:cubicBezTo>
                  <a:pt x="11375" y="55"/>
                  <a:pt x="11376" y="55"/>
                  <a:pt x="11377" y="55"/>
                </a:cubicBezTo>
                <a:cubicBezTo>
                  <a:pt x="11379" y="55"/>
                  <a:pt x="11392" y="54"/>
                  <a:pt x="11386" y="56"/>
                </a:cubicBezTo>
                <a:cubicBezTo>
                  <a:pt x="11385" y="56"/>
                  <a:pt x="11384" y="56"/>
                  <a:pt x="11384" y="57"/>
                </a:cubicBezTo>
                <a:cubicBezTo>
                  <a:pt x="11385" y="57"/>
                  <a:pt x="11387" y="57"/>
                  <a:pt x="11389" y="57"/>
                </a:cubicBezTo>
                <a:cubicBezTo>
                  <a:pt x="11390" y="56"/>
                  <a:pt x="11392" y="56"/>
                  <a:pt x="11393" y="56"/>
                </a:cubicBezTo>
                <a:cubicBezTo>
                  <a:pt x="11396" y="56"/>
                  <a:pt x="11398" y="56"/>
                  <a:pt x="11401" y="56"/>
                </a:cubicBezTo>
                <a:cubicBezTo>
                  <a:pt x="11403" y="56"/>
                  <a:pt x="11406" y="56"/>
                  <a:pt x="11408" y="56"/>
                </a:cubicBezTo>
                <a:cubicBezTo>
                  <a:pt x="11416" y="56"/>
                  <a:pt x="11424" y="56"/>
                  <a:pt x="11432" y="55"/>
                </a:cubicBezTo>
                <a:cubicBezTo>
                  <a:pt x="11435" y="55"/>
                  <a:pt x="11438" y="55"/>
                  <a:pt x="11441" y="55"/>
                </a:cubicBezTo>
                <a:cubicBezTo>
                  <a:pt x="11444" y="55"/>
                  <a:pt x="11447" y="56"/>
                  <a:pt x="11450" y="56"/>
                </a:cubicBezTo>
                <a:cubicBezTo>
                  <a:pt x="11451" y="55"/>
                  <a:pt x="11454" y="55"/>
                  <a:pt x="11456" y="55"/>
                </a:cubicBezTo>
                <a:cubicBezTo>
                  <a:pt x="11457" y="55"/>
                  <a:pt x="11459" y="54"/>
                  <a:pt x="11460" y="54"/>
                </a:cubicBezTo>
                <a:cubicBezTo>
                  <a:pt x="11463" y="53"/>
                  <a:pt x="11467" y="53"/>
                  <a:pt x="11468" y="52"/>
                </a:cubicBezTo>
                <a:cubicBezTo>
                  <a:pt x="11468" y="52"/>
                  <a:pt x="11468" y="52"/>
                  <a:pt x="11468" y="52"/>
                </a:cubicBezTo>
                <a:cubicBezTo>
                  <a:pt x="11469" y="52"/>
                  <a:pt x="11470" y="51"/>
                  <a:pt x="11471" y="51"/>
                </a:cubicBezTo>
                <a:cubicBezTo>
                  <a:pt x="11474" y="51"/>
                  <a:pt x="11477" y="51"/>
                  <a:pt x="11479" y="51"/>
                </a:cubicBezTo>
                <a:cubicBezTo>
                  <a:pt x="11482" y="51"/>
                  <a:pt x="11486" y="51"/>
                  <a:pt x="11487" y="52"/>
                </a:cubicBezTo>
                <a:cubicBezTo>
                  <a:pt x="11487" y="53"/>
                  <a:pt x="11487" y="53"/>
                  <a:pt x="11488" y="54"/>
                </a:cubicBezTo>
                <a:cubicBezTo>
                  <a:pt x="11490" y="54"/>
                  <a:pt x="11497" y="53"/>
                  <a:pt x="11500" y="53"/>
                </a:cubicBezTo>
                <a:cubicBezTo>
                  <a:pt x="11505" y="53"/>
                  <a:pt x="11508" y="55"/>
                  <a:pt x="11513" y="56"/>
                </a:cubicBezTo>
                <a:cubicBezTo>
                  <a:pt x="11518" y="57"/>
                  <a:pt x="11526" y="56"/>
                  <a:pt x="11532" y="56"/>
                </a:cubicBezTo>
                <a:cubicBezTo>
                  <a:pt x="11535" y="56"/>
                  <a:pt x="11539" y="56"/>
                  <a:pt x="11541" y="55"/>
                </a:cubicBezTo>
                <a:cubicBezTo>
                  <a:pt x="11543" y="55"/>
                  <a:pt x="11545" y="55"/>
                  <a:pt x="11547" y="54"/>
                </a:cubicBezTo>
                <a:cubicBezTo>
                  <a:pt x="11553" y="54"/>
                  <a:pt x="11561" y="54"/>
                  <a:pt x="11567" y="54"/>
                </a:cubicBezTo>
                <a:cubicBezTo>
                  <a:pt x="11575" y="54"/>
                  <a:pt x="11583" y="54"/>
                  <a:pt x="11591" y="54"/>
                </a:cubicBezTo>
                <a:cubicBezTo>
                  <a:pt x="11596" y="54"/>
                  <a:pt x="11602" y="54"/>
                  <a:pt x="11607" y="54"/>
                </a:cubicBezTo>
                <a:cubicBezTo>
                  <a:pt x="11614" y="54"/>
                  <a:pt x="11620" y="54"/>
                  <a:pt x="11627" y="54"/>
                </a:cubicBezTo>
                <a:lnTo>
                  <a:pt x="11627" y="56"/>
                </a:lnTo>
                <a:cubicBezTo>
                  <a:pt x="11630" y="56"/>
                  <a:pt x="11634" y="56"/>
                  <a:pt x="11638" y="56"/>
                </a:cubicBezTo>
                <a:cubicBezTo>
                  <a:pt x="11640" y="55"/>
                  <a:pt x="11643" y="55"/>
                  <a:pt x="11645" y="55"/>
                </a:cubicBezTo>
                <a:cubicBezTo>
                  <a:pt x="11646" y="55"/>
                  <a:pt x="11646" y="56"/>
                  <a:pt x="11647" y="56"/>
                </a:cubicBezTo>
                <a:cubicBezTo>
                  <a:pt x="11648" y="57"/>
                  <a:pt x="11649" y="57"/>
                  <a:pt x="11650" y="57"/>
                </a:cubicBezTo>
                <a:cubicBezTo>
                  <a:pt x="11651" y="57"/>
                  <a:pt x="11653" y="56"/>
                  <a:pt x="11654" y="57"/>
                </a:cubicBezTo>
                <a:cubicBezTo>
                  <a:pt x="11655" y="57"/>
                  <a:pt x="11656" y="58"/>
                  <a:pt x="11656" y="58"/>
                </a:cubicBezTo>
                <a:cubicBezTo>
                  <a:pt x="11658" y="59"/>
                  <a:pt x="11659" y="58"/>
                  <a:pt x="11659" y="57"/>
                </a:cubicBezTo>
                <a:cubicBezTo>
                  <a:pt x="11661" y="55"/>
                  <a:pt x="11661" y="55"/>
                  <a:pt x="11663" y="55"/>
                </a:cubicBezTo>
                <a:cubicBezTo>
                  <a:pt x="11665" y="56"/>
                  <a:pt x="11666" y="55"/>
                  <a:pt x="11668" y="55"/>
                </a:cubicBezTo>
                <a:cubicBezTo>
                  <a:pt x="11673" y="56"/>
                  <a:pt x="11678" y="56"/>
                  <a:pt x="11684" y="56"/>
                </a:cubicBezTo>
                <a:cubicBezTo>
                  <a:pt x="11684" y="56"/>
                  <a:pt x="11684" y="56"/>
                  <a:pt x="11684" y="57"/>
                </a:cubicBezTo>
                <a:cubicBezTo>
                  <a:pt x="11685" y="57"/>
                  <a:pt x="11686" y="57"/>
                  <a:pt x="11687" y="57"/>
                </a:cubicBezTo>
                <a:cubicBezTo>
                  <a:pt x="11688" y="58"/>
                  <a:pt x="11690" y="58"/>
                  <a:pt x="11691" y="58"/>
                </a:cubicBezTo>
                <a:cubicBezTo>
                  <a:pt x="11692" y="58"/>
                  <a:pt x="11692" y="58"/>
                  <a:pt x="11693" y="58"/>
                </a:cubicBezTo>
                <a:cubicBezTo>
                  <a:pt x="11693" y="58"/>
                  <a:pt x="11693" y="57"/>
                  <a:pt x="11694" y="57"/>
                </a:cubicBezTo>
                <a:cubicBezTo>
                  <a:pt x="11694" y="57"/>
                  <a:pt x="11695" y="57"/>
                  <a:pt x="11695" y="56"/>
                </a:cubicBezTo>
                <a:cubicBezTo>
                  <a:pt x="11718" y="57"/>
                  <a:pt x="11741" y="58"/>
                  <a:pt x="11765" y="58"/>
                </a:cubicBezTo>
                <a:cubicBezTo>
                  <a:pt x="11776" y="57"/>
                  <a:pt x="11786" y="57"/>
                  <a:pt x="11797" y="56"/>
                </a:cubicBezTo>
                <a:cubicBezTo>
                  <a:pt x="11802" y="56"/>
                  <a:pt x="11807" y="57"/>
                  <a:pt x="11812" y="56"/>
                </a:cubicBezTo>
                <a:cubicBezTo>
                  <a:pt x="11816" y="56"/>
                  <a:pt x="11820" y="55"/>
                  <a:pt x="11824" y="54"/>
                </a:cubicBezTo>
                <a:cubicBezTo>
                  <a:pt x="11825" y="53"/>
                  <a:pt x="11827" y="52"/>
                  <a:pt x="11828" y="51"/>
                </a:cubicBezTo>
                <a:cubicBezTo>
                  <a:pt x="11829" y="50"/>
                  <a:pt x="11829" y="49"/>
                  <a:pt x="11829" y="48"/>
                </a:cubicBezTo>
                <a:cubicBezTo>
                  <a:pt x="11828" y="47"/>
                  <a:pt x="11828" y="47"/>
                  <a:pt x="11828" y="47"/>
                </a:cubicBez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175577301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4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9541DB-9159-52E1-36ED-A2271EFDC027}"/>
              </a:ext>
            </a:extLst>
          </p:cNvPr>
          <p:cNvSpPr>
            <a:spLocks noGrp="1"/>
          </p:cNvSpPr>
          <p:nvPr>
            <p:ph type="title"/>
          </p:nvPr>
        </p:nvSpPr>
        <p:spPr>
          <a:xfrm>
            <a:off x="442914" y="404813"/>
            <a:ext cx="11306174" cy="382284"/>
          </a:xfrm>
        </p:spPr>
        <p:txBody>
          <a:bodyPr/>
          <a:lstStyle/>
          <a:p>
            <a:r>
              <a:rPr lang="en-GB"/>
              <a:t>Click to edit Master title style</a:t>
            </a:r>
          </a:p>
        </p:txBody>
      </p:sp>
      <p:sp>
        <p:nvSpPr>
          <p:cNvPr id="3" name="Content Placeholder 2">
            <a:extLst>
              <a:ext uri="{FF2B5EF4-FFF2-40B4-BE49-F238E27FC236}">
                <a16:creationId xmlns:a16="http://schemas.microsoft.com/office/drawing/2014/main" id="{D66370DB-D8BA-987C-5976-9F9A695233D7}"/>
              </a:ext>
            </a:extLst>
          </p:cNvPr>
          <p:cNvSpPr>
            <a:spLocks noGrp="1"/>
          </p:cNvSpPr>
          <p:nvPr>
            <p:ph idx="1"/>
          </p:nvPr>
        </p:nvSpPr>
        <p:spPr>
          <a:xfrm>
            <a:off x="457200" y="1484314"/>
            <a:ext cx="2641600" cy="4548186"/>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0F414784-DF0B-C117-2497-A8A415ABF3CE}"/>
              </a:ext>
            </a:extLst>
          </p:cNvPr>
          <p:cNvSpPr>
            <a:spLocks noGrp="1"/>
          </p:cNvSpPr>
          <p:nvPr>
            <p:ph type="dt" sz="half" idx="10"/>
          </p:nvPr>
        </p:nvSpPr>
        <p:spPr/>
        <p:txBody>
          <a:bodyPr/>
          <a:lstStyle/>
          <a:p>
            <a:r>
              <a:rPr lang="en-US"/>
              <a:t>25 March 2026</a:t>
            </a:r>
            <a:endParaRPr lang="en-GB"/>
          </a:p>
        </p:txBody>
      </p:sp>
      <p:sp>
        <p:nvSpPr>
          <p:cNvPr id="5" name="Footer Placeholder 4">
            <a:extLst>
              <a:ext uri="{FF2B5EF4-FFF2-40B4-BE49-F238E27FC236}">
                <a16:creationId xmlns:a16="http://schemas.microsoft.com/office/drawing/2014/main" id="{746C971E-9D30-B3A7-DEE4-B7BB3F23D10F}"/>
              </a:ext>
            </a:extLst>
          </p:cNvPr>
          <p:cNvSpPr>
            <a:spLocks noGrp="1"/>
          </p:cNvSpPr>
          <p:nvPr>
            <p:ph type="ftr" sz="quarter" idx="11"/>
          </p:nvPr>
        </p:nvSpPr>
        <p:spPr/>
        <p:txBody>
          <a:bodyPr/>
          <a:lstStyle/>
          <a:p>
            <a:r>
              <a:rPr lang="en-GB"/>
              <a:t>Q member event</a:t>
            </a:r>
          </a:p>
        </p:txBody>
      </p:sp>
      <p:sp>
        <p:nvSpPr>
          <p:cNvPr id="6" name="Slide Number Placeholder 5">
            <a:extLst>
              <a:ext uri="{FF2B5EF4-FFF2-40B4-BE49-F238E27FC236}">
                <a16:creationId xmlns:a16="http://schemas.microsoft.com/office/drawing/2014/main" id="{F736F856-1147-9EF5-CC3C-F2CDFD6CB6DE}"/>
              </a:ext>
            </a:extLst>
          </p:cNvPr>
          <p:cNvSpPr>
            <a:spLocks noGrp="1"/>
          </p:cNvSpPr>
          <p:nvPr>
            <p:ph type="sldNum" sz="quarter" idx="12"/>
          </p:nvPr>
        </p:nvSpPr>
        <p:spPr/>
        <p:txBody>
          <a:bodyPr/>
          <a:lstStyle/>
          <a:p>
            <a:fld id="{C790EBD1-482B-4C6F-AFC1-9F7ACF0A1A11}" type="slidenum">
              <a:rPr lang="en-GB" smtClean="0"/>
              <a:t>‹#›</a:t>
            </a:fld>
            <a:endParaRPr lang="en-GB"/>
          </a:p>
        </p:txBody>
      </p:sp>
      <p:sp>
        <p:nvSpPr>
          <p:cNvPr id="11" name="Picture Placeholder 9">
            <a:extLst>
              <a:ext uri="{FF2B5EF4-FFF2-40B4-BE49-F238E27FC236}">
                <a16:creationId xmlns:a16="http://schemas.microsoft.com/office/drawing/2014/main" id="{596637BC-31BD-BA0F-7D39-FB9258CF58AE}"/>
              </a:ext>
            </a:extLst>
          </p:cNvPr>
          <p:cNvSpPr>
            <a:spLocks noGrp="1"/>
          </p:cNvSpPr>
          <p:nvPr>
            <p:ph type="pic" sz="quarter" idx="14"/>
          </p:nvPr>
        </p:nvSpPr>
        <p:spPr>
          <a:xfrm>
            <a:off x="3340100" y="1524000"/>
            <a:ext cx="8394700" cy="4508499"/>
          </a:xfrm>
          <a:solidFill>
            <a:schemeClr val="bg1">
              <a:lumMod val="95000"/>
            </a:schemeClr>
          </a:solidFill>
        </p:spPr>
        <p:txBody>
          <a:bodyPr anchor="ctr" anchorCtr="1"/>
          <a:lstStyle>
            <a:lvl1pPr algn="ctr">
              <a:defRPr b="0"/>
            </a:lvl1pPr>
          </a:lstStyle>
          <a:p>
            <a:r>
              <a:rPr lang="en-GB"/>
              <a:t>Click icon to add picture</a:t>
            </a:r>
          </a:p>
        </p:txBody>
      </p:sp>
      <p:sp>
        <p:nvSpPr>
          <p:cNvPr id="7" name="Text Placeholder 10">
            <a:extLst>
              <a:ext uri="{FF2B5EF4-FFF2-40B4-BE49-F238E27FC236}">
                <a16:creationId xmlns:a16="http://schemas.microsoft.com/office/drawing/2014/main" id="{4645A915-552C-38C3-E761-125DD5A66CE5}"/>
              </a:ext>
            </a:extLst>
          </p:cNvPr>
          <p:cNvSpPr>
            <a:spLocks noGrp="1"/>
          </p:cNvSpPr>
          <p:nvPr>
            <p:ph type="body" sz="quarter" idx="15"/>
          </p:nvPr>
        </p:nvSpPr>
        <p:spPr>
          <a:xfrm>
            <a:off x="457200" y="936000"/>
            <a:ext cx="5524500" cy="157287"/>
          </a:xfrm>
        </p:spPr>
        <p:txBody>
          <a:bodyPr>
            <a:spAutoFit/>
          </a:bodyPr>
          <a:lstStyle>
            <a:lvl1pPr>
              <a:defRPr sz="1000" b="0"/>
            </a:lvl1pPr>
            <a:lvl2pPr>
              <a:defRPr sz="1000" b="0"/>
            </a:lvl2pPr>
            <a:lvl3pPr>
              <a:defRPr sz="1000" b="0"/>
            </a:lvl3pPr>
            <a:lvl4pPr>
              <a:defRPr sz="1000" b="0"/>
            </a:lvl4pPr>
            <a:lvl5pPr>
              <a:defRPr sz="1000" b="0"/>
            </a:lvl5pPr>
          </a:lstStyle>
          <a:p>
            <a:pPr lvl="0"/>
            <a:r>
              <a:rPr lang="en-GB"/>
              <a:t>Click to edit Master text styles</a:t>
            </a:r>
          </a:p>
        </p:txBody>
      </p:sp>
      <p:sp>
        <p:nvSpPr>
          <p:cNvPr id="8" name="Freeform 5">
            <a:extLst>
              <a:ext uri="{FF2B5EF4-FFF2-40B4-BE49-F238E27FC236}">
                <a16:creationId xmlns:a16="http://schemas.microsoft.com/office/drawing/2014/main" id="{4C53F517-14DD-8443-4E9A-A8CA2B16C6DF}"/>
              </a:ext>
            </a:extLst>
          </p:cNvPr>
          <p:cNvSpPr>
            <a:spLocks/>
          </p:cNvSpPr>
          <p:nvPr userDrawn="1"/>
        </p:nvSpPr>
        <p:spPr bwMode="auto">
          <a:xfrm>
            <a:off x="457200" y="6184803"/>
            <a:ext cx="11293312" cy="57600"/>
          </a:xfrm>
          <a:custGeom>
            <a:avLst/>
            <a:gdLst>
              <a:gd name="T0" fmla="*/ 11754 w 11830"/>
              <a:gd name="T1" fmla="*/ 5 h 60"/>
              <a:gd name="T2" fmla="*/ 11665 w 11830"/>
              <a:gd name="T3" fmla="*/ 3 h 60"/>
              <a:gd name="T4" fmla="*/ 10458 w 11830"/>
              <a:gd name="T5" fmla="*/ 8 h 60"/>
              <a:gd name="T6" fmla="*/ 9631 w 11830"/>
              <a:gd name="T7" fmla="*/ 9 h 60"/>
              <a:gd name="T8" fmla="*/ 9276 w 11830"/>
              <a:gd name="T9" fmla="*/ 7 h 60"/>
              <a:gd name="T10" fmla="*/ 8873 w 11830"/>
              <a:gd name="T11" fmla="*/ 7 h 60"/>
              <a:gd name="T12" fmla="*/ 8453 w 11830"/>
              <a:gd name="T13" fmla="*/ 4 h 60"/>
              <a:gd name="T14" fmla="*/ 7526 w 11830"/>
              <a:gd name="T15" fmla="*/ 4 h 60"/>
              <a:gd name="T16" fmla="*/ 7003 w 11830"/>
              <a:gd name="T17" fmla="*/ 2 h 60"/>
              <a:gd name="T18" fmla="*/ 6547 w 11830"/>
              <a:gd name="T19" fmla="*/ 3 h 60"/>
              <a:gd name="T20" fmla="*/ 6086 w 11830"/>
              <a:gd name="T21" fmla="*/ 5 h 60"/>
              <a:gd name="T22" fmla="*/ 5731 w 11830"/>
              <a:gd name="T23" fmla="*/ 6 h 60"/>
              <a:gd name="T24" fmla="*/ 5501 w 11830"/>
              <a:gd name="T25" fmla="*/ 3 h 60"/>
              <a:gd name="T26" fmla="*/ 5358 w 11830"/>
              <a:gd name="T27" fmla="*/ 3 h 60"/>
              <a:gd name="T28" fmla="*/ 5047 w 11830"/>
              <a:gd name="T29" fmla="*/ 3 h 60"/>
              <a:gd name="T30" fmla="*/ 4870 w 11830"/>
              <a:gd name="T31" fmla="*/ 5 h 60"/>
              <a:gd name="T32" fmla="*/ 4531 w 11830"/>
              <a:gd name="T33" fmla="*/ 6 h 60"/>
              <a:gd name="T34" fmla="*/ 4227 w 11830"/>
              <a:gd name="T35" fmla="*/ 7 h 60"/>
              <a:gd name="T36" fmla="*/ 3756 w 11830"/>
              <a:gd name="T37" fmla="*/ 8 h 60"/>
              <a:gd name="T38" fmla="*/ 3345 w 11830"/>
              <a:gd name="T39" fmla="*/ 8 h 60"/>
              <a:gd name="T40" fmla="*/ 2866 w 11830"/>
              <a:gd name="T41" fmla="*/ 7 h 60"/>
              <a:gd name="T42" fmla="*/ 2614 w 11830"/>
              <a:gd name="T43" fmla="*/ 5 h 60"/>
              <a:gd name="T44" fmla="*/ 2388 w 11830"/>
              <a:gd name="T45" fmla="*/ 8 h 60"/>
              <a:gd name="T46" fmla="*/ 2137 w 11830"/>
              <a:gd name="T47" fmla="*/ 3 h 60"/>
              <a:gd name="T48" fmla="*/ 1820 w 11830"/>
              <a:gd name="T49" fmla="*/ 4 h 60"/>
              <a:gd name="T50" fmla="*/ 1474 w 11830"/>
              <a:gd name="T51" fmla="*/ 3 h 60"/>
              <a:gd name="T52" fmla="*/ 1351 w 11830"/>
              <a:gd name="T53" fmla="*/ 2 h 60"/>
              <a:gd name="T54" fmla="*/ 1145 w 11830"/>
              <a:gd name="T55" fmla="*/ 2 h 60"/>
              <a:gd name="T56" fmla="*/ 871 w 11830"/>
              <a:gd name="T57" fmla="*/ 3 h 60"/>
              <a:gd name="T58" fmla="*/ 639 w 11830"/>
              <a:gd name="T59" fmla="*/ 4 h 60"/>
              <a:gd name="T60" fmla="*/ 457 w 11830"/>
              <a:gd name="T61" fmla="*/ 3 h 60"/>
              <a:gd name="T62" fmla="*/ 157 w 11830"/>
              <a:gd name="T63" fmla="*/ 3 h 60"/>
              <a:gd name="T64" fmla="*/ 83 w 11830"/>
              <a:gd name="T65" fmla="*/ 54 h 60"/>
              <a:gd name="T66" fmla="*/ 1390 w 11830"/>
              <a:gd name="T67" fmla="*/ 50 h 60"/>
              <a:gd name="T68" fmla="*/ 2221 w 11830"/>
              <a:gd name="T69" fmla="*/ 49 h 60"/>
              <a:gd name="T70" fmla="*/ 2606 w 11830"/>
              <a:gd name="T71" fmla="*/ 52 h 60"/>
              <a:gd name="T72" fmla="*/ 2985 w 11830"/>
              <a:gd name="T73" fmla="*/ 52 h 60"/>
              <a:gd name="T74" fmla="*/ 3428 w 11830"/>
              <a:gd name="T75" fmla="*/ 54 h 60"/>
              <a:gd name="T76" fmla="*/ 4520 w 11830"/>
              <a:gd name="T77" fmla="*/ 54 h 60"/>
              <a:gd name="T78" fmla="*/ 4885 w 11830"/>
              <a:gd name="T79" fmla="*/ 53 h 60"/>
              <a:gd name="T80" fmla="*/ 5255 w 11830"/>
              <a:gd name="T81" fmla="*/ 54 h 60"/>
              <a:gd name="T82" fmla="*/ 5655 w 11830"/>
              <a:gd name="T83" fmla="*/ 51 h 60"/>
              <a:gd name="T84" fmla="*/ 6196 w 11830"/>
              <a:gd name="T85" fmla="*/ 54 h 60"/>
              <a:gd name="T86" fmla="*/ 6491 w 11830"/>
              <a:gd name="T87" fmla="*/ 56 h 60"/>
              <a:gd name="T88" fmla="*/ 6723 w 11830"/>
              <a:gd name="T89" fmla="*/ 57 h 60"/>
              <a:gd name="T90" fmla="*/ 6936 w 11830"/>
              <a:gd name="T91" fmla="*/ 54 h 60"/>
              <a:gd name="T92" fmla="*/ 7150 w 11830"/>
              <a:gd name="T93" fmla="*/ 53 h 60"/>
              <a:gd name="T94" fmla="*/ 7433 w 11830"/>
              <a:gd name="T95" fmla="*/ 52 h 60"/>
              <a:gd name="T96" fmla="*/ 7830 w 11830"/>
              <a:gd name="T97" fmla="*/ 52 h 60"/>
              <a:gd name="T98" fmla="*/ 8274 w 11830"/>
              <a:gd name="T99" fmla="*/ 51 h 60"/>
              <a:gd name="T100" fmla="*/ 8700 w 11830"/>
              <a:gd name="T101" fmla="*/ 50 h 60"/>
              <a:gd name="T102" fmla="*/ 9077 w 11830"/>
              <a:gd name="T103" fmla="*/ 51 h 60"/>
              <a:gd name="T104" fmla="*/ 9302 w 11830"/>
              <a:gd name="T105" fmla="*/ 53 h 60"/>
              <a:gd name="T106" fmla="*/ 9538 w 11830"/>
              <a:gd name="T107" fmla="*/ 54 h 60"/>
              <a:gd name="T108" fmla="*/ 9855 w 11830"/>
              <a:gd name="T109" fmla="*/ 55 h 60"/>
              <a:gd name="T110" fmla="*/ 10279 w 11830"/>
              <a:gd name="T111" fmla="*/ 55 h 60"/>
              <a:gd name="T112" fmla="*/ 10495 w 11830"/>
              <a:gd name="T113" fmla="*/ 58 h 60"/>
              <a:gd name="T114" fmla="*/ 10755 w 11830"/>
              <a:gd name="T115" fmla="*/ 56 h 60"/>
              <a:gd name="T116" fmla="*/ 11049 w 11830"/>
              <a:gd name="T117" fmla="*/ 58 h 60"/>
              <a:gd name="T118" fmla="*/ 11259 w 11830"/>
              <a:gd name="T119" fmla="*/ 55 h 60"/>
              <a:gd name="T120" fmla="*/ 11479 w 11830"/>
              <a:gd name="T121" fmla="*/ 51 h 60"/>
              <a:gd name="T122" fmla="*/ 11691 w 11830"/>
              <a:gd name="T123" fmla="*/ 5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830" h="60">
                <a:moveTo>
                  <a:pt x="11828" y="47"/>
                </a:moveTo>
                <a:lnTo>
                  <a:pt x="11828" y="47"/>
                </a:lnTo>
                <a:cubicBezTo>
                  <a:pt x="11828" y="46"/>
                  <a:pt x="11828" y="46"/>
                  <a:pt x="11829" y="45"/>
                </a:cubicBezTo>
                <a:cubicBezTo>
                  <a:pt x="11829" y="45"/>
                  <a:pt x="11828" y="44"/>
                  <a:pt x="11828" y="43"/>
                </a:cubicBezTo>
                <a:cubicBezTo>
                  <a:pt x="11828" y="43"/>
                  <a:pt x="11828" y="43"/>
                  <a:pt x="11828" y="43"/>
                </a:cubicBezTo>
                <a:cubicBezTo>
                  <a:pt x="11828" y="42"/>
                  <a:pt x="11829" y="42"/>
                  <a:pt x="11829" y="42"/>
                </a:cubicBezTo>
                <a:cubicBezTo>
                  <a:pt x="11829" y="42"/>
                  <a:pt x="11829" y="41"/>
                  <a:pt x="11829" y="41"/>
                </a:cubicBezTo>
                <a:cubicBezTo>
                  <a:pt x="11830" y="40"/>
                  <a:pt x="11829" y="39"/>
                  <a:pt x="11829" y="38"/>
                </a:cubicBezTo>
                <a:cubicBezTo>
                  <a:pt x="11829" y="38"/>
                  <a:pt x="11829" y="37"/>
                  <a:pt x="11829" y="37"/>
                </a:cubicBezTo>
                <a:cubicBezTo>
                  <a:pt x="11829" y="36"/>
                  <a:pt x="11829" y="35"/>
                  <a:pt x="11829" y="34"/>
                </a:cubicBezTo>
                <a:cubicBezTo>
                  <a:pt x="11829" y="32"/>
                  <a:pt x="11829" y="31"/>
                  <a:pt x="11829" y="30"/>
                </a:cubicBezTo>
                <a:cubicBezTo>
                  <a:pt x="11829" y="27"/>
                  <a:pt x="11828" y="25"/>
                  <a:pt x="11827" y="22"/>
                </a:cubicBezTo>
                <a:cubicBezTo>
                  <a:pt x="11826" y="21"/>
                  <a:pt x="11826" y="20"/>
                  <a:pt x="11825" y="19"/>
                </a:cubicBezTo>
                <a:cubicBezTo>
                  <a:pt x="11825" y="19"/>
                  <a:pt x="11825" y="18"/>
                  <a:pt x="11825" y="18"/>
                </a:cubicBezTo>
                <a:cubicBezTo>
                  <a:pt x="11824" y="17"/>
                  <a:pt x="11824" y="17"/>
                  <a:pt x="11824" y="16"/>
                </a:cubicBezTo>
                <a:cubicBezTo>
                  <a:pt x="11823" y="15"/>
                  <a:pt x="11824" y="13"/>
                  <a:pt x="11824" y="11"/>
                </a:cubicBezTo>
                <a:cubicBezTo>
                  <a:pt x="11823" y="9"/>
                  <a:pt x="11823" y="8"/>
                  <a:pt x="11822" y="6"/>
                </a:cubicBezTo>
                <a:cubicBezTo>
                  <a:pt x="11822" y="6"/>
                  <a:pt x="11821" y="6"/>
                  <a:pt x="11821" y="6"/>
                </a:cubicBezTo>
                <a:cubicBezTo>
                  <a:pt x="11821" y="5"/>
                  <a:pt x="11818" y="4"/>
                  <a:pt x="11817" y="4"/>
                </a:cubicBezTo>
                <a:cubicBezTo>
                  <a:pt x="11808" y="3"/>
                  <a:pt x="11807" y="5"/>
                  <a:pt x="11799" y="4"/>
                </a:cubicBezTo>
                <a:cubicBezTo>
                  <a:pt x="11794" y="3"/>
                  <a:pt x="11790" y="4"/>
                  <a:pt x="11784" y="4"/>
                </a:cubicBezTo>
                <a:cubicBezTo>
                  <a:pt x="11782" y="4"/>
                  <a:pt x="11775" y="4"/>
                  <a:pt x="11772" y="4"/>
                </a:cubicBezTo>
                <a:cubicBezTo>
                  <a:pt x="11770" y="4"/>
                  <a:pt x="11761" y="5"/>
                  <a:pt x="11760" y="5"/>
                </a:cubicBezTo>
                <a:cubicBezTo>
                  <a:pt x="11759" y="5"/>
                  <a:pt x="11759" y="5"/>
                  <a:pt x="11759" y="5"/>
                </a:cubicBezTo>
                <a:cubicBezTo>
                  <a:pt x="11757" y="5"/>
                  <a:pt x="11756" y="5"/>
                  <a:pt x="11754" y="5"/>
                </a:cubicBezTo>
                <a:cubicBezTo>
                  <a:pt x="11754" y="5"/>
                  <a:pt x="11754" y="5"/>
                  <a:pt x="11753" y="5"/>
                </a:cubicBezTo>
                <a:cubicBezTo>
                  <a:pt x="11751" y="5"/>
                  <a:pt x="11749" y="5"/>
                  <a:pt x="11747" y="5"/>
                </a:cubicBezTo>
                <a:cubicBezTo>
                  <a:pt x="11747" y="4"/>
                  <a:pt x="11747" y="4"/>
                  <a:pt x="11747" y="4"/>
                </a:cubicBezTo>
                <a:cubicBezTo>
                  <a:pt x="11746" y="4"/>
                  <a:pt x="11744" y="3"/>
                  <a:pt x="11743" y="4"/>
                </a:cubicBezTo>
                <a:cubicBezTo>
                  <a:pt x="11743" y="4"/>
                  <a:pt x="11743" y="4"/>
                  <a:pt x="11744" y="4"/>
                </a:cubicBezTo>
                <a:cubicBezTo>
                  <a:pt x="11744" y="4"/>
                  <a:pt x="11744" y="4"/>
                  <a:pt x="11744" y="4"/>
                </a:cubicBezTo>
                <a:cubicBezTo>
                  <a:pt x="11738" y="4"/>
                  <a:pt x="11732" y="4"/>
                  <a:pt x="11726" y="4"/>
                </a:cubicBezTo>
                <a:cubicBezTo>
                  <a:pt x="11724" y="4"/>
                  <a:pt x="11723" y="4"/>
                  <a:pt x="11722" y="4"/>
                </a:cubicBezTo>
                <a:cubicBezTo>
                  <a:pt x="11720" y="4"/>
                  <a:pt x="11719" y="4"/>
                  <a:pt x="11717" y="4"/>
                </a:cubicBezTo>
                <a:cubicBezTo>
                  <a:pt x="11716" y="4"/>
                  <a:pt x="11714" y="4"/>
                  <a:pt x="11713" y="4"/>
                </a:cubicBezTo>
                <a:cubicBezTo>
                  <a:pt x="11712" y="4"/>
                  <a:pt x="11710" y="4"/>
                  <a:pt x="11710" y="4"/>
                </a:cubicBezTo>
                <a:cubicBezTo>
                  <a:pt x="11710" y="4"/>
                  <a:pt x="11710" y="4"/>
                  <a:pt x="11710" y="4"/>
                </a:cubicBezTo>
                <a:cubicBezTo>
                  <a:pt x="11708" y="4"/>
                  <a:pt x="11707" y="4"/>
                  <a:pt x="11706" y="4"/>
                </a:cubicBezTo>
                <a:cubicBezTo>
                  <a:pt x="11705" y="4"/>
                  <a:pt x="11704" y="4"/>
                  <a:pt x="11704" y="4"/>
                </a:cubicBezTo>
                <a:cubicBezTo>
                  <a:pt x="11703" y="4"/>
                  <a:pt x="11702" y="4"/>
                  <a:pt x="11701" y="4"/>
                </a:cubicBezTo>
                <a:cubicBezTo>
                  <a:pt x="11701" y="4"/>
                  <a:pt x="11701" y="4"/>
                  <a:pt x="11701" y="4"/>
                </a:cubicBezTo>
                <a:cubicBezTo>
                  <a:pt x="11700" y="4"/>
                  <a:pt x="11700" y="4"/>
                  <a:pt x="11699" y="4"/>
                </a:cubicBezTo>
                <a:cubicBezTo>
                  <a:pt x="11699" y="4"/>
                  <a:pt x="11698" y="4"/>
                  <a:pt x="11698" y="4"/>
                </a:cubicBezTo>
                <a:cubicBezTo>
                  <a:pt x="11698" y="4"/>
                  <a:pt x="11698" y="4"/>
                  <a:pt x="11698" y="4"/>
                </a:cubicBezTo>
                <a:cubicBezTo>
                  <a:pt x="11691" y="4"/>
                  <a:pt x="11683" y="4"/>
                  <a:pt x="11676" y="4"/>
                </a:cubicBezTo>
                <a:cubicBezTo>
                  <a:pt x="11676" y="3"/>
                  <a:pt x="11676" y="3"/>
                  <a:pt x="11675" y="3"/>
                </a:cubicBezTo>
                <a:cubicBezTo>
                  <a:pt x="11675" y="3"/>
                  <a:pt x="11675" y="3"/>
                  <a:pt x="11675" y="4"/>
                </a:cubicBezTo>
                <a:cubicBezTo>
                  <a:pt x="11674" y="4"/>
                  <a:pt x="11673" y="4"/>
                  <a:pt x="11672" y="4"/>
                </a:cubicBezTo>
                <a:cubicBezTo>
                  <a:pt x="11671" y="3"/>
                  <a:pt x="11671" y="3"/>
                  <a:pt x="11670" y="3"/>
                </a:cubicBezTo>
                <a:cubicBezTo>
                  <a:pt x="11668" y="3"/>
                  <a:pt x="11667" y="3"/>
                  <a:pt x="11665" y="3"/>
                </a:cubicBezTo>
                <a:cubicBezTo>
                  <a:pt x="11662" y="3"/>
                  <a:pt x="11659" y="3"/>
                  <a:pt x="11658" y="3"/>
                </a:cubicBezTo>
                <a:cubicBezTo>
                  <a:pt x="11657" y="4"/>
                  <a:pt x="11655" y="3"/>
                  <a:pt x="11653" y="3"/>
                </a:cubicBezTo>
                <a:cubicBezTo>
                  <a:pt x="11653" y="3"/>
                  <a:pt x="11653" y="3"/>
                  <a:pt x="11652" y="3"/>
                </a:cubicBezTo>
                <a:cubicBezTo>
                  <a:pt x="11652" y="3"/>
                  <a:pt x="11652" y="3"/>
                  <a:pt x="11652" y="3"/>
                </a:cubicBezTo>
                <a:cubicBezTo>
                  <a:pt x="11651" y="3"/>
                  <a:pt x="11649" y="3"/>
                  <a:pt x="11648" y="3"/>
                </a:cubicBezTo>
                <a:cubicBezTo>
                  <a:pt x="11648" y="3"/>
                  <a:pt x="11647" y="3"/>
                  <a:pt x="11647" y="3"/>
                </a:cubicBezTo>
                <a:cubicBezTo>
                  <a:pt x="11646" y="3"/>
                  <a:pt x="11645" y="3"/>
                  <a:pt x="11644" y="3"/>
                </a:cubicBezTo>
                <a:cubicBezTo>
                  <a:pt x="11643" y="3"/>
                  <a:pt x="11643" y="3"/>
                  <a:pt x="11642" y="3"/>
                </a:cubicBezTo>
                <a:cubicBezTo>
                  <a:pt x="11632" y="3"/>
                  <a:pt x="11623" y="3"/>
                  <a:pt x="11613" y="3"/>
                </a:cubicBezTo>
                <a:cubicBezTo>
                  <a:pt x="11604" y="3"/>
                  <a:pt x="11595" y="4"/>
                  <a:pt x="11586" y="4"/>
                </a:cubicBezTo>
                <a:cubicBezTo>
                  <a:pt x="11579" y="4"/>
                  <a:pt x="11572" y="4"/>
                  <a:pt x="11565" y="4"/>
                </a:cubicBezTo>
                <a:cubicBezTo>
                  <a:pt x="11554" y="4"/>
                  <a:pt x="11542" y="3"/>
                  <a:pt x="11531" y="5"/>
                </a:cubicBezTo>
                <a:cubicBezTo>
                  <a:pt x="11526" y="5"/>
                  <a:pt x="11523" y="6"/>
                  <a:pt x="11517" y="6"/>
                </a:cubicBezTo>
                <a:cubicBezTo>
                  <a:pt x="11512" y="6"/>
                  <a:pt x="11507" y="6"/>
                  <a:pt x="11501" y="6"/>
                </a:cubicBezTo>
                <a:cubicBezTo>
                  <a:pt x="11363" y="5"/>
                  <a:pt x="11024" y="4"/>
                  <a:pt x="10959" y="5"/>
                </a:cubicBezTo>
                <a:cubicBezTo>
                  <a:pt x="10945" y="5"/>
                  <a:pt x="10915" y="5"/>
                  <a:pt x="10892" y="5"/>
                </a:cubicBezTo>
                <a:cubicBezTo>
                  <a:pt x="10868" y="5"/>
                  <a:pt x="10833" y="6"/>
                  <a:pt x="10813" y="6"/>
                </a:cubicBezTo>
                <a:cubicBezTo>
                  <a:pt x="10702" y="7"/>
                  <a:pt x="10658" y="7"/>
                  <a:pt x="10548" y="7"/>
                </a:cubicBezTo>
                <a:cubicBezTo>
                  <a:pt x="10538" y="7"/>
                  <a:pt x="10528" y="7"/>
                  <a:pt x="10518" y="7"/>
                </a:cubicBezTo>
                <a:cubicBezTo>
                  <a:pt x="10515" y="7"/>
                  <a:pt x="10511" y="7"/>
                  <a:pt x="10507" y="7"/>
                </a:cubicBezTo>
                <a:cubicBezTo>
                  <a:pt x="10504" y="7"/>
                  <a:pt x="10501" y="8"/>
                  <a:pt x="10499" y="8"/>
                </a:cubicBezTo>
                <a:cubicBezTo>
                  <a:pt x="10494" y="9"/>
                  <a:pt x="10493" y="9"/>
                  <a:pt x="10488" y="8"/>
                </a:cubicBezTo>
                <a:cubicBezTo>
                  <a:pt x="10485" y="7"/>
                  <a:pt x="10481" y="6"/>
                  <a:pt x="10477" y="7"/>
                </a:cubicBezTo>
                <a:cubicBezTo>
                  <a:pt x="10476" y="7"/>
                  <a:pt x="10476" y="8"/>
                  <a:pt x="10475" y="8"/>
                </a:cubicBezTo>
                <a:cubicBezTo>
                  <a:pt x="10471" y="9"/>
                  <a:pt x="10463" y="8"/>
                  <a:pt x="10458" y="8"/>
                </a:cubicBezTo>
                <a:cubicBezTo>
                  <a:pt x="10452" y="8"/>
                  <a:pt x="10445" y="8"/>
                  <a:pt x="10439" y="8"/>
                </a:cubicBezTo>
                <a:cubicBezTo>
                  <a:pt x="10426" y="8"/>
                  <a:pt x="10413" y="8"/>
                  <a:pt x="10400" y="8"/>
                </a:cubicBezTo>
                <a:cubicBezTo>
                  <a:pt x="10360" y="8"/>
                  <a:pt x="10325" y="8"/>
                  <a:pt x="10322" y="8"/>
                </a:cubicBezTo>
                <a:cubicBezTo>
                  <a:pt x="10320" y="8"/>
                  <a:pt x="10318" y="9"/>
                  <a:pt x="10316" y="9"/>
                </a:cubicBezTo>
                <a:cubicBezTo>
                  <a:pt x="10314" y="8"/>
                  <a:pt x="10311" y="7"/>
                  <a:pt x="10306" y="8"/>
                </a:cubicBezTo>
                <a:cubicBezTo>
                  <a:pt x="10301" y="8"/>
                  <a:pt x="10296" y="8"/>
                  <a:pt x="10289" y="8"/>
                </a:cubicBezTo>
                <a:cubicBezTo>
                  <a:pt x="10282" y="8"/>
                  <a:pt x="10275" y="8"/>
                  <a:pt x="10267" y="8"/>
                </a:cubicBezTo>
                <a:cubicBezTo>
                  <a:pt x="10253" y="8"/>
                  <a:pt x="10238" y="8"/>
                  <a:pt x="10223" y="8"/>
                </a:cubicBezTo>
                <a:cubicBezTo>
                  <a:pt x="10158" y="8"/>
                  <a:pt x="10092" y="8"/>
                  <a:pt x="10027" y="7"/>
                </a:cubicBezTo>
                <a:cubicBezTo>
                  <a:pt x="9998" y="7"/>
                  <a:pt x="9969" y="7"/>
                  <a:pt x="9941" y="7"/>
                </a:cubicBezTo>
                <a:cubicBezTo>
                  <a:pt x="9920" y="7"/>
                  <a:pt x="9898" y="7"/>
                  <a:pt x="9877" y="7"/>
                </a:cubicBezTo>
                <a:cubicBezTo>
                  <a:pt x="9857" y="7"/>
                  <a:pt x="9836" y="7"/>
                  <a:pt x="9815" y="7"/>
                </a:cubicBezTo>
                <a:cubicBezTo>
                  <a:pt x="9806" y="7"/>
                  <a:pt x="9797" y="7"/>
                  <a:pt x="9788" y="7"/>
                </a:cubicBezTo>
                <a:lnTo>
                  <a:pt x="9776" y="7"/>
                </a:lnTo>
                <a:cubicBezTo>
                  <a:pt x="9773" y="7"/>
                  <a:pt x="9766" y="7"/>
                  <a:pt x="9764" y="7"/>
                </a:cubicBezTo>
                <a:cubicBezTo>
                  <a:pt x="9762" y="7"/>
                  <a:pt x="9761" y="7"/>
                  <a:pt x="9759" y="7"/>
                </a:cubicBezTo>
                <a:cubicBezTo>
                  <a:pt x="9759" y="7"/>
                  <a:pt x="9758" y="7"/>
                  <a:pt x="9757" y="7"/>
                </a:cubicBezTo>
                <a:cubicBezTo>
                  <a:pt x="9753" y="7"/>
                  <a:pt x="9751" y="9"/>
                  <a:pt x="9747" y="9"/>
                </a:cubicBezTo>
                <a:cubicBezTo>
                  <a:pt x="9744" y="9"/>
                  <a:pt x="9740" y="8"/>
                  <a:pt x="9737" y="7"/>
                </a:cubicBezTo>
                <a:cubicBezTo>
                  <a:pt x="9732" y="7"/>
                  <a:pt x="9725" y="7"/>
                  <a:pt x="9720" y="7"/>
                </a:cubicBezTo>
                <a:cubicBezTo>
                  <a:pt x="9711" y="7"/>
                  <a:pt x="9703" y="7"/>
                  <a:pt x="9694" y="7"/>
                </a:cubicBezTo>
                <a:cubicBezTo>
                  <a:pt x="9689" y="7"/>
                  <a:pt x="9664" y="6"/>
                  <a:pt x="9662" y="8"/>
                </a:cubicBezTo>
                <a:cubicBezTo>
                  <a:pt x="9662" y="9"/>
                  <a:pt x="9662" y="9"/>
                  <a:pt x="9662" y="9"/>
                </a:cubicBezTo>
                <a:cubicBezTo>
                  <a:pt x="9661" y="10"/>
                  <a:pt x="9650" y="10"/>
                  <a:pt x="9648" y="10"/>
                </a:cubicBezTo>
                <a:cubicBezTo>
                  <a:pt x="9645" y="10"/>
                  <a:pt x="9632" y="10"/>
                  <a:pt x="9631" y="9"/>
                </a:cubicBezTo>
                <a:cubicBezTo>
                  <a:pt x="9631" y="8"/>
                  <a:pt x="9628" y="8"/>
                  <a:pt x="9627" y="9"/>
                </a:cubicBezTo>
                <a:cubicBezTo>
                  <a:pt x="9623" y="9"/>
                  <a:pt x="9625" y="10"/>
                  <a:pt x="9620" y="10"/>
                </a:cubicBezTo>
                <a:cubicBezTo>
                  <a:pt x="9618" y="10"/>
                  <a:pt x="9615" y="10"/>
                  <a:pt x="9613" y="10"/>
                </a:cubicBezTo>
                <a:cubicBezTo>
                  <a:pt x="9610" y="10"/>
                  <a:pt x="9610" y="8"/>
                  <a:pt x="9607" y="8"/>
                </a:cubicBezTo>
                <a:cubicBezTo>
                  <a:pt x="9600" y="7"/>
                  <a:pt x="9590" y="7"/>
                  <a:pt x="9582" y="7"/>
                </a:cubicBezTo>
                <a:cubicBezTo>
                  <a:pt x="9575" y="7"/>
                  <a:pt x="9567" y="7"/>
                  <a:pt x="9562" y="9"/>
                </a:cubicBezTo>
                <a:cubicBezTo>
                  <a:pt x="9558" y="10"/>
                  <a:pt x="9555" y="9"/>
                  <a:pt x="9550" y="9"/>
                </a:cubicBezTo>
                <a:cubicBezTo>
                  <a:pt x="9544" y="8"/>
                  <a:pt x="9538" y="8"/>
                  <a:pt x="9532" y="8"/>
                </a:cubicBezTo>
                <a:cubicBezTo>
                  <a:pt x="9525" y="8"/>
                  <a:pt x="9521" y="8"/>
                  <a:pt x="9515" y="9"/>
                </a:cubicBezTo>
                <a:cubicBezTo>
                  <a:pt x="9512" y="9"/>
                  <a:pt x="9508" y="10"/>
                  <a:pt x="9506" y="10"/>
                </a:cubicBezTo>
                <a:cubicBezTo>
                  <a:pt x="9503" y="10"/>
                  <a:pt x="9500" y="9"/>
                  <a:pt x="9498" y="9"/>
                </a:cubicBezTo>
                <a:cubicBezTo>
                  <a:pt x="9496" y="9"/>
                  <a:pt x="9494" y="8"/>
                  <a:pt x="9492" y="8"/>
                </a:cubicBezTo>
                <a:cubicBezTo>
                  <a:pt x="9487" y="7"/>
                  <a:pt x="9481" y="7"/>
                  <a:pt x="9476" y="7"/>
                </a:cubicBezTo>
                <a:cubicBezTo>
                  <a:pt x="9469" y="7"/>
                  <a:pt x="9462" y="7"/>
                  <a:pt x="9455" y="7"/>
                </a:cubicBezTo>
                <a:cubicBezTo>
                  <a:pt x="9434" y="7"/>
                  <a:pt x="9413" y="7"/>
                  <a:pt x="9392" y="7"/>
                </a:cubicBezTo>
                <a:cubicBezTo>
                  <a:pt x="9382" y="7"/>
                  <a:pt x="9373" y="7"/>
                  <a:pt x="9364" y="7"/>
                </a:cubicBezTo>
                <a:cubicBezTo>
                  <a:pt x="9358" y="7"/>
                  <a:pt x="9351" y="7"/>
                  <a:pt x="9345" y="8"/>
                </a:cubicBezTo>
                <a:cubicBezTo>
                  <a:pt x="9340" y="8"/>
                  <a:pt x="9337" y="9"/>
                  <a:pt x="9333" y="10"/>
                </a:cubicBezTo>
                <a:cubicBezTo>
                  <a:pt x="9330" y="10"/>
                  <a:pt x="9326" y="10"/>
                  <a:pt x="9323" y="9"/>
                </a:cubicBezTo>
                <a:cubicBezTo>
                  <a:pt x="9321" y="9"/>
                  <a:pt x="9314" y="9"/>
                  <a:pt x="9306" y="9"/>
                </a:cubicBezTo>
                <a:cubicBezTo>
                  <a:pt x="9303" y="9"/>
                  <a:pt x="9299" y="10"/>
                  <a:pt x="9296" y="9"/>
                </a:cubicBezTo>
                <a:cubicBezTo>
                  <a:pt x="9294" y="9"/>
                  <a:pt x="9293" y="9"/>
                  <a:pt x="9293" y="8"/>
                </a:cubicBezTo>
                <a:cubicBezTo>
                  <a:pt x="9293" y="8"/>
                  <a:pt x="9294" y="8"/>
                  <a:pt x="9294" y="8"/>
                </a:cubicBezTo>
                <a:cubicBezTo>
                  <a:pt x="9294" y="7"/>
                  <a:pt x="9292" y="7"/>
                  <a:pt x="9290" y="7"/>
                </a:cubicBezTo>
                <a:cubicBezTo>
                  <a:pt x="9286" y="7"/>
                  <a:pt x="9281" y="7"/>
                  <a:pt x="9276" y="7"/>
                </a:cubicBezTo>
                <a:cubicBezTo>
                  <a:pt x="9263" y="7"/>
                  <a:pt x="9250" y="6"/>
                  <a:pt x="9247" y="6"/>
                </a:cubicBezTo>
                <a:cubicBezTo>
                  <a:pt x="9245" y="6"/>
                  <a:pt x="9225" y="6"/>
                  <a:pt x="9204" y="6"/>
                </a:cubicBezTo>
                <a:cubicBezTo>
                  <a:pt x="9197" y="6"/>
                  <a:pt x="9190" y="7"/>
                  <a:pt x="9183" y="7"/>
                </a:cubicBezTo>
                <a:cubicBezTo>
                  <a:pt x="9180" y="7"/>
                  <a:pt x="9171" y="6"/>
                  <a:pt x="9169" y="7"/>
                </a:cubicBezTo>
                <a:cubicBezTo>
                  <a:pt x="9167" y="8"/>
                  <a:pt x="9167" y="8"/>
                  <a:pt x="9164" y="9"/>
                </a:cubicBezTo>
                <a:cubicBezTo>
                  <a:pt x="9162" y="9"/>
                  <a:pt x="9158" y="8"/>
                  <a:pt x="9157" y="8"/>
                </a:cubicBezTo>
                <a:cubicBezTo>
                  <a:pt x="9157" y="8"/>
                  <a:pt x="9157" y="8"/>
                  <a:pt x="9157" y="7"/>
                </a:cubicBezTo>
                <a:cubicBezTo>
                  <a:pt x="9155" y="6"/>
                  <a:pt x="9138" y="7"/>
                  <a:pt x="9134" y="7"/>
                </a:cubicBezTo>
                <a:cubicBezTo>
                  <a:pt x="9111" y="7"/>
                  <a:pt x="9099" y="6"/>
                  <a:pt x="9083" y="5"/>
                </a:cubicBezTo>
                <a:cubicBezTo>
                  <a:pt x="9070" y="4"/>
                  <a:pt x="9019" y="4"/>
                  <a:pt x="8990" y="5"/>
                </a:cubicBezTo>
                <a:cubicBezTo>
                  <a:pt x="8986" y="5"/>
                  <a:pt x="8982" y="5"/>
                  <a:pt x="8978" y="6"/>
                </a:cubicBezTo>
                <a:cubicBezTo>
                  <a:pt x="8976" y="6"/>
                  <a:pt x="8973" y="6"/>
                  <a:pt x="8971" y="6"/>
                </a:cubicBezTo>
                <a:cubicBezTo>
                  <a:pt x="8970" y="6"/>
                  <a:pt x="8969" y="6"/>
                  <a:pt x="8968" y="6"/>
                </a:cubicBezTo>
                <a:cubicBezTo>
                  <a:pt x="8966" y="6"/>
                  <a:pt x="8965" y="6"/>
                  <a:pt x="8964" y="6"/>
                </a:cubicBezTo>
                <a:cubicBezTo>
                  <a:pt x="8963" y="6"/>
                  <a:pt x="8961" y="6"/>
                  <a:pt x="8959" y="6"/>
                </a:cubicBezTo>
                <a:cubicBezTo>
                  <a:pt x="8956" y="6"/>
                  <a:pt x="8954" y="6"/>
                  <a:pt x="8951" y="6"/>
                </a:cubicBezTo>
                <a:cubicBezTo>
                  <a:pt x="8948" y="5"/>
                  <a:pt x="8944" y="6"/>
                  <a:pt x="8941" y="6"/>
                </a:cubicBezTo>
                <a:cubicBezTo>
                  <a:pt x="8935" y="6"/>
                  <a:pt x="8931" y="5"/>
                  <a:pt x="8926" y="6"/>
                </a:cubicBezTo>
                <a:cubicBezTo>
                  <a:pt x="8923" y="7"/>
                  <a:pt x="8920" y="8"/>
                  <a:pt x="8915" y="7"/>
                </a:cubicBezTo>
                <a:cubicBezTo>
                  <a:pt x="8912" y="7"/>
                  <a:pt x="8909" y="6"/>
                  <a:pt x="8906" y="6"/>
                </a:cubicBezTo>
                <a:cubicBezTo>
                  <a:pt x="8905" y="6"/>
                  <a:pt x="8904" y="6"/>
                  <a:pt x="8903" y="6"/>
                </a:cubicBezTo>
                <a:cubicBezTo>
                  <a:pt x="8902" y="6"/>
                  <a:pt x="8902" y="6"/>
                  <a:pt x="8901" y="6"/>
                </a:cubicBezTo>
                <a:cubicBezTo>
                  <a:pt x="8900" y="6"/>
                  <a:pt x="8900" y="6"/>
                  <a:pt x="8900" y="6"/>
                </a:cubicBezTo>
                <a:cubicBezTo>
                  <a:pt x="8895" y="8"/>
                  <a:pt x="8887" y="8"/>
                  <a:pt x="8880" y="8"/>
                </a:cubicBezTo>
                <a:cubicBezTo>
                  <a:pt x="8877" y="8"/>
                  <a:pt x="8874" y="8"/>
                  <a:pt x="8873" y="7"/>
                </a:cubicBezTo>
                <a:cubicBezTo>
                  <a:pt x="8871" y="7"/>
                  <a:pt x="8871" y="6"/>
                  <a:pt x="8869" y="6"/>
                </a:cubicBezTo>
                <a:cubicBezTo>
                  <a:pt x="8867" y="5"/>
                  <a:pt x="8865" y="6"/>
                  <a:pt x="8864" y="6"/>
                </a:cubicBezTo>
                <a:cubicBezTo>
                  <a:pt x="8859" y="7"/>
                  <a:pt x="8855" y="5"/>
                  <a:pt x="8849" y="5"/>
                </a:cubicBezTo>
                <a:cubicBezTo>
                  <a:pt x="8844" y="5"/>
                  <a:pt x="8839" y="5"/>
                  <a:pt x="8834" y="5"/>
                </a:cubicBezTo>
                <a:cubicBezTo>
                  <a:pt x="8830" y="5"/>
                  <a:pt x="8811" y="4"/>
                  <a:pt x="8809" y="6"/>
                </a:cubicBezTo>
                <a:cubicBezTo>
                  <a:pt x="8808" y="6"/>
                  <a:pt x="8809" y="6"/>
                  <a:pt x="8809" y="6"/>
                </a:cubicBezTo>
                <a:cubicBezTo>
                  <a:pt x="8808" y="8"/>
                  <a:pt x="8800" y="7"/>
                  <a:pt x="8797" y="7"/>
                </a:cubicBezTo>
                <a:cubicBezTo>
                  <a:pt x="8791" y="7"/>
                  <a:pt x="8789" y="7"/>
                  <a:pt x="8784" y="6"/>
                </a:cubicBezTo>
                <a:cubicBezTo>
                  <a:pt x="8782" y="6"/>
                  <a:pt x="8780" y="6"/>
                  <a:pt x="8778" y="5"/>
                </a:cubicBezTo>
                <a:cubicBezTo>
                  <a:pt x="8776" y="5"/>
                  <a:pt x="8773" y="6"/>
                  <a:pt x="8773" y="6"/>
                </a:cubicBezTo>
                <a:cubicBezTo>
                  <a:pt x="8772" y="6"/>
                  <a:pt x="8772" y="7"/>
                  <a:pt x="8772" y="7"/>
                </a:cubicBezTo>
                <a:cubicBezTo>
                  <a:pt x="8772" y="7"/>
                  <a:pt x="8771" y="7"/>
                  <a:pt x="8770" y="7"/>
                </a:cubicBezTo>
                <a:cubicBezTo>
                  <a:pt x="8768" y="7"/>
                  <a:pt x="8765" y="7"/>
                  <a:pt x="8763" y="7"/>
                </a:cubicBezTo>
                <a:cubicBezTo>
                  <a:pt x="8760" y="7"/>
                  <a:pt x="8758" y="6"/>
                  <a:pt x="8757" y="6"/>
                </a:cubicBezTo>
                <a:cubicBezTo>
                  <a:pt x="8757" y="5"/>
                  <a:pt x="8757" y="5"/>
                  <a:pt x="8755" y="5"/>
                </a:cubicBezTo>
                <a:cubicBezTo>
                  <a:pt x="8752" y="5"/>
                  <a:pt x="8750" y="5"/>
                  <a:pt x="8747" y="5"/>
                </a:cubicBezTo>
                <a:cubicBezTo>
                  <a:pt x="8728" y="5"/>
                  <a:pt x="8684" y="4"/>
                  <a:pt x="8673" y="4"/>
                </a:cubicBezTo>
                <a:cubicBezTo>
                  <a:pt x="8670" y="4"/>
                  <a:pt x="8662" y="4"/>
                  <a:pt x="8655" y="4"/>
                </a:cubicBezTo>
                <a:cubicBezTo>
                  <a:pt x="8648" y="4"/>
                  <a:pt x="8636" y="4"/>
                  <a:pt x="8628" y="4"/>
                </a:cubicBezTo>
                <a:cubicBezTo>
                  <a:pt x="8620" y="3"/>
                  <a:pt x="8606" y="3"/>
                  <a:pt x="8597" y="3"/>
                </a:cubicBezTo>
                <a:cubicBezTo>
                  <a:pt x="8584" y="3"/>
                  <a:pt x="8569" y="2"/>
                  <a:pt x="8557" y="3"/>
                </a:cubicBezTo>
                <a:cubicBezTo>
                  <a:pt x="8554" y="3"/>
                  <a:pt x="8552" y="3"/>
                  <a:pt x="8548" y="3"/>
                </a:cubicBezTo>
                <a:cubicBezTo>
                  <a:pt x="8540" y="3"/>
                  <a:pt x="8531" y="3"/>
                  <a:pt x="8523" y="3"/>
                </a:cubicBezTo>
                <a:cubicBezTo>
                  <a:pt x="8505" y="3"/>
                  <a:pt x="8482" y="4"/>
                  <a:pt x="8471" y="4"/>
                </a:cubicBezTo>
                <a:cubicBezTo>
                  <a:pt x="8465" y="4"/>
                  <a:pt x="8459" y="4"/>
                  <a:pt x="8453" y="4"/>
                </a:cubicBezTo>
                <a:cubicBezTo>
                  <a:pt x="8451" y="4"/>
                  <a:pt x="8449" y="4"/>
                  <a:pt x="8449" y="5"/>
                </a:cubicBezTo>
                <a:cubicBezTo>
                  <a:pt x="8449" y="5"/>
                  <a:pt x="8452" y="6"/>
                  <a:pt x="8452" y="6"/>
                </a:cubicBezTo>
                <a:cubicBezTo>
                  <a:pt x="8449" y="6"/>
                  <a:pt x="8446" y="6"/>
                  <a:pt x="8444" y="6"/>
                </a:cubicBezTo>
                <a:cubicBezTo>
                  <a:pt x="8442" y="6"/>
                  <a:pt x="8441" y="6"/>
                  <a:pt x="8441" y="6"/>
                </a:cubicBezTo>
                <a:cubicBezTo>
                  <a:pt x="8441" y="5"/>
                  <a:pt x="8441" y="5"/>
                  <a:pt x="8441" y="5"/>
                </a:cubicBezTo>
                <a:cubicBezTo>
                  <a:pt x="8441" y="5"/>
                  <a:pt x="8441" y="5"/>
                  <a:pt x="8440" y="5"/>
                </a:cubicBezTo>
                <a:cubicBezTo>
                  <a:pt x="8436" y="4"/>
                  <a:pt x="8429" y="4"/>
                  <a:pt x="8425" y="4"/>
                </a:cubicBezTo>
                <a:cubicBezTo>
                  <a:pt x="8422" y="4"/>
                  <a:pt x="8415" y="5"/>
                  <a:pt x="8413" y="5"/>
                </a:cubicBezTo>
                <a:cubicBezTo>
                  <a:pt x="8410" y="4"/>
                  <a:pt x="8407" y="5"/>
                  <a:pt x="8407" y="5"/>
                </a:cubicBezTo>
                <a:cubicBezTo>
                  <a:pt x="8405" y="7"/>
                  <a:pt x="8404" y="7"/>
                  <a:pt x="8400" y="6"/>
                </a:cubicBezTo>
                <a:cubicBezTo>
                  <a:pt x="8399" y="6"/>
                  <a:pt x="8397" y="6"/>
                  <a:pt x="8397" y="5"/>
                </a:cubicBezTo>
                <a:cubicBezTo>
                  <a:pt x="8396" y="5"/>
                  <a:pt x="8394" y="4"/>
                  <a:pt x="8393" y="4"/>
                </a:cubicBezTo>
                <a:cubicBezTo>
                  <a:pt x="8390" y="4"/>
                  <a:pt x="8381" y="4"/>
                  <a:pt x="8379" y="3"/>
                </a:cubicBezTo>
                <a:cubicBezTo>
                  <a:pt x="8379" y="3"/>
                  <a:pt x="8379" y="3"/>
                  <a:pt x="8378" y="3"/>
                </a:cubicBezTo>
                <a:cubicBezTo>
                  <a:pt x="8378" y="3"/>
                  <a:pt x="8376" y="3"/>
                  <a:pt x="8374" y="3"/>
                </a:cubicBezTo>
                <a:cubicBezTo>
                  <a:pt x="8371" y="3"/>
                  <a:pt x="8368" y="3"/>
                  <a:pt x="8364" y="4"/>
                </a:cubicBezTo>
                <a:cubicBezTo>
                  <a:pt x="8361" y="4"/>
                  <a:pt x="8357" y="4"/>
                  <a:pt x="8353" y="4"/>
                </a:cubicBezTo>
                <a:cubicBezTo>
                  <a:pt x="8343" y="4"/>
                  <a:pt x="8334" y="4"/>
                  <a:pt x="8325" y="4"/>
                </a:cubicBezTo>
                <a:cubicBezTo>
                  <a:pt x="8306" y="4"/>
                  <a:pt x="8287" y="4"/>
                  <a:pt x="8268" y="4"/>
                </a:cubicBezTo>
                <a:cubicBezTo>
                  <a:pt x="8215" y="4"/>
                  <a:pt x="8163" y="4"/>
                  <a:pt x="8152" y="4"/>
                </a:cubicBezTo>
                <a:cubicBezTo>
                  <a:pt x="8142" y="4"/>
                  <a:pt x="8100" y="4"/>
                  <a:pt x="8059" y="4"/>
                </a:cubicBezTo>
                <a:cubicBezTo>
                  <a:pt x="8018" y="4"/>
                  <a:pt x="7950" y="4"/>
                  <a:pt x="7909" y="4"/>
                </a:cubicBezTo>
                <a:cubicBezTo>
                  <a:pt x="7867" y="4"/>
                  <a:pt x="7758" y="4"/>
                  <a:pt x="7667" y="4"/>
                </a:cubicBezTo>
                <a:cubicBezTo>
                  <a:pt x="7636" y="4"/>
                  <a:pt x="7604" y="4"/>
                  <a:pt x="7573" y="4"/>
                </a:cubicBezTo>
                <a:cubicBezTo>
                  <a:pt x="7557" y="4"/>
                  <a:pt x="7542" y="4"/>
                  <a:pt x="7526" y="4"/>
                </a:cubicBezTo>
                <a:cubicBezTo>
                  <a:pt x="7519" y="4"/>
                  <a:pt x="7511" y="3"/>
                  <a:pt x="7504" y="4"/>
                </a:cubicBezTo>
                <a:cubicBezTo>
                  <a:pt x="7498" y="4"/>
                  <a:pt x="7497" y="5"/>
                  <a:pt x="7492" y="4"/>
                </a:cubicBezTo>
                <a:cubicBezTo>
                  <a:pt x="7487" y="3"/>
                  <a:pt x="7480" y="4"/>
                  <a:pt x="7475" y="4"/>
                </a:cubicBezTo>
                <a:cubicBezTo>
                  <a:pt x="7468" y="4"/>
                  <a:pt x="7462" y="4"/>
                  <a:pt x="7455" y="4"/>
                </a:cubicBezTo>
                <a:cubicBezTo>
                  <a:pt x="7442" y="4"/>
                  <a:pt x="7428" y="4"/>
                  <a:pt x="7415" y="4"/>
                </a:cubicBezTo>
                <a:cubicBezTo>
                  <a:pt x="7401" y="4"/>
                  <a:pt x="7387" y="4"/>
                  <a:pt x="7373" y="4"/>
                </a:cubicBezTo>
                <a:cubicBezTo>
                  <a:pt x="7363" y="4"/>
                  <a:pt x="7348" y="4"/>
                  <a:pt x="7340" y="5"/>
                </a:cubicBezTo>
                <a:cubicBezTo>
                  <a:pt x="7338" y="5"/>
                  <a:pt x="7335" y="5"/>
                  <a:pt x="7332" y="5"/>
                </a:cubicBezTo>
                <a:cubicBezTo>
                  <a:pt x="7324" y="4"/>
                  <a:pt x="7314" y="4"/>
                  <a:pt x="7306" y="4"/>
                </a:cubicBezTo>
                <a:cubicBezTo>
                  <a:pt x="7290" y="4"/>
                  <a:pt x="7251" y="4"/>
                  <a:pt x="7218" y="4"/>
                </a:cubicBezTo>
                <a:cubicBezTo>
                  <a:pt x="7200" y="4"/>
                  <a:pt x="7181" y="5"/>
                  <a:pt x="7163" y="4"/>
                </a:cubicBezTo>
                <a:cubicBezTo>
                  <a:pt x="7160" y="4"/>
                  <a:pt x="7158" y="4"/>
                  <a:pt x="7156" y="4"/>
                </a:cubicBezTo>
                <a:cubicBezTo>
                  <a:pt x="7155" y="4"/>
                  <a:pt x="7154" y="3"/>
                  <a:pt x="7153" y="3"/>
                </a:cubicBezTo>
                <a:cubicBezTo>
                  <a:pt x="7149" y="3"/>
                  <a:pt x="7141" y="3"/>
                  <a:pt x="7136" y="3"/>
                </a:cubicBezTo>
                <a:cubicBezTo>
                  <a:pt x="7132" y="3"/>
                  <a:pt x="7127" y="4"/>
                  <a:pt x="7122" y="4"/>
                </a:cubicBezTo>
                <a:cubicBezTo>
                  <a:pt x="7118" y="4"/>
                  <a:pt x="7114" y="4"/>
                  <a:pt x="7111" y="4"/>
                </a:cubicBezTo>
                <a:cubicBezTo>
                  <a:pt x="7108" y="5"/>
                  <a:pt x="7107" y="5"/>
                  <a:pt x="7104" y="5"/>
                </a:cubicBezTo>
                <a:cubicBezTo>
                  <a:pt x="7100" y="5"/>
                  <a:pt x="7096" y="4"/>
                  <a:pt x="7092" y="4"/>
                </a:cubicBezTo>
                <a:cubicBezTo>
                  <a:pt x="7087" y="4"/>
                  <a:pt x="7084" y="5"/>
                  <a:pt x="7080" y="5"/>
                </a:cubicBezTo>
                <a:cubicBezTo>
                  <a:pt x="7078" y="5"/>
                  <a:pt x="7077" y="5"/>
                  <a:pt x="7075" y="5"/>
                </a:cubicBezTo>
                <a:cubicBezTo>
                  <a:pt x="7068" y="4"/>
                  <a:pt x="7057" y="4"/>
                  <a:pt x="7049" y="4"/>
                </a:cubicBezTo>
                <a:cubicBezTo>
                  <a:pt x="7041" y="4"/>
                  <a:pt x="7033" y="4"/>
                  <a:pt x="7025" y="4"/>
                </a:cubicBezTo>
                <a:cubicBezTo>
                  <a:pt x="7021" y="4"/>
                  <a:pt x="7012" y="5"/>
                  <a:pt x="7009" y="4"/>
                </a:cubicBezTo>
                <a:cubicBezTo>
                  <a:pt x="7006" y="3"/>
                  <a:pt x="7007" y="3"/>
                  <a:pt x="7006" y="3"/>
                </a:cubicBezTo>
                <a:cubicBezTo>
                  <a:pt x="7005" y="2"/>
                  <a:pt x="7004" y="2"/>
                  <a:pt x="7003" y="2"/>
                </a:cubicBezTo>
                <a:cubicBezTo>
                  <a:pt x="6999" y="2"/>
                  <a:pt x="6995" y="1"/>
                  <a:pt x="6991" y="2"/>
                </a:cubicBezTo>
                <a:cubicBezTo>
                  <a:pt x="6990" y="2"/>
                  <a:pt x="6988" y="2"/>
                  <a:pt x="6988" y="2"/>
                </a:cubicBezTo>
                <a:cubicBezTo>
                  <a:pt x="6987" y="3"/>
                  <a:pt x="6989" y="3"/>
                  <a:pt x="6989" y="3"/>
                </a:cubicBezTo>
                <a:cubicBezTo>
                  <a:pt x="6989" y="3"/>
                  <a:pt x="6988" y="4"/>
                  <a:pt x="6986" y="4"/>
                </a:cubicBezTo>
                <a:cubicBezTo>
                  <a:pt x="6980" y="5"/>
                  <a:pt x="6972" y="5"/>
                  <a:pt x="6965" y="5"/>
                </a:cubicBezTo>
                <a:cubicBezTo>
                  <a:pt x="6956" y="4"/>
                  <a:pt x="6948" y="3"/>
                  <a:pt x="6940" y="3"/>
                </a:cubicBezTo>
                <a:cubicBezTo>
                  <a:pt x="6931" y="3"/>
                  <a:pt x="6921" y="2"/>
                  <a:pt x="6912" y="3"/>
                </a:cubicBezTo>
                <a:cubicBezTo>
                  <a:pt x="6905" y="3"/>
                  <a:pt x="6900" y="4"/>
                  <a:pt x="6892" y="3"/>
                </a:cubicBezTo>
                <a:cubicBezTo>
                  <a:pt x="6888" y="3"/>
                  <a:pt x="6884" y="3"/>
                  <a:pt x="6880" y="3"/>
                </a:cubicBezTo>
                <a:cubicBezTo>
                  <a:pt x="6876" y="3"/>
                  <a:pt x="6873" y="3"/>
                  <a:pt x="6869" y="3"/>
                </a:cubicBezTo>
                <a:cubicBezTo>
                  <a:pt x="6865" y="2"/>
                  <a:pt x="6860" y="2"/>
                  <a:pt x="6856" y="2"/>
                </a:cubicBezTo>
                <a:cubicBezTo>
                  <a:pt x="6849" y="2"/>
                  <a:pt x="6842" y="2"/>
                  <a:pt x="6835" y="2"/>
                </a:cubicBezTo>
                <a:cubicBezTo>
                  <a:pt x="6827" y="2"/>
                  <a:pt x="6816" y="1"/>
                  <a:pt x="6808" y="2"/>
                </a:cubicBezTo>
                <a:cubicBezTo>
                  <a:pt x="6803" y="3"/>
                  <a:pt x="6807" y="4"/>
                  <a:pt x="6802" y="4"/>
                </a:cubicBezTo>
                <a:cubicBezTo>
                  <a:pt x="6797" y="5"/>
                  <a:pt x="6790" y="5"/>
                  <a:pt x="6785" y="5"/>
                </a:cubicBezTo>
                <a:cubicBezTo>
                  <a:pt x="6780" y="5"/>
                  <a:pt x="6748" y="3"/>
                  <a:pt x="6747" y="5"/>
                </a:cubicBezTo>
                <a:cubicBezTo>
                  <a:pt x="6747" y="5"/>
                  <a:pt x="6747" y="5"/>
                  <a:pt x="6746" y="5"/>
                </a:cubicBezTo>
                <a:cubicBezTo>
                  <a:pt x="6738" y="5"/>
                  <a:pt x="6731" y="5"/>
                  <a:pt x="6723" y="5"/>
                </a:cubicBezTo>
                <a:cubicBezTo>
                  <a:pt x="6688" y="4"/>
                  <a:pt x="6663" y="3"/>
                  <a:pt x="6625" y="4"/>
                </a:cubicBezTo>
                <a:cubicBezTo>
                  <a:pt x="6612" y="4"/>
                  <a:pt x="6598" y="4"/>
                  <a:pt x="6584" y="4"/>
                </a:cubicBezTo>
                <a:cubicBezTo>
                  <a:pt x="6584" y="4"/>
                  <a:pt x="6584" y="4"/>
                  <a:pt x="6584" y="3"/>
                </a:cubicBezTo>
                <a:cubicBezTo>
                  <a:pt x="6583" y="3"/>
                  <a:pt x="6583" y="3"/>
                  <a:pt x="6582" y="3"/>
                </a:cubicBezTo>
                <a:cubicBezTo>
                  <a:pt x="6580" y="3"/>
                  <a:pt x="6578" y="3"/>
                  <a:pt x="6576" y="3"/>
                </a:cubicBezTo>
                <a:cubicBezTo>
                  <a:pt x="6570" y="4"/>
                  <a:pt x="6567" y="3"/>
                  <a:pt x="6561" y="3"/>
                </a:cubicBezTo>
                <a:cubicBezTo>
                  <a:pt x="6556" y="2"/>
                  <a:pt x="6550" y="2"/>
                  <a:pt x="6547" y="3"/>
                </a:cubicBezTo>
                <a:cubicBezTo>
                  <a:pt x="6546" y="3"/>
                  <a:pt x="6546" y="3"/>
                  <a:pt x="6546" y="3"/>
                </a:cubicBezTo>
                <a:cubicBezTo>
                  <a:pt x="6543" y="4"/>
                  <a:pt x="6532" y="4"/>
                  <a:pt x="6528" y="4"/>
                </a:cubicBezTo>
                <a:cubicBezTo>
                  <a:pt x="6522" y="4"/>
                  <a:pt x="6516" y="4"/>
                  <a:pt x="6510" y="4"/>
                </a:cubicBezTo>
                <a:cubicBezTo>
                  <a:pt x="6490" y="4"/>
                  <a:pt x="6471" y="4"/>
                  <a:pt x="6467" y="4"/>
                </a:cubicBezTo>
                <a:cubicBezTo>
                  <a:pt x="6459" y="4"/>
                  <a:pt x="6452" y="4"/>
                  <a:pt x="6444" y="4"/>
                </a:cubicBezTo>
                <a:cubicBezTo>
                  <a:pt x="6443" y="3"/>
                  <a:pt x="6441" y="3"/>
                  <a:pt x="6441" y="3"/>
                </a:cubicBezTo>
                <a:cubicBezTo>
                  <a:pt x="6439" y="3"/>
                  <a:pt x="6438" y="3"/>
                  <a:pt x="6433" y="3"/>
                </a:cubicBezTo>
                <a:cubicBezTo>
                  <a:pt x="6429" y="3"/>
                  <a:pt x="6424" y="3"/>
                  <a:pt x="6420" y="3"/>
                </a:cubicBezTo>
                <a:cubicBezTo>
                  <a:pt x="6418" y="3"/>
                  <a:pt x="6417" y="3"/>
                  <a:pt x="6416" y="3"/>
                </a:cubicBezTo>
                <a:cubicBezTo>
                  <a:pt x="6414" y="3"/>
                  <a:pt x="6415" y="3"/>
                  <a:pt x="6414" y="3"/>
                </a:cubicBezTo>
                <a:cubicBezTo>
                  <a:pt x="6411" y="4"/>
                  <a:pt x="6405" y="3"/>
                  <a:pt x="6401" y="4"/>
                </a:cubicBezTo>
                <a:cubicBezTo>
                  <a:pt x="6393" y="4"/>
                  <a:pt x="6385" y="4"/>
                  <a:pt x="6377" y="3"/>
                </a:cubicBezTo>
                <a:cubicBezTo>
                  <a:pt x="6369" y="3"/>
                  <a:pt x="6362" y="3"/>
                  <a:pt x="6355" y="4"/>
                </a:cubicBezTo>
                <a:cubicBezTo>
                  <a:pt x="6351" y="4"/>
                  <a:pt x="6348" y="5"/>
                  <a:pt x="6344" y="5"/>
                </a:cubicBezTo>
                <a:cubicBezTo>
                  <a:pt x="6338" y="6"/>
                  <a:pt x="6333" y="5"/>
                  <a:pt x="6328" y="5"/>
                </a:cubicBezTo>
                <a:cubicBezTo>
                  <a:pt x="6313" y="4"/>
                  <a:pt x="6295" y="5"/>
                  <a:pt x="6280" y="5"/>
                </a:cubicBezTo>
                <a:cubicBezTo>
                  <a:pt x="6255" y="5"/>
                  <a:pt x="6229" y="6"/>
                  <a:pt x="6221" y="6"/>
                </a:cubicBezTo>
                <a:cubicBezTo>
                  <a:pt x="6215" y="6"/>
                  <a:pt x="6206" y="6"/>
                  <a:pt x="6202" y="7"/>
                </a:cubicBezTo>
                <a:cubicBezTo>
                  <a:pt x="6201" y="7"/>
                  <a:pt x="6201" y="7"/>
                  <a:pt x="6200" y="7"/>
                </a:cubicBezTo>
                <a:cubicBezTo>
                  <a:pt x="6200" y="7"/>
                  <a:pt x="6199" y="7"/>
                  <a:pt x="6199" y="7"/>
                </a:cubicBezTo>
                <a:cubicBezTo>
                  <a:pt x="6197" y="7"/>
                  <a:pt x="6195" y="7"/>
                  <a:pt x="6193" y="7"/>
                </a:cubicBezTo>
                <a:cubicBezTo>
                  <a:pt x="6192" y="7"/>
                  <a:pt x="6191" y="7"/>
                  <a:pt x="6189" y="6"/>
                </a:cubicBezTo>
                <a:cubicBezTo>
                  <a:pt x="6181" y="5"/>
                  <a:pt x="6168" y="6"/>
                  <a:pt x="6158" y="6"/>
                </a:cubicBezTo>
                <a:cubicBezTo>
                  <a:pt x="6147" y="6"/>
                  <a:pt x="6136" y="6"/>
                  <a:pt x="6124" y="6"/>
                </a:cubicBezTo>
                <a:cubicBezTo>
                  <a:pt x="6111" y="6"/>
                  <a:pt x="6099" y="6"/>
                  <a:pt x="6086" y="5"/>
                </a:cubicBezTo>
                <a:cubicBezTo>
                  <a:pt x="6079" y="5"/>
                  <a:pt x="6073" y="5"/>
                  <a:pt x="6066" y="5"/>
                </a:cubicBezTo>
                <a:cubicBezTo>
                  <a:pt x="6062" y="5"/>
                  <a:pt x="6059" y="6"/>
                  <a:pt x="6055" y="6"/>
                </a:cubicBezTo>
                <a:cubicBezTo>
                  <a:pt x="6054" y="6"/>
                  <a:pt x="6053" y="6"/>
                  <a:pt x="6051" y="6"/>
                </a:cubicBezTo>
                <a:cubicBezTo>
                  <a:pt x="6050" y="6"/>
                  <a:pt x="6049" y="7"/>
                  <a:pt x="6047" y="7"/>
                </a:cubicBezTo>
                <a:cubicBezTo>
                  <a:pt x="6039" y="6"/>
                  <a:pt x="6032" y="5"/>
                  <a:pt x="6024" y="5"/>
                </a:cubicBezTo>
                <a:cubicBezTo>
                  <a:pt x="6015" y="5"/>
                  <a:pt x="6007" y="5"/>
                  <a:pt x="5998" y="5"/>
                </a:cubicBezTo>
                <a:cubicBezTo>
                  <a:pt x="5991" y="5"/>
                  <a:pt x="5984" y="6"/>
                  <a:pt x="5977" y="6"/>
                </a:cubicBezTo>
                <a:cubicBezTo>
                  <a:pt x="5971" y="6"/>
                  <a:pt x="5966" y="6"/>
                  <a:pt x="5962" y="7"/>
                </a:cubicBezTo>
                <a:cubicBezTo>
                  <a:pt x="5960" y="8"/>
                  <a:pt x="5957" y="8"/>
                  <a:pt x="5954" y="8"/>
                </a:cubicBezTo>
                <a:cubicBezTo>
                  <a:pt x="5949" y="8"/>
                  <a:pt x="5943" y="8"/>
                  <a:pt x="5937" y="8"/>
                </a:cubicBezTo>
                <a:cubicBezTo>
                  <a:pt x="5932" y="8"/>
                  <a:pt x="5926" y="8"/>
                  <a:pt x="5920" y="8"/>
                </a:cubicBezTo>
                <a:cubicBezTo>
                  <a:pt x="5918" y="8"/>
                  <a:pt x="5916" y="8"/>
                  <a:pt x="5914" y="8"/>
                </a:cubicBezTo>
                <a:cubicBezTo>
                  <a:pt x="5913" y="9"/>
                  <a:pt x="5913" y="9"/>
                  <a:pt x="5913" y="9"/>
                </a:cubicBezTo>
                <a:cubicBezTo>
                  <a:pt x="5912" y="9"/>
                  <a:pt x="5912" y="9"/>
                  <a:pt x="5911" y="9"/>
                </a:cubicBezTo>
                <a:cubicBezTo>
                  <a:pt x="5909" y="9"/>
                  <a:pt x="5906" y="9"/>
                  <a:pt x="5904" y="8"/>
                </a:cubicBezTo>
                <a:cubicBezTo>
                  <a:pt x="5900" y="8"/>
                  <a:pt x="5895" y="8"/>
                  <a:pt x="5890" y="8"/>
                </a:cubicBezTo>
                <a:cubicBezTo>
                  <a:pt x="5885" y="7"/>
                  <a:pt x="5880" y="7"/>
                  <a:pt x="5876" y="7"/>
                </a:cubicBezTo>
                <a:cubicBezTo>
                  <a:pt x="5875" y="7"/>
                  <a:pt x="5873" y="7"/>
                  <a:pt x="5872" y="7"/>
                </a:cubicBezTo>
                <a:cubicBezTo>
                  <a:pt x="5864" y="7"/>
                  <a:pt x="5855" y="7"/>
                  <a:pt x="5848" y="7"/>
                </a:cubicBezTo>
                <a:cubicBezTo>
                  <a:pt x="5843" y="7"/>
                  <a:pt x="5839" y="7"/>
                  <a:pt x="5834" y="7"/>
                </a:cubicBezTo>
                <a:cubicBezTo>
                  <a:pt x="5829" y="7"/>
                  <a:pt x="5825" y="7"/>
                  <a:pt x="5820" y="6"/>
                </a:cubicBezTo>
                <a:cubicBezTo>
                  <a:pt x="5817" y="6"/>
                  <a:pt x="5815" y="5"/>
                  <a:pt x="5811" y="5"/>
                </a:cubicBezTo>
                <a:cubicBezTo>
                  <a:pt x="5804" y="5"/>
                  <a:pt x="5797" y="5"/>
                  <a:pt x="5790" y="5"/>
                </a:cubicBezTo>
                <a:cubicBezTo>
                  <a:pt x="5771" y="5"/>
                  <a:pt x="5753" y="6"/>
                  <a:pt x="5734" y="6"/>
                </a:cubicBezTo>
                <a:cubicBezTo>
                  <a:pt x="5733" y="6"/>
                  <a:pt x="5732" y="6"/>
                  <a:pt x="5731" y="6"/>
                </a:cubicBezTo>
                <a:cubicBezTo>
                  <a:pt x="5729" y="6"/>
                  <a:pt x="5727" y="5"/>
                  <a:pt x="5726" y="5"/>
                </a:cubicBezTo>
                <a:cubicBezTo>
                  <a:pt x="5723" y="5"/>
                  <a:pt x="5720" y="4"/>
                  <a:pt x="5716" y="4"/>
                </a:cubicBezTo>
                <a:cubicBezTo>
                  <a:pt x="5714" y="4"/>
                  <a:pt x="5710" y="4"/>
                  <a:pt x="5707" y="4"/>
                </a:cubicBezTo>
                <a:cubicBezTo>
                  <a:pt x="5700" y="4"/>
                  <a:pt x="5694" y="4"/>
                  <a:pt x="5687" y="4"/>
                </a:cubicBezTo>
                <a:cubicBezTo>
                  <a:pt x="5680" y="4"/>
                  <a:pt x="5674" y="4"/>
                  <a:pt x="5668" y="4"/>
                </a:cubicBezTo>
                <a:cubicBezTo>
                  <a:pt x="5665" y="4"/>
                  <a:pt x="5663" y="4"/>
                  <a:pt x="5660" y="4"/>
                </a:cubicBezTo>
                <a:cubicBezTo>
                  <a:pt x="5658" y="4"/>
                  <a:pt x="5655" y="4"/>
                  <a:pt x="5653" y="4"/>
                </a:cubicBezTo>
                <a:cubicBezTo>
                  <a:pt x="5650" y="4"/>
                  <a:pt x="5643" y="7"/>
                  <a:pt x="5638" y="6"/>
                </a:cubicBezTo>
                <a:cubicBezTo>
                  <a:pt x="5635" y="5"/>
                  <a:pt x="5640" y="4"/>
                  <a:pt x="5638" y="3"/>
                </a:cubicBezTo>
                <a:cubicBezTo>
                  <a:pt x="5636" y="3"/>
                  <a:pt x="5627" y="3"/>
                  <a:pt x="5625" y="3"/>
                </a:cubicBezTo>
                <a:cubicBezTo>
                  <a:pt x="5624" y="3"/>
                  <a:pt x="5625" y="3"/>
                  <a:pt x="5627" y="3"/>
                </a:cubicBezTo>
                <a:cubicBezTo>
                  <a:pt x="5629" y="3"/>
                  <a:pt x="5631" y="4"/>
                  <a:pt x="5631" y="4"/>
                </a:cubicBezTo>
                <a:cubicBezTo>
                  <a:pt x="5631" y="5"/>
                  <a:pt x="5630" y="5"/>
                  <a:pt x="5630" y="5"/>
                </a:cubicBezTo>
                <a:cubicBezTo>
                  <a:pt x="5626" y="5"/>
                  <a:pt x="5621" y="5"/>
                  <a:pt x="5617" y="5"/>
                </a:cubicBezTo>
                <a:cubicBezTo>
                  <a:pt x="5614" y="5"/>
                  <a:pt x="5612" y="5"/>
                  <a:pt x="5609" y="5"/>
                </a:cubicBezTo>
                <a:cubicBezTo>
                  <a:pt x="5608" y="5"/>
                  <a:pt x="5606" y="5"/>
                  <a:pt x="5603" y="5"/>
                </a:cubicBezTo>
                <a:cubicBezTo>
                  <a:pt x="5603" y="4"/>
                  <a:pt x="5602" y="4"/>
                  <a:pt x="5600" y="4"/>
                </a:cubicBezTo>
                <a:cubicBezTo>
                  <a:pt x="5599" y="4"/>
                  <a:pt x="5598" y="5"/>
                  <a:pt x="5598" y="5"/>
                </a:cubicBezTo>
                <a:cubicBezTo>
                  <a:pt x="5598" y="5"/>
                  <a:pt x="5598" y="5"/>
                  <a:pt x="5598" y="5"/>
                </a:cubicBezTo>
                <a:cubicBezTo>
                  <a:pt x="5600" y="7"/>
                  <a:pt x="5590" y="6"/>
                  <a:pt x="5586" y="6"/>
                </a:cubicBezTo>
                <a:cubicBezTo>
                  <a:pt x="5579" y="6"/>
                  <a:pt x="5570" y="5"/>
                  <a:pt x="5566" y="4"/>
                </a:cubicBezTo>
                <a:cubicBezTo>
                  <a:pt x="5559" y="3"/>
                  <a:pt x="5552" y="3"/>
                  <a:pt x="5545" y="3"/>
                </a:cubicBezTo>
                <a:cubicBezTo>
                  <a:pt x="5539" y="3"/>
                  <a:pt x="5533" y="3"/>
                  <a:pt x="5528" y="3"/>
                </a:cubicBezTo>
                <a:cubicBezTo>
                  <a:pt x="5522" y="3"/>
                  <a:pt x="5517" y="3"/>
                  <a:pt x="5511" y="3"/>
                </a:cubicBezTo>
                <a:cubicBezTo>
                  <a:pt x="5509" y="3"/>
                  <a:pt x="5501" y="3"/>
                  <a:pt x="5501" y="3"/>
                </a:cubicBezTo>
                <a:cubicBezTo>
                  <a:pt x="5500" y="3"/>
                  <a:pt x="5498" y="3"/>
                  <a:pt x="5497" y="3"/>
                </a:cubicBezTo>
                <a:cubicBezTo>
                  <a:pt x="5497" y="4"/>
                  <a:pt x="5497" y="4"/>
                  <a:pt x="5497" y="4"/>
                </a:cubicBezTo>
                <a:cubicBezTo>
                  <a:pt x="5497" y="4"/>
                  <a:pt x="5498" y="4"/>
                  <a:pt x="5498" y="5"/>
                </a:cubicBezTo>
                <a:cubicBezTo>
                  <a:pt x="5497" y="5"/>
                  <a:pt x="5489" y="5"/>
                  <a:pt x="5489" y="5"/>
                </a:cubicBezTo>
                <a:cubicBezTo>
                  <a:pt x="5489" y="4"/>
                  <a:pt x="5491" y="4"/>
                  <a:pt x="5491" y="4"/>
                </a:cubicBezTo>
                <a:cubicBezTo>
                  <a:pt x="5491" y="3"/>
                  <a:pt x="5480" y="3"/>
                  <a:pt x="5478" y="3"/>
                </a:cubicBezTo>
                <a:cubicBezTo>
                  <a:pt x="5474" y="3"/>
                  <a:pt x="5471" y="3"/>
                  <a:pt x="5467" y="3"/>
                </a:cubicBezTo>
                <a:cubicBezTo>
                  <a:pt x="5466" y="3"/>
                  <a:pt x="5465" y="3"/>
                  <a:pt x="5464" y="3"/>
                </a:cubicBezTo>
                <a:cubicBezTo>
                  <a:pt x="5463" y="3"/>
                  <a:pt x="5461" y="3"/>
                  <a:pt x="5460" y="3"/>
                </a:cubicBezTo>
                <a:cubicBezTo>
                  <a:pt x="5458" y="3"/>
                  <a:pt x="5456" y="3"/>
                  <a:pt x="5455" y="3"/>
                </a:cubicBezTo>
                <a:cubicBezTo>
                  <a:pt x="5454" y="3"/>
                  <a:pt x="5453" y="3"/>
                  <a:pt x="5453" y="3"/>
                </a:cubicBezTo>
                <a:cubicBezTo>
                  <a:pt x="5449" y="4"/>
                  <a:pt x="5461" y="5"/>
                  <a:pt x="5463" y="5"/>
                </a:cubicBezTo>
                <a:cubicBezTo>
                  <a:pt x="5465" y="4"/>
                  <a:pt x="5469" y="4"/>
                  <a:pt x="5469" y="5"/>
                </a:cubicBezTo>
                <a:cubicBezTo>
                  <a:pt x="5469" y="6"/>
                  <a:pt x="5468" y="6"/>
                  <a:pt x="5464" y="6"/>
                </a:cubicBezTo>
                <a:cubicBezTo>
                  <a:pt x="5459" y="6"/>
                  <a:pt x="5455" y="6"/>
                  <a:pt x="5450" y="6"/>
                </a:cubicBezTo>
                <a:cubicBezTo>
                  <a:pt x="5441" y="6"/>
                  <a:pt x="5432" y="6"/>
                  <a:pt x="5423" y="6"/>
                </a:cubicBezTo>
                <a:cubicBezTo>
                  <a:pt x="5412" y="6"/>
                  <a:pt x="5402" y="6"/>
                  <a:pt x="5391" y="5"/>
                </a:cubicBezTo>
                <a:cubicBezTo>
                  <a:pt x="5387" y="5"/>
                  <a:pt x="5383" y="5"/>
                  <a:pt x="5379" y="5"/>
                </a:cubicBezTo>
                <a:cubicBezTo>
                  <a:pt x="5376" y="5"/>
                  <a:pt x="5373" y="5"/>
                  <a:pt x="5370" y="5"/>
                </a:cubicBezTo>
                <a:cubicBezTo>
                  <a:pt x="5371" y="5"/>
                  <a:pt x="5371" y="5"/>
                  <a:pt x="5371" y="5"/>
                </a:cubicBezTo>
                <a:cubicBezTo>
                  <a:pt x="5369" y="5"/>
                  <a:pt x="5368" y="5"/>
                  <a:pt x="5366" y="5"/>
                </a:cubicBezTo>
                <a:cubicBezTo>
                  <a:pt x="5364" y="4"/>
                  <a:pt x="5372" y="4"/>
                  <a:pt x="5373" y="3"/>
                </a:cubicBezTo>
                <a:cubicBezTo>
                  <a:pt x="5375" y="3"/>
                  <a:pt x="5371" y="3"/>
                  <a:pt x="5368" y="3"/>
                </a:cubicBezTo>
                <a:cubicBezTo>
                  <a:pt x="5366" y="3"/>
                  <a:pt x="5366" y="4"/>
                  <a:pt x="5363" y="4"/>
                </a:cubicBezTo>
                <a:cubicBezTo>
                  <a:pt x="5360" y="4"/>
                  <a:pt x="5359" y="3"/>
                  <a:pt x="5358" y="3"/>
                </a:cubicBezTo>
                <a:cubicBezTo>
                  <a:pt x="5355" y="3"/>
                  <a:pt x="5352" y="3"/>
                  <a:pt x="5349" y="3"/>
                </a:cubicBezTo>
                <a:cubicBezTo>
                  <a:pt x="5343" y="3"/>
                  <a:pt x="5337" y="3"/>
                  <a:pt x="5331" y="3"/>
                </a:cubicBezTo>
                <a:cubicBezTo>
                  <a:pt x="5318" y="3"/>
                  <a:pt x="5307" y="3"/>
                  <a:pt x="5305" y="3"/>
                </a:cubicBezTo>
                <a:cubicBezTo>
                  <a:pt x="5300" y="3"/>
                  <a:pt x="5291" y="3"/>
                  <a:pt x="5287" y="2"/>
                </a:cubicBezTo>
                <a:cubicBezTo>
                  <a:pt x="5285" y="2"/>
                  <a:pt x="5283" y="2"/>
                  <a:pt x="5281" y="3"/>
                </a:cubicBezTo>
                <a:cubicBezTo>
                  <a:pt x="5281" y="3"/>
                  <a:pt x="5281" y="3"/>
                  <a:pt x="5281" y="3"/>
                </a:cubicBezTo>
                <a:cubicBezTo>
                  <a:pt x="5281" y="4"/>
                  <a:pt x="5281" y="4"/>
                  <a:pt x="5279" y="4"/>
                </a:cubicBezTo>
                <a:cubicBezTo>
                  <a:pt x="5276" y="4"/>
                  <a:pt x="5273" y="3"/>
                  <a:pt x="5271" y="3"/>
                </a:cubicBezTo>
                <a:cubicBezTo>
                  <a:pt x="5268" y="3"/>
                  <a:pt x="5265" y="3"/>
                  <a:pt x="5262" y="3"/>
                </a:cubicBezTo>
                <a:cubicBezTo>
                  <a:pt x="5256" y="3"/>
                  <a:pt x="5250" y="3"/>
                  <a:pt x="5243" y="3"/>
                </a:cubicBezTo>
                <a:cubicBezTo>
                  <a:pt x="5241" y="3"/>
                  <a:pt x="5239" y="3"/>
                  <a:pt x="5236" y="3"/>
                </a:cubicBezTo>
                <a:cubicBezTo>
                  <a:pt x="5236" y="3"/>
                  <a:pt x="5236" y="3"/>
                  <a:pt x="5236" y="4"/>
                </a:cubicBezTo>
                <a:cubicBezTo>
                  <a:pt x="5223" y="4"/>
                  <a:pt x="5211" y="3"/>
                  <a:pt x="5199" y="3"/>
                </a:cubicBezTo>
                <a:cubicBezTo>
                  <a:pt x="5191" y="3"/>
                  <a:pt x="5184" y="3"/>
                  <a:pt x="5177" y="3"/>
                </a:cubicBezTo>
                <a:cubicBezTo>
                  <a:pt x="5175" y="3"/>
                  <a:pt x="5173" y="3"/>
                  <a:pt x="5170" y="3"/>
                </a:cubicBezTo>
                <a:cubicBezTo>
                  <a:pt x="5169" y="3"/>
                  <a:pt x="5162" y="4"/>
                  <a:pt x="5164" y="3"/>
                </a:cubicBezTo>
                <a:cubicBezTo>
                  <a:pt x="5165" y="3"/>
                  <a:pt x="5173" y="3"/>
                  <a:pt x="5172" y="2"/>
                </a:cubicBezTo>
                <a:cubicBezTo>
                  <a:pt x="5172" y="1"/>
                  <a:pt x="5166" y="2"/>
                  <a:pt x="5165" y="2"/>
                </a:cubicBezTo>
                <a:cubicBezTo>
                  <a:pt x="5163" y="3"/>
                  <a:pt x="5159" y="3"/>
                  <a:pt x="5157" y="3"/>
                </a:cubicBezTo>
                <a:cubicBezTo>
                  <a:pt x="5155" y="3"/>
                  <a:pt x="5153" y="3"/>
                  <a:pt x="5153" y="3"/>
                </a:cubicBezTo>
                <a:cubicBezTo>
                  <a:pt x="5153" y="3"/>
                  <a:pt x="5153" y="3"/>
                  <a:pt x="5152" y="3"/>
                </a:cubicBezTo>
                <a:cubicBezTo>
                  <a:pt x="5145" y="2"/>
                  <a:pt x="5136" y="2"/>
                  <a:pt x="5129" y="2"/>
                </a:cubicBezTo>
                <a:cubicBezTo>
                  <a:pt x="5115" y="1"/>
                  <a:pt x="5101" y="2"/>
                  <a:pt x="5087" y="2"/>
                </a:cubicBezTo>
                <a:cubicBezTo>
                  <a:pt x="5080" y="2"/>
                  <a:pt x="5073" y="3"/>
                  <a:pt x="5066" y="3"/>
                </a:cubicBezTo>
                <a:cubicBezTo>
                  <a:pt x="5060" y="3"/>
                  <a:pt x="5053" y="3"/>
                  <a:pt x="5047" y="3"/>
                </a:cubicBezTo>
                <a:cubicBezTo>
                  <a:pt x="5046" y="3"/>
                  <a:pt x="5046" y="3"/>
                  <a:pt x="5045" y="3"/>
                </a:cubicBezTo>
                <a:cubicBezTo>
                  <a:pt x="5045" y="3"/>
                  <a:pt x="5044" y="3"/>
                  <a:pt x="5044" y="3"/>
                </a:cubicBezTo>
                <a:cubicBezTo>
                  <a:pt x="5041" y="3"/>
                  <a:pt x="5038" y="3"/>
                  <a:pt x="5035" y="3"/>
                </a:cubicBezTo>
                <a:cubicBezTo>
                  <a:pt x="5034" y="3"/>
                  <a:pt x="5031" y="3"/>
                  <a:pt x="5031" y="3"/>
                </a:cubicBezTo>
                <a:cubicBezTo>
                  <a:pt x="5030" y="4"/>
                  <a:pt x="5031" y="4"/>
                  <a:pt x="5028" y="4"/>
                </a:cubicBezTo>
                <a:cubicBezTo>
                  <a:pt x="5025" y="5"/>
                  <a:pt x="5021" y="4"/>
                  <a:pt x="5019" y="4"/>
                </a:cubicBezTo>
                <a:cubicBezTo>
                  <a:pt x="5016" y="4"/>
                  <a:pt x="5012" y="3"/>
                  <a:pt x="5007" y="4"/>
                </a:cubicBezTo>
                <a:cubicBezTo>
                  <a:pt x="5005" y="4"/>
                  <a:pt x="5002" y="5"/>
                  <a:pt x="4998" y="5"/>
                </a:cubicBezTo>
                <a:cubicBezTo>
                  <a:pt x="4995" y="5"/>
                  <a:pt x="4990" y="5"/>
                  <a:pt x="4987" y="5"/>
                </a:cubicBezTo>
                <a:cubicBezTo>
                  <a:pt x="4978" y="5"/>
                  <a:pt x="4964" y="5"/>
                  <a:pt x="4956" y="4"/>
                </a:cubicBezTo>
                <a:cubicBezTo>
                  <a:pt x="4953" y="4"/>
                  <a:pt x="4950" y="4"/>
                  <a:pt x="4946" y="3"/>
                </a:cubicBezTo>
                <a:cubicBezTo>
                  <a:pt x="4944" y="3"/>
                  <a:pt x="4942" y="3"/>
                  <a:pt x="4938" y="4"/>
                </a:cubicBezTo>
                <a:cubicBezTo>
                  <a:pt x="4937" y="4"/>
                  <a:pt x="4936" y="4"/>
                  <a:pt x="4935" y="3"/>
                </a:cubicBezTo>
                <a:cubicBezTo>
                  <a:pt x="4929" y="3"/>
                  <a:pt x="4925" y="4"/>
                  <a:pt x="4922" y="5"/>
                </a:cubicBezTo>
                <a:cubicBezTo>
                  <a:pt x="4921" y="5"/>
                  <a:pt x="4917" y="5"/>
                  <a:pt x="4916" y="5"/>
                </a:cubicBezTo>
                <a:cubicBezTo>
                  <a:pt x="4914" y="5"/>
                  <a:pt x="4913" y="4"/>
                  <a:pt x="4911" y="4"/>
                </a:cubicBezTo>
                <a:cubicBezTo>
                  <a:pt x="4908" y="3"/>
                  <a:pt x="4905" y="3"/>
                  <a:pt x="4901" y="3"/>
                </a:cubicBezTo>
                <a:cubicBezTo>
                  <a:pt x="4900" y="3"/>
                  <a:pt x="4899" y="3"/>
                  <a:pt x="4897" y="3"/>
                </a:cubicBezTo>
                <a:cubicBezTo>
                  <a:pt x="4895" y="3"/>
                  <a:pt x="4896" y="3"/>
                  <a:pt x="4894" y="3"/>
                </a:cubicBezTo>
                <a:cubicBezTo>
                  <a:pt x="4893" y="3"/>
                  <a:pt x="4892" y="3"/>
                  <a:pt x="4891" y="3"/>
                </a:cubicBezTo>
                <a:cubicBezTo>
                  <a:pt x="4891" y="3"/>
                  <a:pt x="4890" y="3"/>
                  <a:pt x="4888" y="3"/>
                </a:cubicBezTo>
                <a:cubicBezTo>
                  <a:pt x="4886" y="3"/>
                  <a:pt x="4885" y="3"/>
                  <a:pt x="4884" y="4"/>
                </a:cubicBezTo>
                <a:cubicBezTo>
                  <a:pt x="4883" y="4"/>
                  <a:pt x="4883" y="5"/>
                  <a:pt x="4884" y="5"/>
                </a:cubicBezTo>
                <a:cubicBezTo>
                  <a:pt x="4882" y="5"/>
                  <a:pt x="4880" y="5"/>
                  <a:pt x="4878" y="5"/>
                </a:cubicBezTo>
                <a:cubicBezTo>
                  <a:pt x="4875" y="5"/>
                  <a:pt x="4872" y="5"/>
                  <a:pt x="4870" y="5"/>
                </a:cubicBezTo>
                <a:cubicBezTo>
                  <a:pt x="4860" y="5"/>
                  <a:pt x="4850" y="4"/>
                  <a:pt x="4840" y="4"/>
                </a:cubicBezTo>
                <a:cubicBezTo>
                  <a:pt x="4836" y="4"/>
                  <a:pt x="4832" y="4"/>
                  <a:pt x="4828" y="3"/>
                </a:cubicBezTo>
                <a:cubicBezTo>
                  <a:pt x="4825" y="3"/>
                  <a:pt x="4821" y="3"/>
                  <a:pt x="4819" y="3"/>
                </a:cubicBezTo>
                <a:cubicBezTo>
                  <a:pt x="4815" y="3"/>
                  <a:pt x="4812" y="3"/>
                  <a:pt x="4807" y="3"/>
                </a:cubicBezTo>
                <a:cubicBezTo>
                  <a:pt x="4803" y="3"/>
                  <a:pt x="4798" y="3"/>
                  <a:pt x="4795" y="3"/>
                </a:cubicBezTo>
                <a:cubicBezTo>
                  <a:pt x="4793" y="3"/>
                  <a:pt x="4792" y="3"/>
                  <a:pt x="4791" y="4"/>
                </a:cubicBezTo>
                <a:cubicBezTo>
                  <a:pt x="4790" y="4"/>
                  <a:pt x="4790" y="4"/>
                  <a:pt x="4789" y="4"/>
                </a:cubicBezTo>
                <a:cubicBezTo>
                  <a:pt x="4788" y="5"/>
                  <a:pt x="4786" y="5"/>
                  <a:pt x="4784" y="5"/>
                </a:cubicBezTo>
                <a:cubicBezTo>
                  <a:pt x="4772" y="5"/>
                  <a:pt x="4761" y="2"/>
                  <a:pt x="4749" y="3"/>
                </a:cubicBezTo>
                <a:cubicBezTo>
                  <a:pt x="4748" y="3"/>
                  <a:pt x="4747" y="3"/>
                  <a:pt x="4745" y="3"/>
                </a:cubicBezTo>
                <a:cubicBezTo>
                  <a:pt x="4741" y="4"/>
                  <a:pt x="4736" y="4"/>
                  <a:pt x="4730" y="4"/>
                </a:cubicBezTo>
                <a:cubicBezTo>
                  <a:pt x="4727" y="4"/>
                  <a:pt x="4724" y="4"/>
                  <a:pt x="4720" y="4"/>
                </a:cubicBezTo>
                <a:cubicBezTo>
                  <a:pt x="4718" y="4"/>
                  <a:pt x="4717" y="5"/>
                  <a:pt x="4715" y="5"/>
                </a:cubicBezTo>
                <a:cubicBezTo>
                  <a:pt x="4713" y="5"/>
                  <a:pt x="4712" y="6"/>
                  <a:pt x="4709" y="6"/>
                </a:cubicBezTo>
                <a:cubicBezTo>
                  <a:pt x="4705" y="6"/>
                  <a:pt x="4701" y="6"/>
                  <a:pt x="4697" y="6"/>
                </a:cubicBezTo>
                <a:cubicBezTo>
                  <a:pt x="4695" y="5"/>
                  <a:pt x="4693" y="5"/>
                  <a:pt x="4690" y="5"/>
                </a:cubicBezTo>
                <a:cubicBezTo>
                  <a:pt x="4687" y="4"/>
                  <a:pt x="4681" y="4"/>
                  <a:pt x="4677" y="4"/>
                </a:cubicBezTo>
                <a:cubicBezTo>
                  <a:pt x="4672" y="4"/>
                  <a:pt x="4668" y="4"/>
                  <a:pt x="4663" y="4"/>
                </a:cubicBezTo>
                <a:cubicBezTo>
                  <a:pt x="4658" y="4"/>
                  <a:pt x="4653" y="4"/>
                  <a:pt x="4648" y="4"/>
                </a:cubicBezTo>
                <a:cubicBezTo>
                  <a:pt x="4645" y="4"/>
                  <a:pt x="4641" y="4"/>
                  <a:pt x="4638" y="4"/>
                </a:cubicBezTo>
                <a:cubicBezTo>
                  <a:pt x="4634" y="5"/>
                  <a:pt x="4635" y="7"/>
                  <a:pt x="4630" y="7"/>
                </a:cubicBezTo>
                <a:cubicBezTo>
                  <a:pt x="4625" y="7"/>
                  <a:pt x="4620" y="6"/>
                  <a:pt x="4616" y="6"/>
                </a:cubicBezTo>
                <a:cubicBezTo>
                  <a:pt x="4611" y="6"/>
                  <a:pt x="4605" y="6"/>
                  <a:pt x="4600" y="6"/>
                </a:cubicBezTo>
                <a:cubicBezTo>
                  <a:pt x="4593" y="6"/>
                  <a:pt x="4586" y="6"/>
                  <a:pt x="4579" y="6"/>
                </a:cubicBezTo>
                <a:cubicBezTo>
                  <a:pt x="4563" y="6"/>
                  <a:pt x="4547" y="6"/>
                  <a:pt x="4531" y="6"/>
                </a:cubicBezTo>
                <a:cubicBezTo>
                  <a:pt x="4527" y="6"/>
                  <a:pt x="4522" y="6"/>
                  <a:pt x="4518" y="6"/>
                </a:cubicBezTo>
                <a:cubicBezTo>
                  <a:pt x="4514" y="6"/>
                  <a:pt x="4511" y="5"/>
                  <a:pt x="4507" y="5"/>
                </a:cubicBezTo>
                <a:cubicBezTo>
                  <a:pt x="4506" y="5"/>
                  <a:pt x="4505" y="5"/>
                  <a:pt x="4504" y="5"/>
                </a:cubicBezTo>
                <a:cubicBezTo>
                  <a:pt x="4503" y="5"/>
                  <a:pt x="4503" y="5"/>
                  <a:pt x="4503" y="5"/>
                </a:cubicBezTo>
                <a:cubicBezTo>
                  <a:pt x="4500" y="6"/>
                  <a:pt x="4496" y="6"/>
                  <a:pt x="4493" y="6"/>
                </a:cubicBezTo>
                <a:cubicBezTo>
                  <a:pt x="4490" y="6"/>
                  <a:pt x="4486" y="6"/>
                  <a:pt x="4482" y="6"/>
                </a:cubicBezTo>
                <a:cubicBezTo>
                  <a:pt x="4476" y="6"/>
                  <a:pt x="4469" y="6"/>
                  <a:pt x="4463" y="6"/>
                </a:cubicBezTo>
                <a:cubicBezTo>
                  <a:pt x="4460" y="6"/>
                  <a:pt x="4453" y="7"/>
                  <a:pt x="4450" y="6"/>
                </a:cubicBezTo>
                <a:cubicBezTo>
                  <a:pt x="4449" y="6"/>
                  <a:pt x="4449" y="5"/>
                  <a:pt x="4448" y="5"/>
                </a:cubicBezTo>
                <a:cubicBezTo>
                  <a:pt x="4446" y="5"/>
                  <a:pt x="4445" y="5"/>
                  <a:pt x="4443" y="5"/>
                </a:cubicBezTo>
                <a:cubicBezTo>
                  <a:pt x="4443" y="5"/>
                  <a:pt x="4444" y="6"/>
                  <a:pt x="4444" y="6"/>
                </a:cubicBezTo>
                <a:cubicBezTo>
                  <a:pt x="4449" y="7"/>
                  <a:pt x="4438" y="9"/>
                  <a:pt x="4434" y="8"/>
                </a:cubicBezTo>
                <a:cubicBezTo>
                  <a:pt x="4431" y="8"/>
                  <a:pt x="4432" y="7"/>
                  <a:pt x="4430" y="6"/>
                </a:cubicBezTo>
                <a:cubicBezTo>
                  <a:pt x="4428" y="6"/>
                  <a:pt x="4426" y="6"/>
                  <a:pt x="4424" y="6"/>
                </a:cubicBezTo>
                <a:cubicBezTo>
                  <a:pt x="4420" y="6"/>
                  <a:pt x="4417" y="6"/>
                  <a:pt x="4414" y="6"/>
                </a:cubicBezTo>
                <a:cubicBezTo>
                  <a:pt x="4411" y="6"/>
                  <a:pt x="4406" y="5"/>
                  <a:pt x="4403" y="5"/>
                </a:cubicBezTo>
                <a:cubicBezTo>
                  <a:pt x="4402" y="5"/>
                  <a:pt x="4402" y="6"/>
                  <a:pt x="4401" y="6"/>
                </a:cubicBezTo>
                <a:cubicBezTo>
                  <a:pt x="4397" y="7"/>
                  <a:pt x="4396" y="6"/>
                  <a:pt x="4393" y="6"/>
                </a:cubicBezTo>
                <a:cubicBezTo>
                  <a:pt x="4390" y="5"/>
                  <a:pt x="4386" y="6"/>
                  <a:pt x="4384" y="7"/>
                </a:cubicBezTo>
                <a:cubicBezTo>
                  <a:pt x="4381" y="7"/>
                  <a:pt x="4380" y="7"/>
                  <a:pt x="4377" y="7"/>
                </a:cubicBezTo>
                <a:cubicBezTo>
                  <a:pt x="4377" y="7"/>
                  <a:pt x="4376" y="7"/>
                  <a:pt x="4375" y="7"/>
                </a:cubicBezTo>
                <a:cubicBezTo>
                  <a:pt x="4374" y="7"/>
                  <a:pt x="4373" y="7"/>
                  <a:pt x="4372" y="6"/>
                </a:cubicBezTo>
                <a:cubicBezTo>
                  <a:pt x="4368" y="6"/>
                  <a:pt x="4360" y="6"/>
                  <a:pt x="4356" y="6"/>
                </a:cubicBezTo>
                <a:cubicBezTo>
                  <a:pt x="4296" y="6"/>
                  <a:pt x="4270" y="7"/>
                  <a:pt x="4267" y="7"/>
                </a:cubicBezTo>
                <a:cubicBezTo>
                  <a:pt x="4266" y="7"/>
                  <a:pt x="4234" y="7"/>
                  <a:pt x="4227" y="7"/>
                </a:cubicBezTo>
                <a:cubicBezTo>
                  <a:pt x="4224" y="7"/>
                  <a:pt x="4219" y="6"/>
                  <a:pt x="4216" y="6"/>
                </a:cubicBezTo>
                <a:cubicBezTo>
                  <a:pt x="4213" y="5"/>
                  <a:pt x="4211" y="5"/>
                  <a:pt x="4208" y="5"/>
                </a:cubicBezTo>
                <a:cubicBezTo>
                  <a:pt x="4205" y="5"/>
                  <a:pt x="4203" y="5"/>
                  <a:pt x="4200" y="5"/>
                </a:cubicBezTo>
                <a:cubicBezTo>
                  <a:pt x="4199" y="5"/>
                  <a:pt x="4197" y="5"/>
                  <a:pt x="4196" y="5"/>
                </a:cubicBezTo>
                <a:cubicBezTo>
                  <a:pt x="4195" y="4"/>
                  <a:pt x="4197" y="4"/>
                  <a:pt x="4195" y="4"/>
                </a:cubicBezTo>
                <a:cubicBezTo>
                  <a:pt x="4194" y="3"/>
                  <a:pt x="4190" y="3"/>
                  <a:pt x="4187" y="3"/>
                </a:cubicBezTo>
                <a:cubicBezTo>
                  <a:pt x="4184" y="3"/>
                  <a:pt x="4179" y="4"/>
                  <a:pt x="4176" y="4"/>
                </a:cubicBezTo>
                <a:cubicBezTo>
                  <a:pt x="4171" y="4"/>
                  <a:pt x="4165" y="5"/>
                  <a:pt x="4158" y="4"/>
                </a:cubicBezTo>
                <a:cubicBezTo>
                  <a:pt x="4158" y="4"/>
                  <a:pt x="4157" y="3"/>
                  <a:pt x="4156" y="3"/>
                </a:cubicBezTo>
                <a:cubicBezTo>
                  <a:pt x="4152" y="3"/>
                  <a:pt x="4151" y="4"/>
                  <a:pt x="4149" y="4"/>
                </a:cubicBezTo>
                <a:cubicBezTo>
                  <a:pt x="4147" y="5"/>
                  <a:pt x="4143" y="5"/>
                  <a:pt x="4140" y="5"/>
                </a:cubicBezTo>
                <a:cubicBezTo>
                  <a:pt x="4134" y="5"/>
                  <a:pt x="4128" y="5"/>
                  <a:pt x="4122" y="5"/>
                </a:cubicBezTo>
                <a:cubicBezTo>
                  <a:pt x="4104" y="5"/>
                  <a:pt x="4086" y="5"/>
                  <a:pt x="4080" y="5"/>
                </a:cubicBezTo>
                <a:cubicBezTo>
                  <a:pt x="4075" y="5"/>
                  <a:pt x="4068" y="5"/>
                  <a:pt x="4064" y="6"/>
                </a:cubicBezTo>
                <a:cubicBezTo>
                  <a:pt x="4061" y="6"/>
                  <a:pt x="4058" y="6"/>
                  <a:pt x="4056" y="6"/>
                </a:cubicBezTo>
                <a:cubicBezTo>
                  <a:pt x="4054" y="7"/>
                  <a:pt x="4053" y="7"/>
                  <a:pt x="4051" y="7"/>
                </a:cubicBezTo>
                <a:cubicBezTo>
                  <a:pt x="4046" y="8"/>
                  <a:pt x="4039" y="7"/>
                  <a:pt x="4034" y="7"/>
                </a:cubicBezTo>
                <a:cubicBezTo>
                  <a:pt x="4031" y="7"/>
                  <a:pt x="4027" y="6"/>
                  <a:pt x="4023" y="6"/>
                </a:cubicBezTo>
                <a:cubicBezTo>
                  <a:pt x="4020" y="6"/>
                  <a:pt x="4018" y="6"/>
                  <a:pt x="4015" y="6"/>
                </a:cubicBezTo>
                <a:cubicBezTo>
                  <a:pt x="4006" y="6"/>
                  <a:pt x="3998" y="6"/>
                  <a:pt x="3989" y="6"/>
                </a:cubicBezTo>
                <a:cubicBezTo>
                  <a:pt x="3971" y="7"/>
                  <a:pt x="3946" y="7"/>
                  <a:pt x="3918" y="7"/>
                </a:cubicBezTo>
                <a:cubicBezTo>
                  <a:pt x="3864" y="7"/>
                  <a:pt x="3806" y="7"/>
                  <a:pt x="3791" y="7"/>
                </a:cubicBezTo>
                <a:cubicBezTo>
                  <a:pt x="3785" y="7"/>
                  <a:pt x="3779" y="7"/>
                  <a:pt x="3773" y="7"/>
                </a:cubicBezTo>
                <a:cubicBezTo>
                  <a:pt x="3769" y="7"/>
                  <a:pt x="3763" y="7"/>
                  <a:pt x="3760" y="8"/>
                </a:cubicBezTo>
                <a:cubicBezTo>
                  <a:pt x="3758" y="8"/>
                  <a:pt x="3757" y="8"/>
                  <a:pt x="3756" y="8"/>
                </a:cubicBezTo>
                <a:cubicBezTo>
                  <a:pt x="3755" y="8"/>
                  <a:pt x="3754" y="8"/>
                  <a:pt x="3752" y="8"/>
                </a:cubicBezTo>
                <a:cubicBezTo>
                  <a:pt x="3752" y="8"/>
                  <a:pt x="3751" y="8"/>
                  <a:pt x="3751" y="8"/>
                </a:cubicBezTo>
                <a:cubicBezTo>
                  <a:pt x="3746" y="8"/>
                  <a:pt x="3741" y="8"/>
                  <a:pt x="3737" y="8"/>
                </a:cubicBezTo>
                <a:cubicBezTo>
                  <a:pt x="3732" y="8"/>
                  <a:pt x="3728" y="8"/>
                  <a:pt x="3723" y="8"/>
                </a:cubicBezTo>
                <a:cubicBezTo>
                  <a:pt x="3718" y="8"/>
                  <a:pt x="3713" y="7"/>
                  <a:pt x="3708" y="8"/>
                </a:cubicBezTo>
                <a:cubicBezTo>
                  <a:pt x="3708" y="8"/>
                  <a:pt x="3707" y="8"/>
                  <a:pt x="3706" y="8"/>
                </a:cubicBezTo>
                <a:cubicBezTo>
                  <a:pt x="3700" y="9"/>
                  <a:pt x="3695" y="9"/>
                  <a:pt x="3687" y="9"/>
                </a:cubicBezTo>
                <a:cubicBezTo>
                  <a:pt x="3687" y="9"/>
                  <a:pt x="3686" y="9"/>
                  <a:pt x="3686" y="9"/>
                </a:cubicBezTo>
                <a:cubicBezTo>
                  <a:pt x="3684" y="8"/>
                  <a:pt x="3685" y="8"/>
                  <a:pt x="3685" y="7"/>
                </a:cubicBezTo>
                <a:cubicBezTo>
                  <a:pt x="3680" y="6"/>
                  <a:pt x="3672" y="7"/>
                  <a:pt x="3666" y="7"/>
                </a:cubicBezTo>
                <a:cubicBezTo>
                  <a:pt x="3659" y="7"/>
                  <a:pt x="3652" y="8"/>
                  <a:pt x="3644" y="8"/>
                </a:cubicBezTo>
                <a:cubicBezTo>
                  <a:pt x="3637" y="7"/>
                  <a:pt x="3630" y="7"/>
                  <a:pt x="3622" y="7"/>
                </a:cubicBezTo>
                <a:cubicBezTo>
                  <a:pt x="3617" y="7"/>
                  <a:pt x="3598" y="7"/>
                  <a:pt x="3579" y="7"/>
                </a:cubicBezTo>
                <a:cubicBezTo>
                  <a:pt x="3573" y="7"/>
                  <a:pt x="3566" y="7"/>
                  <a:pt x="3560" y="7"/>
                </a:cubicBezTo>
                <a:cubicBezTo>
                  <a:pt x="3555" y="8"/>
                  <a:pt x="3549" y="8"/>
                  <a:pt x="3545" y="8"/>
                </a:cubicBezTo>
                <a:cubicBezTo>
                  <a:pt x="3543" y="8"/>
                  <a:pt x="3541" y="9"/>
                  <a:pt x="3539" y="9"/>
                </a:cubicBezTo>
                <a:cubicBezTo>
                  <a:pt x="3536" y="9"/>
                  <a:pt x="3532" y="8"/>
                  <a:pt x="3529" y="8"/>
                </a:cubicBezTo>
                <a:cubicBezTo>
                  <a:pt x="3520" y="7"/>
                  <a:pt x="3510" y="8"/>
                  <a:pt x="3501" y="7"/>
                </a:cubicBezTo>
                <a:cubicBezTo>
                  <a:pt x="3491" y="7"/>
                  <a:pt x="3481" y="7"/>
                  <a:pt x="3471" y="7"/>
                </a:cubicBezTo>
                <a:cubicBezTo>
                  <a:pt x="3460" y="7"/>
                  <a:pt x="3449" y="7"/>
                  <a:pt x="3438" y="7"/>
                </a:cubicBezTo>
                <a:cubicBezTo>
                  <a:pt x="3433" y="7"/>
                  <a:pt x="3429" y="7"/>
                  <a:pt x="3424" y="7"/>
                </a:cubicBezTo>
                <a:cubicBezTo>
                  <a:pt x="3419" y="8"/>
                  <a:pt x="3415" y="7"/>
                  <a:pt x="3410" y="8"/>
                </a:cubicBezTo>
                <a:cubicBezTo>
                  <a:pt x="3404" y="8"/>
                  <a:pt x="3399" y="9"/>
                  <a:pt x="3393" y="9"/>
                </a:cubicBezTo>
                <a:cubicBezTo>
                  <a:pt x="3385" y="9"/>
                  <a:pt x="3377" y="9"/>
                  <a:pt x="3369" y="8"/>
                </a:cubicBezTo>
                <a:cubicBezTo>
                  <a:pt x="3361" y="8"/>
                  <a:pt x="3353" y="8"/>
                  <a:pt x="3345" y="8"/>
                </a:cubicBezTo>
                <a:cubicBezTo>
                  <a:pt x="3326" y="8"/>
                  <a:pt x="3308" y="8"/>
                  <a:pt x="3290" y="8"/>
                </a:cubicBezTo>
                <a:cubicBezTo>
                  <a:pt x="3276" y="8"/>
                  <a:pt x="3263" y="8"/>
                  <a:pt x="3250" y="8"/>
                </a:cubicBezTo>
                <a:cubicBezTo>
                  <a:pt x="3238" y="8"/>
                  <a:pt x="3227" y="8"/>
                  <a:pt x="3216" y="8"/>
                </a:cubicBezTo>
                <a:cubicBezTo>
                  <a:pt x="3213" y="9"/>
                  <a:pt x="3209" y="9"/>
                  <a:pt x="3206" y="9"/>
                </a:cubicBezTo>
                <a:cubicBezTo>
                  <a:pt x="3205" y="9"/>
                  <a:pt x="3204" y="9"/>
                  <a:pt x="3202" y="9"/>
                </a:cubicBezTo>
                <a:cubicBezTo>
                  <a:pt x="3200" y="9"/>
                  <a:pt x="3198" y="9"/>
                  <a:pt x="3196" y="9"/>
                </a:cubicBezTo>
                <a:cubicBezTo>
                  <a:pt x="3195" y="10"/>
                  <a:pt x="3193" y="9"/>
                  <a:pt x="3193" y="9"/>
                </a:cubicBezTo>
                <a:cubicBezTo>
                  <a:pt x="3191" y="8"/>
                  <a:pt x="3180" y="8"/>
                  <a:pt x="3176" y="8"/>
                </a:cubicBezTo>
                <a:cubicBezTo>
                  <a:pt x="3173" y="7"/>
                  <a:pt x="3163" y="7"/>
                  <a:pt x="3160" y="7"/>
                </a:cubicBezTo>
                <a:cubicBezTo>
                  <a:pt x="3160" y="8"/>
                  <a:pt x="3160" y="8"/>
                  <a:pt x="3159" y="8"/>
                </a:cubicBezTo>
                <a:cubicBezTo>
                  <a:pt x="3159" y="8"/>
                  <a:pt x="3158" y="8"/>
                  <a:pt x="3157" y="8"/>
                </a:cubicBezTo>
                <a:cubicBezTo>
                  <a:pt x="3152" y="8"/>
                  <a:pt x="3147" y="8"/>
                  <a:pt x="3142" y="8"/>
                </a:cubicBezTo>
                <a:cubicBezTo>
                  <a:pt x="3133" y="8"/>
                  <a:pt x="3117" y="8"/>
                  <a:pt x="3108" y="8"/>
                </a:cubicBezTo>
                <a:cubicBezTo>
                  <a:pt x="3092" y="8"/>
                  <a:pt x="3051" y="8"/>
                  <a:pt x="3027" y="8"/>
                </a:cubicBezTo>
                <a:cubicBezTo>
                  <a:pt x="3022" y="8"/>
                  <a:pt x="3011" y="8"/>
                  <a:pt x="3001" y="8"/>
                </a:cubicBezTo>
                <a:cubicBezTo>
                  <a:pt x="2994" y="8"/>
                  <a:pt x="2987" y="9"/>
                  <a:pt x="2980" y="8"/>
                </a:cubicBezTo>
                <a:cubicBezTo>
                  <a:pt x="2977" y="7"/>
                  <a:pt x="2976" y="7"/>
                  <a:pt x="2973" y="7"/>
                </a:cubicBezTo>
                <a:cubicBezTo>
                  <a:pt x="2969" y="7"/>
                  <a:pt x="2965" y="7"/>
                  <a:pt x="2962" y="7"/>
                </a:cubicBezTo>
                <a:cubicBezTo>
                  <a:pt x="2955" y="8"/>
                  <a:pt x="2944" y="8"/>
                  <a:pt x="2938" y="7"/>
                </a:cubicBezTo>
                <a:cubicBezTo>
                  <a:pt x="2934" y="7"/>
                  <a:pt x="2931" y="7"/>
                  <a:pt x="2928" y="7"/>
                </a:cubicBezTo>
                <a:cubicBezTo>
                  <a:pt x="2927" y="6"/>
                  <a:pt x="2925" y="6"/>
                  <a:pt x="2924" y="7"/>
                </a:cubicBezTo>
                <a:cubicBezTo>
                  <a:pt x="2923" y="7"/>
                  <a:pt x="2923" y="7"/>
                  <a:pt x="2922" y="7"/>
                </a:cubicBezTo>
                <a:cubicBezTo>
                  <a:pt x="2919" y="8"/>
                  <a:pt x="2915" y="7"/>
                  <a:pt x="2911" y="7"/>
                </a:cubicBezTo>
                <a:cubicBezTo>
                  <a:pt x="2906" y="7"/>
                  <a:pt x="2901" y="7"/>
                  <a:pt x="2896" y="7"/>
                </a:cubicBezTo>
                <a:cubicBezTo>
                  <a:pt x="2886" y="7"/>
                  <a:pt x="2876" y="7"/>
                  <a:pt x="2866" y="7"/>
                </a:cubicBezTo>
                <a:cubicBezTo>
                  <a:pt x="2848" y="7"/>
                  <a:pt x="2830" y="7"/>
                  <a:pt x="2813" y="7"/>
                </a:cubicBezTo>
                <a:cubicBezTo>
                  <a:pt x="2810" y="8"/>
                  <a:pt x="2807" y="8"/>
                  <a:pt x="2804" y="8"/>
                </a:cubicBezTo>
                <a:cubicBezTo>
                  <a:pt x="2803" y="9"/>
                  <a:pt x="2801" y="9"/>
                  <a:pt x="2799" y="9"/>
                </a:cubicBezTo>
                <a:cubicBezTo>
                  <a:pt x="2798" y="9"/>
                  <a:pt x="2797" y="9"/>
                  <a:pt x="2797" y="9"/>
                </a:cubicBezTo>
                <a:cubicBezTo>
                  <a:pt x="2793" y="9"/>
                  <a:pt x="2791" y="9"/>
                  <a:pt x="2788" y="8"/>
                </a:cubicBezTo>
                <a:cubicBezTo>
                  <a:pt x="2784" y="8"/>
                  <a:pt x="2780" y="8"/>
                  <a:pt x="2776" y="8"/>
                </a:cubicBezTo>
                <a:cubicBezTo>
                  <a:pt x="2772" y="7"/>
                  <a:pt x="2763" y="7"/>
                  <a:pt x="2761" y="8"/>
                </a:cubicBezTo>
                <a:cubicBezTo>
                  <a:pt x="2760" y="8"/>
                  <a:pt x="2760" y="9"/>
                  <a:pt x="2759" y="9"/>
                </a:cubicBezTo>
                <a:cubicBezTo>
                  <a:pt x="2759" y="9"/>
                  <a:pt x="2757" y="9"/>
                  <a:pt x="2756" y="9"/>
                </a:cubicBezTo>
                <a:cubicBezTo>
                  <a:pt x="2755" y="9"/>
                  <a:pt x="2754" y="9"/>
                  <a:pt x="2751" y="8"/>
                </a:cubicBezTo>
                <a:cubicBezTo>
                  <a:pt x="2750" y="7"/>
                  <a:pt x="2742" y="7"/>
                  <a:pt x="2738" y="7"/>
                </a:cubicBezTo>
                <a:cubicBezTo>
                  <a:pt x="2732" y="7"/>
                  <a:pt x="2726" y="7"/>
                  <a:pt x="2720" y="6"/>
                </a:cubicBezTo>
                <a:cubicBezTo>
                  <a:pt x="2720" y="6"/>
                  <a:pt x="2719" y="6"/>
                  <a:pt x="2718" y="6"/>
                </a:cubicBezTo>
                <a:cubicBezTo>
                  <a:pt x="2716" y="6"/>
                  <a:pt x="2714" y="6"/>
                  <a:pt x="2713" y="6"/>
                </a:cubicBezTo>
                <a:cubicBezTo>
                  <a:pt x="2712" y="7"/>
                  <a:pt x="2710" y="7"/>
                  <a:pt x="2710" y="7"/>
                </a:cubicBezTo>
                <a:cubicBezTo>
                  <a:pt x="2709" y="7"/>
                  <a:pt x="2707" y="7"/>
                  <a:pt x="2706" y="7"/>
                </a:cubicBezTo>
                <a:cubicBezTo>
                  <a:pt x="2705" y="8"/>
                  <a:pt x="2703" y="7"/>
                  <a:pt x="2702" y="7"/>
                </a:cubicBezTo>
                <a:cubicBezTo>
                  <a:pt x="2702" y="7"/>
                  <a:pt x="2702" y="6"/>
                  <a:pt x="2702" y="6"/>
                </a:cubicBezTo>
                <a:cubicBezTo>
                  <a:pt x="2700" y="6"/>
                  <a:pt x="2699" y="5"/>
                  <a:pt x="2698" y="5"/>
                </a:cubicBezTo>
                <a:cubicBezTo>
                  <a:pt x="2693" y="5"/>
                  <a:pt x="2691" y="7"/>
                  <a:pt x="2687" y="7"/>
                </a:cubicBezTo>
                <a:cubicBezTo>
                  <a:pt x="2684" y="7"/>
                  <a:pt x="2682" y="7"/>
                  <a:pt x="2679" y="7"/>
                </a:cubicBezTo>
                <a:cubicBezTo>
                  <a:pt x="2674" y="7"/>
                  <a:pt x="2669" y="7"/>
                  <a:pt x="2664" y="7"/>
                </a:cubicBezTo>
                <a:cubicBezTo>
                  <a:pt x="2650" y="7"/>
                  <a:pt x="2633" y="7"/>
                  <a:pt x="2626" y="7"/>
                </a:cubicBezTo>
                <a:cubicBezTo>
                  <a:pt x="2623" y="6"/>
                  <a:pt x="2618" y="6"/>
                  <a:pt x="2615" y="6"/>
                </a:cubicBezTo>
                <a:cubicBezTo>
                  <a:pt x="2615" y="6"/>
                  <a:pt x="2614" y="6"/>
                  <a:pt x="2614" y="5"/>
                </a:cubicBezTo>
                <a:cubicBezTo>
                  <a:pt x="2613" y="5"/>
                  <a:pt x="2611" y="4"/>
                  <a:pt x="2608" y="5"/>
                </a:cubicBezTo>
                <a:cubicBezTo>
                  <a:pt x="2606" y="5"/>
                  <a:pt x="2609" y="6"/>
                  <a:pt x="2605" y="7"/>
                </a:cubicBezTo>
                <a:cubicBezTo>
                  <a:pt x="2601" y="7"/>
                  <a:pt x="2594" y="7"/>
                  <a:pt x="2590" y="6"/>
                </a:cubicBezTo>
                <a:cubicBezTo>
                  <a:pt x="2577" y="6"/>
                  <a:pt x="2564" y="6"/>
                  <a:pt x="2551" y="6"/>
                </a:cubicBezTo>
                <a:cubicBezTo>
                  <a:pt x="2546" y="6"/>
                  <a:pt x="2541" y="6"/>
                  <a:pt x="2536" y="6"/>
                </a:cubicBezTo>
                <a:cubicBezTo>
                  <a:pt x="2534" y="6"/>
                  <a:pt x="2531" y="6"/>
                  <a:pt x="2529" y="6"/>
                </a:cubicBezTo>
                <a:cubicBezTo>
                  <a:pt x="2528" y="6"/>
                  <a:pt x="2526" y="5"/>
                  <a:pt x="2525" y="5"/>
                </a:cubicBezTo>
                <a:cubicBezTo>
                  <a:pt x="2524" y="5"/>
                  <a:pt x="2522" y="5"/>
                  <a:pt x="2521" y="5"/>
                </a:cubicBezTo>
                <a:cubicBezTo>
                  <a:pt x="2520" y="5"/>
                  <a:pt x="2518" y="5"/>
                  <a:pt x="2517" y="5"/>
                </a:cubicBezTo>
                <a:cubicBezTo>
                  <a:pt x="2514" y="5"/>
                  <a:pt x="2515" y="6"/>
                  <a:pt x="2514" y="6"/>
                </a:cubicBezTo>
                <a:cubicBezTo>
                  <a:pt x="2513" y="7"/>
                  <a:pt x="2510" y="7"/>
                  <a:pt x="2508" y="7"/>
                </a:cubicBezTo>
                <a:cubicBezTo>
                  <a:pt x="2501" y="8"/>
                  <a:pt x="2493" y="8"/>
                  <a:pt x="2486" y="8"/>
                </a:cubicBezTo>
                <a:cubicBezTo>
                  <a:pt x="2481" y="8"/>
                  <a:pt x="2476" y="8"/>
                  <a:pt x="2471" y="8"/>
                </a:cubicBezTo>
                <a:cubicBezTo>
                  <a:pt x="2468" y="7"/>
                  <a:pt x="2464" y="7"/>
                  <a:pt x="2460" y="7"/>
                </a:cubicBezTo>
                <a:cubicBezTo>
                  <a:pt x="2458" y="6"/>
                  <a:pt x="2455" y="6"/>
                  <a:pt x="2454" y="6"/>
                </a:cubicBezTo>
                <a:cubicBezTo>
                  <a:pt x="2453" y="6"/>
                  <a:pt x="2453" y="6"/>
                  <a:pt x="2453" y="6"/>
                </a:cubicBezTo>
                <a:cubicBezTo>
                  <a:pt x="2451" y="5"/>
                  <a:pt x="2450" y="5"/>
                  <a:pt x="2449" y="6"/>
                </a:cubicBezTo>
                <a:cubicBezTo>
                  <a:pt x="2448" y="6"/>
                  <a:pt x="2447" y="6"/>
                  <a:pt x="2447" y="6"/>
                </a:cubicBezTo>
                <a:cubicBezTo>
                  <a:pt x="2447" y="6"/>
                  <a:pt x="2446" y="6"/>
                  <a:pt x="2445" y="6"/>
                </a:cubicBezTo>
                <a:cubicBezTo>
                  <a:pt x="2440" y="6"/>
                  <a:pt x="2434" y="5"/>
                  <a:pt x="2429" y="6"/>
                </a:cubicBezTo>
                <a:cubicBezTo>
                  <a:pt x="2428" y="6"/>
                  <a:pt x="2428" y="6"/>
                  <a:pt x="2426" y="6"/>
                </a:cubicBezTo>
                <a:cubicBezTo>
                  <a:pt x="2422" y="5"/>
                  <a:pt x="2417" y="6"/>
                  <a:pt x="2414" y="6"/>
                </a:cubicBezTo>
                <a:cubicBezTo>
                  <a:pt x="2411" y="7"/>
                  <a:pt x="2408" y="7"/>
                  <a:pt x="2405" y="7"/>
                </a:cubicBezTo>
                <a:cubicBezTo>
                  <a:pt x="2402" y="8"/>
                  <a:pt x="2400" y="8"/>
                  <a:pt x="2398" y="9"/>
                </a:cubicBezTo>
                <a:cubicBezTo>
                  <a:pt x="2394" y="9"/>
                  <a:pt x="2391" y="9"/>
                  <a:pt x="2388" y="8"/>
                </a:cubicBezTo>
                <a:cubicBezTo>
                  <a:pt x="2384" y="8"/>
                  <a:pt x="2381" y="7"/>
                  <a:pt x="2378" y="7"/>
                </a:cubicBezTo>
                <a:cubicBezTo>
                  <a:pt x="2370" y="7"/>
                  <a:pt x="2363" y="6"/>
                  <a:pt x="2356" y="6"/>
                </a:cubicBezTo>
                <a:cubicBezTo>
                  <a:pt x="2350" y="6"/>
                  <a:pt x="2344" y="6"/>
                  <a:pt x="2338" y="6"/>
                </a:cubicBezTo>
                <a:cubicBezTo>
                  <a:pt x="2334" y="5"/>
                  <a:pt x="2329" y="5"/>
                  <a:pt x="2326" y="5"/>
                </a:cubicBezTo>
                <a:cubicBezTo>
                  <a:pt x="2325" y="5"/>
                  <a:pt x="2324" y="4"/>
                  <a:pt x="2323" y="4"/>
                </a:cubicBezTo>
                <a:cubicBezTo>
                  <a:pt x="2322" y="4"/>
                  <a:pt x="2321" y="4"/>
                  <a:pt x="2321" y="5"/>
                </a:cubicBezTo>
                <a:cubicBezTo>
                  <a:pt x="2320" y="5"/>
                  <a:pt x="2319" y="5"/>
                  <a:pt x="2318" y="5"/>
                </a:cubicBezTo>
                <a:cubicBezTo>
                  <a:pt x="2318" y="5"/>
                  <a:pt x="2317" y="5"/>
                  <a:pt x="2317" y="5"/>
                </a:cubicBezTo>
                <a:cubicBezTo>
                  <a:pt x="2317" y="4"/>
                  <a:pt x="2315" y="5"/>
                  <a:pt x="2315" y="5"/>
                </a:cubicBezTo>
                <a:cubicBezTo>
                  <a:pt x="2314" y="5"/>
                  <a:pt x="2313" y="5"/>
                  <a:pt x="2312" y="5"/>
                </a:cubicBezTo>
                <a:cubicBezTo>
                  <a:pt x="2311" y="5"/>
                  <a:pt x="2310" y="5"/>
                  <a:pt x="2309" y="5"/>
                </a:cubicBezTo>
                <a:cubicBezTo>
                  <a:pt x="2308" y="5"/>
                  <a:pt x="2307" y="5"/>
                  <a:pt x="2302" y="5"/>
                </a:cubicBezTo>
                <a:cubicBezTo>
                  <a:pt x="2287" y="5"/>
                  <a:pt x="2273" y="6"/>
                  <a:pt x="2258" y="6"/>
                </a:cubicBezTo>
                <a:cubicBezTo>
                  <a:pt x="2252" y="6"/>
                  <a:pt x="2246" y="6"/>
                  <a:pt x="2240" y="6"/>
                </a:cubicBezTo>
                <a:cubicBezTo>
                  <a:pt x="2235" y="6"/>
                  <a:pt x="2233" y="6"/>
                  <a:pt x="2229" y="5"/>
                </a:cubicBezTo>
                <a:cubicBezTo>
                  <a:pt x="2227" y="5"/>
                  <a:pt x="2226" y="4"/>
                  <a:pt x="2224" y="4"/>
                </a:cubicBezTo>
                <a:lnTo>
                  <a:pt x="2212" y="3"/>
                </a:lnTo>
                <a:cubicBezTo>
                  <a:pt x="2209" y="3"/>
                  <a:pt x="2203" y="3"/>
                  <a:pt x="2200" y="3"/>
                </a:cubicBezTo>
                <a:cubicBezTo>
                  <a:pt x="2200" y="5"/>
                  <a:pt x="2191" y="4"/>
                  <a:pt x="2189" y="3"/>
                </a:cubicBezTo>
                <a:cubicBezTo>
                  <a:pt x="2182" y="3"/>
                  <a:pt x="2175" y="3"/>
                  <a:pt x="2168" y="3"/>
                </a:cubicBezTo>
                <a:cubicBezTo>
                  <a:pt x="2165" y="3"/>
                  <a:pt x="2162" y="3"/>
                  <a:pt x="2159" y="3"/>
                </a:cubicBezTo>
                <a:cubicBezTo>
                  <a:pt x="2156" y="3"/>
                  <a:pt x="2154" y="4"/>
                  <a:pt x="2152" y="4"/>
                </a:cubicBezTo>
                <a:cubicBezTo>
                  <a:pt x="2150" y="4"/>
                  <a:pt x="2147" y="5"/>
                  <a:pt x="2144" y="4"/>
                </a:cubicBezTo>
                <a:cubicBezTo>
                  <a:pt x="2144" y="4"/>
                  <a:pt x="2143" y="4"/>
                  <a:pt x="2142" y="4"/>
                </a:cubicBezTo>
                <a:cubicBezTo>
                  <a:pt x="2144" y="3"/>
                  <a:pt x="2139" y="3"/>
                  <a:pt x="2137" y="3"/>
                </a:cubicBezTo>
                <a:cubicBezTo>
                  <a:pt x="2135" y="3"/>
                  <a:pt x="2133" y="3"/>
                  <a:pt x="2131" y="3"/>
                </a:cubicBezTo>
                <a:cubicBezTo>
                  <a:pt x="2129" y="3"/>
                  <a:pt x="2123" y="3"/>
                  <a:pt x="2122" y="3"/>
                </a:cubicBezTo>
                <a:cubicBezTo>
                  <a:pt x="2121" y="3"/>
                  <a:pt x="2121" y="4"/>
                  <a:pt x="2121" y="4"/>
                </a:cubicBezTo>
                <a:cubicBezTo>
                  <a:pt x="2121" y="4"/>
                  <a:pt x="2120" y="4"/>
                  <a:pt x="2119" y="5"/>
                </a:cubicBezTo>
                <a:cubicBezTo>
                  <a:pt x="2116" y="5"/>
                  <a:pt x="2112" y="5"/>
                  <a:pt x="2108" y="5"/>
                </a:cubicBezTo>
                <a:cubicBezTo>
                  <a:pt x="2103" y="5"/>
                  <a:pt x="2098" y="5"/>
                  <a:pt x="2093" y="4"/>
                </a:cubicBezTo>
                <a:cubicBezTo>
                  <a:pt x="2080" y="4"/>
                  <a:pt x="2048" y="3"/>
                  <a:pt x="2024" y="3"/>
                </a:cubicBezTo>
                <a:cubicBezTo>
                  <a:pt x="2015" y="3"/>
                  <a:pt x="2007" y="3"/>
                  <a:pt x="1999" y="3"/>
                </a:cubicBezTo>
                <a:cubicBezTo>
                  <a:pt x="1992" y="3"/>
                  <a:pt x="1984" y="4"/>
                  <a:pt x="1977" y="3"/>
                </a:cubicBezTo>
                <a:cubicBezTo>
                  <a:pt x="1974" y="3"/>
                  <a:pt x="1972" y="3"/>
                  <a:pt x="1969" y="3"/>
                </a:cubicBezTo>
                <a:cubicBezTo>
                  <a:pt x="1968" y="3"/>
                  <a:pt x="1968" y="3"/>
                  <a:pt x="1967" y="3"/>
                </a:cubicBezTo>
                <a:cubicBezTo>
                  <a:pt x="1966" y="3"/>
                  <a:pt x="1964" y="3"/>
                  <a:pt x="1963" y="3"/>
                </a:cubicBezTo>
                <a:cubicBezTo>
                  <a:pt x="1962" y="3"/>
                  <a:pt x="1962" y="3"/>
                  <a:pt x="1961" y="4"/>
                </a:cubicBezTo>
                <a:cubicBezTo>
                  <a:pt x="1961" y="4"/>
                  <a:pt x="1961" y="4"/>
                  <a:pt x="1958" y="4"/>
                </a:cubicBezTo>
                <a:cubicBezTo>
                  <a:pt x="1955" y="4"/>
                  <a:pt x="1952" y="4"/>
                  <a:pt x="1949" y="4"/>
                </a:cubicBezTo>
                <a:cubicBezTo>
                  <a:pt x="1944" y="3"/>
                  <a:pt x="1934" y="3"/>
                  <a:pt x="1927" y="3"/>
                </a:cubicBezTo>
                <a:cubicBezTo>
                  <a:pt x="1924" y="3"/>
                  <a:pt x="1921" y="3"/>
                  <a:pt x="1918" y="3"/>
                </a:cubicBezTo>
                <a:cubicBezTo>
                  <a:pt x="1916" y="3"/>
                  <a:pt x="1913" y="3"/>
                  <a:pt x="1910" y="3"/>
                </a:cubicBezTo>
                <a:cubicBezTo>
                  <a:pt x="1910" y="3"/>
                  <a:pt x="1909" y="3"/>
                  <a:pt x="1908" y="3"/>
                </a:cubicBezTo>
                <a:cubicBezTo>
                  <a:pt x="1908" y="3"/>
                  <a:pt x="1908" y="3"/>
                  <a:pt x="1910" y="3"/>
                </a:cubicBezTo>
                <a:cubicBezTo>
                  <a:pt x="1910" y="3"/>
                  <a:pt x="1910" y="4"/>
                  <a:pt x="1909" y="4"/>
                </a:cubicBezTo>
                <a:cubicBezTo>
                  <a:pt x="1908" y="4"/>
                  <a:pt x="1907" y="4"/>
                  <a:pt x="1906" y="4"/>
                </a:cubicBezTo>
                <a:cubicBezTo>
                  <a:pt x="1901" y="4"/>
                  <a:pt x="1896" y="4"/>
                  <a:pt x="1891" y="4"/>
                </a:cubicBezTo>
                <a:cubicBezTo>
                  <a:pt x="1880" y="3"/>
                  <a:pt x="1866" y="3"/>
                  <a:pt x="1859" y="3"/>
                </a:cubicBezTo>
                <a:cubicBezTo>
                  <a:pt x="1852" y="4"/>
                  <a:pt x="1834" y="4"/>
                  <a:pt x="1820" y="4"/>
                </a:cubicBezTo>
                <a:cubicBezTo>
                  <a:pt x="1806" y="4"/>
                  <a:pt x="1770" y="4"/>
                  <a:pt x="1740" y="3"/>
                </a:cubicBezTo>
                <a:cubicBezTo>
                  <a:pt x="1730" y="3"/>
                  <a:pt x="1720" y="3"/>
                  <a:pt x="1711" y="3"/>
                </a:cubicBezTo>
                <a:cubicBezTo>
                  <a:pt x="1705" y="3"/>
                  <a:pt x="1700" y="3"/>
                  <a:pt x="1695" y="3"/>
                </a:cubicBezTo>
                <a:cubicBezTo>
                  <a:pt x="1693" y="3"/>
                  <a:pt x="1686" y="4"/>
                  <a:pt x="1685" y="3"/>
                </a:cubicBezTo>
                <a:cubicBezTo>
                  <a:pt x="1685" y="3"/>
                  <a:pt x="1684" y="3"/>
                  <a:pt x="1683" y="3"/>
                </a:cubicBezTo>
                <a:cubicBezTo>
                  <a:pt x="1681" y="2"/>
                  <a:pt x="1673" y="2"/>
                  <a:pt x="1669" y="3"/>
                </a:cubicBezTo>
                <a:cubicBezTo>
                  <a:pt x="1664" y="3"/>
                  <a:pt x="1660" y="3"/>
                  <a:pt x="1656" y="2"/>
                </a:cubicBezTo>
                <a:cubicBezTo>
                  <a:pt x="1655" y="2"/>
                  <a:pt x="1653" y="2"/>
                  <a:pt x="1652" y="2"/>
                </a:cubicBezTo>
                <a:cubicBezTo>
                  <a:pt x="1650" y="2"/>
                  <a:pt x="1650" y="2"/>
                  <a:pt x="1649" y="2"/>
                </a:cubicBezTo>
                <a:cubicBezTo>
                  <a:pt x="1648" y="2"/>
                  <a:pt x="1647" y="2"/>
                  <a:pt x="1646" y="2"/>
                </a:cubicBezTo>
                <a:cubicBezTo>
                  <a:pt x="1645" y="2"/>
                  <a:pt x="1645" y="2"/>
                  <a:pt x="1643" y="3"/>
                </a:cubicBezTo>
                <a:cubicBezTo>
                  <a:pt x="1641" y="3"/>
                  <a:pt x="1634" y="3"/>
                  <a:pt x="1629" y="3"/>
                </a:cubicBezTo>
                <a:cubicBezTo>
                  <a:pt x="1624" y="3"/>
                  <a:pt x="1613" y="3"/>
                  <a:pt x="1605" y="3"/>
                </a:cubicBezTo>
                <a:cubicBezTo>
                  <a:pt x="1602" y="4"/>
                  <a:pt x="1599" y="4"/>
                  <a:pt x="1597" y="4"/>
                </a:cubicBezTo>
                <a:cubicBezTo>
                  <a:pt x="1594" y="4"/>
                  <a:pt x="1593" y="4"/>
                  <a:pt x="1590" y="4"/>
                </a:cubicBezTo>
                <a:cubicBezTo>
                  <a:pt x="1588" y="4"/>
                  <a:pt x="1588" y="3"/>
                  <a:pt x="1587" y="3"/>
                </a:cubicBezTo>
                <a:cubicBezTo>
                  <a:pt x="1583" y="3"/>
                  <a:pt x="1578" y="3"/>
                  <a:pt x="1574" y="3"/>
                </a:cubicBezTo>
                <a:cubicBezTo>
                  <a:pt x="1571" y="3"/>
                  <a:pt x="1567" y="3"/>
                  <a:pt x="1564" y="3"/>
                </a:cubicBezTo>
                <a:cubicBezTo>
                  <a:pt x="1561" y="3"/>
                  <a:pt x="1558" y="3"/>
                  <a:pt x="1555" y="3"/>
                </a:cubicBezTo>
                <a:cubicBezTo>
                  <a:pt x="1553" y="3"/>
                  <a:pt x="1551" y="2"/>
                  <a:pt x="1548" y="2"/>
                </a:cubicBezTo>
                <a:cubicBezTo>
                  <a:pt x="1546" y="2"/>
                  <a:pt x="1545" y="3"/>
                  <a:pt x="1544" y="3"/>
                </a:cubicBezTo>
                <a:cubicBezTo>
                  <a:pt x="1540" y="3"/>
                  <a:pt x="1536" y="3"/>
                  <a:pt x="1533" y="3"/>
                </a:cubicBezTo>
                <a:cubicBezTo>
                  <a:pt x="1527" y="3"/>
                  <a:pt x="1519" y="3"/>
                  <a:pt x="1516" y="3"/>
                </a:cubicBezTo>
                <a:cubicBezTo>
                  <a:pt x="1509" y="4"/>
                  <a:pt x="1504" y="4"/>
                  <a:pt x="1496" y="4"/>
                </a:cubicBezTo>
                <a:cubicBezTo>
                  <a:pt x="1488" y="4"/>
                  <a:pt x="1481" y="3"/>
                  <a:pt x="1474" y="3"/>
                </a:cubicBezTo>
                <a:cubicBezTo>
                  <a:pt x="1471" y="3"/>
                  <a:pt x="1467" y="3"/>
                  <a:pt x="1464" y="3"/>
                </a:cubicBezTo>
                <a:cubicBezTo>
                  <a:pt x="1463" y="3"/>
                  <a:pt x="1461" y="3"/>
                  <a:pt x="1461" y="3"/>
                </a:cubicBezTo>
                <a:cubicBezTo>
                  <a:pt x="1459" y="3"/>
                  <a:pt x="1460" y="4"/>
                  <a:pt x="1458" y="4"/>
                </a:cubicBezTo>
                <a:cubicBezTo>
                  <a:pt x="1457" y="4"/>
                  <a:pt x="1455" y="4"/>
                  <a:pt x="1454" y="4"/>
                </a:cubicBezTo>
                <a:cubicBezTo>
                  <a:pt x="1452" y="4"/>
                  <a:pt x="1448" y="4"/>
                  <a:pt x="1446" y="4"/>
                </a:cubicBezTo>
                <a:cubicBezTo>
                  <a:pt x="1444" y="3"/>
                  <a:pt x="1444" y="3"/>
                  <a:pt x="1443" y="3"/>
                </a:cubicBezTo>
                <a:cubicBezTo>
                  <a:pt x="1442" y="3"/>
                  <a:pt x="1440" y="3"/>
                  <a:pt x="1439" y="2"/>
                </a:cubicBezTo>
                <a:cubicBezTo>
                  <a:pt x="1438" y="2"/>
                  <a:pt x="1436" y="1"/>
                  <a:pt x="1435" y="1"/>
                </a:cubicBezTo>
                <a:cubicBezTo>
                  <a:pt x="1432" y="1"/>
                  <a:pt x="1431" y="2"/>
                  <a:pt x="1428" y="2"/>
                </a:cubicBezTo>
                <a:cubicBezTo>
                  <a:pt x="1428" y="2"/>
                  <a:pt x="1428" y="2"/>
                  <a:pt x="1428" y="2"/>
                </a:cubicBezTo>
                <a:cubicBezTo>
                  <a:pt x="1428" y="2"/>
                  <a:pt x="1428" y="1"/>
                  <a:pt x="1428" y="1"/>
                </a:cubicBezTo>
                <a:cubicBezTo>
                  <a:pt x="1428" y="1"/>
                  <a:pt x="1427" y="1"/>
                  <a:pt x="1427" y="1"/>
                </a:cubicBezTo>
                <a:cubicBezTo>
                  <a:pt x="1425" y="0"/>
                  <a:pt x="1423" y="0"/>
                  <a:pt x="1422" y="1"/>
                </a:cubicBezTo>
                <a:cubicBezTo>
                  <a:pt x="1421" y="1"/>
                  <a:pt x="1421" y="1"/>
                  <a:pt x="1421" y="1"/>
                </a:cubicBezTo>
                <a:cubicBezTo>
                  <a:pt x="1421" y="2"/>
                  <a:pt x="1421" y="2"/>
                  <a:pt x="1421" y="2"/>
                </a:cubicBezTo>
                <a:cubicBezTo>
                  <a:pt x="1422" y="2"/>
                  <a:pt x="1423" y="3"/>
                  <a:pt x="1424" y="3"/>
                </a:cubicBezTo>
                <a:cubicBezTo>
                  <a:pt x="1425" y="3"/>
                  <a:pt x="1423" y="3"/>
                  <a:pt x="1421" y="4"/>
                </a:cubicBezTo>
                <a:cubicBezTo>
                  <a:pt x="1420" y="4"/>
                  <a:pt x="1419" y="4"/>
                  <a:pt x="1417" y="4"/>
                </a:cubicBezTo>
                <a:cubicBezTo>
                  <a:pt x="1416" y="4"/>
                  <a:pt x="1415" y="3"/>
                  <a:pt x="1413" y="3"/>
                </a:cubicBezTo>
                <a:cubicBezTo>
                  <a:pt x="1411" y="3"/>
                  <a:pt x="1410" y="2"/>
                  <a:pt x="1407" y="2"/>
                </a:cubicBezTo>
                <a:cubicBezTo>
                  <a:pt x="1405" y="2"/>
                  <a:pt x="1402" y="2"/>
                  <a:pt x="1400" y="2"/>
                </a:cubicBezTo>
                <a:cubicBezTo>
                  <a:pt x="1395" y="2"/>
                  <a:pt x="1382" y="1"/>
                  <a:pt x="1371" y="1"/>
                </a:cubicBezTo>
                <a:cubicBezTo>
                  <a:pt x="1367" y="1"/>
                  <a:pt x="1364" y="1"/>
                  <a:pt x="1360" y="1"/>
                </a:cubicBezTo>
                <a:cubicBezTo>
                  <a:pt x="1359" y="1"/>
                  <a:pt x="1354" y="1"/>
                  <a:pt x="1352" y="1"/>
                </a:cubicBezTo>
                <a:cubicBezTo>
                  <a:pt x="1351" y="1"/>
                  <a:pt x="1350" y="2"/>
                  <a:pt x="1351" y="2"/>
                </a:cubicBezTo>
                <a:cubicBezTo>
                  <a:pt x="1348" y="2"/>
                  <a:pt x="1345" y="2"/>
                  <a:pt x="1342" y="2"/>
                </a:cubicBezTo>
                <a:cubicBezTo>
                  <a:pt x="1339" y="3"/>
                  <a:pt x="1335" y="3"/>
                  <a:pt x="1332" y="3"/>
                </a:cubicBezTo>
                <a:cubicBezTo>
                  <a:pt x="1327" y="3"/>
                  <a:pt x="1320" y="3"/>
                  <a:pt x="1316" y="3"/>
                </a:cubicBezTo>
                <a:cubicBezTo>
                  <a:pt x="1315" y="3"/>
                  <a:pt x="1313" y="2"/>
                  <a:pt x="1312" y="2"/>
                </a:cubicBezTo>
                <a:cubicBezTo>
                  <a:pt x="1311" y="2"/>
                  <a:pt x="1309" y="1"/>
                  <a:pt x="1309" y="1"/>
                </a:cubicBezTo>
                <a:cubicBezTo>
                  <a:pt x="1310" y="1"/>
                  <a:pt x="1311" y="1"/>
                  <a:pt x="1309" y="0"/>
                </a:cubicBezTo>
                <a:cubicBezTo>
                  <a:pt x="1305" y="0"/>
                  <a:pt x="1301" y="0"/>
                  <a:pt x="1297" y="0"/>
                </a:cubicBezTo>
                <a:cubicBezTo>
                  <a:pt x="1295" y="0"/>
                  <a:pt x="1292" y="1"/>
                  <a:pt x="1289" y="1"/>
                </a:cubicBezTo>
                <a:cubicBezTo>
                  <a:pt x="1287" y="1"/>
                  <a:pt x="1285" y="1"/>
                  <a:pt x="1284" y="1"/>
                </a:cubicBezTo>
                <a:cubicBezTo>
                  <a:pt x="1283" y="1"/>
                  <a:pt x="1283" y="1"/>
                  <a:pt x="1282" y="1"/>
                </a:cubicBezTo>
                <a:cubicBezTo>
                  <a:pt x="1280" y="2"/>
                  <a:pt x="1277" y="2"/>
                  <a:pt x="1275" y="3"/>
                </a:cubicBezTo>
                <a:cubicBezTo>
                  <a:pt x="1274" y="3"/>
                  <a:pt x="1273" y="3"/>
                  <a:pt x="1272" y="3"/>
                </a:cubicBezTo>
                <a:cubicBezTo>
                  <a:pt x="1272" y="3"/>
                  <a:pt x="1269" y="3"/>
                  <a:pt x="1269" y="3"/>
                </a:cubicBezTo>
                <a:cubicBezTo>
                  <a:pt x="1268" y="3"/>
                  <a:pt x="1268" y="3"/>
                  <a:pt x="1266" y="2"/>
                </a:cubicBezTo>
                <a:cubicBezTo>
                  <a:pt x="1266" y="2"/>
                  <a:pt x="1264" y="2"/>
                  <a:pt x="1263" y="2"/>
                </a:cubicBezTo>
                <a:cubicBezTo>
                  <a:pt x="1256" y="2"/>
                  <a:pt x="1250" y="2"/>
                  <a:pt x="1243" y="2"/>
                </a:cubicBezTo>
                <a:cubicBezTo>
                  <a:pt x="1240" y="2"/>
                  <a:pt x="1233" y="3"/>
                  <a:pt x="1231" y="2"/>
                </a:cubicBezTo>
                <a:cubicBezTo>
                  <a:pt x="1229" y="2"/>
                  <a:pt x="1217" y="2"/>
                  <a:pt x="1202" y="2"/>
                </a:cubicBezTo>
                <a:cubicBezTo>
                  <a:pt x="1198" y="2"/>
                  <a:pt x="1193" y="2"/>
                  <a:pt x="1188" y="2"/>
                </a:cubicBezTo>
                <a:cubicBezTo>
                  <a:pt x="1184" y="2"/>
                  <a:pt x="1179" y="1"/>
                  <a:pt x="1176" y="2"/>
                </a:cubicBezTo>
                <a:cubicBezTo>
                  <a:pt x="1175" y="2"/>
                  <a:pt x="1173" y="2"/>
                  <a:pt x="1171" y="3"/>
                </a:cubicBezTo>
                <a:cubicBezTo>
                  <a:pt x="1169" y="3"/>
                  <a:pt x="1165" y="3"/>
                  <a:pt x="1161" y="3"/>
                </a:cubicBezTo>
                <a:cubicBezTo>
                  <a:pt x="1160" y="3"/>
                  <a:pt x="1157" y="3"/>
                  <a:pt x="1156" y="3"/>
                </a:cubicBezTo>
                <a:cubicBezTo>
                  <a:pt x="1155" y="3"/>
                  <a:pt x="1154" y="3"/>
                  <a:pt x="1152" y="2"/>
                </a:cubicBezTo>
                <a:cubicBezTo>
                  <a:pt x="1150" y="2"/>
                  <a:pt x="1147" y="2"/>
                  <a:pt x="1145" y="2"/>
                </a:cubicBezTo>
                <a:cubicBezTo>
                  <a:pt x="1142" y="2"/>
                  <a:pt x="1138" y="2"/>
                  <a:pt x="1135" y="2"/>
                </a:cubicBezTo>
                <a:cubicBezTo>
                  <a:pt x="1128" y="2"/>
                  <a:pt x="1120" y="2"/>
                  <a:pt x="1115" y="3"/>
                </a:cubicBezTo>
                <a:cubicBezTo>
                  <a:pt x="1112" y="3"/>
                  <a:pt x="1106" y="4"/>
                  <a:pt x="1102" y="3"/>
                </a:cubicBezTo>
                <a:cubicBezTo>
                  <a:pt x="1099" y="3"/>
                  <a:pt x="1095" y="3"/>
                  <a:pt x="1093" y="3"/>
                </a:cubicBezTo>
                <a:cubicBezTo>
                  <a:pt x="1092" y="3"/>
                  <a:pt x="1091" y="2"/>
                  <a:pt x="1088" y="2"/>
                </a:cubicBezTo>
                <a:cubicBezTo>
                  <a:pt x="1084" y="2"/>
                  <a:pt x="1079" y="2"/>
                  <a:pt x="1075" y="2"/>
                </a:cubicBezTo>
                <a:cubicBezTo>
                  <a:pt x="1067" y="2"/>
                  <a:pt x="1056" y="2"/>
                  <a:pt x="1052" y="1"/>
                </a:cubicBezTo>
                <a:cubicBezTo>
                  <a:pt x="1048" y="1"/>
                  <a:pt x="1034" y="1"/>
                  <a:pt x="1020" y="1"/>
                </a:cubicBezTo>
                <a:cubicBezTo>
                  <a:pt x="1013" y="1"/>
                  <a:pt x="1006" y="1"/>
                  <a:pt x="998" y="1"/>
                </a:cubicBezTo>
                <a:cubicBezTo>
                  <a:pt x="998" y="1"/>
                  <a:pt x="997" y="1"/>
                  <a:pt x="997" y="1"/>
                </a:cubicBezTo>
                <a:cubicBezTo>
                  <a:pt x="996" y="1"/>
                  <a:pt x="996" y="2"/>
                  <a:pt x="997" y="2"/>
                </a:cubicBezTo>
                <a:cubicBezTo>
                  <a:pt x="997" y="2"/>
                  <a:pt x="996" y="2"/>
                  <a:pt x="995" y="2"/>
                </a:cubicBezTo>
                <a:cubicBezTo>
                  <a:pt x="994" y="2"/>
                  <a:pt x="993" y="2"/>
                  <a:pt x="992" y="2"/>
                </a:cubicBezTo>
                <a:cubicBezTo>
                  <a:pt x="988" y="3"/>
                  <a:pt x="986" y="3"/>
                  <a:pt x="982" y="3"/>
                </a:cubicBezTo>
                <a:cubicBezTo>
                  <a:pt x="980" y="3"/>
                  <a:pt x="977" y="3"/>
                  <a:pt x="975" y="3"/>
                </a:cubicBezTo>
                <a:cubicBezTo>
                  <a:pt x="970" y="3"/>
                  <a:pt x="965" y="3"/>
                  <a:pt x="959" y="3"/>
                </a:cubicBezTo>
                <a:cubicBezTo>
                  <a:pt x="952" y="3"/>
                  <a:pt x="944" y="3"/>
                  <a:pt x="937" y="3"/>
                </a:cubicBezTo>
                <a:cubicBezTo>
                  <a:pt x="933" y="3"/>
                  <a:pt x="930" y="3"/>
                  <a:pt x="926" y="3"/>
                </a:cubicBezTo>
                <a:cubicBezTo>
                  <a:pt x="925" y="3"/>
                  <a:pt x="922" y="3"/>
                  <a:pt x="921" y="3"/>
                </a:cubicBezTo>
                <a:cubicBezTo>
                  <a:pt x="920" y="3"/>
                  <a:pt x="921" y="3"/>
                  <a:pt x="921" y="3"/>
                </a:cubicBezTo>
                <a:cubicBezTo>
                  <a:pt x="920" y="2"/>
                  <a:pt x="919" y="2"/>
                  <a:pt x="917" y="2"/>
                </a:cubicBezTo>
                <a:cubicBezTo>
                  <a:pt x="915" y="2"/>
                  <a:pt x="912" y="2"/>
                  <a:pt x="909" y="2"/>
                </a:cubicBezTo>
                <a:cubicBezTo>
                  <a:pt x="902" y="2"/>
                  <a:pt x="892" y="2"/>
                  <a:pt x="886" y="2"/>
                </a:cubicBezTo>
                <a:cubicBezTo>
                  <a:pt x="882" y="2"/>
                  <a:pt x="876" y="1"/>
                  <a:pt x="873" y="2"/>
                </a:cubicBezTo>
                <a:cubicBezTo>
                  <a:pt x="872" y="2"/>
                  <a:pt x="871" y="2"/>
                  <a:pt x="871" y="3"/>
                </a:cubicBezTo>
                <a:cubicBezTo>
                  <a:pt x="871" y="3"/>
                  <a:pt x="871" y="3"/>
                  <a:pt x="871" y="3"/>
                </a:cubicBezTo>
                <a:cubicBezTo>
                  <a:pt x="870" y="3"/>
                  <a:pt x="869" y="3"/>
                  <a:pt x="868" y="3"/>
                </a:cubicBezTo>
                <a:cubicBezTo>
                  <a:pt x="860" y="3"/>
                  <a:pt x="852" y="3"/>
                  <a:pt x="844" y="3"/>
                </a:cubicBezTo>
                <a:cubicBezTo>
                  <a:pt x="838" y="3"/>
                  <a:pt x="832" y="3"/>
                  <a:pt x="826" y="3"/>
                </a:cubicBezTo>
                <a:cubicBezTo>
                  <a:pt x="824" y="3"/>
                  <a:pt x="822" y="3"/>
                  <a:pt x="821" y="3"/>
                </a:cubicBezTo>
                <a:cubicBezTo>
                  <a:pt x="821" y="3"/>
                  <a:pt x="822" y="3"/>
                  <a:pt x="820" y="3"/>
                </a:cubicBezTo>
                <a:cubicBezTo>
                  <a:pt x="820" y="3"/>
                  <a:pt x="819" y="3"/>
                  <a:pt x="818" y="3"/>
                </a:cubicBezTo>
                <a:cubicBezTo>
                  <a:pt x="814" y="3"/>
                  <a:pt x="806" y="4"/>
                  <a:pt x="802" y="3"/>
                </a:cubicBezTo>
                <a:cubicBezTo>
                  <a:pt x="802" y="3"/>
                  <a:pt x="802" y="3"/>
                  <a:pt x="802" y="3"/>
                </a:cubicBezTo>
                <a:cubicBezTo>
                  <a:pt x="802" y="3"/>
                  <a:pt x="802" y="3"/>
                  <a:pt x="802" y="2"/>
                </a:cubicBezTo>
                <a:cubicBezTo>
                  <a:pt x="802" y="2"/>
                  <a:pt x="801" y="1"/>
                  <a:pt x="800" y="1"/>
                </a:cubicBezTo>
                <a:cubicBezTo>
                  <a:pt x="799" y="1"/>
                  <a:pt x="797" y="1"/>
                  <a:pt x="796" y="1"/>
                </a:cubicBezTo>
                <a:cubicBezTo>
                  <a:pt x="794" y="1"/>
                  <a:pt x="793" y="1"/>
                  <a:pt x="792" y="1"/>
                </a:cubicBezTo>
                <a:cubicBezTo>
                  <a:pt x="791" y="1"/>
                  <a:pt x="791" y="1"/>
                  <a:pt x="790" y="2"/>
                </a:cubicBezTo>
                <a:cubicBezTo>
                  <a:pt x="788" y="2"/>
                  <a:pt x="787" y="0"/>
                  <a:pt x="785" y="0"/>
                </a:cubicBezTo>
                <a:cubicBezTo>
                  <a:pt x="781" y="0"/>
                  <a:pt x="776" y="0"/>
                  <a:pt x="772" y="0"/>
                </a:cubicBezTo>
                <a:cubicBezTo>
                  <a:pt x="761" y="0"/>
                  <a:pt x="751" y="0"/>
                  <a:pt x="740" y="0"/>
                </a:cubicBezTo>
                <a:cubicBezTo>
                  <a:pt x="731" y="0"/>
                  <a:pt x="723" y="0"/>
                  <a:pt x="714" y="0"/>
                </a:cubicBezTo>
                <a:cubicBezTo>
                  <a:pt x="710" y="0"/>
                  <a:pt x="705" y="0"/>
                  <a:pt x="701" y="0"/>
                </a:cubicBezTo>
                <a:cubicBezTo>
                  <a:pt x="698" y="0"/>
                  <a:pt x="693" y="0"/>
                  <a:pt x="692" y="1"/>
                </a:cubicBezTo>
                <a:cubicBezTo>
                  <a:pt x="691" y="2"/>
                  <a:pt x="690" y="2"/>
                  <a:pt x="687" y="2"/>
                </a:cubicBezTo>
                <a:cubicBezTo>
                  <a:pt x="685" y="2"/>
                  <a:pt x="681" y="3"/>
                  <a:pt x="679" y="3"/>
                </a:cubicBezTo>
                <a:cubicBezTo>
                  <a:pt x="676" y="4"/>
                  <a:pt x="675" y="4"/>
                  <a:pt x="669" y="4"/>
                </a:cubicBezTo>
                <a:cubicBezTo>
                  <a:pt x="665" y="4"/>
                  <a:pt x="661" y="4"/>
                  <a:pt x="657" y="4"/>
                </a:cubicBezTo>
                <a:cubicBezTo>
                  <a:pt x="652" y="4"/>
                  <a:pt x="645" y="4"/>
                  <a:pt x="639" y="4"/>
                </a:cubicBezTo>
                <a:cubicBezTo>
                  <a:pt x="638" y="4"/>
                  <a:pt x="637" y="4"/>
                  <a:pt x="636" y="4"/>
                </a:cubicBezTo>
                <a:cubicBezTo>
                  <a:pt x="634" y="4"/>
                  <a:pt x="634" y="4"/>
                  <a:pt x="633" y="4"/>
                </a:cubicBezTo>
                <a:cubicBezTo>
                  <a:pt x="632" y="4"/>
                  <a:pt x="631" y="4"/>
                  <a:pt x="630" y="4"/>
                </a:cubicBezTo>
                <a:cubicBezTo>
                  <a:pt x="627" y="4"/>
                  <a:pt x="624" y="4"/>
                  <a:pt x="621" y="4"/>
                </a:cubicBezTo>
                <a:cubicBezTo>
                  <a:pt x="618" y="4"/>
                  <a:pt x="614" y="4"/>
                  <a:pt x="610" y="4"/>
                </a:cubicBezTo>
                <a:cubicBezTo>
                  <a:pt x="610" y="4"/>
                  <a:pt x="609" y="4"/>
                  <a:pt x="608" y="4"/>
                </a:cubicBezTo>
                <a:cubicBezTo>
                  <a:pt x="608" y="3"/>
                  <a:pt x="608" y="3"/>
                  <a:pt x="606" y="3"/>
                </a:cubicBezTo>
                <a:cubicBezTo>
                  <a:pt x="605" y="3"/>
                  <a:pt x="603" y="3"/>
                  <a:pt x="602" y="3"/>
                </a:cubicBezTo>
                <a:cubicBezTo>
                  <a:pt x="600" y="3"/>
                  <a:pt x="599" y="3"/>
                  <a:pt x="597" y="3"/>
                </a:cubicBezTo>
                <a:cubicBezTo>
                  <a:pt x="597" y="3"/>
                  <a:pt x="596" y="3"/>
                  <a:pt x="596" y="3"/>
                </a:cubicBezTo>
                <a:cubicBezTo>
                  <a:pt x="595" y="3"/>
                  <a:pt x="596" y="3"/>
                  <a:pt x="596" y="3"/>
                </a:cubicBezTo>
                <a:cubicBezTo>
                  <a:pt x="600" y="5"/>
                  <a:pt x="594" y="4"/>
                  <a:pt x="590" y="4"/>
                </a:cubicBezTo>
                <a:cubicBezTo>
                  <a:pt x="586" y="5"/>
                  <a:pt x="582" y="4"/>
                  <a:pt x="579" y="3"/>
                </a:cubicBezTo>
                <a:cubicBezTo>
                  <a:pt x="576" y="3"/>
                  <a:pt x="572" y="3"/>
                  <a:pt x="568" y="3"/>
                </a:cubicBezTo>
                <a:cubicBezTo>
                  <a:pt x="566" y="3"/>
                  <a:pt x="563" y="3"/>
                  <a:pt x="561" y="3"/>
                </a:cubicBezTo>
                <a:cubicBezTo>
                  <a:pt x="561" y="3"/>
                  <a:pt x="560" y="3"/>
                  <a:pt x="560" y="3"/>
                </a:cubicBezTo>
                <a:cubicBezTo>
                  <a:pt x="560" y="3"/>
                  <a:pt x="560" y="4"/>
                  <a:pt x="560" y="4"/>
                </a:cubicBezTo>
                <a:cubicBezTo>
                  <a:pt x="560" y="4"/>
                  <a:pt x="559" y="4"/>
                  <a:pt x="558" y="4"/>
                </a:cubicBezTo>
                <a:cubicBezTo>
                  <a:pt x="552" y="5"/>
                  <a:pt x="544" y="5"/>
                  <a:pt x="537" y="5"/>
                </a:cubicBezTo>
                <a:cubicBezTo>
                  <a:pt x="530" y="5"/>
                  <a:pt x="523" y="5"/>
                  <a:pt x="516" y="5"/>
                </a:cubicBezTo>
                <a:cubicBezTo>
                  <a:pt x="507" y="5"/>
                  <a:pt x="498" y="5"/>
                  <a:pt x="489" y="5"/>
                </a:cubicBezTo>
                <a:cubicBezTo>
                  <a:pt x="485" y="5"/>
                  <a:pt x="481" y="5"/>
                  <a:pt x="476" y="5"/>
                </a:cubicBezTo>
                <a:cubicBezTo>
                  <a:pt x="475" y="5"/>
                  <a:pt x="474" y="5"/>
                  <a:pt x="473" y="5"/>
                </a:cubicBezTo>
                <a:cubicBezTo>
                  <a:pt x="473" y="4"/>
                  <a:pt x="474" y="4"/>
                  <a:pt x="472" y="3"/>
                </a:cubicBezTo>
                <a:cubicBezTo>
                  <a:pt x="469" y="3"/>
                  <a:pt x="459" y="4"/>
                  <a:pt x="457" y="3"/>
                </a:cubicBezTo>
                <a:cubicBezTo>
                  <a:pt x="457" y="3"/>
                  <a:pt x="458" y="3"/>
                  <a:pt x="458" y="3"/>
                </a:cubicBezTo>
                <a:cubicBezTo>
                  <a:pt x="458" y="3"/>
                  <a:pt x="457" y="3"/>
                  <a:pt x="457" y="3"/>
                </a:cubicBezTo>
                <a:cubicBezTo>
                  <a:pt x="456" y="3"/>
                  <a:pt x="455" y="3"/>
                  <a:pt x="454" y="3"/>
                </a:cubicBezTo>
                <a:cubicBezTo>
                  <a:pt x="439" y="3"/>
                  <a:pt x="425" y="3"/>
                  <a:pt x="410" y="3"/>
                </a:cubicBezTo>
                <a:cubicBezTo>
                  <a:pt x="407" y="3"/>
                  <a:pt x="404" y="3"/>
                  <a:pt x="400" y="3"/>
                </a:cubicBezTo>
                <a:cubicBezTo>
                  <a:pt x="396" y="4"/>
                  <a:pt x="395" y="4"/>
                  <a:pt x="392" y="5"/>
                </a:cubicBezTo>
                <a:cubicBezTo>
                  <a:pt x="389" y="6"/>
                  <a:pt x="387" y="6"/>
                  <a:pt x="383" y="7"/>
                </a:cubicBezTo>
                <a:cubicBezTo>
                  <a:pt x="380" y="7"/>
                  <a:pt x="377" y="7"/>
                  <a:pt x="374" y="7"/>
                </a:cubicBezTo>
                <a:cubicBezTo>
                  <a:pt x="371" y="7"/>
                  <a:pt x="368" y="7"/>
                  <a:pt x="365" y="7"/>
                </a:cubicBezTo>
                <a:cubicBezTo>
                  <a:pt x="365" y="7"/>
                  <a:pt x="364" y="7"/>
                  <a:pt x="364" y="6"/>
                </a:cubicBezTo>
                <a:cubicBezTo>
                  <a:pt x="364" y="6"/>
                  <a:pt x="363" y="5"/>
                  <a:pt x="362" y="5"/>
                </a:cubicBezTo>
                <a:cubicBezTo>
                  <a:pt x="359" y="5"/>
                  <a:pt x="356" y="5"/>
                  <a:pt x="353" y="5"/>
                </a:cubicBezTo>
                <a:cubicBezTo>
                  <a:pt x="349" y="5"/>
                  <a:pt x="348" y="5"/>
                  <a:pt x="345" y="4"/>
                </a:cubicBezTo>
                <a:cubicBezTo>
                  <a:pt x="343" y="3"/>
                  <a:pt x="340" y="3"/>
                  <a:pt x="336" y="3"/>
                </a:cubicBezTo>
                <a:cubicBezTo>
                  <a:pt x="333" y="3"/>
                  <a:pt x="329" y="3"/>
                  <a:pt x="326" y="3"/>
                </a:cubicBezTo>
                <a:cubicBezTo>
                  <a:pt x="322" y="3"/>
                  <a:pt x="316" y="3"/>
                  <a:pt x="312" y="3"/>
                </a:cubicBezTo>
                <a:cubicBezTo>
                  <a:pt x="310" y="3"/>
                  <a:pt x="309" y="4"/>
                  <a:pt x="307" y="4"/>
                </a:cubicBezTo>
                <a:cubicBezTo>
                  <a:pt x="304" y="5"/>
                  <a:pt x="301" y="4"/>
                  <a:pt x="299" y="4"/>
                </a:cubicBezTo>
                <a:cubicBezTo>
                  <a:pt x="294" y="4"/>
                  <a:pt x="278" y="4"/>
                  <a:pt x="263" y="4"/>
                </a:cubicBezTo>
                <a:cubicBezTo>
                  <a:pt x="257" y="4"/>
                  <a:pt x="252" y="4"/>
                  <a:pt x="246" y="4"/>
                </a:cubicBezTo>
                <a:cubicBezTo>
                  <a:pt x="217" y="5"/>
                  <a:pt x="190" y="3"/>
                  <a:pt x="160" y="3"/>
                </a:cubicBezTo>
                <a:cubicBezTo>
                  <a:pt x="160" y="3"/>
                  <a:pt x="160" y="3"/>
                  <a:pt x="160" y="3"/>
                </a:cubicBezTo>
                <a:cubicBezTo>
                  <a:pt x="160" y="3"/>
                  <a:pt x="159" y="3"/>
                  <a:pt x="159" y="3"/>
                </a:cubicBezTo>
                <a:cubicBezTo>
                  <a:pt x="159" y="3"/>
                  <a:pt x="158" y="3"/>
                  <a:pt x="158" y="3"/>
                </a:cubicBezTo>
                <a:cubicBezTo>
                  <a:pt x="158" y="3"/>
                  <a:pt x="158" y="3"/>
                  <a:pt x="157" y="3"/>
                </a:cubicBezTo>
                <a:cubicBezTo>
                  <a:pt x="157" y="3"/>
                  <a:pt x="157" y="3"/>
                  <a:pt x="157" y="3"/>
                </a:cubicBezTo>
                <a:cubicBezTo>
                  <a:pt x="146" y="3"/>
                  <a:pt x="134" y="3"/>
                  <a:pt x="121" y="3"/>
                </a:cubicBezTo>
                <a:cubicBezTo>
                  <a:pt x="121" y="3"/>
                  <a:pt x="121" y="3"/>
                  <a:pt x="121" y="3"/>
                </a:cubicBezTo>
                <a:cubicBezTo>
                  <a:pt x="120" y="3"/>
                  <a:pt x="120" y="3"/>
                  <a:pt x="120" y="3"/>
                </a:cubicBezTo>
                <a:cubicBezTo>
                  <a:pt x="119" y="3"/>
                  <a:pt x="117" y="3"/>
                  <a:pt x="116" y="3"/>
                </a:cubicBezTo>
                <a:cubicBezTo>
                  <a:pt x="111" y="3"/>
                  <a:pt x="107" y="3"/>
                  <a:pt x="102" y="3"/>
                </a:cubicBezTo>
                <a:cubicBezTo>
                  <a:pt x="84" y="3"/>
                  <a:pt x="59" y="3"/>
                  <a:pt x="37" y="3"/>
                </a:cubicBezTo>
                <a:cubicBezTo>
                  <a:pt x="34" y="3"/>
                  <a:pt x="30" y="3"/>
                  <a:pt x="27" y="3"/>
                </a:cubicBezTo>
                <a:cubicBezTo>
                  <a:pt x="19" y="3"/>
                  <a:pt x="7" y="1"/>
                  <a:pt x="1" y="7"/>
                </a:cubicBezTo>
                <a:cubicBezTo>
                  <a:pt x="0" y="9"/>
                  <a:pt x="0" y="11"/>
                  <a:pt x="0" y="14"/>
                </a:cubicBezTo>
                <a:cubicBezTo>
                  <a:pt x="0" y="14"/>
                  <a:pt x="0" y="15"/>
                  <a:pt x="0" y="15"/>
                </a:cubicBezTo>
                <a:cubicBezTo>
                  <a:pt x="0" y="19"/>
                  <a:pt x="0" y="24"/>
                  <a:pt x="0" y="27"/>
                </a:cubicBezTo>
                <a:cubicBezTo>
                  <a:pt x="0" y="31"/>
                  <a:pt x="2" y="34"/>
                  <a:pt x="3" y="38"/>
                </a:cubicBezTo>
                <a:cubicBezTo>
                  <a:pt x="3" y="39"/>
                  <a:pt x="3" y="43"/>
                  <a:pt x="4" y="44"/>
                </a:cubicBezTo>
                <a:cubicBezTo>
                  <a:pt x="5" y="46"/>
                  <a:pt x="6" y="46"/>
                  <a:pt x="7" y="47"/>
                </a:cubicBezTo>
                <a:cubicBezTo>
                  <a:pt x="12" y="49"/>
                  <a:pt x="14" y="50"/>
                  <a:pt x="19" y="51"/>
                </a:cubicBezTo>
                <a:cubicBezTo>
                  <a:pt x="24" y="52"/>
                  <a:pt x="29" y="53"/>
                  <a:pt x="34" y="53"/>
                </a:cubicBezTo>
                <a:cubicBezTo>
                  <a:pt x="38" y="54"/>
                  <a:pt x="43" y="54"/>
                  <a:pt x="48" y="54"/>
                </a:cubicBezTo>
                <a:cubicBezTo>
                  <a:pt x="49" y="54"/>
                  <a:pt x="50" y="54"/>
                  <a:pt x="52" y="53"/>
                </a:cubicBezTo>
                <a:cubicBezTo>
                  <a:pt x="53" y="53"/>
                  <a:pt x="54" y="53"/>
                  <a:pt x="55" y="53"/>
                </a:cubicBezTo>
                <a:cubicBezTo>
                  <a:pt x="56" y="53"/>
                  <a:pt x="58" y="54"/>
                  <a:pt x="59" y="54"/>
                </a:cubicBezTo>
                <a:cubicBezTo>
                  <a:pt x="61" y="54"/>
                  <a:pt x="62" y="54"/>
                  <a:pt x="63" y="54"/>
                </a:cubicBezTo>
                <a:cubicBezTo>
                  <a:pt x="66" y="54"/>
                  <a:pt x="68" y="55"/>
                  <a:pt x="70" y="55"/>
                </a:cubicBezTo>
                <a:cubicBezTo>
                  <a:pt x="72" y="55"/>
                  <a:pt x="74" y="54"/>
                  <a:pt x="76" y="54"/>
                </a:cubicBezTo>
                <a:cubicBezTo>
                  <a:pt x="78" y="54"/>
                  <a:pt x="81" y="54"/>
                  <a:pt x="83" y="54"/>
                </a:cubicBezTo>
                <a:cubicBezTo>
                  <a:pt x="84" y="54"/>
                  <a:pt x="86" y="53"/>
                  <a:pt x="87" y="53"/>
                </a:cubicBezTo>
                <a:cubicBezTo>
                  <a:pt x="89" y="52"/>
                  <a:pt x="91" y="52"/>
                  <a:pt x="93" y="53"/>
                </a:cubicBezTo>
                <a:cubicBezTo>
                  <a:pt x="98" y="53"/>
                  <a:pt x="104" y="53"/>
                  <a:pt x="111" y="53"/>
                </a:cubicBezTo>
                <a:cubicBezTo>
                  <a:pt x="117" y="53"/>
                  <a:pt x="123" y="53"/>
                  <a:pt x="129" y="53"/>
                </a:cubicBezTo>
                <a:cubicBezTo>
                  <a:pt x="146" y="54"/>
                  <a:pt x="164" y="54"/>
                  <a:pt x="181" y="54"/>
                </a:cubicBezTo>
                <a:cubicBezTo>
                  <a:pt x="187" y="54"/>
                  <a:pt x="192" y="54"/>
                  <a:pt x="198" y="53"/>
                </a:cubicBezTo>
                <a:cubicBezTo>
                  <a:pt x="201" y="53"/>
                  <a:pt x="205" y="53"/>
                  <a:pt x="209" y="53"/>
                </a:cubicBezTo>
                <a:cubicBezTo>
                  <a:pt x="214" y="53"/>
                  <a:pt x="220" y="54"/>
                  <a:pt x="226" y="54"/>
                </a:cubicBezTo>
                <a:cubicBezTo>
                  <a:pt x="231" y="54"/>
                  <a:pt x="236" y="54"/>
                  <a:pt x="241" y="54"/>
                </a:cubicBezTo>
                <a:cubicBezTo>
                  <a:pt x="249" y="54"/>
                  <a:pt x="257" y="55"/>
                  <a:pt x="264" y="55"/>
                </a:cubicBezTo>
                <a:cubicBezTo>
                  <a:pt x="272" y="55"/>
                  <a:pt x="280" y="54"/>
                  <a:pt x="288" y="54"/>
                </a:cubicBezTo>
                <a:cubicBezTo>
                  <a:pt x="297" y="54"/>
                  <a:pt x="306" y="54"/>
                  <a:pt x="315" y="54"/>
                </a:cubicBezTo>
                <a:cubicBezTo>
                  <a:pt x="321" y="54"/>
                  <a:pt x="325" y="53"/>
                  <a:pt x="330" y="53"/>
                </a:cubicBezTo>
                <a:cubicBezTo>
                  <a:pt x="337" y="52"/>
                  <a:pt x="345" y="52"/>
                  <a:pt x="352" y="53"/>
                </a:cubicBezTo>
                <a:cubicBezTo>
                  <a:pt x="490" y="54"/>
                  <a:pt x="829" y="54"/>
                  <a:pt x="894" y="53"/>
                </a:cubicBezTo>
                <a:cubicBezTo>
                  <a:pt x="908" y="53"/>
                  <a:pt x="939" y="53"/>
                  <a:pt x="962" y="53"/>
                </a:cubicBezTo>
                <a:cubicBezTo>
                  <a:pt x="985" y="53"/>
                  <a:pt x="1020" y="53"/>
                  <a:pt x="1041" y="52"/>
                </a:cubicBezTo>
                <a:cubicBezTo>
                  <a:pt x="1151" y="52"/>
                  <a:pt x="1195" y="51"/>
                  <a:pt x="1306" y="51"/>
                </a:cubicBezTo>
                <a:cubicBezTo>
                  <a:pt x="1314" y="51"/>
                  <a:pt x="1323" y="51"/>
                  <a:pt x="1332" y="51"/>
                </a:cubicBezTo>
                <a:cubicBezTo>
                  <a:pt x="1339" y="51"/>
                  <a:pt x="1350" y="51"/>
                  <a:pt x="1356" y="51"/>
                </a:cubicBezTo>
                <a:cubicBezTo>
                  <a:pt x="1357" y="50"/>
                  <a:pt x="1357" y="50"/>
                  <a:pt x="1358" y="50"/>
                </a:cubicBezTo>
                <a:cubicBezTo>
                  <a:pt x="1361" y="50"/>
                  <a:pt x="1363" y="51"/>
                  <a:pt x="1366" y="51"/>
                </a:cubicBezTo>
                <a:cubicBezTo>
                  <a:pt x="1368" y="52"/>
                  <a:pt x="1371" y="52"/>
                  <a:pt x="1375" y="52"/>
                </a:cubicBezTo>
                <a:cubicBezTo>
                  <a:pt x="1376" y="52"/>
                  <a:pt x="1376" y="51"/>
                  <a:pt x="1377" y="51"/>
                </a:cubicBezTo>
                <a:cubicBezTo>
                  <a:pt x="1380" y="50"/>
                  <a:pt x="1385" y="50"/>
                  <a:pt x="1390" y="50"/>
                </a:cubicBezTo>
                <a:cubicBezTo>
                  <a:pt x="1396" y="50"/>
                  <a:pt x="1403" y="50"/>
                  <a:pt x="1410" y="50"/>
                </a:cubicBezTo>
                <a:cubicBezTo>
                  <a:pt x="1424" y="50"/>
                  <a:pt x="1439" y="50"/>
                  <a:pt x="1454" y="50"/>
                </a:cubicBezTo>
                <a:cubicBezTo>
                  <a:pt x="1468" y="50"/>
                  <a:pt x="1483" y="50"/>
                  <a:pt x="1497" y="50"/>
                </a:cubicBezTo>
                <a:cubicBezTo>
                  <a:pt x="1503" y="50"/>
                  <a:pt x="1509" y="50"/>
                  <a:pt x="1514" y="50"/>
                </a:cubicBezTo>
                <a:cubicBezTo>
                  <a:pt x="1520" y="50"/>
                  <a:pt x="1528" y="50"/>
                  <a:pt x="1533" y="51"/>
                </a:cubicBezTo>
                <a:cubicBezTo>
                  <a:pt x="1537" y="52"/>
                  <a:pt x="1541" y="53"/>
                  <a:pt x="1546" y="51"/>
                </a:cubicBezTo>
                <a:cubicBezTo>
                  <a:pt x="1547" y="51"/>
                  <a:pt x="1547" y="51"/>
                  <a:pt x="1548" y="51"/>
                </a:cubicBezTo>
                <a:cubicBezTo>
                  <a:pt x="1549" y="51"/>
                  <a:pt x="1550" y="51"/>
                  <a:pt x="1551" y="51"/>
                </a:cubicBezTo>
                <a:cubicBezTo>
                  <a:pt x="1565" y="50"/>
                  <a:pt x="1582" y="50"/>
                  <a:pt x="1596" y="50"/>
                </a:cubicBezTo>
                <a:cubicBezTo>
                  <a:pt x="1613" y="50"/>
                  <a:pt x="1629" y="50"/>
                  <a:pt x="1645" y="50"/>
                </a:cubicBezTo>
                <a:cubicBezTo>
                  <a:pt x="1678" y="50"/>
                  <a:pt x="1711" y="51"/>
                  <a:pt x="1744" y="51"/>
                </a:cubicBezTo>
                <a:cubicBezTo>
                  <a:pt x="1771" y="51"/>
                  <a:pt x="1799" y="51"/>
                  <a:pt x="1826" y="51"/>
                </a:cubicBezTo>
                <a:cubicBezTo>
                  <a:pt x="1891" y="51"/>
                  <a:pt x="1957" y="51"/>
                  <a:pt x="2022" y="51"/>
                </a:cubicBezTo>
                <a:cubicBezTo>
                  <a:pt x="2036" y="51"/>
                  <a:pt x="2051" y="51"/>
                  <a:pt x="2065" y="51"/>
                </a:cubicBezTo>
                <a:cubicBezTo>
                  <a:pt x="2072" y="51"/>
                  <a:pt x="2079" y="51"/>
                  <a:pt x="2087" y="51"/>
                </a:cubicBezTo>
                <a:cubicBezTo>
                  <a:pt x="2092" y="51"/>
                  <a:pt x="2098" y="52"/>
                  <a:pt x="2103" y="51"/>
                </a:cubicBezTo>
                <a:cubicBezTo>
                  <a:pt x="2108" y="50"/>
                  <a:pt x="2108" y="51"/>
                  <a:pt x="2112" y="51"/>
                </a:cubicBezTo>
                <a:cubicBezTo>
                  <a:pt x="2113" y="51"/>
                  <a:pt x="2122" y="52"/>
                  <a:pt x="2123" y="51"/>
                </a:cubicBezTo>
                <a:cubicBezTo>
                  <a:pt x="2124" y="51"/>
                  <a:pt x="2129" y="51"/>
                  <a:pt x="2130" y="51"/>
                </a:cubicBezTo>
                <a:cubicBezTo>
                  <a:pt x="2137" y="51"/>
                  <a:pt x="2143" y="51"/>
                  <a:pt x="2149" y="51"/>
                </a:cubicBezTo>
                <a:cubicBezTo>
                  <a:pt x="2163" y="51"/>
                  <a:pt x="2177" y="51"/>
                  <a:pt x="2191" y="51"/>
                </a:cubicBezTo>
                <a:cubicBezTo>
                  <a:pt x="2192" y="51"/>
                  <a:pt x="2193" y="51"/>
                  <a:pt x="2195" y="51"/>
                </a:cubicBezTo>
                <a:cubicBezTo>
                  <a:pt x="2196" y="51"/>
                  <a:pt x="2197" y="51"/>
                  <a:pt x="2198" y="50"/>
                </a:cubicBezTo>
                <a:cubicBezTo>
                  <a:pt x="2202" y="49"/>
                  <a:pt x="2210" y="49"/>
                  <a:pt x="2215" y="49"/>
                </a:cubicBezTo>
                <a:cubicBezTo>
                  <a:pt x="2217" y="49"/>
                  <a:pt x="2221" y="49"/>
                  <a:pt x="2221" y="49"/>
                </a:cubicBezTo>
                <a:cubicBezTo>
                  <a:pt x="2222" y="50"/>
                  <a:pt x="2216" y="51"/>
                  <a:pt x="2223" y="51"/>
                </a:cubicBezTo>
                <a:cubicBezTo>
                  <a:pt x="2225" y="51"/>
                  <a:pt x="2227" y="51"/>
                  <a:pt x="2229" y="50"/>
                </a:cubicBezTo>
                <a:cubicBezTo>
                  <a:pt x="2231" y="50"/>
                  <a:pt x="2234" y="50"/>
                  <a:pt x="2235" y="51"/>
                </a:cubicBezTo>
                <a:cubicBezTo>
                  <a:pt x="2235" y="51"/>
                  <a:pt x="2236" y="51"/>
                  <a:pt x="2237" y="51"/>
                </a:cubicBezTo>
                <a:cubicBezTo>
                  <a:pt x="2246" y="51"/>
                  <a:pt x="2254" y="51"/>
                  <a:pt x="2263" y="51"/>
                </a:cubicBezTo>
                <a:cubicBezTo>
                  <a:pt x="2270" y="51"/>
                  <a:pt x="2282" y="51"/>
                  <a:pt x="2289" y="50"/>
                </a:cubicBezTo>
                <a:cubicBezTo>
                  <a:pt x="2291" y="50"/>
                  <a:pt x="2292" y="50"/>
                  <a:pt x="2294" y="50"/>
                </a:cubicBezTo>
                <a:cubicBezTo>
                  <a:pt x="2297" y="49"/>
                  <a:pt x="2302" y="49"/>
                  <a:pt x="2305" y="49"/>
                </a:cubicBezTo>
                <a:cubicBezTo>
                  <a:pt x="2311" y="50"/>
                  <a:pt x="2317" y="50"/>
                  <a:pt x="2322" y="50"/>
                </a:cubicBezTo>
                <a:cubicBezTo>
                  <a:pt x="2328" y="51"/>
                  <a:pt x="2334" y="51"/>
                  <a:pt x="2339" y="50"/>
                </a:cubicBezTo>
                <a:cubicBezTo>
                  <a:pt x="2340" y="50"/>
                  <a:pt x="2341" y="50"/>
                  <a:pt x="2342" y="50"/>
                </a:cubicBezTo>
                <a:cubicBezTo>
                  <a:pt x="2342" y="50"/>
                  <a:pt x="2343" y="50"/>
                  <a:pt x="2344" y="50"/>
                </a:cubicBezTo>
                <a:cubicBezTo>
                  <a:pt x="2346" y="50"/>
                  <a:pt x="2348" y="50"/>
                  <a:pt x="2351" y="50"/>
                </a:cubicBezTo>
                <a:cubicBezTo>
                  <a:pt x="2352" y="51"/>
                  <a:pt x="2369" y="51"/>
                  <a:pt x="2372" y="51"/>
                </a:cubicBezTo>
                <a:cubicBezTo>
                  <a:pt x="2380" y="51"/>
                  <a:pt x="2389" y="51"/>
                  <a:pt x="2398" y="51"/>
                </a:cubicBezTo>
                <a:cubicBezTo>
                  <a:pt x="2420" y="51"/>
                  <a:pt x="2443" y="52"/>
                  <a:pt x="2465" y="52"/>
                </a:cubicBezTo>
                <a:cubicBezTo>
                  <a:pt x="2474" y="52"/>
                  <a:pt x="2483" y="51"/>
                  <a:pt x="2492" y="51"/>
                </a:cubicBezTo>
                <a:cubicBezTo>
                  <a:pt x="2496" y="51"/>
                  <a:pt x="2501" y="52"/>
                  <a:pt x="2506" y="51"/>
                </a:cubicBezTo>
                <a:cubicBezTo>
                  <a:pt x="2509" y="51"/>
                  <a:pt x="2512" y="51"/>
                  <a:pt x="2516" y="51"/>
                </a:cubicBezTo>
                <a:cubicBezTo>
                  <a:pt x="2520" y="51"/>
                  <a:pt x="2525" y="51"/>
                  <a:pt x="2529" y="51"/>
                </a:cubicBezTo>
                <a:cubicBezTo>
                  <a:pt x="2531" y="51"/>
                  <a:pt x="2533" y="51"/>
                  <a:pt x="2535" y="51"/>
                </a:cubicBezTo>
                <a:cubicBezTo>
                  <a:pt x="2537" y="51"/>
                  <a:pt x="2539" y="50"/>
                  <a:pt x="2542" y="50"/>
                </a:cubicBezTo>
                <a:cubicBezTo>
                  <a:pt x="2545" y="50"/>
                  <a:pt x="2548" y="51"/>
                  <a:pt x="2551" y="51"/>
                </a:cubicBezTo>
                <a:cubicBezTo>
                  <a:pt x="2560" y="52"/>
                  <a:pt x="2568" y="51"/>
                  <a:pt x="2578" y="52"/>
                </a:cubicBezTo>
                <a:cubicBezTo>
                  <a:pt x="2590" y="52"/>
                  <a:pt x="2603" y="52"/>
                  <a:pt x="2606" y="52"/>
                </a:cubicBezTo>
                <a:cubicBezTo>
                  <a:pt x="2609" y="52"/>
                  <a:pt x="2628" y="52"/>
                  <a:pt x="2649" y="52"/>
                </a:cubicBezTo>
                <a:cubicBezTo>
                  <a:pt x="2656" y="52"/>
                  <a:pt x="2663" y="52"/>
                  <a:pt x="2671" y="52"/>
                </a:cubicBezTo>
                <a:cubicBezTo>
                  <a:pt x="2674" y="52"/>
                  <a:pt x="2677" y="52"/>
                  <a:pt x="2680" y="52"/>
                </a:cubicBezTo>
                <a:cubicBezTo>
                  <a:pt x="2683" y="52"/>
                  <a:pt x="2686" y="52"/>
                  <a:pt x="2688" y="52"/>
                </a:cubicBezTo>
                <a:cubicBezTo>
                  <a:pt x="2689" y="51"/>
                  <a:pt x="2690" y="51"/>
                  <a:pt x="2691" y="51"/>
                </a:cubicBezTo>
                <a:cubicBezTo>
                  <a:pt x="2692" y="51"/>
                  <a:pt x="2692" y="51"/>
                  <a:pt x="2692" y="52"/>
                </a:cubicBezTo>
                <a:cubicBezTo>
                  <a:pt x="2694" y="52"/>
                  <a:pt x="2699" y="52"/>
                  <a:pt x="2702" y="51"/>
                </a:cubicBezTo>
                <a:cubicBezTo>
                  <a:pt x="2708" y="51"/>
                  <a:pt x="2714" y="52"/>
                  <a:pt x="2720" y="52"/>
                </a:cubicBezTo>
                <a:cubicBezTo>
                  <a:pt x="2743" y="52"/>
                  <a:pt x="2754" y="52"/>
                  <a:pt x="2770" y="53"/>
                </a:cubicBezTo>
                <a:cubicBezTo>
                  <a:pt x="2783" y="54"/>
                  <a:pt x="2834" y="54"/>
                  <a:pt x="2863" y="53"/>
                </a:cubicBezTo>
                <a:cubicBezTo>
                  <a:pt x="2871" y="53"/>
                  <a:pt x="2885" y="53"/>
                  <a:pt x="2891" y="52"/>
                </a:cubicBezTo>
                <a:cubicBezTo>
                  <a:pt x="2893" y="51"/>
                  <a:pt x="2895" y="51"/>
                  <a:pt x="2897" y="51"/>
                </a:cubicBezTo>
                <a:cubicBezTo>
                  <a:pt x="2899" y="52"/>
                  <a:pt x="2898" y="52"/>
                  <a:pt x="2902" y="53"/>
                </a:cubicBezTo>
                <a:cubicBezTo>
                  <a:pt x="2903" y="53"/>
                  <a:pt x="2910" y="53"/>
                  <a:pt x="2912" y="53"/>
                </a:cubicBezTo>
                <a:cubicBezTo>
                  <a:pt x="2916" y="53"/>
                  <a:pt x="2926" y="53"/>
                  <a:pt x="2927" y="52"/>
                </a:cubicBezTo>
                <a:cubicBezTo>
                  <a:pt x="2928" y="52"/>
                  <a:pt x="2928" y="51"/>
                  <a:pt x="2930" y="51"/>
                </a:cubicBezTo>
                <a:cubicBezTo>
                  <a:pt x="2931" y="51"/>
                  <a:pt x="2932" y="51"/>
                  <a:pt x="2932" y="51"/>
                </a:cubicBezTo>
                <a:cubicBezTo>
                  <a:pt x="2935" y="51"/>
                  <a:pt x="2938" y="51"/>
                  <a:pt x="2942" y="51"/>
                </a:cubicBezTo>
                <a:cubicBezTo>
                  <a:pt x="2943" y="51"/>
                  <a:pt x="2943" y="51"/>
                  <a:pt x="2942" y="52"/>
                </a:cubicBezTo>
                <a:cubicBezTo>
                  <a:pt x="2941" y="52"/>
                  <a:pt x="2939" y="52"/>
                  <a:pt x="2940" y="52"/>
                </a:cubicBezTo>
                <a:cubicBezTo>
                  <a:pt x="2940" y="53"/>
                  <a:pt x="2942" y="53"/>
                  <a:pt x="2944" y="53"/>
                </a:cubicBezTo>
                <a:cubicBezTo>
                  <a:pt x="2945" y="53"/>
                  <a:pt x="2947" y="53"/>
                  <a:pt x="2948" y="52"/>
                </a:cubicBezTo>
                <a:cubicBezTo>
                  <a:pt x="2952" y="52"/>
                  <a:pt x="2957" y="51"/>
                  <a:pt x="2961" y="51"/>
                </a:cubicBezTo>
                <a:cubicBezTo>
                  <a:pt x="2965" y="51"/>
                  <a:pt x="2969" y="51"/>
                  <a:pt x="2974" y="51"/>
                </a:cubicBezTo>
                <a:cubicBezTo>
                  <a:pt x="2978" y="51"/>
                  <a:pt x="2983" y="50"/>
                  <a:pt x="2985" y="52"/>
                </a:cubicBezTo>
                <a:cubicBezTo>
                  <a:pt x="2988" y="53"/>
                  <a:pt x="2986" y="53"/>
                  <a:pt x="2991" y="53"/>
                </a:cubicBezTo>
                <a:cubicBezTo>
                  <a:pt x="2994" y="53"/>
                  <a:pt x="2994" y="52"/>
                  <a:pt x="2997" y="52"/>
                </a:cubicBezTo>
                <a:cubicBezTo>
                  <a:pt x="3004" y="53"/>
                  <a:pt x="3011" y="53"/>
                  <a:pt x="3019" y="53"/>
                </a:cubicBezTo>
                <a:cubicBezTo>
                  <a:pt x="3026" y="53"/>
                  <a:pt x="3037" y="54"/>
                  <a:pt x="3043" y="52"/>
                </a:cubicBezTo>
                <a:cubicBezTo>
                  <a:pt x="3045" y="52"/>
                  <a:pt x="3046" y="52"/>
                  <a:pt x="3047" y="51"/>
                </a:cubicBezTo>
                <a:cubicBezTo>
                  <a:pt x="3051" y="50"/>
                  <a:pt x="3063" y="50"/>
                  <a:pt x="3066" y="52"/>
                </a:cubicBezTo>
                <a:cubicBezTo>
                  <a:pt x="3066" y="52"/>
                  <a:pt x="3066" y="52"/>
                  <a:pt x="3067" y="52"/>
                </a:cubicBezTo>
                <a:cubicBezTo>
                  <a:pt x="3067" y="53"/>
                  <a:pt x="3070" y="53"/>
                  <a:pt x="3074" y="54"/>
                </a:cubicBezTo>
                <a:cubicBezTo>
                  <a:pt x="3075" y="54"/>
                  <a:pt x="3076" y="54"/>
                  <a:pt x="3076" y="53"/>
                </a:cubicBezTo>
                <a:cubicBezTo>
                  <a:pt x="3077" y="53"/>
                  <a:pt x="3079" y="52"/>
                  <a:pt x="3081" y="53"/>
                </a:cubicBezTo>
                <a:cubicBezTo>
                  <a:pt x="3081" y="53"/>
                  <a:pt x="3083" y="53"/>
                  <a:pt x="3085" y="53"/>
                </a:cubicBezTo>
                <a:cubicBezTo>
                  <a:pt x="3085" y="54"/>
                  <a:pt x="3086" y="54"/>
                  <a:pt x="3087" y="54"/>
                </a:cubicBezTo>
                <a:cubicBezTo>
                  <a:pt x="3118" y="54"/>
                  <a:pt x="3149" y="53"/>
                  <a:pt x="3180" y="54"/>
                </a:cubicBezTo>
                <a:cubicBezTo>
                  <a:pt x="3183" y="54"/>
                  <a:pt x="3191" y="54"/>
                  <a:pt x="3198" y="54"/>
                </a:cubicBezTo>
                <a:cubicBezTo>
                  <a:pt x="3205" y="54"/>
                  <a:pt x="3217" y="54"/>
                  <a:pt x="3225" y="55"/>
                </a:cubicBezTo>
                <a:cubicBezTo>
                  <a:pt x="3233" y="55"/>
                  <a:pt x="3247" y="55"/>
                  <a:pt x="3256" y="55"/>
                </a:cubicBezTo>
                <a:cubicBezTo>
                  <a:pt x="3262" y="56"/>
                  <a:pt x="3268" y="56"/>
                  <a:pt x="3274" y="56"/>
                </a:cubicBezTo>
                <a:cubicBezTo>
                  <a:pt x="3279" y="56"/>
                  <a:pt x="3284" y="57"/>
                  <a:pt x="3289" y="56"/>
                </a:cubicBezTo>
                <a:cubicBezTo>
                  <a:pt x="3295" y="56"/>
                  <a:pt x="3298" y="55"/>
                  <a:pt x="3305" y="55"/>
                </a:cubicBezTo>
                <a:cubicBezTo>
                  <a:pt x="3313" y="55"/>
                  <a:pt x="3322" y="55"/>
                  <a:pt x="3330" y="55"/>
                </a:cubicBezTo>
                <a:cubicBezTo>
                  <a:pt x="3342" y="55"/>
                  <a:pt x="3354" y="55"/>
                  <a:pt x="3367" y="55"/>
                </a:cubicBezTo>
                <a:cubicBezTo>
                  <a:pt x="3378" y="55"/>
                  <a:pt x="3390" y="55"/>
                  <a:pt x="3401" y="55"/>
                </a:cubicBezTo>
                <a:cubicBezTo>
                  <a:pt x="3401" y="54"/>
                  <a:pt x="3403" y="54"/>
                  <a:pt x="3405" y="53"/>
                </a:cubicBezTo>
                <a:cubicBezTo>
                  <a:pt x="3407" y="53"/>
                  <a:pt x="3409" y="53"/>
                  <a:pt x="3411" y="53"/>
                </a:cubicBezTo>
                <a:cubicBezTo>
                  <a:pt x="3411" y="55"/>
                  <a:pt x="3424" y="54"/>
                  <a:pt x="3428" y="54"/>
                </a:cubicBezTo>
                <a:cubicBezTo>
                  <a:pt x="3432" y="54"/>
                  <a:pt x="3440" y="54"/>
                  <a:pt x="3443" y="54"/>
                </a:cubicBezTo>
                <a:cubicBezTo>
                  <a:pt x="3445" y="54"/>
                  <a:pt x="3449" y="52"/>
                  <a:pt x="3451" y="53"/>
                </a:cubicBezTo>
                <a:cubicBezTo>
                  <a:pt x="3449" y="53"/>
                  <a:pt x="3450" y="54"/>
                  <a:pt x="3452" y="54"/>
                </a:cubicBezTo>
                <a:cubicBezTo>
                  <a:pt x="3453" y="54"/>
                  <a:pt x="3455" y="54"/>
                  <a:pt x="3457" y="54"/>
                </a:cubicBezTo>
                <a:cubicBezTo>
                  <a:pt x="3461" y="54"/>
                  <a:pt x="3468" y="54"/>
                  <a:pt x="3472" y="55"/>
                </a:cubicBezTo>
                <a:cubicBezTo>
                  <a:pt x="3475" y="55"/>
                  <a:pt x="3474" y="58"/>
                  <a:pt x="3481" y="57"/>
                </a:cubicBezTo>
                <a:cubicBezTo>
                  <a:pt x="3483" y="56"/>
                  <a:pt x="3484" y="56"/>
                  <a:pt x="3486" y="55"/>
                </a:cubicBezTo>
                <a:cubicBezTo>
                  <a:pt x="3490" y="54"/>
                  <a:pt x="3497" y="54"/>
                  <a:pt x="3503" y="54"/>
                </a:cubicBezTo>
                <a:cubicBezTo>
                  <a:pt x="3512" y="54"/>
                  <a:pt x="3522" y="54"/>
                  <a:pt x="3531" y="54"/>
                </a:cubicBezTo>
                <a:cubicBezTo>
                  <a:pt x="3549" y="54"/>
                  <a:pt x="3567" y="54"/>
                  <a:pt x="3585" y="54"/>
                </a:cubicBezTo>
                <a:cubicBezTo>
                  <a:pt x="3638" y="54"/>
                  <a:pt x="3690" y="55"/>
                  <a:pt x="3701" y="55"/>
                </a:cubicBezTo>
                <a:cubicBezTo>
                  <a:pt x="3712" y="55"/>
                  <a:pt x="3754" y="54"/>
                  <a:pt x="3795" y="54"/>
                </a:cubicBezTo>
                <a:cubicBezTo>
                  <a:pt x="3835" y="54"/>
                  <a:pt x="3903" y="54"/>
                  <a:pt x="3945" y="54"/>
                </a:cubicBezTo>
                <a:cubicBezTo>
                  <a:pt x="3986" y="54"/>
                  <a:pt x="4095" y="54"/>
                  <a:pt x="4186" y="55"/>
                </a:cubicBezTo>
                <a:cubicBezTo>
                  <a:pt x="4215" y="55"/>
                  <a:pt x="4243" y="55"/>
                  <a:pt x="4272" y="55"/>
                </a:cubicBezTo>
                <a:cubicBezTo>
                  <a:pt x="4286" y="55"/>
                  <a:pt x="4300" y="55"/>
                  <a:pt x="4315" y="55"/>
                </a:cubicBezTo>
                <a:cubicBezTo>
                  <a:pt x="4327" y="55"/>
                  <a:pt x="4343" y="55"/>
                  <a:pt x="4355" y="54"/>
                </a:cubicBezTo>
                <a:cubicBezTo>
                  <a:pt x="4356" y="54"/>
                  <a:pt x="4356" y="54"/>
                  <a:pt x="4357" y="54"/>
                </a:cubicBezTo>
                <a:cubicBezTo>
                  <a:pt x="4362" y="54"/>
                  <a:pt x="4367" y="55"/>
                  <a:pt x="4372" y="54"/>
                </a:cubicBezTo>
                <a:cubicBezTo>
                  <a:pt x="4379" y="54"/>
                  <a:pt x="4387" y="54"/>
                  <a:pt x="4394" y="54"/>
                </a:cubicBezTo>
                <a:cubicBezTo>
                  <a:pt x="4409" y="54"/>
                  <a:pt x="4423" y="54"/>
                  <a:pt x="4438" y="54"/>
                </a:cubicBezTo>
                <a:cubicBezTo>
                  <a:pt x="4451" y="54"/>
                  <a:pt x="4464" y="54"/>
                  <a:pt x="4477" y="54"/>
                </a:cubicBezTo>
                <a:cubicBezTo>
                  <a:pt x="4484" y="54"/>
                  <a:pt x="4490" y="54"/>
                  <a:pt x="4497" y="54"/>
                </a:cubicBezTo>
                <a:cubicBezTo>
                  <a:pt x="4502" y="54"/>
                  <a:pt x="4509" y="54"/>
                  <a:pt x="4514" y="54"/>
                </a:cubicBezTo>
                <a:cubicBezTo>
                  <a:pt x="4515" y="54"/>
                  <a:pt x="4518" y="54"/>
                  <a:pt x="4520" y="54"/>
                </a:cubicBezTo>
                <a:cubicBezTo>
                  <a:pt x="4524" y="54"/>
                  <a:pt x="4528" y="54"/>
                  <a:pt x="4532" y="54"/>
                </a:cubicBezTo>
                <a:cubicBezTo>
                  <a:pt x="4537" y="54"/>
                  <a:pt x="4542" y="54"/>
                  <a:pt x="4547" y="54"/>
                </a:cubicBezTo>
                <a:cubicBezTo>
                  <a:pt x="4563" y="54"/>
                  <a:pt x="4602" y="54"/>
                  <a:pt x="4635" y="54"/>
                </a:cubicBezTo>
                <a:cubicBezTo>
                  <a:pt x="4645" y="54"/>
                  <a:pt x="4654" y="54"/>
                  <a:pt x="4664" y="54"/>
                </a:cubicBezTo>
                <a:cubicBezTo>
                  <a:pt x="4672" y="54"/>
                  <a:pt x="4683" y="53"/>
                  <a:pt x="4691" y="54"/>
                </a:cubicBezTo>
                <a:cubicBezTo>
                  <a:pt x="4691" y="54"/>
                  <a:pt x="4692" y="54"/>
                  <a:pt x="4692" y="54"/>
                </a:cubicBezTo>
                <a:cubicBezTo>
                  <a:pt x="4692" y="54"/>
                  <a:pt x="4692" y="54"/>
                  <a:pt x="4692" y="55"/>
                </a:cubicBezTo>
                <a:cubicBezTo>
                  <a:pt x="4693" y="55"/>
                  <a:pt x="4695" y="56"/>
                  <a:pt x="4697" y="56"/>
                </a:cubicBezTo>
                <a:cubicBezTo>
                  <a:pt x="4700" y="56"/>
                  <a:pt x="4702" y="56"/>
                  <a:pt x="4704" y="56"/>
                </a:cubicBezTo>
                <a:cubicBezTo>
                  <a:pt x="4710" y="55"/>
                  <a:pt x="4715" y="55"/>
                  <a:pt x="4720" y="55"/>
                </a:cubicBezTo>
                <a:cubicBezTo>
                  <a:pt x="4723" y="55"/>
                  <a:pt x="4725" y="55"/>
                  <a:pt x="4727" y="55"/>
                </a:cubicBezTo>
                <a:cubicBezTo>
                  <a:pt x="4729" y="55"/>
                  <a:pt x="4730" y="54"/>
                  <a:pt x="4731" y="54"/>
                </a:cubicBezTo>
                <a:cubicBezTo>
                  <a:pt x="4733" y="54"/>
                  <a:pt x="4734" y="55"/>
                  <a:pt x="4736" y="54"/>
                </a:cubicBezTo>
                <a:cubicBezTo>
                  <a:pt x="4736" y="54"/>
                  <a:pt x="4737" y="54"/>
                  <a:pt x="4737" y="54"/>
                </a:cubicBezTo>
                <a:cubicBezTo>
                  <a:pt x="4741" y="53"/>
                  <a:pt x="4750" y="54"/>
                  <a:pt x="4754" y="54"/>
                </a:cubicBezTo>
                <a:cubicBezTo>
                  <a:pt x="4759" y="54"/>
                  <a:pt x="4762" y="55"/>
                  <a:pt x="4769" y="54"/>
                </a:cubicBezTo>
                <a:cubicBezTo>
                  <a:pt x="4771" y="55"/>
                  <a:pt x="4782" y="54"/>
                  <a:pt x="4785" y="54"/>
                </a:cubicBezTo>
                <a:cubicBezTo>
                  <a:pt x="4791" y="54"/>
                  <a:pt x="4798" y="54"/>
                  <a:pt x="4804" y="54"/>
                </a:cubicBezTo>
                <a:cubicBezTo>
                  <a:pt x="4812" y="54"/>
                  <a:pt x="4819" y="54"/>
                  <a:pt x="4827" y="54"/>
                </a:cubicBezTo>
                <a:cubicBezTo>
                  <a:pt x="4831" y="54"/>
                  <a:pt x="4840" y="54"/>
                  <a:pt x="4843" y="55"/>
                </a:cubicBezTo>
                <a:cubicBezTo>
                  <a:pt x="4844" y="55"/>
                  <a:pt x="4844" y="55"/>
                  <a:pt x="4845" y="55"/>
                </a:cubicBezTo>
                <a:cubicBezTo>
                  <a:pt x="4847" y="56"/>
                  <a:pt x="4849" y="56"/>
                  <a:pt x="4851" y="56"/>
                </a:cubicBezTo>
                <a:cubicBezTo>
                  <a:pt x="4853" y="56"/>
                  <a:pt x="4855" y="55"/>
                  <a:pt x="4856" y="55"/>
                </a:cubicBezTo>
                <a:cubicBezTo>
                  <a:pt x="4863" y="54"/>
                  <a:pt x="4870" y="54"/>
                  <a:pt x="4877" y="54"/>
                </a:cubicBezTo>
                <a:cubicBezTo>
                  <a:pt x="4880" y="54"/>
                  <a:pt x="4883" y="54"/>
                  <a:pt x="4885" y="53"/>
                </a:cubicBezTo>
                <a:cubicBezTo>
                  <a:pt x="4895" y="54"/>
                  <a:pt x="4904" y="55"/>
                  <a:pt x="4914" y="55"/>
                </a:cubicBezTo>
                <a:cubicBezTo>
                  <a:pt x="4919" y="56"/>
                  <a:pt x="4924" y="56"/>
                  <a:pt x="4929" y="56"/>
                </a:cubicBezTo>
                <a:cubicBezTo>
                  <a:pt x="4932" y="57"/>
                  <a:pt x="4936" y="57"/>
                  <a:pt x="4940" y="57"/>
                </a:cubicBezTo>
                <a:cubicBezTo>
                  <a:pt x="4943" y="57"/>
                  <a:pt x="4945" y="56"/>
                  <a:pt x="4948" y="56"/>
                </a:cubicBezTo>
                <a:cubicBezTo>
                  <a:pt x="4950" y="55"/>
                  <a:pt x="4954" y="55"/>
                  <a:pt x="4958" y="55"/>
                </a:cubicBezTo>
                <a:cubicBezTo>
                  <a:pt x="4963" y="55"/>
                  <a:pt x="4962" y="56"/>
                  <a:pt x="4966" y="57"/>
                </a:cubicBezTo>
                <a:cubicBezTo>
                  <a:pt x="4969" y="57"/>
                  <a:pt x="4973" y="55"/>
                  <a:pt x="4977" y="56"/>
                </a:cubicBezTo>
                <a:cubicBezTo>
                  <a:pt x="4977" y="56"/>
                  <a:pt x="4978" y="56"/>
                  <a:pt x="4979" y="56"/>
                </a:cubicBezTo>
                <a:cubicBezTo>
                  <a:pt x="4981" y="56"/>
                  <a:pt x="4982" y="57"/>
                  <a:pt x="4984" y="57"/>
                </a:cubicBezTo>
                <a:cubicBezTo>
                  <a:pt x="4985" y="57"/>
                  <a:pt x="4985" y="57"/>
                  <a:pt x="4986" y="57"/>
                </a:cubicBezTo>
                <a:cubicBezTo>
                  <a:pt x="4987" y="58"/>
                  <a:pt x="4987" y="58"/>
                  <a:pt x="4988" y="58"/>
                </a:cubicBezTo>
                <a:cubicBezTo>
                  <a:pt x="4990" y="58"/>
                  <a:pt x="4992" y="58"/>
                  <a:pt x="4994" y="58"/>
                </a:cubicBezTo>
                <a:cubicBezTo>
                  <a:pt x="4997" y="58"/>
                  <a:pt x="5001" y="57"/>
                  <a:pt x="5005" y="57"/>
                </a:cubicBezTo>
                <a:cubicBezTo>
                  <a:pt x="5009" y="57"/>
                  <a:pt x="5014" y="57"/>
                  <a:pt x="5018" y="57"/>
                </a:cubicBezTo>
                <a:cubicBezTo>
                  <a:pt x="5027" y="57"/>
                  <a:pt x="5040" y="58"/>
                  <a:pt x="5048" y="57"/>
                </a:cubicBezTo>
                <a:cubicBezTo>
                  <a:pt x="5054" y="56"/>
                  <a:pt x="5049" y="55"/>
                  <a:pt x="5049" y="54"/>
                </a:cubicBezTo>
                <a:cubicBezTo>
                  <a:pt x="5049" y="53"/>
                  <a:pt x="5051" y="53"/>
                  <a:pt x="5052" y="53"/>
                </a:cubicBezTo>
                <a:cubicBezTo>
                  <a:pt x="5054" y="53"/>
                  <a:pt x="5057" y="54"/>
                  <a:pt x="5059" y="54"/>
                </a:cubicBezTo>
                <a:cubicBezTo>
                  <a:pt x="5062" y="54"/>
                  <a:pt x="5065" y="54"/>
                  <a:pt x="5068" y="54"/>
                </a:cubicBezTo>
                <a:cubicBezTo>
                  <a:pt x="5076" y="54"/>
                  <a:pt x="5084" y="54"/>
                  <a:pt x="5092" y="54"/>
                </a:cubicBezTo>
                <a:cubicBezTo>
                  <a:pt x="5097" y="54"/>
                  <a:pt x="5113" y="56"/>
                  <a:pt x="5116" y="54"/>
                </a:cubicBezTo>
                <a:cubicBezTo>
                  <a:pt x="5116" y="54"/>
                  <a:pt x="5116" y="53"/>
                  <a:pt x="5116" y="53"/>
                </a:cubicBezTo>
                <a:cubicBezTo>
                  <a:pt x="5118" y="52"/>
                  <a:pt x="5128" y="53"/>
                  <a:pt x="5130" y="53"/>
                </a:cubicBezTo>
                <a:cubicBezTo>
                  <a:pt x="5165" y="55"/>
                  <a:pt x="5190" y="55"/>
                  <a:pt x="5228" y="55"/>
                </a:cubicBezTo>
                <a:cubicBezTo>
                  <a:pt x="5237" y="55"/>
                  <a:pt x="5247" y="54"/>
                  <a:pt x="5255" y="54"/>
                </a:cubicBezTo>
                <a:cubicBezTo>
                  <a:pt x="5259" y="54"/>
                  <a:pt x="5260" y="55"/>
                  <a:pt x="5263" y="55"/>
                </a:cubicBezTo>
                <a:cubicBezTo>
                  <a:pt x="5266" y="56"/>
                  <a:pt x="5270" y="56"/>
                  <a:pt x="5274" y="56"/>
                </a:cubicBezTo>
                <a:cubicBezTo>
                  <a:pt x="5279" y="56"/>
                  <a:pt x="5284" y="55"/>
                  <a:pt x="5289" y="56"/>
                </a:cubicBezTo>
                <a:cubicBezTo>
                  <a:pt x="5292" y="56"/>
                  <a:pt x="5294" y="57"/>
                  <a:pt x="5298" y="57"/>
                </a:cubicBezTo>
                <a:cubicBezTo>
                  <a:pt x="5302" y="58"/>
                  <a:pt x="5306" y="57"/>
                  <a:pt x="5309" y="56"/>
                </a:cubicBezTo>
                <a:cubicBezTo>
                  <a:pt x="5314" y="54"/>
                  <a:pt x="5316" y="54"/>
                  <a:pt x="5322" y="55"/>
                </a:cubicBezTo>
                <a:cubicBezTo>
                  <a:pt x="5329" y="55"/>
                  <a:pt x="5337" y="54"/>
                  <a:pt x="5343" y="54"/>
                </a:cubicBezTo>
                <a:cubicBezTo>
                  <a:pt x="5363" y="54"/>
                  <a:pt x="5382" y="54"/>
                  <a:pt x="5386" y="54"/>
                </a:cubicBezTo>
                <a:cubicBezTo>
                  <a:pt x="5389" y="54"/>
                  <a:pt x="5393" y="54"/>
                  <a:pt x="5396" y="54"/>
                </a:cubicBezTo>
                <a:cubicBezTo>
                  <a:pt x="5399" y="54"/>
                  <a:pt x="5401" y="55"/>
                  <a:pt x="5403" y="56"/>
                </a:cubicBezTo>
                <a:cubicBezTo>
                  <a:pt x="5405" y="56"/>
                  <a:pt x="5409" y="56"/>
                  <a:pt x="5412" y="57"/>
                </a:cubicBezTo>
                <a:cubicBezTo>
                  <a:pt x="5417" y="57"/>
                  <a:pt x="5423" y="57"/>
                  <a:pt x="5429" y="57"/>
                </a:cubicBezTo>
                <a:cubicBezTo>
                  <a:pt x="5431" y="57"/>
                  <a:pt x="5432" y="57"/>
                  <a:pt x="5434" y="57"/>
                </a:cubicBezTo>
                <a:cubicBezTo>
                  <a:pt x="5436" y="57"/>
                  <a:pt x="5437" y="56"/>
                  <a:pt x="5439" y="56"/>
                </a:cubicBezTo>
                <a:cubicBezTo>
                  <a:pt x="5447" y="54"/>
                  <a:pt x="5460" y="54"/>
                  <a:pt x="5471" y="55"/>
                </a:cubicBezTo>
                <a:cubicBezTo>
                  <a:pt x="5477" y="56"/>
                  <a:pt x="5485" y="56"/>
                  <a:pt x="5492" y="56"/>
                </a:cubicBezTo>
                <a:cubicBezTo>
                  <a:pt x="5494" y="56"/>
                  <a:pt x="5497" y="55"/>
                  <a:pt x="5499" y="55"/>
                </a:cubicBezTo>
                <a:cubicBezTo>
                  <a:pt x="5500" y="55"/>
                  <a:pt x="5501" y="54"/>
                  <a:pt x="5502" y="54"/>
                </a:cubicBezTo>
                <a:cubicBezTo>
                  <a:pt x="5505" y="53"/>
                  <a:pt x="5510" y="53"/>
                  <a:pt x="5515" y="53"/>
                </a:cubicBezTo>
                <a:cubicBezTo>
                  <a:pt x="5519" y="53"/>
                  <a:pt x="5523" y="54"/>
                  <a:pt x="5528" y="54"/>
                </a:cubicBezTo>
                <a:cubicBezTo>
                  <a:pt x="5535" y="54"/>
                  <a:pt x="5542" y="54"/>
                  <a:pt x="5549" y="54"/>
                </a:cubicBezTo>
                <a:cubicBezTo>
                  <a:pt x="5557" y="53"/>
                  <a:pt x="5565" y="53"/>
                  <a:pt x="5573" y="53"/>
                </a:cubicBezTo>
                <a:cubicBezTo>
                  <a:pt x="5598" y="53"/>
                  <a:pt x="5625" y="52"/>
                  <a:pt x="5633" y="52"/>
                </a:cubicBezTo>
                <a:cubicBezTo>
                  <a:pt x="5639" y="52"/>
                  <a:pt x="5648" y="53"/>
                  <a:pt x="5653" y="52"/>
                </a:cubicBezTo>
                <a:cubicBezTo>
                  <a:pt x="5654" y="52"/>
                  <a:pt x="5655" y="51"/>
                  <a:pt x="5655" y="51"/>
                </a:cubicBezTo>
                <a:cubicBezTo>
                  <a:pt x="5661" y="51"/>
                  <a:pt x="5667" y="52"/>
                  <a:pt x="5672" y="52"/>
                </a:cubicBezTo>
                <a:cubicBezTo>
                  <a:pt x="5677" y="53"/>
                  <a:pt x="5682" y="53"/>
                  <a:pt x="5687" y="53"/>
                </a:cubicBezTo>
                <a:cubicBezTo>
                  <a:pt x="5701" y="53"/>
                  <a:pt x="5715" y="53"/>
                  <a:pt x="5729" y="52"/>
                </a:cubicBezTo>
                <a:cubicBezTo>
                  <a:pt x="5740" y="52"/>
                  <a:pt x="5752" y="53"/>
                  <a:pt x="5763" y="53"/>
                </a:cubicBezTo>
                <a:cubicBezTo>
                  <a:pt x="5772" y="53"/>
                  <a:pt x="5788" y="54"/>
                  <a:pt x="5796" y="53"/>
                </a:cubicBezTo>
                <a:cubicBezTo>
                  <a:pt x="5797" y="52"/>
                  <a:pt x="5799" y="52"/>
                  <a:pt x="5801" y="52"/>
                </a:cubicBezTo>
                <a:cubicBezTo>
                  <a:pt x="5801" y="52"/>
                  <a:pt x="5802" y="52"/>
                  <a:pt x="5803" y="52"/>
                </a:cubicBezTo>
                <a:cubicBezTo>
                  <a:pt x="5808" y="52"/>
                  <a:pt x="5811" y="52"/>
                  <a:pt x="5815" y="53"/>
                </a:cubicBezTo>
                <a:cubicBezTo>
                  <a:pt x="5819" y="53"/>
                  <a:pt x="5823" y="53"/>
                  <a:pt x="5828" y="54"/>
                </a:cubicBezTo>
                <a:cubicBezTo>
                  <a:pt x="5837" y="54"/>
                  <a:pt x="5846" y="53"/>
                  <a:pt x="5855" y="53"/>
                </a:cubicBezTo>
                <a:cubicBezTo>
                  <a:pt x="5863" y="53"/>
                  <a:pt x="5870" y="53"/>
                  <a:pt x="5878" y="53"/>
                </a:cubicBezTo>
                <a:cubicBezTo>
                  <a:pt x="5881" y="53"/>
                  <a:pt x="5884" y="53"/>
                  <a:pt x="5887" y="52"/>
                </a:cubicBezTo>
                <a:cubicBezTo>
                  <a:pt x="5890" y="52"/>
                  <a:pt x="5891" y="51"/>
                  <a:pt x="5894" y="51"/>
                </a:cubicBezTo>
                <a:cubicBezTo>
                  <a:pt x="5896" y="50"/>
                  <a:pt x="5899" y="50"/>
                  <a:pt x="5902" y="50"/>
                </a:cubicBezTo>
                <a:cubicBezTo>
                  <a:pt x="5914" y="50"/>
                  <a:pt x="5927" y="51"/>
                  <a:pt x="5939" y="50"/>
                </a:cubicBezTo>
                <a:cubicBezTo>
                  <a:pt x="5951" y="50"/>
                  <a:pt x="5962" y="51"/>
                  <a:pt x="5974" y="51"/>
                </a:cubicBezTo>
                <a:cubicBezTo>
                  <a:pt x="5988" y="51"/>
                  <a:pt x="6001" y="51"/>
                  <a:pt x="6015" y="51"/>
                </a:cubicBezTo>
                <a:cubicBezTo>
                  <a:pt x="6027" y="51"/>
                  <a:pt x="6037" y="53"/>
                  <a:pt x="6049" y="53"/>
                </a:cubicBezTo>
                <a:cubicBezTo>
                  <a:pt x="6060" y="53"/>
                  <a:pt x="6071" y="53"/>
                  <a:pt x="6082" y="53"/>
                </a:cubicBezTo>
                <a:cubicBezTo>
                  <a:pt x="6088" y="53"/>
                  <a:pt x="6093" y="53"/>
                  <a:pt x="6099" y="53"/>
                </a:cubicBezTo>
                <a:cubicBezTo>
                  <a:pt x="6103" y="53"/>
                  <a:pt x="6107" y="52"/>
                  <a:pt x="6112" y="53"/>
                </a:cubicBezTo>
                <a:cubicBezTo>
                  <a:pt x="6114" y="53"/>
                  <a:pt x="6116" y="53"/>
                  <a:pt x="6118" y="53"/>
                </a:cubicBezTo>
                <a:cubicBezTo>
                  <a:pt x="6126" y="53"/>
                  <a:pt x="6135" y="54"/>
                  <a:pt x="6143" y="54"/>
                </a:cubicBezTo>
                <a:cubicBezTo>
                  <a:pt x="6154" y="54"/>
                  <a:pt x="6165" y="55"/>
                  <a:pt x="6177" y="55"/>
                </a:cubicBezTo>
                <a:cubicBezTo>
                  <a:pt x="6183" y="55"/>
                  <a:pt x="6190" y="55"/>
                  <a:pt x="6196" y="54"/>
                </a:cubicBezTo>
                <a:cubicBezTo>
                  <a:pt x="6203" y="54"/>
                  <a:pt x="6207" y="53"/>
                  <a:pt x="6214" y="53"/>
                </a:cubicBezTo>
                <a:cubicBezTo>
                  <a:pt x="6215" y="53"/>
                  <a:pt x="6217" y="53"/>
                  <a:pt x="6218" y="53"/>
                </a:cubicBezTo>
                <a:cubicBezTo>
                  <a:pt x="6220" y="54"/>
                  <a:pt x="6222" y="54"/>
                  <a:pt x="6224" y="53"/>
                </a:cubicBezTo>
                <a:cubicBezTo>
                  <a:pt x="6231" y="53"/>
                  <a:pt x="6237" y="53"/>
                  <a:pt x="6243" y="53"/>
                </a:cubicBezTo>
                <a:cubicBezTo>
                  <a:pt x="6245" y="52"/>
                  <a:pt x="6246" y="52"/>
                  <a:pt x="6248" y="52"/>
                </a:cubicBezTo>
                <a:cubicBezTo>
                  <a:pt x="6249" y="52"/>
                  <a:pt x="6251" y="52"/>
                  <a:pt x="6252" y="52"/>
                </a:cubicBezTo>
                <a:cubicBezTo>
                  <a:pt x="6260" y="52"/>
                  <a:pt x="6268" y="52"/>
                  <a:pt x="6275" y="52"/>
                </a:cubicBezTo>
                <a:cubicBezTo>
                  <a:pt x="6284" y="53"/>
                  <a:pt x="6293" y="53"/>
                  <a:pt x="6301" y="54"/>
                </a:cubicBezTo>
                <a:cubicBezTo>
                  <a:pt x="6311" y="54"/>
                  <a:pt x="6320" y="55"/>
                  <a:pt x="6329" y="55"/>
                </a:cubicBezTo>
                <a:cubicBezTo>
                  <a:pt x="6338" y="55"/>
                  <a:pt x="6345" y="55"/>
                  <a:pt x="6354" y="55"/>
                </a:cubicBezTo>
                <a:cubicBezTo>
                  <a:pt x="6355" y="55"/>
                  <a:pt x="6356" y="55"/>
                  <a:pt x="6357" y="55"/>
                </a:cubicBezTo>
                <a:cubicBezTo>
                  <a:pt x="6358" y="55"/>
                  <a:pt x="6359" y="55"/>
                  <a:pt x="6360" y="55"/>
                </a:cubicBezTo>
                <a:cubicBezTo>
                  <a:pt x="6361" y="55"/>
                  <a:pt x="6362" y="55"/>
                  <a:pt x="6364" y="55"/>
                </a:cubicBezTo>
                <a:cubicBezTo>
                  <a:pt x="6370" y="55"/>
                  <a:pt x="6377" y="56"/>
                  <a:pt x="6383" y="56"/>
                </a:cubicBezTo>
                <a:cubicBezTo>
                  <a:pt x="6388" y="56"/>
                  <a:pt x="6391" y="56"/>
                  <a:pt x="6395" y="56"/>
                </a:cubicBezTo>
                <a:cubicBezTo>
                  <a:pt x="6399" y="56"/>
                  <a:pt x="6404" y="56"/>
                  <a:pt x="6407" y="56"/>
                </a:cubicBezTo>
                <a:cubicBezTo>
                  <a:pt x="6410" y="55"/>
                  <a:pt x="6402" y="54"/>
                  <a:pt x="6405" y="53"/>
                </a:cubicBezTo>
                <a:cubicBezTo>
                  <a:pt x="6407" y="52"/>
                  <a:pt x="6416" y="52"/>
                  <a:pt x="6420" y="52"/>
                </a:cubicBezTo>
                <a:cubicBezTo>
                  <a:pt x="6427" y="52"/>
                  <a:pt x="6434" y="52"/>
                  <a:pt x="6441" y="52"/>
                </a:cubicBezTo>
                <a:cubicBezTo>
                  <a:pt x="6448" y="53"/>
                  <a:pt x="6455" y="53"/>
                  <a:pt x="6463" y="53"/>
                </a:cubicBezTo>
                <a:cubicBezTo>
                  <a:pt x="6470" y="53"/>
                  <a:pt x="6474" y="52"/>
                  <a:pt x="6475" y="54"/>
                </a:cubicBezTo>
                <a:cubicBezTo>
                  <a:pt x="6475" y="55"/>
                  <a:pt x="6478" y="56"/>
                  <a:pt x="6482" y="56"/>
                </a:cubicBezTo>
                <a:cubicBezTo>
                  <a:pt x="6483" y="56"/>
                  <a:pt x="6484" y="56"/>
                  <a:pt x="6485" y="56"/>
                </a:cubicBezTo>
                <a:cubicBezTo>
                  <a:pt x="6486" y="56"/>
                  <a:pt x="6487" y="56"/>
                  <a:pt x="6488" y="56"/>
                </a:cubicBezTo>
                <a:cubicBezTo>
                  <a:pt x="6489" y="56"/>
                  <a:pt x="6490" y="56"/>
                  <a:pt x="6491" y="56"/>
                </a:cubicBezTo>
                <a:cubicBezTo>
                  <a:pt x="6494" y="57"/>
                  <a:pt x="6498" y="57"/>
                  <a:pt x="6501" y="56"/>
                </a:cubicBezTo>
                <a:cubicBezTo>
                  <a:pt x="6502" y="56"/>
                  <a:pt x="6503" y="56"/>
                  <a:pt x="6504" y="56"/>
                </a:cubicBezTo>
                <a:cubicBezTo>
                  <a:pt x="6505" y="56"/>
                  <a:pt x="6506" y="57"/>
                  <a:pt x="6507" y="57"/>
                </a:cubicBezTo>
                <a:cubicBezTo>
                  <a:pt x="6511" y="57"/>
                  <a:pt x="6516" y="56"/>
                  <a:pt x="6521" y="56"/>
                </a:cubicBezTo>
                <a:cubicBezTo>
                  <a:pt x="6528" y="57"/>
                  <a:pt x="6534" y="56"/>
                  <a:pt x="6541" y="56"/>
                </a:cubicBezTo>
                <a:cubicBezTo>
                  <a:pt x="6547" y="56"/>
                  <a:pt x="6554" y="57"/>
                  <a:pt x="6560" y="57"/>
                </a:cubicBezTo>
                <a:cubicBezTo>
                  <a:pt x="6564" y="57"/>
                  <a:pt x="6567" y="57"/>
                  <a:pt x="6570" y="57"/>
                </a:cubicBezTo>
                <a:cubicBezTo>
                  <a:pt x="6572" y="57"/>
                  <a:pt x="6574" y="57"/>
                  <a:pt x="6576" y="57"/>
                </a:cubicBezTo>
                <a:cubicBezTo>
                  <a:pt x="6583" y="56"/>
                  <a:pt x="6591" y="56"/>
                  <a:pt x="6598" y="56"/>
                </a:cubicBezTo>
                <a:cubicBezTo>
                  <a:pt x="6605" y="56"/>
                  <a:pt x="6611" y="56"/>
                  <a:pt x="6617" y="55"/>
                </a:cubicBezTo>
                <a:cubicBezTo>
                  <a:pt x="6624" y="55"/>
                  <a:pt x="6629" y="55"/>
                  <a:pt x="6636" y="55"/>
                </a:cubicBezTo>
                <a:cubicBezTo>
                  <a:pt x="6643" y="55"/>
                  <a:pt x="6650" y="55"/>
                  <a:pt x="6657" y="56"/>
                </a:cubicBezTo>
                <a:cubicBezTo>
                  <a:pt x="6660" y="56"/>
                  <a:pt x="6664" y="56"/>
                  <a:pt x="6668" y="56"/>
                </a:cubicBezTo>
                <a:cubicBezTo>
                  <a:pt x="6671" y="56"/>
                  <a:pt x="6676" y="55"/>
                  <a:pt x="6679" y="56"/>
                </a:cubicBezTo>
                <a:cubicBezTo>
                  <a:pt x="6680" y="56"/>
                  <a:pt x="6679" y="56"/>
                  <a:pt x="6678" y="56"/>
                </a:cubicBezTo>
                <a:cubicBezTo>
                  <a:pt x="6677" y="56"/>
                  <a:pt x="6678" y="57"/>
                  <a:pt x="6679" y="57"/>
                </a:cubicBezTo>
                <a:cubicBezTo>
                  <a:pt x="6679" y="57"/>
                  <a:pt x="6680" y="58"/>
                  <a:pt x="6681" y="58"/>
                </a:cubicBezTo>
                <a:cubicBezTo>
                  <a:pt x="6682" y="58"/>
                  <a:pt x="6684" y="58"/>
                  <a:pt x="6685" y="58"/>
                </a:cubicBezTo>
                <a:cubicBezTo>
                  <a:pt x="6686" y="57"/>
                  <a:pt x="6687" y="57"/>
                  <a:pt x="6688" y="57"/>
                </a:cubicBezTo>
                <a:cubicBezTo>
                  <a:pt x="6689" y="57"/>
                  <a:pt x="6689" y="57"/>
                  <a:pt x="6690" y="57"/>
                </a:cubicBezTo>
                <a:cubicBezTo>
                  <a:pt x="6691" y="57"/>
                  <a:pt x="6691" y="57"/>
                  <a:pt x="6691" y="57"/>
                </a:cubicBezTo>
                <a:cubicBezTo>
                  <a:pt x="6692" y="57"/>
                  <a:pt x="6693" y="58"/>
                  <a:pt x="6694" y="58"/>
                </a:cubicBezTo>
                <a:cubicBezTo>
                  <a:pt x="6695" y="58"/>
                  <a:pt x="6696" y="57"/>
                  <a:pt x="6696" y="57"/>
                </a:cubicBezTo>
                <a:cubicBezTo>
                  <a:pt x="6699" y="57"/>
                  <a:pt x="6703" y="57"/>
                  <a:pt x="6706" y="57"/>
                </a:cubicBezTo>
                <a:cubicBezTo>
                  <a:pt x="6711" y="57"/>
                  <a:pt x="6719" y="57"/>
                  <a:pt x="6723" y="57"/>
                </a:cubicBezTo>
                <a:cubicBezTo>
                  <a:pt x="6736" y="58"/>
                  <a:pt x="6749" y="58"/>
                  <a:pt x="6762" y="57"/>
                </a:cubicBezTo>
                <a:cubicBezTo>
                  <a:pt x="6769" y="57"/>
                  <a:pt x="6776" y="57"/>
                  <a:pt x="6783" y="57"/>
                </a:cubicBezTo>
                <a:cubicBezTo>
                  <a:pt x="6785" y="56"/>
                  <a:pt x="6788" y="56"/>
                  <a:pt x="6791" y="56"/>
                </a:cubicBezTo>
                <a:cubicBezTo>
                  <a:pt x="6794" y="56"/>
                  <a:pt x="6796" y="55"/>
                  <a:pt x="6801" y="55"/>
                </a:cubicBezTo>
                <a:cubicBezTo>
                  <a:pt x="6802" y="55"/>
                  <a:pt x="6802" y="55"/>
                  <a:pt x="6803" y="55"/>
                </a:cubicBezTo>
                <a:cubicBezTo>
                  <a:pt x="6803" y="55"/>
                  <a:pt x="6804" y="56"/>
                  <a:pt x="6804" y="56"/>
                </a:cubicBezTo>
                <a:cubicBezTo>
                  <a:pt x="6806" y="56"/>
                  <a:pt x="6809" y="57"/>
                  <a:pt x="6812" y="57"/>
                </a:cubicBezTo>
                <a:cubicBezTo>
                  <a:pt x="6813" y="57"/>
                  <a:pt x="6814" y="57"/>
                  <a:pt x="6815" y="57"/>
                </a:cubicBezTo>
                <a:cubicBezTo>
                  <a:pt x="6818" y="57"/>
                  <a:pt x="6818" y="56"/>
                  <a:pt x="6819" y="56"/>
                </a:cubicBezTo>
                <a:cubicBezTo>
                  <a:pt x="6821" y="55"/>
                  <a:pt x="6823" y="55"/>
                  <a:pt x="6826" y="55"/>
                </a:cubicBezTo>
                <a:cubicBezTo>
                  <a:pt x="6828" y="54"/>
                  <a:pt x="6830" y="54"/>
                  <a:pt x="6833" y="54"/>
                </a:cubicBezTo>
                <a:cubicBezTo>
                  <a:pt x="6836" y="54"/>
                  <a:pt x="6839" y="55"/>
                  <a:pt x="6843" y="55"/>
                </a:cubicBezTo>
                <a:cubicBezTo>
                  <a:pt x="6848" y="54"/>
                  <a:pt x="6848" y="54"/>
                  <a:pt x="6851" y="53"/>
                </a:cubicBezTo>
                <a:cubicBezTo>
                  <a:pt x="6854" y="53"/>
                  <a:pt x="6862" y="53"/>
                  <a:pt x="6866" y="53"/>
                </a:cubicBezTo>
                <a:cubicBezTo>
                  <a:pt x="6873" y="53"/>
                  <a:pt x="6880" y="53"/>
                  <a:pt x="6887" y="54"/>
                </a:cubicBezTo>
                <a:cubicBezTo>
                  <a:pt x="6889" y="54"/>
                  <a:pt x="6893" y="54"/>
                  <a:pt x="6896" y="54"/>
                </a:cubicBezTo>
                <a:cubicBezTo>
                  <a:pt x="6898" y="54"/>
                  <a:pt x="6900" y="55"/>
                  <a:pt x="6903" y="56"/>
                </a:cubicBezTo>
                <a:cubicBezTo>
                  <a:pt x="6905" y="56"/>
                  <a:pt x="6908" y="56"/>
                  <a:pt x="6910" y="55"/>
                </a:cubicBezTo>
                <a:cubicBezTo>
                  <a:pt x="6911" y="55"/>
                  <a:pt x="6911" y="55"/>
                  <a:pt x="6912" y="54"/>
                </a:cubicBezTo>
                <a:cubicBezTo>
                  <a:pt x="6913" y="54"/>
                  <a:pt x="6915" y="54"/>
                  <a:pt x="6916" y="55"/>
                </a:cubicBezTo>
                <a:cubicBezTo>
                  <a:pt x="6916" y="55"/>
                  <a:pt x="6917" y="55"/>
                  <a:pt x="6918" y="56"/>
                </a:cubicBezTo>
                <a:cubicBezTo>
                  <a:pt x="6919" y="56"/>
                  <a:pt x="6921" y="56"/>
                  <a:pt x="6922" y="55"/>
                </a:cubicBezTo>
                <a:cubicBezTo>
                  <a:pt x="6924" y="55"/>
                  <a:pt x="6924" y="54"/>
                  <a:pt x="6927" y="54"/>
                </a:cubicBezTo>
                <a:cubicBezTo>
                  <a:pt x="6929" y="53"/>
                  <a:pt x="6932" y="54"/>
                  <a:pt x="6935" y="54"/>
                </a:cubicBezTo>
                <a:cubicBezTo>
                  <a:pt x="6936" y="54"/>
                  <a:pt x="6936" y="54"/>
                  <a:pt x="6936" y="54"/>
                </a:cubicBezTo>
                <a:cubicBezTo>
                  <a:pt x="6938" y="55"/>
                  <a:pt x="6943" y="54"/>
                  <a:pt x="6946" y="55"/>
                </a:cubicBezTo>
                <a:cubicBezTo>
                  <a:pt x="6948" y="55"/>
                  <a:pt x="6949" y="56"/>
                  <a:pt x="6952" y="56"/>
                </a:cubicBezTo>
                <a:cubicBezTo>
                  <a:pt x="6955" y="56"/>
                  <a:pt x="6957" y="56"/>
                  <a:pt x="6960" y="56"/>
                </a:cubicBezTo>
                <a:cubicBezTo>
                  <a:pt x="6961" y="56"/>
                  <a:pt x="6963" y="56"/>
                  <a:pt x="6964" y="56"/>
                </a:cubicBezTo>
                <a:cubicBezTo>
                  <a:pt x="6965" y="56"/>
                  <a:pt x="6966" y="55"/>
                  <a:pt x="6968" y="55"/>
                </a:cubicBezTo>
                <a:cubicBezTo>
                  <a:pt x="6969" y="55"/>
                  <a:pt x="6969" y="55"/>
                  <a:pt x="6970" y="55"/>
                </a:cubicBezTo>
                <a:cubicBezTo>
                  <a:pt x="6970" y="54"/>
                  <a:pt x="6970" y="54"/>
                  <a:pt x="6971" y="54"/>
                </a:cubicBezTo>
                <a:cubicBezTo>
                  <a:pt x="6972" y="53"/>
                  <a:pt x="6974" y="54"/>
                  <a:pt x="6975" y="54"/>
                </a:cubicBezTo>
                <a:cubicBezTo>
                  <a:pt x="6978" y="54"/>
                  <a:pt x="6980" y="53"/>
                  <a:pt x="6982" y="53"/>
                </a:cubicBezTo>
                <a:cubicBezTo>
                  <a:pt x="6985" y="53"/>
                  <a:pt x="6989" y="53"/>
                  <a:pt x="6992" y="53"/>
                </a:cubicBezTo>
                <a:cubicBezTo>
                  <a:pt x="6999" y="54"/>
                  <a:pt x="7006" y="54"/>
                  <a:pt x="7013" y="54"/>
                </a:cubicBezTo>
                <a:cubicBezTo>
                  <a:pt x="7017" y="54"/>
                  <a:pt x="7032" y="55"/>
                  <a:pt x="7035" y="56"/>
                </a:cubicBezTo>
                <a:cubicBezTo>
                  <a:pt x="7035" y="56"/>
                  <a:pt x="7040" y="56"/>
                  <a:pt x="7046" y="56"/>
                </a:cubicBezTo>
                <a:cubicBezTo>
                  <a:pt x="7049" y="56"/>
                  <a:pt x="7053" y="56"/>
                  <a:pt x="7056" y="56"/>
                </a:cubicBezTo>
                <a:cubicBezTo>
                  <a:pt x="7061" y="56"/>
                  <a:pt x="7063" y="53"/>
                  <a:pt x="7068" y="53"/>
                </a:cubicBezTo>
                <a:cubicBezTo>
                  <a:pt x="7071" y="53"/>
                  <a:pt x="7076" y="54"/>
                  <a:pt x="7079" y="54"/>
                </a:cubicBezTo>
                <a:cubicBezTo>
                  <a:pt x="7084" y="55"/>
                  <a:pt x="7090" y="55"/>
                  <a:pt x="7095" y="56"/>
                </a:cubicBezTo>
                <a:cubicBezTo>
                  <a:pt x="7098" y="56"/>
                  <a:pt x="7103" y="57"/>
                  <a:pt x="7106" y="56"/>
                </a:cubicBezTo>
                <a:cubicBezTo>
                  <a:pt x="7107" y="56"/>
                  <a:pt x="7107" y="55"/>
                  <a:pt x="7107" y="55"/>
                </a:cubicBezTo>
                <a:cubicBezTo>
                  <a:pt x="7108" y="55"/>
                  <a:pt x="7111" y="54"/>
                  <a:pt x="7113" y="54"/>
                </a:cubicBezTo>
                <a:cubicBezTo>
                  <a:pt x="7116" y="54"/>
                  <a:pt x="7120" y="54"/>
                  <a:pt x="7123" y="54"/>
                </a:cubicBezTo>
                <a:cubicBezTo>
                  <a:pt x="7127" y="54"/>
                  <a:pt x="7137" y="54"/>
                  <a:pt x="7140" y="53"/>
                </a:cubicBezTo>
                <a:cubicBezTo>
                  <a:pt x="7140" y="53"/>
                  <a:pt x="7141" y="53"/>
                  <a:pt x="7141" y="53"/>
                </a:cubicBezTo>
                <a:cubicBezTo>
                  <a:pt x="7144" y="53"/>
                  <a:pt x="7146" y="53"/>
                  <a:pt x="7148" y="53"/>
                </a:cubicBezTo>
                <a:cubicBezTo>
                  <a:pt x="7149" y="53"/>
                  <a:pt x="7149" y="53"/>
                  <a:pt x="7150" y="53"/>
                </a:cubicBezTo>
                <a:cubicBezTo>
                  <a:pt x="7152" y="53"/>
                  <a:pt x="7154" y="53"/>
                  <a:pt x="7156" y="53"/>
                </a:cubicBezTo>
                <a:cubicBezTo>
                  <a:pt x="7157" y="53"/>
                  <a:pt x="7157" y="53"/>
                  <a:pt x="7158" y="53"/>
                </a:cubicBezTo>
                <a:cubicBezTo>
                  <a:pt x="7162" y="54"/>
                  <a:pt x="7168" y="54"/>
                  <a:pt x="7172" y="54"/>
                </a:cubicBezTo>
                <a:cubicBezTo>
                  <a:pt x="7178" y="54"/>
                  <a:pt x="7184" y="54"/>
                  <a:pt x="7190" y="54"/>
                </a:cubicBezTo>
                <a:cubicBezTo>
                  <a:pt x="7196" y="54"/>
                  <a:pt x="7202" y="54"/>
                  <a:pt x="7207" y="54"/>
                </a:cubicBezTo>
                <a:cubicBezTo>
                  <a:pt x="7211" y="54"/>
                  <a:pt x="7213" y="53"/>
                  <a:pt x="7216" y="53"/>
                </a:cubicBezTo>
                <a:cubicBezTo>
                  <a:pt x="7218" y="53"/>
                  <a:pt x="7220" y="53"/>
                  <a:pt x="7222" y="53"/>
                </a:cubicBezTo>
                <a:cubicBezTo>
                  <a:pt x="7224" y="53"/>
                  <a:pt x="7226" y="52"/>
                  <a:pt x="7228" y="52"/>
                </a:cubicBezTo>
                <a:cubicBezTo>
                  <a:pt x="7229" y="52"/>
                  <a:pt x="7229" y="52"/>
                  <a:pt x="7230" y="52"/>
                </a:cubicBezTo>
                <a:cubicBezTo>
                  <a:pt x="7230" y="52"/>
                  <a:pt x="7231" y="52"/>
                  <a:pt x="7231" y="52"/>
                </a:cubicBezTo>
                <a:cubicBezTo>
                  <a:pt x="7233" y="52"/>
                  <a:pt x="7234" y="53"/>
                  <a:pt x="7235" y="53"/>
                </a:cubicBezTo>
                <a:cubicBezTo>
                  <a:pt x="7240" y="53"/>
                  <a:pt x="7248" y="53"/>
                  <a:pt x="7253" y="52"/>
                </a:cubicBezTo>
                <a:cubicBezTo>
                  <a:pt x="7260" y="52"/>
                  <a:pt x="7266" y="52"/>
                  <a:pt x="7273" y="52"/>
                </a:cubicBezTo>
                <a:cubicBezTo>
                  <a:pt x="7289" y="52"/>
                  <a:pt x="7304" y="52"/>
                  <a:pt x="7320" y="52"/>
                </a:cubicBezTo>
                <a:cubicBezTo>
                  <a:pt x="7328" y="52"/>
                  <a:pt x="7335" y="52"/>
                  <a:pt x="7343" y="53"/>
                </a:cubicBezTo>
                <a:cubicBezTo>
                  <a:pt x="7345" y="54"/>
                  <a:pt x="7347" y="54"/>
                  <a:pt x="7350" y="54"/>
                </a:cubicBezTo>
                <a:cubicBezTo>
                  <a:pt x="7353" y="53"/>
                  <a:pt x="7354" y="53"/>
                  <a:pt x="7356" y="52"/>
                </a:cubicBezTo>
                <a:cubicBezTo>
                  <a:pt x="7361" y="52"/>
                  <a:pt x="7367" y="53"/>
                  <a:pt x="7371" y="53"/>
                </a:cubicBezTo>
                <a:cubicBezTo>
                  <a:pt x="7381" y="53"/>
                  <a:pt x="7390" y="52"/>
                  <a:pt x="7400" y="53"/>
                </a:cubicBezTo>
                <a:cubicBezTo>
                  <a:pt x="7400" y="53"/>
                  <a:pt x="7401" y="53"/>
                  <a:pt x="7402" y="54"/>
                </a:cubicBezTo>
                <a:cubicBezTo>
                  <a:pt x="7405" y="54"/>
                  <a:pt x="7409" y="54"/>
                  <a:pt x="7413" y="54"/>
                </a:cubicBezTo>
                <a:cubicBezTo>
                  <a:pt x="7415" y="54"/>
                  <a:pt x="7418" y="54"/>
                  <a:pt x="7420" y="53"/>
                </a:cubicBezTo>
                <a:cubicBezTo>
                  <a:pt x="7421" y="53"/>
                  <a:pt x="7418" y="52"/>
                  <a:pt x="7419" y="52"/>
                </a:cubicBezTo>
                <a:cubicBezTo>
                  <a:pt x="7421" y="51"/>
                  <a:pt x="7423" y="52"/>
                  <a:pt x="7425" y="52"/>
                </a:cubicBezTo>
                <a:cubicBezTo>
                  <a:pt x="7428" y="52"/>
                  <a:pt x="7429" y="52"/>
                  <a:pt x="7433" y="52"/>
                </a:cubicBezTo>
                <a:cubicBezTo>
                  <a:pt x="7438" y="52"/>
                  <a:pt x="7441" y="54"/>
                  <a:pt x="7446" y="54"/>
                </a:cubicBezTo>
                <a:cubicBezTo>
                  <a:pt x="7449" y="54"/>
                  <a:pt x="7451" y="53"/>
                  <a:pt x="7454" y="53"/>
                </a:cubicBezTo>
                <a:cubicBezTo>
                  <a:pt x="7456" y="53"/>
                  <a:pt x="7458" y="53"/>
                  <a:pt x="7461" y="53"/>
                </a:cubicBezTo>
                <a:cubicBezTo>
                  <a:pt x="7464" y="53"/>
                  <a:pt x="7466" y="52"/>
                  <a:pt x="7469" y="52"/>
                </a:cubicBezTo>
                <a:cubicBezTo>
                  <a:pt x="7470" y="52"/>
                  <a:pt x="7472" y="52"/>
                  <a:pt x="7475" y="52"/>
                </a:cubicBezTo>
                <a:cubicBezTo>
                  <a:pt x="7476" y="52"/>
                  <a:pt x="7477" y="52"/>
                  <a:pt x="7478" y="52"/>
                </a:cubicBezTo>
                <a:cubicBezTo>
                  <a:pt x="7484" y="53"/>
                  <a:pt x="7491" y="52"/>
                  <a:pt x="7497" y="52"/>
                </a:cubicBezTo>
                <a:cubicBezTo>
                  <a:pt x="7557" y="52"/>
                  <a:pt x="7584" y="52"/>
                  <a:pt x="7586" y="51"/>
                </a:cubicBezTo>
                <a:cubicBezTo>
                  <a:pt x="7587" y="51"/>
                  <a:pt x="7619" y="51"/>
                  <a:pt x="7626" y="52"/>
                </a:cubicBezTo>
                <a:cubicBezTo>
                  <a:pt x="7633" y="52"/>
                  <a:pt x="7640" y="53"/>
                  <a:pt x="7647" y="53"/>
                </a:cubicBezTo>
                <a:cubicBezTo>
                  <a:pt x="7649" y="54"/>
                  <a:pt x="7655" y="53"/>
                  <a:pt x="7656" y="53"/>
                </a:cubicBezTo>
                <a:cubicBezTo>
                  <a:pt x="7659" y="54"/>
                  <a:pt x="7654" y="55"/>
                  <a:pt x="7653" y="55"/>
                </a:cubicBezTo>
                <a:cubicBezTo>
                  <a:pt x="7653" y="56"/>
                  <a:pt x="7653" y="56"/>
                  <a:pt x="7655" y="56"/>
                </a:cubicBezTo>
                <a:cubicBezTo>
                  <a:pt x="7657" y="56"/>
                  <a:pt x="7660" y="56"/>
                  <a:pt x="7662" y="56"/>
                </a:cubicBezTo>
                <a:cubicBezTo>
                  <a:pt x="7665" y="55"/>
                  <a:pt x="7668" y="55"/>
                  <a:pt x="7671" y="55"/>
                </a:cubicBezTo>
                <a:cubicBezTo>
                  <a:pt x="7677" y="54"/>
                  <a:pt x="7682" y="54"/>
                  <a:pt x="7688" y="54"/>
                </a:cubicBezTo>
                <a:cubicBezTo>
                  <a:pt x="7689" y="54"/>
                  <a:pt x="7691" y="54"/>
                  <a:pt x="7692" y="54"/>
                </a:cubicBezTo>
                <a:cubicBezTo>
                  <a:pt x="7694" y="55"/>
                  <a:pt x="7694" y="55"/>
                  <a:pt x="7696" y="55"/>
                </a:cubicBezTo>
                <a:cubicBezTo>
                  <a:pt x="7697" y="56"/>
                  <a:pt x="7699" y="56"/>
                  <a:pt x="7701" y="56"/>
                </a:cubicBezTo>
                <a:cubicBezTo>
                  <a:pt x="7702" y="56"/>
                  <a:pt x="7702" y="56"/>
                  <a:pt x="7703" y="55"/>
                </a:cubicBezTo>
                <a:cubicBezTo>
                  <a:pt x="7707" y="53"/>
                  <a:pt x="7723" y="53"/>
                  <a:pt x="7732" y="53"/>
                </a:cubicBezTo>
                <a:cubicBezTo>
                  <a:pt x="7749" y="53"/>
                  <a:pt x="7767" y="53"/>
                  <a:pt x="7773" y="53"/>
                </a:cubicBezTo>
                <a:cubicBezTo>
                  <a:pt x="7783" y="53"/>
                  <a:pt x="7791" y="53"/>
                  <a:pt x="7801" y="51"/>
                </a:cubicBezTo>
                <a:cubicBezTo>
                  <a:pt x="7805" y="51"/>
                  <a:pt x="7811" y="51"/>
                  <a:pt x="7816" y="51"/>
                </a:cubicBezTo>
                <a:cubicBezTo>
                  <a:pt x="7820" y="52"/>
                  <a:pt x="7825" y="52"/>
                  <a:pt x="7830" y="52"/>
                </a:cubicBezTo>
                <a:cubicBezTo>
                  <a:pt x="7833" y="53"/>
                  <a:pt x="7837" y="53"/>
                  <a:pt x="7840" y="52"/>
                </a:cubicBezTo>
                <a:cubicBezTo>
                  <a:pt x="7855" y="52"/>
                  <a:pt x="7870" y="52"/>
                  <a:pt x="7885" y="52"/>
                </a:cubicBezTo>
                <a:cubicBezTo>
                  <a:pt x="7902" y="52"/>
                  <a:pt x="7918" y="52"/>
                  <a:pt x="7935" y="52"/>
                </a:cubicBezTo>
                <a:cubicBezTo>
                  <a:pt x="7990" y="52"/>
                  <a:pt x="8047" y="51"/>
                  <a:pt x="8063" y="51"/>
                </a:cubicBezTo>
                <a:cubicBezTo>
                  <a:pt x="8069" y="51"/>
                  <a:pt x="8075" y="51"/>
                  <a:pt x="8081" y="51"/>
                </a:cubicBezTo>
                <a:cubicBezTo>
                  <a:pt x="8086" y="51"/>
                  <a:pt x="8092" y="52"/>
                  <a:pt x="8095" y="51"/>
                </a:cubicBezTo>
                <a:cubicBezTo>
                  <a:pt x="8096" y="51"/>
                  <a:pt x="8096" y="51"/>
                  <a:pt x="8096" y="51"/>
                </a:cubicBezTo>
                <a:cubicBezTo>
                  <a:pt x="8096" y="52"/>
                  <a:pt x="8098" y="52"/>
                  <a:pt x="8100" y="52"/>
                </a:cubicBezTo>
                <a:cubicBezTo>
                  <a:pt x="8101" y="52"/>
                  <a:pt x="8103" y="52"/>
                  <a:pt x="8104" y="51"/>
                </a:cubicBezTo>
                <a:cubicBezTo>
                  <a:pt x="8105" y="51"/>
                  <a:pt x="8106" y="51"/>
                  <a:pt x="8107" y="50"/>
                </a:cubicBezTo>
                <a:cubicBezTo>
                  <a:pt x="8112" y="50"/>
                  <a:pt x="8124" y="50"/>
                  <a:pt x="8130" y="51"/>
                </a:cubicBezTo>
                <a:cubicBezTo>
                  <a:pt x="8134" y="51"/>
                  <a:pt x="8143" y="51"/>
                  <a:pt x="8147" y="51"/>
                </a:cubicBezTo>
                <a:cubicBezTo>
                  <a:pt x="8147" y="51"/>
                  <a:pt x="8148" y="51"/>
                  <a:pt x="8149" y="50"/>
                </a:cubicBezTo>
                <a:cubicBezTo>
                  <a:pt x="8150" y="50"/>
                  <a:pt x="8152" y="50"/>
                  <a:pt x="8153" y="50"/>
                </a:cubicBezTo>
                <a:cubicBezTo>
                  <a:pt x="8155" y="50"/>
                  <a:pt x="8155" y="49"/>
                  <a:pt x="8157" y="49"/>
                </a:cubicBezTo>
                <a:cubicBezTo>
                  <a:pt x="8160" y="49"/>
                  <a:pt x="8165" y="50"/>
                  <a:pt x="8164" y="51"/>
                </a:cubicBezTo>
                <a:cubicBezTo>
                  <a:pt x="8163" y="51"/>
                  <a:pt x="8162" y="51"/>
                  <a:pt x="8162" y="52"/>
                </a:cubicBezTo>
                <a:cubicBezTo>
                  <a:pt x="8162" y="52"/>
                  <a:pt x="8164" y="52"/>
                  <a:pt x="8165" y="52"/>
                </a:cubicBezTo>
                <a:cubicBezTo>
                  <a:pt x="8166" y="52"/>
                  <a:pt x="8167" y="52"/>
                  <a:pt x="8168" y="52"/>
                </a:cubicBezTo>
                <a:cubicBezTo>
                  <a:pt x="8173" y="51"/>
                  <a:pt x="8181" y="51"/>
                  <a:pt x="8187" y="51"/>
                </a:cubicBezTo>
                <a:cubicBezTo>
                  <a:pt x="8192" y="51"/>
                  <a:pt x="8204" y="50"/>
                  <a:pt x="8209" y="51"/>
                </a:cubicBezTo>
                <a:cubicBezTo>
                  <a:pt x="8210" y="51"/>
                  <a:pt x="8210" y="51"/>
                  <a:pt x="8211" y="51"/>
                </a:cubicBezTo>
                <a:cubicBezTo>
                  <a:pt x="8213" y="51"/>
                  <a:pt x="8214" y="51"/>
                  <a:pt x="8216" y="51"/>
                </a:cubicBezTo>
                <a:cubicBezTo>
                  <a:pt x="8221" y="51"/>
                  <a:pt x="8226" y="52"/>
                  <a:pt x="8231" y="51"/>
                </a:cubicBezTo>
                <a:cubicBezTo>
                  <a:pt x="8236" y="51"/>
                  <a:pt x="8256" y="51"/>
                  <a:pt x="8274" y="51"/>
                </a:cubicBezTo>
                <a:cubicBezTo>
                  <a:pt x="8281" y="51"/>
                  <a:pt x="8288" y="51"/>
                  <a:pt x="8295" y="51"/>
                </a:cubicBezTo>
                <a:cubicBezTo>
                  <a:pt x="8299" y="51"/>
                  <a:pt x="8303" y="51"/>
                  <a:pt x="8307" y="51"/>
                </a:cubicBezTo>
                <a:cubicBezTo>
                  <a:pt x="8309" y="50"/>
                  <a:pt x="8310" y="50"/>
                  <a:pt x="8312" y="50"/>
                </a:cubicBezTo>
                <a:cubicBezTo>
                  <a:pt x="8315" y="49"/>
                  <a:pt x="8318" y="49"/>
                  <a:pt x="8321" y="49"/>
                </a:cubicBezTo>
                <a:cubicBezTo>
                  <a:pt x="8320" y="49"/>
                  <a:pt x="8323" y="50"/>
                  <a:pt x="8324" y="51"/>
                </a:cubicBezTo>
                <a:cubicBezTo>
                  <a:pt x="8326" y="51"/>
                  <a:pt x="8328" y="51"/>
                  <a:pt x="8329" y="51"/>
                </a:cubicBezTo>
                <a:cubicBezTo>
                  <a:pt x="8335" y="51"/>
                  <a:pt x="8340" y="51"/>
                  <a:pt x="8346" y="51"/>
                </a:cubicBezTo>
                <a:cubicBezTo>
                  <a:pt x="8358" y="51"/>
                  <a:pt x="8370" y="51"/>
                  <a:pt x="8382" y="51"/>
                </a:cubicBezTo>
                <a:cubicBezTo>
                  <a:pt x="8393" y="51"/>
                  <a:pt x="8404" y="51"/>
                  <a:pt x="8416" y="51"/>
                </a:cubicBezTo>
                <a:cubicBezTo>
                  <a:pt x="8425" y="51"/>
                  <a:pt x="8437" y="52"/>
                  <a:pt x="8445" y="50"/>
                </a:cubicBezTo>
                <a:cubicBezTo>
                  <a:pt x="8446" y="50"/>
                  <a:pt x="8447" y="50"/>
                  <a:pt x="8448" y="50"/>
                </a:cubicBezTo>
                <a:cubicBezTo>
                  <a:pt x="8449" y="50"/>
                  <a:pt x="8451" y="50"/>
                  <a:pt x="8452" y="50"/>
                </a:cubicBezTo>
                <a:cubicBezTo>
                  <a:pt x="8453" y="50"/>
                  <a:pt x="8454" y="50"/>
                  <a:pt x="8455" y="50"/>
                </a:cubicBezTo>
                <a:cubicBezTo>
                  <a:pt x="8457" y="50"/>
                  <a:pt x="8458" y="50"/>
                  <a:pt x="8460" y="50"/>
                </a:cubicBezTo>
                <a:cubicBezTo>
                  <a:pt x="8468" y="50"/>
                  <a:pt x="8476" y="50"/>
                  <a:pt x="8484" y="50"/>
                </a:cubicBezTo>
                <a:cubicBezTo>
                  <a:pt x="8492" y="50"/>
                  <a:pt x="8501" y="50"/>
                  <a:pt x="8509" y="51"/>
                </a:cubicBezTo>
                <a:cubicBezTo>
                  <a:pt x="8527" y="51"/>
                  <a:pt x="8545" y="50"/>
                  <a:pt x="8563" y="50"/>
                </a:cubicBezTo>
                <a:cubicBezTo>
                  <a:pt x="8595" y="50"/>
                  <a:pt x="8626" y="50"/>
                  <a:pt x="8659" y="49"/>
                </a:cubicBezTo>
                <a:cubicBezTo>
                  <a:pt x="8659" y="49"/>
                  <a:pt x="8659" y="50"/>
                  <a:pt x="8659" y="50"/>
                </a:cubicBezTo>
                <a:cubicBezTo>
                  <a:pt x="8659" y="50"/>
                  <a:pt x="8660" y="50"/>
                  <a:pt x="8660" y="50"/>
                </a:cubicBezTo>
                <a:cubicBezTo>
                  <a:pt x="8661" y="50"/>
                  <a:pt x="8662" y="50"/>
                  <a:pt x="8663" y="50"/>
                </a:cubicBezTo>
                <a:cubicBezTo>
                  <a:pt x="8667" y="50"/>
                  <a:pt x="8670" y="51"/>
                  <a:pt x="8674" y="51"/>
                </a:cubicBezTo>
                <a:cubicBezTo>
                  <a:pt x="8678" y="51"/>
                  <a:pt x="8682" y="51"/>
                  <a:pt x="8686" y="51"/>
                </a:cubicBezTo>
                <a:cubicBezTo>
                  <a:pt x="8688" y="51"/>
                  <a:pt x="8690" y="52"/>
                  <a:pt x="8693" y="52"/>
                </a:cubicBezTo>
                <a:cubicBezTo>
                  <a:pt x="8696" y="51"/>
                  <a:pt x="8698" y="50"/>
                  <a:pt x="8700" y="50"/>
                </a:cubicBezTo>
                <a:cubicBezTo>
                  <a:pt x="8703" y="50"/>
                  <a:pt x="8708" y="50"/>
                  <a:pt x="8711" y="50"/>
                </a:cubicBezTo>
                <a:cubicBezTo>
                  <a:pt x="8720" y="50"/>
                  <a:pt x="8736" y="51"/>
                  <a:pt x="8746" y="50"/>
                </a:cubicBezTo>
                <a:cubicBezTo>
                  <a:pt x="8761" y="50"/>
                  <a:pt x="8803" y="50"/>
                  <a:pt x="8826" y="50"/>
                </a:cubicBezTo>
                <a:cubicBezTo>
                  <a:pt x="8831" y="51"/>
                  <a:pt x="8842" y="50"/>
                  <a:pt x="8852" y="50"/>
                </a:cubicBezTo>
                <a:cubicBezTo>
                  <a:pt x="8858" y="50"/>
                  <a:pt x="8863" y="50"/>
                  <a:pt x="8869" y="50"/>
                </a:cubicBezTo>
                <a:cubicBezTo>
                  <a:pt x="8869" y="51"/>
                  <a:pt x="8870" y="51"/>
                  <a:pt x="8872" y="51"/>
                </a:cubicBezTo>
                <a:cubicBezTo>
                  <a:pt x="8873" y="51"/>
                  <a:pt x="8875" y="51"/>
                  <a:pt x="8876" y="51"/>
                </a:cubicBezTo>
                <a:cubicBezTo>
                  <a:pt x="8879" y="52"/>
                  <a:pt x="8882" y="52"/>
                  <a:pt x="8884" y="52"/>
                </a:cubicBezTo>
                <a:cubicBezTo>
                  <a:pt x="8886" y="51"/>
                  <a:pt x="8887" y="51"/>
                  <a:pt x="8888" y="51"/>
                </a:cubicBezTo>
                <a:cubicBezTo>
                  <a:pt x="8893" y="51"/>
                  <a:pt x="8901" y="50"/>
                  <a:pt x="8906" y="51"/>
                </a:cubicBezTo>
                <a:cubicBezTo>
                  <a:pt x="8912" y="51"/>
                  <a:pt x="8915" y="53"/>
                  <a:pt x="8918" y="54"/>
                </a:cubicBezTo>
                <a:cubicBezTo>
                  <a:pt x="8920" y="54"/>
                  <a:pt x="8922" y="55"/>
                  <a:pt x="8924" y="54"/>
                </a:cubicBezTo>
                <a:cubicBezTo>
                  <a:pt x="8927" y="53"/>
                  <a:pt x="8931" y="53"/>
                  <a:pt x="8934" y="52"/>
                </a:cubicBezTo>
                <a:cubicBezTo>
                  <a:pt x="8934" y="51"/>
                  <a:pt x="8935" y="51"/>
                  <a:pt x="8935" y="51"/>
                </a:cubicBezTo>
                <a:cubicBezTo>
                  <a:pt x="8936" y="51"/>
                  <a:pt x="8938" y="51"/>
                  <a:pt x="8939" y="51"/>
                </a:cubicBezTo>
                <a:cubicBezTo>
                  <a:pt x="8940" y="51"/>
                  <a:pt x="8940" y="51"/>
                  <a:pt x="8941" y="51"/>
                </a:cubicBezTo>
                <a:cubicBezTo>
                  <a:pt x="8945" y="50"/>
                  <a:pt x="8955" y="51"/>
                  <a:pt x="8959" y="51"/>
                </a:cubicBezTo>
                <a:cubicBezTo>
                  <a:pt x="8969" y="51"/>
                  <a:pt x="8978" y="51"/>
                  <a:pt x="8987" y="51"/>
                </a:cubicBezTo>
                <a:cubicBezTo>
                  <a:pt x="9005" y="51"/>
                  <a:pt x="9024" y="51"/>
                  <a:pt x="9042" y="51"/>
                </a:cubicBezTo>
                <a:cubicBezTo>
                  <a:pt x="9044" y="51"/>
                  <a:pt x="9046" y="51"/>
                  <a:pt x="9048" y="51"/>
                </a:cubicBezTo>
                <a:cubicBezTo>
                  <a:pt x="9048" y="50"/>
                  <a:pt x="9049" y="50"/>
                  <a:pt x="9049" y="50"/>
                </a:cubicBezTo>
                <a:cubicBezTo>
                  <a:pt x="9050" y="50"/>
                  <a:pt x="9051" y="50"/>
                  <a:pt x="9052" y="50"/>
                </a:cubicBezTo>
                <a:cubicBezTo>
                  <a:pt x="9052" y="50"/>
                  <a:pt x="9053" y="50"/>
                  <a:pt x="9053" y="50"/>
                </a:cubicBezTo>
                <a:cubicBezTo>
                  <a:pt x="9055" y="50"/>
                  <a:pt x="9063" y="50"/>
                  <a:pt x="9065" y="50"/>
                </a:cubicBezTo>
                <a:cubicBezTo>
                  <a:pt x="9068" y="50"/>
                  <a:pt x="9072" y="50"/>
                  <a:pt x="9077" y="51"/>
                </a:cubicBezTo>
                <a:cubicBezTo>
                  <a:pt x="9082" y="51"/>
                  <a:pt x="9087" y="51"/>
                  <a:pt x="9092" y="51"/>
                </a:cubicBezTo>
                <a:cubicBezTo>
                  <a:pt x="9092" y="51"/>
                  <a:pt x="9093" y="51"/>
                  <a:pt x="9093" y="51"/>
                </a:cubicBezTo>
                <a:cubicBezTo>
                  <a:pt x="9094" y="51"/>
                  <a:pt x="9095" y="51"/>
                  <a:pt x="9095" y="51"/>
                </a:cubicBezTo>
                <a:cubicBezTo>
                  <a:pt x="9097" y="50"/>
                  <a:pt x="9100" y="50"/>
                  <a:pt x="9102" y="50"/>
                </a:cubicBezTo>
                <a:cubicBezTo>
                  <a:pt x="9102" y="51"/>
                  <a:pt x="9103" y="51"/>
                  <a:pt x="9104" y="51"/>
                </a:cubicBezTo>
                <a:cubicBezTo>
                  <a:pt x="9108" y="51"/>
                  <a:pt x="9112" y="51"/>
                  <a:pt x="9116" y="51"/>
                </a:cubicBezTo>
                <a:cubicBezTo>
                  <a:pt x="9119" y="51"/>
                  <a:pt x="9124" y="51"/>
                  <a:pt x="9128" y="52"/>
                </a:cubicBezTo>
                <a:cubicBezTo>
                  <a:pt x="9130" y="52"/>
                  <a:pt x="9132" y="53"/>
                  <a:pt x="9135" y="53"/>
                </a:cubicBezTo>
                <a:cubicBezTo>
                  <a:pt x="9139" y="53"/>
                  <a:pt x="9146" y="50"/>
                  <a:pt x="9150" y="51"/>
                </a:cubicBezTo>
                <a:cubicBezTo>
                  <a:pt x="9151" y="51"/>
                  <a:pt x="9150" y="52"/>
                  <a:pt x="9150" y="52"/>
                </a:cubicBezTo>
                <a:cubicBezTo>
                  <a:pt x="9150" y="52"/>
                  <a:pt x="9149" y="52"/>
                  <a:pt x="9149" y="53"/>
                </a:cubicBezTo>
                <a:cubicBezTo>
                  <a:pt x="9150" y="53"/>
                  <a:pt x="9150" y="53"/>
                  <a:pt x="9151" y="53"/>
                </a:cubicBezTo>
                <a:cubicBezTo>
                  <a:pt x="9154" y="53"/>
                  <a:pt x="9157" y="53"/>
                  <a:pt x="9159" y="52"/>
                </a:cubicBezTo>
                <a:cubicBezTo>
                  <a:pt x="9159" y="52"/>
                  <a:pt x="9160" y="52"/>
                  <a:pt x="9161" y="52"/>
                </a:cubicBezTo>
                <a:cubicBezTo>
                  <a:pt x="9169" y="51"/>
                  <a:pt x="9180" y="51"/>
                  <a:pt x="9189" y="51"/>
                </a:cubicBezTo>
                <a:cubicBezTo>
                  <a:pt x="9198" y="51"/>
                  <a:pt x="9206" y="51"/>
                  <a:pt x="9214" y="51"/>
                </a:cubicBezTo>
                <a:cubicBezTo>
                  <a:pt x="9218" y="51"/>
                  <a:pt x="9223" y="51"/>
                  <a:pt x="9227" y="52"/>
                </a:cubicBezTo>
                <a:cubicBezTo>
                  <a:pt x="9232" y="52"/>
                  <a:pt x="9230" y="52"/>
                  <a:pt x="9233" y="53"/>
                </a:cubicBezTo>
                <a:cubicBezTo>
                  <a:pt x="9234" y="54"/>
                  <a:pt x="9235" y="54"/>
                  <a:pt x="9235" y="55"/>
                </a:cubicBezTo>
                <a:cubicBezTo>
                  <a:pt x="9237" y="55"/>
                  <a:pt x="9238" y="55"/>
                  <a:pt x="9239" y="55"/>
                </a:cubicBezTo>
                <a:cubicBezTo>
                  <a:pt x="9241" y="55"/>
                  <a:pt x="9243" y="54"/>
                  <a:pt x="9243" y="54"/>
                </a:cubicBezTo>
                <a:cubicBezTo>
                  <a:pt x="9244" y="53"/>
                  <a:pt x="9245" y="53"/>
                  <a:pt x="9248" y="52"/>
                </a:cubicBezTo>
                <a:cubicBezTo>
                  <a:pt x="9252" y="52"/>
                  <a:pt x="9257" y="52"/>
                  <a:pt x="9261" y="52"/>
                </a:cubicBezTo>
                <a:cubicBezTo>
                  <a:pt x="9267" y="52"/>
                  <a:pt x="9272" y="53"/>
                  <a:pt x="9278" y="53"/>
                </a:cubicBezTo>
                <a:cubicBezTo>
                  <a:pt x="9286" y="53"/>
                  <a:pt x="9294" y="53"/>
                  <a:pt x="9302" y="53"/>
                </a:cubicBezTo>
                <a:cubicBezTo>
                  <a:pt x="9306" y="52"/>
                  <a:pt x="9310" y="52"/>
                  <a:pt x="9314" y="52"/>
                </a:cubicBezTo>
                <a:cubicBezTo>
                  <a:pt x="9316" y="52"/>
                  <a:pt x="9318" y="52"/>
                  <a:pt x="9319" y="52"/>
                </a:cubicBezTo>
                <a:cubicBezTo>
                  <a:pt x="9322" y="52"/>
                  <a:pt x="9321" y="53"/>
                  <a:pt x="9323" y="53"/>
                </a:cubicBezTo>
                <a:cubicBezTo>
                  <a:pt x="9325" y="53"/>
                  <a:pt x="9326" y="53"/>
                  <a:pt x="9328" y="54"/>
                </a:cubicBezTo>
                <a:cubicBezTo>
                  <a:pt x="9328" y="54"/>
                  <a:pt x="9329" y="54"/>
                  <a:pt x="9329" y="54"/>
                </a:cubicBezTo>
                <a:cubicBezTo>
                  <a:pt x="9330" y="54"/>
                  <a:pt x="9330" y="53"/>
                  <a:pt x="9331" y="53"/>
                </a:cubicBezTo>
                <a:cubicBezTo>
                  <a:pt x="9332" y="53"/>
                  <a:pt x="9335" y="53"/>
                  <a:pt x="9338" y="52"/>
                </a:cubicBezTo>
                <a:cubicBezTo>
                  <a:pt x="9340" y="52"/>
                  <a:pt x="9342" y="51"/>
                  <a:pt x="9346" y="51"/>
                </a:cubicBezTo>
                <a:cubicBezTo>
                  <a:pt x="9348" y="51"/>
                  <a:pt x="9349" y="51"/>
                  <a:pt x="9351" y="51"/>
                </a:cubicBezTo>
                <a:cubicBezTo>
                  <a:pt x="9361" y="51"/>
                  <a:pt x="9372" y="51"/>
                  <a:pt x="9382" y="51"/>
                </a:cubicBezTo>
                <a:cubicBezTo>
                  <a:pt x="9390" y="51"/>
                  <a:pt x="9394" y="52"/>
                  <a:pt x="9400" y="53"/>
                </a:cubicBezTo>
                <a:cubicBezTo>
                  <a:pt x="9401" y="54"/>
                  <a:pt x="9402" y="54"/>
                  <a:pt x="9403" y="54"/>
                </a:cubicBezTo>
                <a:cubicBezTo>
                  <a:pt x="9406" y="54"/>
                  <a:pt x="9408" y="52"/>
                  <a:pt x="9411" y="52"/>
                </a:cubicBezTo>
                <a:cubicBezTo>
                  <a:pt x="9413" y="52"/>
                  <a:pt x="9415" y="52"/>
                  <a:pt x="9417" y="53"/>
                </a:cubicBezTo>
                <a:cubicBezTo>
                  <a:pt x="9425" y="54"/>
                  <a:pt x="9432" y="53"/>
                  <a:pt x="9439" y="52"/>
                </a:cubicBezTo>
                <a:cubicBezTo>
                  <a:pt x="9443" y="52"/>
                  <a:pt x="9446" y="51"/>
                  <a:pt x="9449" y="51"/>
                </a:cubicBezTo>
                <a:cubicBezTo>
                  <a:pt x="9456" y="51"/>
                  <a:pt x="9463" y="51"/>
                  <a:pt x="9471" y="51"/>
                </a:cubicBezTo>
                <a:cubicBezTo>
                  <a:pt x="9472" y="51"/>
                  <a:pt x="9474" y="51"/>
                  <a:pt x="9476" y="51"/>
                </a:cubicBezTo>
                <a:cubicBezTo>
                  <a:pt x="9483" y="52"/>
                  <a:pt x="9490" y="52"/>
                  <a:pt x="9498" y="52"/>
                </a:cubicBezTo>
                <a:cubicBezTo>
                  <a:pt x="9503" y="52"/>
                  <a:pt x="9509" y="52"/>
                  <a:pt x="9515" y="53"/>
                </a:cubicBezTo>
                <a:cubicBezTo>
                  <a:pt x="9520" y="53"/>
                  <a:pt x="9525" y="54"/>
                  <a:pt x="9530" y="55"/>
                </a:cubicBezTo>
                <a:cubicBezTo>
                  <a:pt x="9530" y="55"/>
                  <a:pt x="9531" y="55"/>
                  <a:pt x="9533" y="55"/>
                </a:cubicBezTo>
                <a:cubicBezTo>
                  <a:pt x="9534" y="55"/>
                  <a:pt x="9535" y="55"/>
                  <a:pt x="9535" y="55"/>
                </a:cubicBezTo>
                <a:cubicBezTo>
                  <a:pt x="9536" y="55"/>
                  <a:pt x="9536" y="54"/>
                  <a:pt x="9536" y="54"/>
                </a:cubicBezTo>
                <a:cubicBezTo>
                  <a:pt x="9536" y="54"/>
                  <a:pt x="9537" y="54"/>
                  <a:pt x="9538" y="54"/>
                </a:cubicBezTo>
                <a:cubicBezTo>
                  <a:pt x="9539" y="54"/>
                  <a:pt x="9538" y="55"/>
                  <a:pt x="9540" y="55"/>
                </a:cubicBezTo>
                <a:cubicBezTo>
                  <a:pt x="9541" y="54"/>
                  <a:pt x="9542" y="54"/>
                  <a:pt x="9543" y="54"/>
                </a:cubicBezTo>
                <a:cubicBezTo>
                  <a:pt x="9544" y="54"/>
                  <a:pt x="9544" y="54"/>
                  <a:pt x="9545" y="54"/>
                </a:cubicBezTo>
                <a:cubicBezTo>
                  <a:pt x="9546" y="53"/>
                  <a:pt x="9547" y="54"/>
                  <a:pt x="9548" y="54"/>
                </a:cubicBezTo>
                <a:cubicBezTo>
                  <a:pt x="9550" y="55"/>
                  <a:pt x="9553" y="54"/>
                  <a:pt x="9555" y="54"/>
                </a:cubicBezTo>
                <a:cubicBezTo>
                  <a:pt x="9563" y="51"/>
                  <a:pt x="9583" y="52"/>
                  <a:pt x="9595" y="52"/>
                </a:cubicBezTo>
                <a:cubicBezTo>
                  <a:pt x="9601" y="52"/>
                  <a:pt x="9609" y="51"/>
                  <a:pt x="9615" y="52"/>
                </a:cubicBezTo>
                <a:cubicBezTo>
                  <a:pt x="9616" y="52"/>
                  <a:pt x="9617" y="52"/>
                  <a:pt x="9618" y="52"/>
                </a:cubicBezTo>
                <a:cubicBezTo>
                  <a:pt x="9620" y="53"/>
                  <a:pt x="9623" y="53"/>
                  <a:pt x="9624" y="53"/>
                </a:cubicBezTo>
                <a:cubicBezTo>
                  <a:pt x="9625" y="53"/>
                  <a:pt x="9626" y="54"/>
                  <a:pt x="9627" y="54"/>
                </a:cubicBezTo>
                <a:cubicBezTo>
                  <a:pt x="9630" y="55"/>
                  <a:pt x="9637" y="55"/>
                  <a:pt x="9642" y="55"/>
                </a:cubicBezTo>
                <a:cubicBezTo>
                  <a:pt x="9646" y="55"/>
                  <a:pt x="9653" y="56"/>
                  <a:pt x="9657" y="55"/>
                </a:cubicBezTo>
                <a:cubicBezTo>
                  <a:pt x="9659" y="54"/>
                  <a:pt x="9666" y="55"/>
                  <a:pt x="9669" y="55"/>
                </a:cubicBezTo>
                <a:cubicBezTo>
                  <a:pt x="9675" y="55"/>
                  <a:pt x="9681" y="55"/>
                  <a:pt x="9688" y="55"/>
                </a:cubicBezTo>
                <a:cubicBezTo>
                  <a:pt x="9690" y="55"/>
                  <a:pt x="9694" y="55"/>
                  <a:pt x="9697" y="55"/>
                </a:cubicBezTo>
                <a:cubicBezTo>
                  <a:pt x="9700" y="55"/>
                  <a:pt x="9701" y="54"/>
                  <a:pt x="9705" y="54"/>
                </a:cubicBezTo>
                <a:cubicBezTo>
                  <a:pt x="9707" y="53"/>
                  <a:pt x="9710" y="54"/>
                  <a:pt x="9710" y="54"/>
                </a:cubicBezTo>
                <a:cubicBezTo>
                  <a:pt x="9710" y="55"/>
                  <a:pt x="9709" y="55"/>
                  <a:pt x="9710" y="55"/>
                </a:cubicBezTo>
                <a:cubicBezTo>
                  <a:pt x="9711" y="56"/>
                  <a:pt x="9721" y="55"/>
                  <a:pt x="9723" y="55"/>
                </a:cubicBezTo>
                <a:cubicBezTo>
                  <a:pt x="9726" y="55"/>
                  <a:pt x="9737" y="56"/>
                  <a:pt x="9738" y="55"/>
                </a:cubicBezTo>
                <a:cubicBezTo>
                  <a:pt x="9738" y="54"/>
                  <a:pt x="9738" y="54"/>
                  <a:pt x="9738" y="54"/>
                </a:cubicBezTo>
                <a:cubicBezTo>
                  <a:pt x="9740" y="53"/>
                  <a:pt x="9746" y="53"/>
                  <a:pt x="9748" y="53"/>
                </a:cubicBezTo>
                <a:cubicBezTo>
                  <a:pt x="9752" y="53"/>
                  <a:pt x="9756" y="54"/>
                  <a:pt x="9760" y="54"/>
                </a:cubicBezTo>
                <a:cubicBezTo>
                  <a:pt x="9774" y="54"/>
                  <a:pt x="9805" y="55"/>
                  <a:pt x="9830" y="55"/>
                </a:cubicBezTo>
                <a:cubicBezTo>
                  <a:pt x="9838" y="55"/>
                  <a:pt x="9846" y="55"/>
                  <a:pt x="9855" y="55"/>
                </a:cubicBezTo>
                <a:cubicBezTo>
                  <a:pt x="9861" y="55"/>
                  <a:pt x="9872" y="54"/>
                  <a:pt x="9878" y="55"/>
                </a:cubicBezTo>
                <a:cubicBezTo>
                  <a:pt x="9879" y="55"/>
                  <a:pt x="9880" y="55"/>
                  <a:pt x="9881" y="56"/>
                </a:cubicBezTo>
                <a:cubicBezTo>
                  <a:pt x="9883" y="56"/>
                  <a:pt x="9886" y="56"/>
                  <a:pt x="9889" y="56"/>
                </a:cubicBezTo>
                <a:cubicBezTo>
                  <a:pt x="9892" y="55"/>
                  <a:pt x="9895" y="55"/>
                  <a:pt x="9897" y="55"/>
                </a:cubicBezTo>
                <a:cubicBezTo>
                  <a:pt x="9898" y="54"/>
                  <a:pt x="9898" y="54"/>
                  <a:pt x="9899" y="54"/>
                </a:cubicBezTo>
                <a:cubicBezTo>
                  <a:pt x="9901" y="54"/>
                  <a:pt x="9903" y="55"/>
                  <a:pt x="9905" y="55"/>
                </a:cubicBezTo>
                <a:cubicBezTo>
                  <a:pt x="9916" y="55"/>
                  <a:pt x="9930" y="56"/>
                  <a:pt x="9941" y="56"/>
                </a:cubicBezTo>
                <a:cubicBezTo>
                  <a:pt x="9942" y="56"/>
                  <a:pt x="9943" y="56"/>
                  <a:pt x="9943" y="55"/>
                </a:cubicBezTo>
                <a:cubicBezTo>
                  <a:pt x="9944" y="53"/>
                  <a:pt x="9958" y="54"/>
                  <a:pt x="9962" y="55"/>
                </a:cubicBezTo>
                <a:cubicBezTo>
                  <a:pt x="9973" y="55"/>
                  <a:pt x="9987" y="55"/>
                  <a:pt x="9994" y="55"/>
                </a:cubicBezTo>
                <a:cubicBezTo>
                  <a:pt x="10001" y="55"/>
                  <a:pt x="10019" y="55"/>
                  <a:pt x="10033" y="55"/>
                </a:cubicBezTo>
                <a:cubicBezTo>
                  <a:pt x="10047" y="55"/>
                  <a:pt x="10083" y="55"/>
                  <a:pt x="10113" y="55"/>
                </a:cubicBezTo>
                <a:cubicBezTo>
                  <a:pt x="10123" y="55"/>
                  <a:pt x="10132" y="55"/>
                  <a:pt x="10142" y="55"/>
                </a:cubicBezTo>
                <a:cubicBezTo>
                  <a:pt x="10145" y="55"/>
                  <a:pt x="10165" y="54"/>
                  <a:pt x="10165" y="55"/>
                </a:cubicBezTo>
                <a:cubicBezTo>
                  <a:pt x="10165" y="56"/>
                  <a:pt x="10164" y="56"/>
                  <a:pt x="10164" y="56"/>
                </a:cubicBezTo>
                <a:cubicBezTo>
                  <a:pt x="10163" y="56"/>
                  <a:pt x="10165" y="57"/>
                  <a:pt x="10166" y="57"/>
                </a:cubicBezTo>
                <a:cubicBezTo>
                  <a:pt x="10169" y="57"/>
                  <a:pt x="10171" y="57"/>
                  <a:pt x="10174" y="57"/>
                </a:cubicBezTo>
                <a:cubicBezTo>
                  <a:pt x="10177" y="57"/>
                  <a:pt x="10181" y="57"/>
                  <a:pt x="10185" y="57"/>
                </a:cubicBezTo>
                <a:cubicBezTo>
                  <a:pt x="10189" y="57"/>
                  <a:pt x="10194" y="57"/>
                  <a:pt x="10199" y="57"/>
                </a:cubicBezTo>
                <a:cubicBezTo>
                  <a:pt x="10202" y="57"/>
                  <a:pt x="10205" y="58"/>
                  <a:pt x="10209" y="57"/>
                </a:cubicBezTo>
                <a:cubicBezTo>
                  <a:pt x="10212" y="57"/>
                  <a:pt x="10214" y="56"/>
                  <a:pt x="10216" y="56"/>
                </a:cubicBezTo>
                <a:cubicBezTo>
                  <a:pt x="10219" y="55"/>
                  <a:pt x="10221" y="55"/>
                  <a:pt x="10225" y="55"/>
                </a:cubicBezTo>
                <a:cubicBezTo>
                  <a:pt x="10229" y="55"/>
                  <a:pt x="10240" y="55"/>
                  <a:pt x="10249" y="55"/>
                </a:cubicBezTo>
                <a:cubicBezTo>
                  <a:pt x="10254" y="55"/>
                  <a:pt x="10261" y="54"/>
                  <a:pt x="10266" y="55"/>
                </a:cubicBezTo>
                <a:cubicBezTo>
                  <a:pt x="10270" y="55"/>
                  <a:pt x="10274" y="55"/>
                  <a:pt x="10279" y="55"/>
                </a:cubicBezTo>
                <a:cubicBezTo>
                  <a:pt x="10284" y="55"/>
                  <a:pt x="10289" y="55"/>
                  <a:pt x="10293" y="55"/>
                </a:cubicBezTo>
                <a:cubicBezTo>
                  <a:pt x="10297" y="56"/>
                  <a:pt x="10299" y="56"/>
                  <a:pt x="10303" y="57"/>
                </a:cubicBezTo>
                <a:cubicBezTo>
                  <a:pt x="10308" y="57"/>
                  <a:pt x="10315" y="56"/>
                  <a:pt x="10320" y="56"/>
                </a:cubicBezTo>
                <a:cubicBezTo>
                  <a:pt x="10329" y="56"/>
                  <a:pt x="10335" y="55"/>
                  <a:pt x="10343" y="54"/>
                </a:cubicBezTo>
                <a:cubicBezTo>
                  <a:pt x="10348" y="54"/>
                  <a:pt x="10353" y="54"/>
                  <a:pt x="10357" y="54"/>
                </a:cubicBezTo>
                <a:cubicBezTo>
                  <a:pt x="10363" y="54"/>
                  <a:pt x="10370" y="55"/>
                  <a:pt x="10376" y="55"/>
                </a:cubicBezTo>
                <a:cubicBezTo>
                  <a:pt x="10381" y="55"/>
                  <a:pt x="10384" y="56"/>
                  <a:pt x="10392" y="56"/>
                </a:cubicBezTo>
                <a:cubicBezTo>
                  <a:pt x="10392" y="56"/>
                  <a:pt x="10392" y="56"/>
                  <a:pt x="10392" y="55"/>
                </a:cubicBezTo>
                <a:cubicBezTo>
                  <a:pt x="10394" y="54"/>
                  <a:pt x="10399" y="54"/>
                  <a:pt x="10402" y="55"/>
                </a:cubicBezTo>
                <a:cubicBezTo>
                  <a:pt x="10404" y="55"/>
                  <a:pt x="10413" y="55"/>
                  <a:pt x="10409" y="56"/>
                </a:cubicBezTo>
                <a:cubicBezTo>
                  <a:pt x="10409" y="56"/>
                  <a:pt x="10410" y="56"/>
                  <a:pt x="10411" y="57"/>
                </a:cubicBezTo>
                <a:cubicBezTo>
                  <a:pt x="10412" y="57"/>
                  <a:pt x="10413" y="57"/>
                  <a:pt x="10413" y="58"/>
                </a:cubicBezTo>
                <a:cubicBezTo>
                  <a:pt x="10414" y="58"/>
                  <a:pt x="10415" y="58"/>
                  <a:pt x="10417" y="58"/>
                </a:cubicBezTo>
                <a:cubicBezTo>
                  <a:pt x="10418" y="58"/>
                  <a:pt x="10418" y="58"/>
                  <a:pt x="10420" y="58"/>
                </a:cubicBezTo>
                <a:cubicBezTo>
                  <a:pt x="10422" y="58"/>
                  <a:pt x="10423" y="58"/>
                  <a:pt x="10425" y="59"/>
                </a:cubicBezTo>
                <a:cubicBezTo>
                  <a:pt x="10426" y="59"/>
                  <a:pt x="10429" y="59"/>
                  <a:pt x="10431" y="59"/>
                </a:cubicBezTo>
                <a:cubicBezTo>
                  <a:pt x="10432" y="59"/>
                  <a:pt x="10434" y="58"/>
                  <a:pt x="10433" y="57"/>
                </a:cubicBezTo>
                <a:cubicBezTo>
                  <a:pt x="10432" y="57"/>
                  <a:pt x="10432" y="57"/>
                  <a:pt x="10432" y="57"/>
                </a:cubicBezTo>
                <a:cubicBezTo>
                  <a:pt x="10432" y="56"/>
                  <a:pt x="10434" y="56"/>
                  <a:pt x="10437" y="56"/>
                </a:cubicBezTo>
                <a:cubicBezTo>
                  <a:pt x="10438" y="56"/>
                  <a:pt x="10439" y="56"/>
                  <a:pt x="10439" y="56"/>
                </a:cubicBezTo>
                <a:cubicBezTo>
                  <a:pt x="10440" y="57"/>
                  <a:pt x="10439" y="57"/>
                  <a:pt x="10441" y="57"/>
                </a:cubicBezTo>
                <a:cubicBezTo>
                  <a:pt x="10446" y="57"/>
                  <a:pt x="10451" y="58"/>
                  <a:pt x="10457" y="58"/>
                </a:cubicBezTo>
                <a:cubicBezTo>
                  <a:pt x="10462" y="58"/>
                  <a:pt x="10467" y="58"/>
                  <a:pt x="10473" y="58"/>
                </a:cubicBezTo>
                <a:cubicBezTo>
                  <a:pt x="10476" y="58"/>
                  <a:pt x="10480" y="58"/>
                  <a:pt x="10483" y="58"/>
                </a:cubicBezTo>
                <a:cubicBezTo>
                  <a:pt x="10487" y="58"/>
                  <a:pt x="10491" y="58"/>
                  <a:pt x="10495" y="58"/>
                </a:cubicBezTo>
                <a:cubicBezTo>
                  <a:pt x="10498" y="58"/>
                  <a:pt x="10501" y="58"/>
                  <a:pt x="10505" y="58"/>
                </a:cubicBezTo>
                <a:cubicBezTo>
                  <a:pt x="10507" y="58"/>
                  <a:pt x="10506" y="57"/>
                  <a:pt x="10508" y="57"/>
                </a:cubicBezTo>
                <a:cubicBezTo>
                  <a:pt x="10509" y="57"/>
                  <a:pt x="10513" y="57"/>
                  <a:pt x="10515" y="57"/>
                </a:cubicBezTo>
                <a:cubicBezTo>
                  <a:pt x="10520" y="57"/>
                  <a:pt x="10525" y="56"/>
                  <a:pt x="10531" y="56"/>
                </a:cubicBezTo>
                <a:cubicBezTo>
                  <a:pt x="10532" y="56"/>
                  <a:pt x="10533" y="56"/>
                  <a:pt x="10534" y="56"/>
                </a:cubicBezTo>
                <a:cubicBezTo>
                  <a:pt x="10535" y="56"/>
                  <a:pt x="10536" y="57"/>
                  <a:pt x="10536" y="57"/>
                </a:cubicBezTo>
                <a:cubicBezTo>
                  <a:pt x="10536" y="57"/>
                  <a:pt x="10535" y="57"/>
                  <a:pt x="10535" y="58"/>
                </a:cubicBezTo>
                <a:cubicBezTo>
                  <a:pt x="10535" y="58"/>
                  <a:pt x="10536" y="59"/>
                  <a:pt x="10538" y="59"/>
                </a:cubicBezTo>
                <a:cubicBezTo>
                  <a:pt x="10539" y="59"/>
                  <a:pt x="10541" y="59"/>
                  <a:pt x="10543" y="59"/>
                </a:cubicBezTo>
                <a:cubicBezTo>
                  <a:pt x="10545" y="60"/>
                  <a:pt x="10552" y="59"/>
                  <a:pt x="10555" y="59"/>
                </a:cubicBezTo>
                <a:cubicBezTo>
                  <a:pt x="10560" y="58"/>
                  <a:pt x="10566" y="59"/>
                  <a:pt x="10572" y="58"/>
                </a:cubicBezTo>
                <a:cubicBezTo>
                  <a:pt x="10573" y="58"/>
                  <a:pt x="10575" y="57"/>
                  <a:pt x="10576" y="57"/>
                </a:cubicBezTo>
                <a:cubicBezTo>
                  <a:pt x="10577" y="57"/>
                  <a:pt x="10578" y="57"/>
                  <a:pt x="10580" y="57"/>
                </a:cubicBezTo>
                <a:cubicBezTo>
                  <a:pt x="10581" y="57"/>
                  <a:pt x="10583" y="56"/>
                  <a:pt x="10584" y="57"/>
                </a:cubicBezTo>
                <a:cubicBezTo>
                  <a:pt x="10588" y="59"/>
                  <a:pt x="10599" y="58"/>
                  <a:pt x="10604" y="57"/>
                </a:cubicBezTo>
                <a:cubicBezTo>
                  <a:pt x="10613" y="57"/>
                  <a:pt x="10621" y="57"/>
                  <a:pt x="10623" y="57"/>
                </a:cubicBezTo>
                <a:cubicBezTo>
                  <a:pt x="10624" y="57"/>
                  <a:pt x="10636" y="57"/>
                  <a:pt x="10651" y="57"/>
                </a:cubicBezTo>
                <a:cubicBezTo>
                  <a:pt x="10656" y="57"/>
                  <a:pt x="10661" y="57"/>
                  <a:pt x="10666" y="58"/>
                </a:cubicBezTo>
                <a:cubicBezTo>
                  <a:pt x="10669" y="58"/>
                  <a:pt x="10673" y="58"/>
                  <a:pt x="10677" y="57"/>
                </a:cubicBezTo>
                <a:cubicBezTo>
                  <a:pt x="10678" y="57"/>
                  <a:pt x="10680" y="57"/>
                  <a:pt x="10681" y="56"/>
                </a:cubicBezTo>
                <a:cubicBezTo>
                  <a:pt x="10683" y="56"/>
                  <a:pt x="10684" y="56"/>
                  <a:pt x="10686" y="56"/>
                </a:cubicBezTo>
                <a:cubicBezTo>
                  <a:pt x="10689" y="55"/>
                  <a:pt x="10690" y="55"/>
                  <a:pt x="10693" y="56"/>
                </a:cubicBezTo>
                <a:cubicBezTo>
                  <a:pt x="10697" y="56"/>
                  <a:pt x="10702" y="57"/>
                  <a:pt x="10703" y="57"/>
                </a:cubicBezTo>
                <a:cubicBezTo>
                  <a:pt x="10706" y="58"/>
                  <a:pt x="10730" y="58"/>
                  <a:pt x="10738" y="56"/>
                </a:cubicBezTo>
                <a:cubicBezTo>
                  <a:pt x="10742" y="56"/>
                  <a:pt x="10751" y="54"/>
                  <a:pt x="10755" y="56"/>
                </a:cubicBezTo>
                <a:cubicBezTo>
                  <a:pt x="10756" y="56"/>
                  <a:pt x="10756" y="56"/>
                  <a:pt x="10756" y="56"/>
                </a:cubicBezTo>
                <a:cubicBezTo>
                  <a:pt x="10757" y="56"/>
                  <a:pt x="10759" y="56"/>
                  <a:pt x="10760" y="57"/>
                </a:cubicBezTo>
                <a:cubicBezTo>
                  <a:pt x="10766" y="57"/>
                  <a:pt x="10772" y="57"/>
                  <a:pt x="10778" y="57"/>
                </a:cubicBezTo>
                <a:cubicBezTo>
                  <a:pt x="10787" y="57"/>
                  <a:pt x="10797" y="58"/>
                  <a:pt x="10801" y="58"/>
                </a:cubicBezTo>
                <a:cubicBezTo>
                  <a:pt x="10805" y="58"/>
                  <a:pt x="10819" y="58"/>
                  <a:pt x="10833" y="58"/>
                </a:cubicBezTo>
                <a:cubicBezTo>
                  <a:pt x="10842" y="58"/>
                  <a:pt x="10859" y="59"/>
                  <a:pt x="10864" y="56"/>
                </a:cubicBezTo>
                <a:cubicBezTo>
                  <a:pt x="10864" y="56"/>
                  <a:pt x="10864" y="56"/>
                  <a:pt x="10865" y="56"/>
                </a:cubicBezTo>
                <a:cubicBezTo>
                  <a:pt x="10866" y="56"/>
                  <a:pt x="10867" y="56"/>
                  <a:pt x="10868" y="56"/>
                </a:cubicBezTo>
                <a:cubicBezTo>
                  <a:pt x="10872" y="56"/>
                  <a:pt x="10875" y="55"/>
                  <a:pt x="10879" y="55"/>
                </a:cubicBezTo>
                <a:cubicBezTo>
                  <a:pt x="10884" y="55"/>
                  <a:pt x="10889" y="55"/>
                  <a:pt x="10894" y="56"/>
                </a:cubicBezTo>
                <a:cubicBezTo>
                  <a:pt x="10900" y="56"/>
                  <a:pt x="10907" y="56"/>
                  <a:pt x="10914" y="56"/>
                </a:cubicBezTo>
                <a:cubicBezTo>
                  <a:pt x="10917" y="56"/>
                  <a:pt x="10927" y="56"/>
                  <a:pt x="10930" y="56"/>
                </a:cubicBezTo>
                <a:cubicBezTo>
                  <a:pt x="10930" y="56"/>
                  <a:pt x="10930" y="56"/>
                  <a:pt x="10931" y="56"/>
                </a:cubicBezTo>
                <a:cubicBezTo>
                  <a:pt x="10934" y="57"/>
                  <a:pt x="10940" y="57"/>
                  <a:pt x="10944" y="57"/>
                </a:cubicBezTo>
                <a:cubicBezTo>
                  <a:pt x="10951" y="57"/>
                  <a:pt x="10961" y="58"/>
                  <a:pt x="10967" y="58"/>
                </a:cubicBezTo>
                <a:cubicBezTo>
                  <a:pt x="10972" y="58"/>
                  <a:pt x="10976" y="58"/>
                  <a:pt x="10981" y="57"/>
                </a:cubicBezTo>
                <a:cubicBezTo>
                  <a:pt x="10984" y="56"/>
                  <a:pt x="10986" y="56"/>
                  <a:pt x="10991" y="56"/>
                </a:cubicBezTo>
                <a:cubicBezTo>
                  <a:pt x="10997" y="55"/>
                  <a:pt x="11003" y="56"/>
                  <a:pt x="11009" y="55"/>
                </a:cubicBezTo>
                <a:cubicBezTo>
                  <a:pt x="11016" y="55"/>
                  <a:pt x="11023" y="55"/>
                  <a:pt x="11030" y="55"/>
                </a:cubicBezTo>
                <a:cubicBezTo>
                  <a:pt x="11030" y="56"/>
                  <a:pt x="11030" y="56"/>
                  <a:pt x="11030" y="56"/>
                </a:cubicBezTo>
                <a:cubicBezTo>
                  <a:pt x="11030" y="57"/>
                  <a:pt x="11031" y="57"/>
                  <a:pt x="11032" y="57"/>
                </a:cubicBezTo>
                <a:cubicBezTo>
                  <a:pt x="11033" y="57"/>
                  <a:pt x="11033" y="57"/>
                  <a:pt x="11034" y="57"/>
                </a:cubicBezTo>
                <a:cubicBezTo>
                  <a:pt x="11038" y="56"/>
                  <a:pt x="11046" y="54"/>
                  <a:pt x="11050" y="56"/>
                </a:cubicBezTo>
                <a:cubicBezTo>
                  <a:pt x="11051" y="56"/>
                  <a:pt x="11051" y="57"/>
                  <a:pt x="11050" y="57"/>
                </a:cubicBezTo>
                <a:cubicBezTo>
                  <a:pt x="11050" y="57"/>
                  <a:pt x="11049" y="57"/>
                  <a:pt x="11049" y="58"/>
                </a:cubicBezTo>
                <a:cubicBezTo>
                  <a:pt x="11049" y="58"/>
                  <a:pt x="11051" y="59"/>
                  <a:pt x="11053" y="59"/>
                </a:cubicBezTo>
                <a:cubicBezTo>
                  <a:pt x="11055" y="59"/>
                  <a:pt x="11057" y="59"/>
                  <a:pt x="11059" y="59"/>
                </a:cubicBezTo>
                <a:cubicBezTo>
                  <a:pt x="11061" y="59"/>
                  <a:pt x="11062" y="58"/>
                  <a:pt x="11065" y="57"/>
                </a:cubicBezTo>
                <a:cubicBezTo>
                  <a:pt x="11066" y="57"/>
                  <a:pt x="11066" y="58"/>
                  <a:pt x="11066" y="58"/>
                </a:cubicBezTo>
                <a:cubicBezTo>
                  <a:pt x="11066" y="58"/>
                  <a:pt x="11066" y="58"/>
                  <a:pt x="11065" y="58"/>
                </a:cubicBezTo>
                <a:cubicBezTo>
                  <a:pt x="11065" y="60"/>
                  <a:pt x="11081" y="59"/>
                  <a:pt x="11084" y="59"/>
                </a:cubicBezTo>
                <a:cubicBezTo>
                  <a:pt x="11093" y="59"/>
                  <a:pt x="11103" y="59"/>
                  <a:pt x="11113" y="59"/>
                </a:cubicBezTo>
                <a:cubicBezTo>
                  <a:pt x="11122" y="59"/>
                  <a:pt x="11131" y="59"/>
                  <a:pt x="11140" y="59"/>
                </a:cubicBezTo>
                <a:cubicBezTo>
                  <a:pt x="11145" y="59"/>
                  <a:pt x="11155" y="60"/>
                  <a:pt x="11160" y="59"/>
                </a:cubicBezTo>
                <a:cubicBezTo>
                  <a:pt x="11161" y="58"/>
                  <a:pt x="11161" y="58"/>
                  <a:pt x="11163" y="57"/>
                </a:cubicBezTo>
                <a:cubicBezTo>
                  <a:pt x="11164" y="57"/>
                  <a:pt x="11166" y="57"/>
                  <a:pt x="11168" y="57"/>
                </a:cubicBezTo>
                <a:cubicBezTo>
                  <a:pt x="11171" y="56"/>
                  <a:pt x="11175" y="56"/>
                  <a:pt x="11178" y="55"/>
                </a:cubicBezTo>
                <a:cubicBezTo>
                  <a:pt x="11181" y="55"/>
                  <a:pt x="11182" y="54"/>
                  <a:pt x="11185" y="54"/>
                </a:cubicBezTo>
                <a:cubicBezTo>
                  <a:pt x="11189" y="54"/>
                  <a:pt x="11193" y="54"/>
                  <a:pt x="11196" y="54"/>
                </a:cubicBezTo>
                <a:cubicBezTo>
                  <a:pt x="11199" y="54"/>
                  <a:pt x="11212" y="54"/>
                  <a:pt x="11214" y="55"/>
                </a:cubicBezTo>
                <a:cubicBezTo>
                  <a:pt x="11214" y="55"/>
                  <a:pt x="11214" y="55"/>
                  <a:pt x="11214" y="55"/>
                </a:cubicBezTo>
                <a:cubicBezTo>
                  <a:pt x="11214" y="56"/>
                  <a:pt x="11216" y="56"/>
                  <a:pt x="11219" y="56"/>
                </a:cubicBezTo>
                <a:cubicBezTo>
                  <a:pt x="11220" y="56"/>
                  <a:pt x="11221" y="56"/>
                  <a:pt x="11221" y="55"/>
                </a:cubicBezTo>
                <a:cubicBezTo>
                  <a:pt x="11221" y="55"/>
                  <a:pt x="11221" y="54"/>
                  <a:pt x="11223" y="54"/>
                </a:cubicBezTo>
                <a:cubicBezTo>
                  <a:pt x="11229" y="54"/>
                  <a:pt x="11237" y="54"/>
                  <a:pt x="11243" y="54"/>
                </a:cubicBezTo>
                <a:cubicBezTo>
                  <a:pt x="11244" y="54"/>
                  <a:pt x="11244" y="54"/>
                  <a:pt x="11245" y="54"/>
                </a:cubicBezTo>
                <a:cubicBezTo>
                  <a:pt x="11246" y="54"/>
                  <a:pt x="11245" y="55"/>
                  <a:pt x="11245" y="55"/>
                </a:cubicBezTo>
                <a:cubicBezTo>
                  <a:pt x="11245" y="56"/>
                  <a:pt x="11252" y="59"/>
                  <a:pt x="11257" y="57"/>
                </a:cubicBezTo>
                <a:cubicBezTo>
                  <a:pt x="11259" y="57"/>
                  <a:pt x="11257" y="56"/>
                  <a:pt x="11257" y="56"/>
                </a:cubicBezTo>
                <a:cubicBezTo>
                  <a:pt x="11258" y="55"/>
                  <a:pt x="11258" y="55"/>
                  <a:pt x="11259" y="55"/>
                </a:cubicBezTo>
                <a:cubicBezTo>
                  <a:pt x="11259" y="55"/>
                  <a:pt x="11259" y="54"/>
                  <a:pt x="11259" y="54"/>
                </a:cubicBezTo>
                <a:cubicBezTo>
                  <a:pt x="11261" y="53"/>
                  <a:pt x="11267" y="54"/>
                  <a:pt x="11269" y="54"/>
                </a:cubicBezTo>
                <a:cubicBezTo>
                  <a:pt x="11272" y="54"/>
                  <a:pt x="11271" y="55"/>
                  <a:pt x="11273" y="56"/>
                </a:cubicBezTo>
                <a:cubicBezTo>
                  <a:pt x="11275" y="56"/>
                  <a:pt x="11280" y="55"/>
                  <a:pt x="11282" y="55"/>
                </a:cubicBezTo>
                <a:cubicBezTo>
                  <a:pt x="11286" y="55"/>
                  <a:pt x="11292" y="56"/>
                  <a:pt x="11296" y="55"/>
                </a:cubicBezTo>
                <a:cubicBezTo>
                  <a:pt x="11300" y="55"/>
                  <a:pt x="11301" y="54"/>
                  <a:pt x="11305" y="54"/>
                </a:cubicBezTo>
                <a:cubicBezTo>
                  <a:pt x="11314" y="53"/>
                  <a:pt x="11327" y="53"/>
                  <a:pt x="11337" y="53"/>
                </a:cubicBezTo>
                <a:cubicBezTo>
                  <a:pt x="11342" y="53"/>
                  <a:pt x="11373" y="52"/>
                  <a:pt x="11374" y="54"/>
                </a:cubicBezTo>
                <a:cubicBezTo>
                  <a:pt x="11375" y="54"/>
                  <a:pt x="11374" y="54"/>
                  <a:pt x="11375" y="54"/>
                </a:cubicBezTo>
                <a:cubicBezTo>
                  <a:pt x="11375" y="55"/>
                  <a:pt x="11376" y="55"/>
                  <a:pt x="11377" y="55"/>
                </a:cubicBezTo>
                <a:cubicBezTo>
                  <a:pt x="11379" y="55"/>
                  <a:pt x="11392" y="54"/>
                  <a:pt x="11386" y="56"/>
                </a:cubicBezTo>
                <a:cubicBezTo>
                  <a:pt x="11385" y="56"/>
                  <a:pt x="11384" y="56"/>
                  <a:pt x="11384" y="57"/>
                </a:cubicBezTo>
                <a:cubicBezTo>
                  <a:pt x="11385" y="57"/>
                  <a:pt x="11387" y="57"/>
                  <a:pt x="11389" y="57"/>
                </a:cubicBezTo>
                <a:cubicBezTo>
                  <a:pt x="11390" y="56"/>
                  <a:pt x="11392" y="56"/>
                  <a:pt x="11393" y="56"/>
                </a:cubicBezTo>
                <a:cubicBezTo>
                  <a:pt x="11396" y="56"/>
                  <a:pt x="11398" y="56"/>
                  <a:pt x="11401" y="56"/>
                </a:cubicBezTo>
                <a:cubicBezTo>
                  <a:pt x="11403" y="56"/>
                  <a:pt x="11406" y="56"/>
                  <a:pt x="11408" y="56"/>
                </a:cubicBezTo>
                <a:cubicBezTo>
                  <a:pt x="11416" y="56"/>
                  <a:pt x="11424" y="56"/>
                  <a:pt x="11432" y="55"/>
                </a:cubicBezTo>
                <a:cubicBezTo>
                  <a:pt x="11435" y="55"/>
                  <a:pt x="11438" y="55"/>
                  <a:pt x="11441" y="55"/>
                </a:cubicBezTo>
                <a:cubicBezTo>
                  <a:pt x="11444" y="55"/>
                  <a:pt x="11447" y="56"/>
                  <a:pt x="11450" y="56"/>
                </a:cubicBezTo>
                <a:cubicBezTo>
                  <a:pt x="11451" y="55"/>
                  <a:pt x="11454" y="55"/>
                  <a:pt x="11456" y="55"/>
                </a:cubicBezTo>
                <a:cubicBezTo>
                  <a:pt x="11457" y="55"/>
                  <a:pt x="11459" y="54"/>
                  <a:pt x="11460" y="54"/>
                </a:cubicBezTo>
                <a:cubicBezTo>
                  <a:pt x="11463" y="53"/>
                  <a:pt x="11467" y="53"/>
                  <a:pt x="11468" y="52"/>
                </a:cubicBezTo>
                <a:cubicBezTo>
                  <a:pt x="11468" y="52"/>
                  <a:pt x="11468" y="52"/>
                  <a:pt x="11468" y="52"/>
                </a:cubicBezTo>
                <a:cubicBezTo>
                  <a:pt x="11469" y="52"/>
                  <a:pt x="11470" y="51"/>
                  <a:pt x="11471" y="51"/>
                </a:cubicBezTo>
                <a:cubicBezTo>
                  <a:pt x="11474" y="51"/>
                  <a:pt x="11477" y="51"/>
                  <a:pt x="11479" y="51"/>
                </a:cubicBezTo>
                <a:cubicBezTo>
                  <a:pt x="11482" y="51"/>
                  <a:pt x="11486" y="51"/>
                  <a:pt x="11487" y="52"/>
                </a:cubicBezTo>
                <a:cubicBezTo>
                  <a:pt x="11487" y="53"/>
                  <a:pt x="11487" y="53"/>
                  <a:pt x="11488" y="54"/>
                </a:cubicBezTo>
                <a:cubicBezTo>
                  <a:pt x="11490" y="54"/>
                  <a:pt x="11497" y="53"/>
                  <a:pt x="11500" y="53"/>
                </a:cubicBezTo>
                <a:cubicBezTo>
                  <a:pt x="11505" y="53"/>
                  <a:pt x="11508" y="55"/>
                  <a:pt x="11513" y="56"/>
                </a:cubicBezTo>
                <a:cubicBezTo>
                  <a:pt x="11518" y="57"/>
                  <a:pt x="11526" y="56"/>
                  <a:pt x="11532" y="56"/>
                </a:cubicBezTo>
                <a:cubicBezTo>
                  <a:pt x="11535" y="56"/>
                  <a:pt x="11539" y="56"/>
                  <a:pt x="11541" y="55"/>
                </a:cubicBezTo>
                <a:cubicBezTo>
                  <a:pt x="11543" y="55"/>
                  <a:pt x="11545" y="55"/>
                  <a:pt x="11547" y="54"/>
                </a:cubicBezTo>
                <a:cubicBezTo>
                  <a:pt x="11553" y="54"/>
                  <a:pt x="11561" y="54"/>
                  <a:pt x="11567" y="54"/>
                </a:cubicBezTo>
                <a:cubicBezTo>
                  <a:pt x="11575" y="54"/>
                  <a:pt x="11583" y="54"/>
                  <a:pt x="11591" y="54"/>
                </a:cubicBezTo>
                <a:cubicBezTo>
                  <a:pt x="11596" y="54"/>
                  <a:pt x="11602" y="54"/>
                  <a:pt x="11607" y="54"/>
                </a:cubicBezTo>
                <a:cubicBezTo>
                  <a:pt x="11614" y="54"/>
                  <a:pt x="11620" y="54"/>
                  <a:pt x="11627" y="54"/>
                </a:cubicBezTo>
                <a:lnTo>
                  <a:pt x="11627" y="56"/>
                </a:lnTo>
                <a:cubicBezTo>
                  <a:pt x="11630" y="56"/>
                  <a:pt x="11634" y="56"/>
                  <a:pt x="11638" y="56"/>
                </a:cubicBezTo>
                <a:cubicBezTo>
                  <a:pt x="11640" y="55"/>
                  <a:pt x="11643" y="55"/>
                  <a:pt x="11645" y="55"/>
                </a:cubicBezTo>
                <a:cubicBezTo>
                  <a:pt x="11646" y="55"/>
                  <a:pt x="11646" y="56"/>
                  <a:pt x="11647" y="56"/>
                </a:cubicBezTo>
                <a:cubicBezTo>
                  <a:pt x="11648" y="57"/>
                  <a:pt x="11649" y="57"/>
                  <a:pt x="11650" y="57"/>
                </a:cubicBezTo>
                <a:cubicBezTo>
                  <a:pt x="11651" y="57"/>
                  <a:pt x="11653" y="56"/>
                  <a:pt x="11654" y="57"/>
                </a:cubicBezTo>
                <a:cubicBezTo>
                  <a:pt x="11655" y="57"/>
                  <a:pt x="11656" y="58"/>
                  <a:pt x="11656" y="58"/>
                </a:cubicBezTo>
                <a:cubicBezTo>
                  <a:pt x="11658" y="59"/>
                  <a:pt x="11659" y="58"/>
                  <a:pt x="11659" y="57"/>
                </a:cubicBezTo>
                <a:cubicBezTo>
                  <a:pt x="11661" y="55"/>
                  <a:pt x="11661" y="55"/>
                  <a:pt x="11663" y="55"/>
                </a:cubicBezTo>
                <a:cubicBezTo>
                  <a:pt x="11665" y="56"/>
                  <a:pt x="11666" y="55"/>
                  <a:pt x="11668" y="55"/>
                </a:cubicBezTo>
                <a:cubicBezTo>
                  <a:pt x="11673" y="56"/>
                  <a:pt x="11678" y="56"/>
                  <a:pt x="11684" y="56"/>
                </a:cubicBezTo>
                <a:cubicBezTo>
                  <a:pt x="11684" y="56"/>
                  <a:pt x="11684" y="56"/>
                  <a:pt x="11684" y="57"/>
                </a:cubicBezTo>
                <a:cubicBezTo>
                  <a:pt x="11685" y="57"/>
                  <a:pt x="11686" y="57"/>
                  <a:pt x="11687" y="57"/>
                </a:cubicBezTo>
                <a:cubicBezTo>
                  <a:pt x="11688" y="58"/>
                  <a:pt x="11690" y="58"/>
                  <a:pt x="11691" y="58"/>
                </a:cubicBezTo>
                <a:cubicBezTo>
                  <a:pt x="11692" y="58"/>
                  <a:pt x="11692" y="58"/>
                  <a:pt x="11693" y="58"/>
                </a:cubicBezTo>
                <a:cubicBezTo>
                  <a:pt x="11693" y="58"/>
                  <a:pt x="11693" y="57"/>
                  <a:pt x="11694" y="57"/>
                </a:cubicBezTo>
                <a:cubicBezTo>
                  <a:pt x="11694" y="57"/>
                  <a:pt x="11695" y="57"/>
                  <a:pt x="11695" y="56"/>
                </a:cubicBezTo>
                <a:cubicBezTo>
                  <a:pt x="11718" y="57"/>
                  <a:pt x="11741" y="58"/>
                  <a:pt x="11765" y="58"/>
                </a:cubicBezTo>
                <a:cubicBezTo>
                  <a:pt x="11776" y="57"/>
                  <a:pt x="11786" y="57"/>
                  <a:pt x="11797" y="56"/>
                </a:cubicBezTo>
                <a:cubicBezTo>
                  <a:pt x="11802" y="56"/>
                  <a:pt x="11807" y="57"/>
                  <a:pt x="11812" y="56"/>
                </a:cubicBezTo>
                <a:cubicBezTo>
                  <a:pt x="11816" y="56"/>
                  <a:pt x="11820" y="55"/>
                  <a:pt x="11824" y="54"/>
                </a:cubicBezTo>
                <a:cubicBezTo>
                  <a:pt x="11825" y="53"/>
                  <a:pt x="11827" y="52"/>
                  <a:pt x="11828" y="51"/>
                </a:cubicBezTo>
                <a:cubicBezTo>
                  <a:pt x="11829" y="50"/>
                  <a:pt x="11829" y="49"/>
                  <a:pt x="11829" y="48"/>
                </a:cubicBezTo>
                <a:cubicBezTo>
                  <a:pt x="11828" y="47"/>
                  <a:pt x="11828" y="47"/>
                  <a:pt x="11828" y="47"/>
                </a:cubicBez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282213160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3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9541DB-9159-52E1-36ED-A2271EFDC027}"/>
              </a:ext>
            </a:extLst>
          </p:cNvPr>
          <p:cNvSpPr>
            <a:spLocks noGrp="1"/>
          </p:cNvSpPr>
          <p:nvPr>
            <p:ph type="title"/>
          </p:nvPr>
        </p:nvSpPr>
        <p:spPr>
          <a:xfrm>
            <a:off x="442914" y="404813"/>
            <a:ext cx="11306174" cy="382284"/>
          </a:xfrm>
        </p:spPr>
        <p:txBody>
          <a:bodyPr/>
          <a:lstStyle/>
          <a:p>
            <a:r>
              <a:rPr lang="en-GB"/>
              <a:t>Click to edit Master title style</a:t>
            </a:r>
          </a:p>
        </p:txBody>
      </p:sp>
      <p:sp>
        <p:nvSpPr>
          <p:cNvPr id="3" name="Content Placeholder 2">
            <a:extLst>
              <a:ext uri="{FF2B5EF4-FFF2-40B4-BE49-F238E27FC236}">
                <a16:creationId xmlns:a16="http://schemas.microsoft.com/office/drawing/2014/main" id="{D66370DB-D8BA-987C-5976-9F9A695233D7}"/>
              </a:ext>
            </a:extLst>
          </p:cNvPr>
          <p:cNvSpPr>
            <a:spLocks noGrp="1"/>
          </p:cNvSpPr>
          <p:nvPr>
            <p:ph idx="1"/>
          </p:nvPr>
        </p:nvSpPr>
        <p:spPr>
          <a:xfrm>
            <a:off x="457200" y="1484314"/>
            <a:ext cx="3606800" cy="4548186"/>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0F414784-DF0B-C117-2497-A8A415ABF3CE}"/>
              </a:ext>
            </a:extLst>
          </p:cNvPr>
          <p:cNvSpPr>
            <a:spLocks noGrp="1"/>
          </p:cNvSpPr>
          <p:nvPr>
            <p:ph type="dt" sz="half" idx="10"/>
          </p:nvPr>
        </p:nvSpPr>
        <p:spPr/>
        <p:txBody>
          <a:bodyPr/>
          <a:lstStyle/>
          <a:p>
            <a:r>
              <a:rPr lang="en-US"/>
              <a:t>25 March 2026</a:t>
            </a:r>
            <a:endParaRPr lang="en-GB"/>
          </a:p>
        </p:txBody>
      </p:sp>
      <p:sp>
        <p:nvSpPr>
          <p:cNvPr id="5" name="Footer Placeholder 4">
            <a:extLst>
              <a:ext uri="{FF2B5EF4-FFF2-40B4-BE49-F238E27FC236}">
                <a16:creationId xmlns:a16="http://schemas.microsoft.com/office/drawing/2014/main" id="{746C971E-9D30-B3A7-DEE4-B7BB3F23D10F}"/>
              </a:ext>
            </a:extLst>
          </p:cNvPr>
          <p:cNvSpPr>
            <a:spLocks noGrp="1"/>
          </p:cNvSpPr>
          <p:nvPr>
            <p:ph type="ftr" sz="quarter" idx="11"/>
          </p:nvPr>
        </p:nvSpPr>
        <p:spPr/>
        <p:txBody>
          <a:bodyPr/>
          <a:lstStyle/>
          <a:p>
            <a:r>
              <a:rPr lang="en-GB"/>
              <a:t>Q member event</a:t>
            </a:r>
          </a:p>
        </p:txBody>
      </p:sp>
      <p:sp>
        <p:nvSpPr>
          <p:cNvPr id="6" name="Slide Number Placeholder 5">
            <a:extLst>
              <a:ext uri="{FF2B5EF4-FFF2-40B4-BE49-F238E27FC236}">
                <a16:creationId xmlns:a16="http://schemas.microsoft.com/office/drawing/2014/main" id="{F736F856-1147-9EF5-CC3C-F2CDFD6CB6DE}"/>
              </a:ext>
            </a:extLst>
          </p:cNvPr>
          <p:cNvSpPr>
            <a:spLocks noGrp="1"/>
          </p:cNvSpPr>
          <p:nvPr>
            <p:ph type="sldNum" sz="quarter" idx="12"/>
          </p:nvPr>
        </p:nvSpPr>
        <p:spPr/>
        <p:txBody>
          <a:bodyPr/>
          <a:lstStyle/>
          <a:p>
            <a:fld id="{C790EBD1-482B-4C6F-AFC1-9F7ACF0A1A11}" type="slidenum">
              <a:rPr lang="en-GB" smtClean="0"/>
              <a:t>‹#›</a:t>
            </a:fld>
            <a:endParaRPr lang="en-GB"/>
          </a:p>
        </p:txBody>
      </p:sp>
      <p:sp>
        <p:nvSpPr>
          <p:cNvPr id="11" name="Picture Placeholder 9">
            <a:extLst>
              <a:ext uri="{FF2B5EF4-FFF2-40B4-BE49-F238E27FC236}">
                <a16:creationId xmlns:a16="http://schemas.microsoft.com/office/drawing/2014/main" id="{596637BC-31BD-BA0F-7D39-FB9258CF58AE}"/>
              </a:ext>
            </a:extLst>
          </p:cNvPr>
          <p:cNvSpPr>
            <a:spLocks noGrp="1"/>
          </p:cNvSpPr>
          <p:nvPr>
            <p:ph type="pic" sz="quarter" idx="14"/>
          </p:nvPr>
        </p:nvSpPr>
        <p:spPr>
          <a:xfrm>
            <a:off x="4292600" y="1524000"/>
            <a:ext cx="7442199" cy="4508499"/>
          </a:xfrm>
          <a:solidFill>
            <a:schemeClr val="bg1">
              <a:lumMod val="95000"/>
            </a:schemeClr>
          </a:solidFill>
        </p:spPr>
        <p:txBody>
          <a:bodyPr anchor="ctr" anchorCtr="1"/>
          <a:lstStyle>
            <a:lvl1pPr algn="ctr">
              <a:defRPr b="0"/>
            </a:lvl1pPr>
          </a:lstStyle>
          <a:p>
            <a:r>
              <a:rPr lang="en-GB"/>
              <a:t>Click icon to add picture</a:t>
            </a:r>
          </a:p>
        </p:txBody>
      </p:sp>
      <p:sp>
        <p:nvSpPr>
          <p:cNvPr id="7" name="Text Placeholder 10">
            <a:extLst>
              <a:ext uri="{FF2B5EF4-FFF2-40B4-BE49-F238E27FC236}">
                <a16:creationId xmlns:a16="http://schemas.microsoft.com/office/drawing/2014/main" id="{4645A915-552C-38C3-E761-125DD5A66CE5}"/>
              </a:ext>
            </a:extLst>
          </p:cNvPr>
          <p:cNvSpPr>
            <a:spLocks noGrp="1"/>
          </p:cNvSpPr>
          <p:nvPr>
            <p:ph type="body" sz="quarter" idx="15"/>
          </p:nvPr>
        </p:nvSpPr>
        <p:spPr>
          <a:xfrm>
            <a:off x="457200" y="936000"/>
            <a:ext cx="5524500" cy="157287"/>
          </a:xfrm>
        </p:spPr>
        <p:txBody>
          <a:bodyPr>
            <a:spAutoFit/>
          </a:bodyPr>
          <a:lstStyle>
            <a:lvl1pPr>
              <a:defRPr sz="1000" b="0"/>
            </a:lvl1pPr>
            <a:lvl2pPr>
              <a:defRPr sz="1000" b="0"/>
            </a:lvl2pPr>
            <a:lvl3pPr>
              <a:defRPr sz="1000" b="0"/>
            </a:lvl3pPr>
            <a:lvl4pPr>
              <a:defRPr sz="1000" b="0"/>
            </a:lvl4pPr>
            <a:lvl5pPr>
              <a:defRPr sz="1000" b="0"/>
            </a:lvl5pPr>
          </a:lstStyle>
          <a:p>
            <a:pPr lvl="0"/>
            <a:r>
              <a:rPr lang="en-GB"/>
              <a:t>Click to edit Master text styles</a:t>
            </a:r>
          </a:p>
        </p:txBody>
      </p:sp>
      <p:sp>
        <p:nvSpPr>
          <p:cNvPr id="8" name="Freeform 5">
            <a:extLst>
              <a:ext uri="{FF2B5EF4-FFF2-40B4-BE49-F238E27FC236}">
                <a16:creationId xmlns:a16="http://schemas.microsoft.com/office/drawing/2014/main" id="{0C8CFA6C-0491-1697-A4A4-5E19449E8A19}"/>
              </a:ext>
            </a:extLst>
          </p:cNvPr>
          <p:cNvSpPr>
            <a:spLocks/>
          </p:cNvSpPr>
          <p:nvPr userDrawn="1"/>
        </p:nvSpPr>
        <p:spPr bwMode="auto">
          <a:xfrm>
            <a:off x="457200" y="6184803"/>
            <a:ext cx="11293312" cy="57600"/>
          </a:xfrm>
          <a:custGeom>
            <a:avLst/>
            <a:gdLst>
              <a:gd name="T0" fmla="*/ 11754 w 11830"/>
              <a:gd name="T1" fmla="*/ 5 h 60"/>
              <a:gd name="T2" fmla="*/ 11665 w 11830"/>
              <a:gd name="T3" fmla="*/ 3 h 60"/>
              <a:gd name="T4" fmla="*/ 10458 w 11830"/>
              <a:gd name="T5" fmla="*/ 8 h 60"/>
              <a:gd name="T6" fmla="*/ 9631 w 11830"/>
              <a:gd name="T7" fmla="*/ 9 h 60"/>
              <a:gd name="T8" fmla="*/ 9276 w 11830"/>
              <a:gd name="T9" fmla="*/ 7 h 60"/>
              <a:gd name="T10" fmla="*/ 8873 w 11830"/>
              <a:gd name="T11" fmla="*/ 7 h 60"/>
              <a:gd name="T12" fmla="*/ 8453 w 11830"/>
              <a:gd name="T13" fmla="*/ 4 h 60"/>
              <a:gd name="T14" fmla="*/ 7526 w 11830"/>
              <a:gd name="T15" fmla="*/ 4 h 60"/>
              <a:gd name="T16" fmla="*/ 7003 w 11830"/>
              <a:gd name="T17" fmla="*/ 2 h 60"/>
              <a:gd name="T18" fmla="*/ 6547 w 11830"/>
              <a:gd name="T19" fmla="*/ 3 h 60"/>
              <a:gd name="T20" fmla="*/ 6086 w 11830"/>
              <a:gd name="T21" fmla="*/ 5 h 60"/>
              <a:gd name="T22" fmla="*/ 5731 w 11830"/>
              <a:gd name="T23" fmla="*/ 6 h 60"/>
              <a:gd name="T24" fmla="*/ 5501 w 11830"/>
              <a:gd name="T25" fmla="*/ 3 h 60"/>
              <a:gd name="T26" fmla="*/ 5358 w 11830"/>
              <a:gd name="T27" fmla="*/ 3 h 60"/>
              <a:gd name="T28" fmla="*/ 5047 w 11830"/>
              <a:gd name="T29" fmla="*/ 3 h 60"/>
              <a:gd name="T30" fmla="*/ 4870 w 11830"/>
              <a:gd name="T31" fmla="*/ 5 h 60"/>
              <a:gd name="T32" fmla="*/ 4531 w 11830"/>
              <a:gd name="T33" fmla="*/ 6 h 60"/>
              <a:gd name="T34" fmla="*/ 4227 w 11830"/>
              <a:gd name="T35" fmla="*/ 7 h 60"/>
              <a:gd name="T36" fmla="*/ 3756 w 11830"/>
              <a:gd name="T37" fmla="*/ 8 h 60"/>
              <a:gd name="T38" fmla="*/ 3345 w 11830"/>
              <a:gd name="T39" fmla="*/ 8 h 60"/>
              <a:gd name="T40" fmla="*/ 2866 w 11830"/>
              <a:gd name="T41" fmla="*/ 7 h 60"/>
              <a:gd name="T42" fmla="*/ 2614 w 11830"/>
              <a:gd name="T43" fmla="*/ 5 h 60"/>
              <a:gd name="T44" fmla="*/ 2388 w 11830"/>
              <a:gd name="T45" fmla="*/ 8 h 60"/>
              <a:gd name="T46" fmla="*/ 2137 w 11830"/>
              <a:gd name="T47" fmla="*/ 3 h 60"/>
              <a:gd name="T48" fmla="*/ 1820 w 11830"/>
              <a:gd name="T49" fmla="*/ 4 h 60"/>
              <a:gd name="T50" fmla="*/ 1474 w 11830"/>
              <a:gd name="T51" fmla="*/ 3 h 60"/>
              <a:gd name="T52" fmla="*/ 1351 w 11830"/>
              <a:gd name="T53" fmla="*/ 2 h 60"/>
              <a:gd name="T54" fmla="*/ 1145 w 11830"/>
              <a:gd name="T55" fmla="*/ 2 h 60"/>
              <a:gd name="T56" fmla="*/ 871 w 11830"/>
              <a:gd name="T57" fmla="*/ 3 h 60"/>
              <a:gd name="T58" fmla="*/ 639 w 11830"/>
              <a:gd name="T59" fmla="*/ 4 h 60"/>
              <a:gd name="T60" fmla="*/ 457 w 11830"/>
              <a:gd name="T61" fmla="*/ 3 h 60"/>
              <a:gd name="T62" fmla="*/ 157 w 11830"/>
              <a:gd name="T63" fmla="*/ 3 h 60"/>
              <a:gd name="T64" fmla="*/ 83 w 11830"/>
              <a:gd name="T65" fmla="*/ 54 h 60"/>
              <a:gd name="T66" fmla="*/ 1390 w 11830"/>
              <a:gd name="T67" fmla="*/ 50 h 60"/>
              <a:gd name="T68" fmla="*/ 2221 w 11830"/>
              <a:gd name="T69" fmla="*/ 49 h 60"/>
              <a:gd name="T70" fmla="*/ 2606 w 11830"/>
              <a:gd name="T71" fmla="*/ 52 h 60"/>
              <a:gd name="T72" fmla="*/ 2985 w 11830"/>
              <a:gd name="T73" fmla="*/ 52 h 60"/>
              <a:gd name="T74" fmla="*/ 3428 w 11830"/>
              <a:gd name="T75" fmla="*/ 54 h 60"/>
              <a:gd name="T76" fmla="*/ 4520 w 11830"/>
              <a:gd name="T77" fmla="*/ 54 h 60"/>
              <a:gd name="T78" fmla="*/ 4885 w 11830"/>
              <a:gd name="T79" fmla="*/ 53 h 60"/>
              <a:gd name="T80" fmla="*/ 5255 w 11830"/>
              <a:gd name="T81" fmla="*/ 54 h 60"/>
              <a:gd name="T82" fmla="*/ 5655 w 11830"/>
              <a:gd name="T83" fmla="*/ 51 h 60"/>
              <a:gd name="T84" fmla="*/ 6196 w 11830"/>
              <a:gd name="T85" fmla="*/ 54 h 60"/>
              <a:gd name="T86" fmla="*/ 6491 w 11830"/>
              <a:gd name="T87" fmla="*/ 56 h 60"/>
              <a:gd name="T88" fmla="*/ 6723 w 11830"/>
              <a:gd name="T89" fmla="*/ 57 h 60"/>
              <a:gd name="T90" fmla="*/ 6936 w 11830"/>
              <a:gd name="T91" fmla="*/ 54 h 60"/>
              <a:gd name="T92" fmla="*/ 7150 w 11830"/>
              <a:gd name="T93" fmla="*/ 53 h 60"/>
              <a:gd name="T94" fmla="*/ 7433 w 11830"/>
              <a:gd name="T95" fmla="*/ 52 h 60"/>
              <a:gd name="T96" fmla="*/ 7830 w 11830"/>
              <a:gd name="T97" fmla="*/ 52 h 60"/>
              <a:gd name="T98" fmla="*/ 8274 w 11830"/>
              <a:gd name="T99" fmla="*/ 51 h 60"/>
              <a:gd name="T100" fmla="*/ 8700 w 11830"/>
              <a:gd name="T101" fmla="*/ 50 h 60"/>
              <a:gd name="T102" fmla="*/ 9077 w 11830"/>
              <a:gd name="T103" fmla="*/ 51 h 60"/>
              <a:gd name="T104" fmla="*/ 9302 w 11830"/>
              <a:gd name="T105" fmla="*/ 53 h 60"/>
              <a:gd name="T106" fmla="*/ 9538 w 11830"/>
              <a:gd name="T107" fmla="*/ 54 h 60"/>
              <a:gd name="T108" fmla="*/ 9855 w 11830"/>
              <a:gd name="T109" fmla="*/ 55 h 60"/>
              <a:gd name="T110" fmla="*/ 10279 w 11830"/>
              <a:gd name="T111" fmla="*/ 55 h 60"/>
              <a:gd name="T112" fmla="*/ 10495 w 11830"/>
              <a:gd name="T113" fmla="*/ 58 h 60"/>
              <a:gd name="T114" fmla="*/ 10755 w 11830"/>
              <a:gd name="T115" fmla="*/ 56 h 60"/>
              <a:gd name="T116" fmla="*/ 11049 w 11830"/>
              <a:gd name="T117" fmla="*/ 58 h 60"/>
              <a:gd name="T118" fmla="*/ 11259 w 11830"/>
              <a:gd name="T119" fmla="*/ 55 h 60"/>
              <a:gd name="T120" fmla="*/ 11479 w 11830"/>
              <a:gd name="T121" fmla="*/ 51 h 60"/>
              <a:gd name="T122" fmla="*/ 11691 w 11830"/>
              <a:gd name="T123" fmla="*/ 5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830" h="60">
                <a:moveTo>
                  <a:pt x="11828" y="47"/>
                </a:moveTo>
                <a:lnTo>
                  <a:pt x="11828" y="47"/>
                </a:lnTo>
                <a:cubicBezTo>
                  <a:pt x="11828" y="46"/>
                  <a:pt x="11828" y="46"/>
                  <a:pt x="11829" y="45"/>
                </a:cubicBezTo>
                <a:cubicBezTo>
                  <a:pt x="11829" y="45"/>
                  <a:pt x="11828" y="44"/>
                  <a:pt x="11828" y="43"/>
                </a:cubicBezTo>
                <a:cubicBezTo>
                  <a:pt x="11828" y="43"/>
                  <a:pt x="11828" y="43"/>
                  <a:pt x="11828" y="43"/>
                </a:cubicBezTo>
                <a:cubicBezTo>
                  <a:pt x="11828" y="42"/>
                  <a:pt x="11829" y="42"/>
                  <a:pt x="11829" y="42"/>
                </a:cubicBezTo>
                <a:cubicBezTo>
                  <a:pt x="11829" y="42"/>
                  <a:pt x="11829" y="41"/>
                  <a:pt x="11829" y="41"/>
                </a:cubicBezTo>
                <a:cubicBezTo>
                  <a:pt x="11830" y="40"/>
                  <a:pt x="11829" y="39"/>
                  <a:pt x="11829" y="38"/>
                </a:cubicBezTo>
                <a:cubicBezTo>
                  <a:pt x="11829" y="38"/>
                  <a:pt x="11829" y="37"/>
                  <a:pt x="11829" y="37"/>
                </a:cubicBezTo>
                <a:cubicBezTo>
                  <a:pt x="11829" y="36"/>
                  <a:pt x="11829" y="35"/>
                  <a:pt x="11829" y="34"/>
                </a:cubicBezTo>
                <a:cubicBezTo>
                  <a:pt x="11829" y="32"/>
                  <a:pt x="11829" y="31"/>
                  <a:pt x="11829" y="30"/>
                </a:cubicBezTo>
                <a:cubicBezTo>
                  <a:pt x="11829" y="27"/>
                  <a:pt x="11828" y="25"/>
                  <a:pt x="11827" y="22"/>
                </a:cubicBezTo>
                <a:cubicBezTo>
                  <a:pt x="11826" y="21"/>
                  <a:pt x="11826" y="20"/>
                  <a:pt x="11825" y="19"/>
                </a:cubicBezTo>
                <a:cubicBezTo>
                  <a:pt x="11825" y="19"/>
                  <a:pt x="11825" y="18"/>
                  <a:pt x="11825" y="18"/>
                </a:cubicBezTo>
                <a:cubicBezTo>
                  <a:pt x="11824" y="17"/>
                  <a:pt x="11824" y="17"/>
                  <a:pt x="11824" y="16"/>
                </a:cubicBezTo>
                <a:cubicBezTo>
                  <a:pt x="11823" y="15"/>
                  <a:pt x="11824" y="13"/>
                  <a:pt x="11824" y="11"/>
                </a:cubicBezTo>
                <a:cubicBezTo>
                  <a:pt x="11823" y="9"/>
                  <a:pt x="11823" y="8"/>
                  <a:pt x="11822" y="6"/>
                </a:cubicBezTo>
                <a:cubicBezTo>
                  <a:pt x="11822" y="6"/>
                  <a:pt x="11821" y="6"/>
                  <a:pt x="11821" y="6"/>
                </a:cubicBezTo>
                <a:cubicBezTo>
                  <a:pt x="11821" y="5"/>
                  <a:pt x="11818" y="4"/>
                  <a:pt x="11817" y="4"/>
                </a:cubicBezTo>
                <a:cubicBezTo>
                  <a:pt x="11808" y="3"/>
                  <a:pt x="11807" y="5"/>
                  <a:pt x="11799" y="4"/>
                </a:cubicBezTo>
                <a:cubicBezTo>
                  <a:pt x="11794" y="3"/>
                  <a:pt x="11790" y="4"/>
                  <a:pt x="11784" y="4"/>
                </a:cubicBezTo>
                <a:cubicBezTo>
                  <a:pt x="11782" y="4"/>
                  <a:pt x="11775" y="4"/>
                  <a:pt x="11772" y="4"/>
                </a:cubicBezTo>
                <a:cubicBezTo>
                  <a:pt x="11770" y="4"/>
                  <a:pt x="11761" y="5"/>
                  <a:pt x="11760" y="5"/>
                </a:cubicBezTo>
                <a:cubicBezTo>
                  <a:pt x="11759" y="5"/>
                  <a:pt x="11759" y="5"/>
                  <a:pt x="11759" y="5"/>
                </a:cubicBezTo>
                <a:cubicBezTo>
                  <a:pt x="11757" y="5"/>
                  <a:pt x="11756" y="5"/>
                  <a:pt x="11754" y="5"/>
                </a:cubicBezTo>
                <a:cubicBezTo>
                  <a:pt x="11754" y="5"/>
                  <a:pt x="11754" y="5"/>
                  <a:pt x="11753" y="5"/>
                </a:cubicBezTo>
                <a:cubicBezTo>
                  <a:pt x="11751" y="5"/>
                  <a:pt x="11749" y="5"/>
                  <a:pt x="11747" y="5"/>
                </a:cubicBezTo>
                <a:cubicBezTo>
                  <a:pt x="11747" y="4"/>
                  <a:pt x="11747" y="4"/>
                  <a:pt x="11747" y="4"/>
                </a:cubicBezTo>
                <a:cubicBezTo>
                  <a:pt x="11746" y="4"/>
                  <a:pt x="11744" y="3"/>
                  <a:pt x="11743" y="4"/>
                </a:cubicBezTo>
                <a:cubicBezTo>
                  <a:pt x="11743" y="4"/>
                  <a:pt x="11743" y="4"/>
                  <a:pt x="11744" y="4"/>
                </a:cubicBezTo>
                <a:cubicBezTo>
                  <a:pt x="11744" y="4"/>
                  <a:pt x="11744" y="4"/>
                  <a:pt x="11744" y="4"/>
                </a:cubicBezTo>
                <a:cubicBezTo>
                  <a:pt x="11738" y="4"/>
                  <a:pt x="11732" y="4"/>
                  <a:pt x="11726" y="4"/>
                </a:cubicBezTo>
                <a:cubicBezTo>
                  <a:pt x="11724" y="4"/>
                  <a:pt x="11723" y="4"/>
                  <a:pt x="11722" y="4"/>
                </a:cubicBezTo>
                <a:cubicBezTo>
                  <a:pt x="11720" y="4"/>
                  <a:pt x="11719" y="4"/>
                  <a:pt x="11717" y="4"/>
                </a:cubicBezTo>
                <a:cubicBezTo>
                  <a:pt x="11716" y="4"/>
                  <a:pt x="11714" y="4"/>
                  <a:pt x="11713" y="4"/>
                </a:cubicBezTo>
                <a:cubicBezTo>
                  <a:pt x="11712" y="4"/>
                  <a:pt x="11710" y="4"/>
                  <a:pt x="11710" y="4"/>
                </a:cubicBezTo>
                <a:cubicBezTo>
                  <a:pt x="11710" y="4"/>
                  <a:pt x="11710" y="4"/>
                  <a:pt x="11710" y="4"/>
                </a:cubicBezTo>
                <a:cubicBezTo>
                  <a:pt x="11708" y="4"/>
                  <a:pt x="11707" y="4"/>
                  <a:pt x="11706" y="4"/>
                </a:cubicBezTo>
                <a:cubicBezTo>
                  <a:pt x="11705" y="4"/>
                  <a:pt x="11704" y="4"/>
                  <a:pt x="11704" y="4"/>
                </a:cubicBezTo>
                <a:cubicBezTo>
                  <a:pt x="11703" y="4"/>
                  <a:pt x="11702" y="4"/>
                  <a:pt x="11701" y="4"/>
                </a:cubicBezTo>
                <a:cubicBezTo>
                  <a:pt x="11701" y="4"/>
                  <a:pt x="11701" y="4"/>
                  <a:pt x="11701" y="4"/>
                </a:cubicBezTo>
                <a:cubicBezTo>
                  <a:pt x="11700" y="4"/>
                  <a:pt x="11700" y="4"/>
                  <a:pt x="11699" y="4"/>
                </a:cubicBezTo>
                <a:cubicBezTo>
                  <a:pt x="11699" y="4"/>
                  <a:pt x="11698" y="4"/>
                  <a:pt x="11698" y="4"/>
                </a:cubicBezTo>
                <a:cubicBezTo>
                  <a:pt x="11698" y="4"/>
                  <a:pt x="11698" y="4"/>
                  <a:pt x="11698" y="4"/>
                </a:cubicBezTo>
                <a:cubicBezTo>
                  <a:pt x="11691" y="4"/>
                  <a:pt x="11683" y="4"/>
                  <a:pt x="11676" y="4"/>
                </a:cubicBezTo>
                <a:cubicBezTo>
                  <a:pt x="11676" y="3"/>
                  <a:pt x="11676" y="3"/>
                  <a:pt x="11675" y="3"/>
                </a:cubicBezTo>
                <a:cubicBezTo>
                  <a:pt x="11675" y="3"/>
                  <a:pt x="11675" y="3"/>
                  <a:pt x="11675" y="4"/>
                </a:cubicBezTo>
                <a:cubicBezTo>
                  <a:pt x="11674" y="4"/>
                  <a:pt x="11673" y="4"/>
                  <a:pt x="11672" y="4"/>
                </a:cubicBezTo>
                <a:cubicBezTo>
                  <a:pt x="11671" y="3"/>
                  <a:pt x="11671" y="3"/>
                  <a:pt x="11670" y="3"/>
                </a:cubicBezTo>
                <a:cubicBezTo>
                  <a:pt x="11668" y="3"/>
                  <a:pt x="11667" y="3"/>
                  <a:pt x="11665" y="3"/>
                </a:cubicBezTo>
                <a:cubicBezTo>
                  <a:pt x="11662" y="3"/>
                  <a:pt x="11659" y="3"/>
                  <a:pt x="11658" y="3"/>
                </a:cubicBezTo>
                <a:cubicBezTo>
                  <a:pt x="11657" y="4"/>
                  <a:pt x="11655" y="3"/>
                  <a:pt x="11653" y="3"/>
                </a:cubicBezTo>
                <a:cubicBezTo>
                  <a:pt x="11653" y="3"/>
                  <a:pt x="11653" y="3"/>
                  <a:pt x="11652" y="3"/>
                </a:cubicBezTo>
                <a:cubicBezTo>
                  <a:pt x="11652" y="3"/>
                  <a:pt x="11652" y="3"/>
                  <a:pt x="11652" y="3"/>
                </a:cubicBezTo>
                <a:cubicBezTo>
                  <a:pt x="11651" y="3"/>
                  <a:pt x="11649" y="3"/>
                  <a:pt x="11648" y="3"/>
                </a:cubicBezTo>
                <a:cubicBezTo>
                  <a:pt x="11648" y="3"/>
                  <a:pt x="11647" y="3"/>
                  <a:pt x="11647" y="3"/>
                </a:cubicBezTo>
                <a:cubicBezTo>
                  <a:pt x="11646" y="3"/>
                  <a:pt x="11645" y="3"/>
                  <a:pt x="11644" y="3"/>
                </a:cubicBezTo>
                <a:cubicBezTo>
                  <a:pt x="11643" y="3"/>
                  <a:pt x="11643" y="3"/>
                  <a:pt x="11642" y="3"/>
                </a:cubicBezTo>
                <a:cubicBezTo>
                  <a:pt x="11632" y="3"/>
                  <a:pt x="11623" y="3"/>
                  <a:pt x="11613" y="3"/>
                </a:cubicBezTo>
                <a:cubicBezTo>
                  <a:pt x="11604" y="3"/>
                  <a:pt x="11595" y="4"/>
                  <a:pt x="11586" y="4"/>
                </a:cubicBezTo>
                <a:cubicBezTo>
                  <a:pt x="11579" y="4"/>
                  <a:pt x="11572" y="4"/>
                  <a:pt x="11565" y="4"/>
                </a:cubicBezTo>
                <a:cubicBezTo>
                  <a:pt x="11554" y="4"/>
                  <a:pt x="11542" y="3"/>
                  <a:pt x="11531" y="5"/>
                </a:cubicBezTo>
                <a:cubicBezTo>
                  <a:pt x="11526" y="5"/>
                  <a:pt x="11523" y="6"/>
                  <a:pt x="11517" y="6"/>
                </a:cubicBezTo>
                <a:cubicBezTo>
                  <a:pt x="11512" y="6"/>
                  <a:pt x="11507" y="6"/>
                  <a:pt x="11501" y="6"/>
                </a:cubicBezTo>
                <a:cubicBezTo>
                  <a:pt x="11363" y="5"/>
                  <a:pt x="11024" y="4"/>
                  <a:pt x="10959" y="5"/>
                </a:cubicBezTo>
                <a:cubicBezTo>
                  <a:pt x="10945" y="5"/>
                  <a:pt x="10915" y="5"/>
                  <a:pt x="10892" y="5"/>
                </a:cubicBezTo>
                <a:cubicBezTo>
                  <a:pt x="10868" y="5"/>
                  <a:pt x="10833" y="6"/>
                  <a:pt x="10813" y="6"/>
                </a:cubicBezTo>
                <a:cubicBezTo>
                  <a:pt x="10702" y="7"/>
                  <a:pt x="10658" y="7"/>
                  <a:pt x="10548" y="7"/>
                </a:cubicBezTo>
                <a:cubicBezTo>
                  <a:pt x="10538" y="7"/>
                  <a:pt x="10528" y="7"/>
                  <a:pt x="10518" y="7"/>
                </a:cubicBezTo>
                <a:cubicBezTo>
                  <a:pt x="10515" y="7"/>
                  <a:pt x="10511" y="7"/>
                  <a:pt x="10507" y="7"/>
                </a:cubicBezTo>
                <a:cubicBezTo>
                  <a:pt x="10504" y="7"/>
                  <a:pt x="10501" y="8"/>
                  <a:pt x="10499" y="8"/>
                </a:cubicBezTo>
                <a:cubicBezTo>
                  <a:pt x="10494" y="9"/>
                  <a:pt x="10493" y="9"/>
                  <a:pt x="10488" y="8"/>
                </a:cubicBezTo>
                <a:cubicBezTo>
                  <a:pt x="10485" y="7"/>
                  <a:pt x="10481" y="6"/>
                  <a:pt x="10477" y="7"/>
                </a:cubicBezTo>
                <a:cubicBezTo>
                  <a:pt x="10476" y="7"/>
                  <a:pt x="10476" y="8"/>
                  <a:pt x="10475" y="8"/>
                </a:cubicBezTo>
                <a:cubicBezTo>
                  <a:pt x="10471" y="9"/>
                  <a:pt x="10463" y="8"/>
                  <a:pt x="10458" y="8"/>
                </a:cubicBezTo>
                <a:cubicBezTo>
                  <a:pt x="10452" y="8"/>
                  <a:pt x="10445" y="8"/>
                  <a:pt x="10439" y="8"/>
                </a:cubicBezTo>
                <a:cubicBezTo>
                  <a:pt x="10426" y="8"/>
                  <a:pt x="10413" y="8"/>
                  <a:pt x="10400" y="8"/>
                </a:cubicBezTo>
                <a:cubicBezTo>
                  <a:pt x="10360" y="8"/>
                  <a:pt x="10325" y="8"/>
                  <a:pt x="10322" y="8"/>
                </a:cubicBezTo>
                <a:cubicBezTo>
                  <a:pt x="10320" y="8"/>
                  <a:pt x="10318" y="9"/>
                  <a:pt x="10316" y="9"/>
                </a:cubicBezTo>
                <a:cubicBezTo>
                  <a:pt x="10314" y="8"/>
                  <a:pt x="10311" y="7"/>
                  <a:pt x="10306" y="8"/>
                </a:cubicBezTo>
                <a:cubicBezTo>
                  <a:pt x="10301" y="8"/>
                  <a:pt x="10296" y="8"/>
                  <a:pt x="10289" y="8"/>
                </a:cubicBezTo>
                <a:cubicBezTo>
                  <a:pt x="10282" y="8"/>
                  <a:pt x="10275" y="8"/>
                  <a:pt x="10267" y="8"/>
                </a:cubicBezTo>
                <a:cubicBezTo>
                  <a:pt x="10253" y="8"/>
                  <a:pt x="10238" y="8"/>
                  <a:pt x="10223" y="8"/>
                </a:cubicBezTo>
                <a:cubicBezTo>
                  <a:pt x="10158" y="8"/>
                  <a:pt x="10092" y="8"/>
                  <a:pt x="10027" y="7"/>
                </a:cubicBezTo>
                <a:cubicBezTo>
                  <a:pt x="9998" y="7"/>
                  <a:pt x="9969" y="7"/>
                  <a:pt x="9941" y="7"/>
                </a:cubicBezTo>
                <a:cubicBezTo>
                  <a:pt x="9920" y="7"/>
                  <a:pt x="9898" y="7"/>
                  <a:pt x="9877" y="7"/>
                </a:cubicBezTo>
                <a:cubicBezTo>
                  <a:pt x="9857" y="7"/>
                  <a:pt x="9836" y="7"/>
                  <a:pt x="9815" y="7"/>
                </a:cubicBezTo>
                <a:cubicBezTo>
                  <a:pt x="9806" y="7"/>
                  <a:pt x="9797" y="7"/>
                  <a:pt x="9788" y="7"/>
                </a:cubicBezTo>
                <a:lnTo>
                  <a:pt x="9776" y="7"/>
                </a:lnTo>
                <a:cubicBezTo>
                  <a:pt x="9773" y="7"/>
                  <a:pt x="9766" y="7"/>
                  <a:pt x="9764" y="7"/>
                </a:cubicBezTo>
                <a:cubicBezTo>
                  <a:pt x="9762" y="7"/>
                  <a:pt x="9761" y="7"/>
                  <a:pt x="9759" y="7"/>
                </a:cubicBezTo>
                <a:cubicBezTo>
                  <a:pt x="9759" y="7"/>
                  <a:pt x="9758" y="7"/>
                  <a:pt x="9757" y="7"/>
                </a:cubicBezTo>
                <a:cubicBezTo>
                  <a:pt x="9753" y="7"/>
                  <a:pt x="9751" y="9"/>
                  <a:pt x="9747" y="9"/>
                </a:cubicBezTo>
                <a:cubicBezTo>
                  <a:pt x="9744" y="9"/>
                  <a:pt x="9740" y="8"/>
                  <a:pt x="9737" y="7"/>
                </a:cubicBezTo>
                <a:cubicBezTo>
                  <a:pt x="9732" y="7"/>
                  <a:pt x="9725" y="7"/>
                  <a:pt x="9720" y="7"/>
                </a:cubicBezTo>
                <a:cubicBezTo>
                  <a:pt x="9711" y="7"/>
                  <a:pt x="9703" y="7"/>
                  <a:pt x="9694" y="7"/>
                </a:cubicBezTo>
                <a:cubicBezTo>
                  <a:pt x="9689" y="7"/>
                  <a:pt x="9664" y="6"/>
                  <a:pt x="9662" y="8"/>
                </a:cubicBezTo>
                <a:cubicBezTo>
                  <a:pt x="9662" y="9"/>
                  <a:pt x="9662" y="9"/>
                  <a:pt x="9662" y="9"/>
                </a:cubicBezTo>
                <a:cubicBezTo>
                  <a:pt x="9661" y="10"/>
                  <a:pt x="9650" y="10"/>
                  <a:pt x="9648" y="10"/>
                </a:cubicBezTo>
                <a:cubicBezTo>
                  <a:pt x="9645" y="10"/>
                  <a:pt x="9632" y="10"/>
                  <a:pt x="9631" y="9"/>
                </a:cubicBezTo>
                <a:cubicBezTo>
                  <a:pt x="9631" y="8"/>
                  <a:pt x="9628" y="8"/>
                  <a:pt x="9627" y="9"/>
                </a:cubicBezTo>
                <a:cubicBezTo>
                  <a:pt x="9623" y="9"/>
                  <a:pt x="9625" y="10"/>
                  <a:pt x="9620" y="10"/>
                </a:cubicBezTo>
                <a:cubicBezTo>
                  <a:pt x="9618" y="10"/>
                  <a:pt x="9615" y="10"/>
                  <a:pt x="9613" y="10"/>
                </a:cubicBezTo>
                <a:cubicBezTo>
                  <a:pt x="9610" y="10"/>
                  <a:pt x="9610" y="8"/>
                  <a:pt x="9607" y="8"/>
                </a:cubicBezTo>
                <a:cubicBezTo>
                  <a:pt x="9600" y="7"/>
                  <a:pt x="9590" y="7"/>
                  <a:pt x="9582" y="7"/>
                </a:cubicBezTo>
                <a:cubicBezTo>
                  <a:pt x="9575" y="7"/>
                  <a:pt x="9567" y="7"/>
                  <a:pt x="9562" y="9"/>
                </a:cubicBezTo>
                <a:cubicBezTo>
                  <a:pt x="9558" y="10"/>
                  <a:pt x="9555" y="9"/>
                  <a:pt x="9550" y="9"/>
                </a:cubicBezTo>
                <a:cubicBezTo>
                  <a:pt x="9544" y="8"/>
                  <a:pt x="9538" y="8"/>
                  <a:pt x="9532" y="8"/>
                </a:cubicBezTo>
                <a:cubicBezTo>
                  <a:pt x="9525" y="8"/>
                  <a:pt x="9521" y="8"/>
                  <a:pt x="9515" y="9"/>
                </a:cubicBezTo>
                <a:cubicBezTo>
                  <a:pt x="9512" y="9"/>
                  <a:pt x="9508" y="10"/>
                  <a:pt x="9506" y="10"/>
                </a:cubicBezTo>
                <a:cubicBezTo>
                  <a:pt x="9503" y="10"/>
                  <a:pt x="9500" y="9"/>
                  <a:pt x="9498" y="9"/>
                </a:cubicBezTo>
                <a:cubicBezTo>
                  <a:pt x="9496" y="9"/>
                  <a:pt x="9494" y="8"/>
                  <a:pt x="9492" y="8"/>
                </a:cubicBezTo>
                <a:cubicBezTo>
                  <a:pt x="9487" y="7"/>
                  <a:pt x="9481" y="7"/>
                  <a:pt x="9476" y="7"/>
                </a:cubicBezTo>
                <a:cubicBezTo>
                  <a:pt x="9469" y="7"/>
                  <a:pt x="9462" y="7"/>
                  <a:pt x="9455" y="7"/>
                </a:cubicBezTo>
                <a:cubicBezTo>
                  <a:pt x="9434" y="7"/>
                  <a:pt x="9413" y="7"/>
                  <a:pt x="9392" y="7"/>
                </a:cubicBezTo>
                <a:cubicBezTo>
                  <a:pt x="9382" y="7"/>
                  <a:pt x="9373" y="7"/>
                  <a:pt x="9364" y="7"/>
                </a:cubicBezTo>
                <a:cubicBezTo>
                  <a:pt x="9358" y="7"/>
                  <a:pt x="9351" y="7"/>
                  <a:pt x="9345" y="8"/>
                </a:cubicBezTo>
                <a:cubicBezTo>
                  <a:pt x="9340" y="8"/>
                  <a:pt x="9337" y="9"/>
                  <a:pt x="9333" y="10"/>
                </a:cubicBezTo>
                <a:cubicBezTo>
                  <a:pt x="9330" y="10"/>
                  <a:pt x="9326" y="10"/>
                  <a:pt x="9323" y="9"/>
                </a:cubicBezTo>
                <a:cubicBezTo>
                  <a:pt x="9321" y="9"/>
                  <a:pt x="9314" y="9"/>
                  <a:pt x="9306" y="9"/>
                </a:cubicBezTo>
                <a:cubicBezTo>
                  <a:pt x="9303" y="9"/>
                  <a:pt x="9299" y="10"/>
                  <a:pt x="9296" y="9"/>
                </a:cubicBezTo>
                <a:cubicBezTo>
                  <a:pt x="9294" y="9"/>
                  <a:pt x="9293" y="9"/>
                  <a:pt x="9293" y="8"/>
                </a:cubicBezTo>
                <a:cubicBezTo>
                  <a:pt x="9293" y="8"/>
                  <a:pt x="9294" y="8"/>
                  <a:pt x="9294" y="8"/>
                </a:cubicBezTo>
                <a:cubicBezTo>
                  <a:pt x="9294" y="7"/>
                  <a:pt x="9292" y="7"/>
                  <a:pt x="9290" y="7"/>
                </a:cubicBezTo>
                <a:cubicBezTo>
                  <a:pt x="9286" y="7"/>
                  <a:pt x="9281" y="7"/>
                  <a:pt x="9276" y="7"/>
                </a:cubicBezTo>
                <a:cubicBezTo>
                  <a:pt x="9263" y="7"/>
                  <a:pt x="9250" y="6"/>
                  <a:pt x="9247" y="6"/>
                </a:cubicBezTo>
                <a:cubicBezTo>
                  <a:pt x="9245" y="6"/>
                  <a:pt x="9225" y="6"/>
                  <a:pt x="9204" y="6"/>
                </a:cubicBezTo>
                <a:cubicBezTo>
                  <a:pt x="9197" y="6"/>
                  <a:pt x="9190" y="7"/>
                  <a:pt x="9183" y="7"/>
                </a:cubicBezTo>
                <a:cubicBezTo>
                  <a:pt x="9180" y="7"/>
                  <a:pt x="9171" y="6"/>
                  <a:pt x="9169" y="7"/>
                </a:cubicBezTo>
                <a:cubicBezTo>
                  <a:pt x="9167" y="8"/>
                  <a:pt x="9167" y="8"/>
                  <a:pt x="9164" y="9"/>
                </a:cubicBezTo>
                <a:cubicBezTo>
                  <a:pt x="9162" y="9"/>
                  <a:pt x="9158" y="8"/>
                  <a:pt x="9157" y="8"/>
                </a:cubicBezTo>
                <a:cubicBezTo>
                  <a:pt x="9157" y="8"/>
                  <a:pt x="9157" y="8"/>
                  <a:pt x="9157" y="7"/>
                </a:cubicBezTo>
                <a:cubicBezTo>
                  <a:pt x="9155" y="6"/>
                  <a:pt x="9138" y="7"/>
                  <a:pt x="9134" y="7"/>
                </a:cubicBezTo>
                <a:cubicBezTo>
                  <a:pt x="9111" y="7"/>
                  <a:pt x="9099" y="6"/>
                  <a:pt x="9083" y="5"/>
                </a:cubicBezTo>
                <a:cubicBezTo>
                  <a:pt x="9070" y="4"/>
                  <a:pt x="9019" y="4"/>
                  <a:pt x="8990" y="5"/>
                </a:cubicBezTo>
                <a:cubicBezTo>
                  <a:pt x="8986" y="5"/>
                  <a:pt x="8982" y="5"/>
                  <a:pt x="8978" y="6"/>
                </a:cubicBezTo>
                <a:cubicBezTo>
                  <a:pt x="8976" y="6"/>
                  <a:pt x="8973" y="6"/>
                  <a:pt x="8971" y="6"/>
                </a:cubicBezTo>
                <a:cubicBezTo>
                  <a:pt x="8970" y="6"/>
                  <a:pt x="8969" y="6"/>
                  <a:pt x="8968" y="6"/>
                </a:cubicBezTo>
                <a:cubicBezTo>
                  <a:pt x="8966" y="6"/>
                  <a:pt x="8965" y="6"/>
                  <a:pt x="8964" y="6"/>
                </a:cubicBezTo>
                <a:cubicBezTo>
                  <a:pt x="8963" y="6"/>
                  <a:pt x="8961" y="6"/>
                  <a:pt x="8959" y="6"/>
                </a:cubicBezTo>
                <a:cubicBezTo>
                  <a:pt x="8956" y="6"/>
                  <a:pt x="8954" y="6"/>
                  <a:pt x="8951" y="6"/>
                </a:cubicBezTo>
                <a:cubicBezTo>
                  <a:pt x="8948" y="5"/>
                  <a:pt x="8944" y="6"/>
                  <a:pt x="8941" y="6"/>
                </a:cubicBezTo>
                <a:cubicBezTo>
                  <a:pt x="8935" y="6"/>
                  <a:pt x="8931" y="5"/>
                  <a:pt x="8926" y="6"/>
                </a:cubicBezTo>
                <a:cubicBezTo>
                  <a:pt x="8923" y="7"/>
                  <a:pt x="8920" y="8"/>
                  <a:pt x="8915" y="7"/>
                </a:cubicBezTo>
                <a:cubicBezTo>
                  <a:pt x="8912" y="7"/>
                  <a:pt x="8909" y="6"/>
                  <a:pt x="8906" y="6"/>
                </a:cubicBezTo>
                <a:cubicBezTo>
                  <a:pt x="8905" y="6"/>
                  <a:pt x="8904" y="6"/>
                  <a:pt x="8903" y="6"/>
                </a:cubicBezTo>
                <a:cubicBezTo>
                  <a:pt x="8902" y="6"/>
                  <a:pt x="8902" y="6"/>
                  <a:pt x="8901" y="6"/>
                </a:cubicBezTo>
                <a:cubicBezTo>
                  <a:pt x="8900" y="6"/>
                  <a:pt x="8900" y="6"/>
                  <a:pt x="8900" y="6"/>
                </a:cubicBezTo>
                <a:cubicBezTo>
                  <a:pt x="8895" y="8"/>
                  <a:pt x="8887" y="8"/>
                  <a:pt x="8880" y="8"/>
                </a:cubicBezTo>
                <a:cubicBezTo>
                  <a:pt x="8877" y="8"/>
                  <a:pt x="8874" y="8"/>
                  <a:pt x="8873" y="7"/>
                </a:cubicBezTo>
                <a:cubicBezTo>
                  <a:pt x="8871" y="7"/>
                  <a:pt x="8871" y="6"/>
                  <a:pt x="8869" y="6"/>
                </a:cubicBezTo>
                <a:cubicBezTo>
                  <a:pt x="8867" y="5"/>
                  <a:pt x="8865" y="6"/>
                  <a:pt x="8864" y="6"/>
                </a:cubicBezTo>
                <a:cubicBezTo>
                  <a:pt x="8859" y="7"/>
                  <a:pt x="8855" y="5"/>
                  <a:pt x="8849" y="5"/>
                </a:cubicBezTo>
                <a:cubicBezTo>
                  <a:pt x="8844" y="5"/>
                  <a:pt x="8839" y="5"/>
                  <a:pt x="8834" y="5"/>
                </a:cubicBezTo>
                <a:cubicBezTo>
                  <a:pt x="8830" y="5"/>
                  <a:pt x="8811" y="4"/>
                  <a:pt x="8809" y="6"/>
                </a:cubicBezTo>
                <a:cubicBezTo>
                  <a:pt x="8808" y="6"/>
                  <a:pt x="8809" y="6"/>
                  <a:pt x="8809" y="6"/>
                </a:cubicBezTo>
                <a:cubicBezTo>
                  <a:pt x="8808" y="8"/>
                  <a:pt x="8800" y="7"/>
                  <a:pt x="8797" y="7"/>
                </a:cubicBezTo>
                <a:cubicBezTo>
                  <a:pt x="8791" y="7"/>
                  <a:pt x="8789" y="7"/>
                  <a:pt x="8784" y="6"/>
                </a:cubicBezTo>
                <a:cubicBezTo>
                  <a:pt x="8782" y="6"/>
                  <a:pt x="8780" y="6"/>
                  <a:pt x="8778" y="5"/>
                </a:cubicBezTo>
                <a:cubicBezTo>
                  <a:pt x="8776" y="5"/>
                  <a:pt x="8773" y="6"/>
                  <a:pt x="8773" y="6"/>
                </a:cubicBezTo>
                <a:cubicBezTo>
                  <a:pt x="8772" y="6"/>
                  <a:pt x="8772" y="7"/>
                  <a:pt x="8772" y="7"/>
                </a:cubicBezTo>
                <a:cubicBezTo>
                  <a:pt x="8772" y="7"/>
                  <a:pt x="8771" y="7"/>
                  <a:pt x="8770" y="7"/>
                </a:cubicBezTo>
                <a:cubicBezTo>
                  <a:pt x="8768" y="7"/>
                  <a:pt x="8765" y="7"/>
                  <a:pt x="8763" y="7"/>
                </a:cubicBezTo>
                <a:cubicBezTo>
                  <a:pt x="8760" y="7"/>
                  <a:pt x="8758" y="6"/>
                  <a:pt x="8757" y="6"/>
                </a:cubicBezTo>
                <a:cubicBezTo>
                  <a:pt x="8757" y="5"/>
                  <a:pt x="8757" y="5"/>
                  <a:pt x="8755" y="5"/>
                </a:cubicBezTo>
                <a:cubicBezTo>
                  <a:pt x="8752" y="5"/>
                  <a:pt x="8750" y="5"/>
                  <a:pt x="8747" y="5"/>
                </a:cubicBezTo>
                <a:cubicBezTo>
                  <a:pt x="8728" y="5"/>
                  <a:pt x="8684" y="4"/>
                  <a:pt x="8673" y="4"/>
                </a:cubicBezTo>
                <a:cubicBezTo>
                  <a:pt x="8670" y="4"/>
                  <a:pt x="8662" y="4"/>
                  <a:pt x="8655" y="4"/>
                </a:cubicBezTo>
                <a:cubicBezTo>
                  <a:pt x="8648" y="4"/>
                  <a:pt x="8636" y="4"/>
                  <a:pt x="8628" y="4"/>
                </a:cubicBezTo>
                <a:cubicBezTo>
                  <a:pt x="8620" y="3"/>
                  <a:pt x="8606" y="3"/>
                  <a:pt x="8597" y="3"/>
                </a:cubicBezTo>
                <a:cubicBezTo>
                  <a:pt x="8584" y="3"/>
                  <a:pt x="8569" y="2"/>
                  <a:pt x="8557" y="3"/>
                </a:cubicBezTo>
                <a:cubicBezTo>
                  <a:pt x="8554" y="3"/>
                  <a:pt x="8552" y="3"/>
                  <a:pt x="8548" y="3"/>
                </a:cubicBezTo>
                <a:cubicBezTo>
                  <a:pt x="8540" y="3"/>
                  <a:pt x="8531" y="3"/>
                  <a:pt x="8523" y="3"/>
                </a:cubicBezTo>
                <a:cubicBezTo>
                  <a:pt x="8505" y="3"/>
                  <a:pt x="8482" y="4"/>
                  <a:pt x="8471" y="4"/>
                </a:cubicBezTo>
                <a:cubicBezTo>
                  <a:pt x="8465" y="4"/>
                  <a:pt x="8459" y="4"/>
                  <a:pt x="8453" y="4"/>
                </a:cubicBezTo>
                <a:cubicBezTo>
                  <a:pt x="8451" y="4"/>
                  <a:pt x="8449" y="4"/>
                  <a:pt x="8449" y="5"/>
                </a:cubicBezTo>
                <a:cubicBezTo>
                  <a:pt x="8449" y="5"/>
                  <a:pt x="8452" y="6"/>
                  <a:pt x="8452" y="6"/>
                </a:cubicBezTo>
                <a:cubicBezTo>
                  <a:pt x="8449" y="6"/>
                  <a:pt x="8446" y="6"/>
                  <a:pt x="8444" y="6"/>
                </a:cubicBezTo>
                <a:cubicBezTo>
                  <a:pt x="8442" y="6"/>
                  <a:pt x="8441" y="6"/>
                  <a:pt x="8441" y="6"/>
                </a:cubicBezTo>
                <a:cubicBezTo>
                  <a:pt x="8441" y="5"/>
                  <a:pt x="8441" y="5"/>
                  <a:pt x="8441" y="5"/>
                </a:cubicBezTo>
                <a:cubicBezTo>
                  <a:pt x="8441" y="5"/>
                  <a:pt x="8441" y="5"/>
                  <a:pt x="8440" y="5"/>
                </a:cubicBezTo>
                <a:cubicBezTo>
                  <a:pt x="8436" y="4"/>
                  <a:pt x="8429" y="4"/>
                  <a:pt x="8425" y="4"/>
                </a:cubicBezTo>
                <a:cubicBezTo>
                  <a:pt x="8422" y="4"/>
                  <a:pt x="8415" y="5"/>
                  <a:pt x="8413" y="5"/>
                </a:cubicBezTo>
                <a:cubicBezTo>
                  <a:pt x="8410" y="4"/>
                  <a:pt x="8407" y="5"/>
                  <a:pt x="8407" y="5"/>
                </a:cubicBezTo>
                <a:cubicBezTo>
                  <a:pt x="8405" y="7"/>
                  <a:pt x="8404" y="7"/>
                  <a:pt x="8400" y="6"/>
                </a:cubicBezTo>
                <a:cubicBezTo>
                  <a:pt x="8399" y="6"/>
                  <a:pt x="8397" y="6"/>
                  <a:pt x="8397" y="5"/>
                </a:cubicBezTo>
                <a:cubicBezTo>
                  <a:pt x="8396" y="5"/>
                  <a:pt x="8394" y="4"/>
                  <a:pt x="8393" y="4"/>
                </a:cubicBezTo>
                <a:cubicBezTo>
                  <a:pt x="8390" y="4"/>
                  <a:pt x="8381" y="4"/>
                  <a:pt x="8379" y="3"/>
                </a:cubicBezTo>
                <a:cubicBezTo>
                  <a:pt x="8379" y="3"/>
                  <a:pt x="8379" y="3"/>
                  <a:pt x="8378" y="3"/>
                </a:cubicBezTo>
                <a:cubicBezTo>
                  <a:pt x="8378" y="3"/>
                  <a:pt x="8376" y="3"/>
                  <a:pt x="8374" y="3"/>
                </a:cubicBezTo>
                <a:cubicBezTo>
                  <a:pt x="8371" y="3"/>
                  <a:pt x="8368" y="3"/>
                  <a:pt x="8364" y="4"/>
                </a:cubicBezTo>
                <a:cubicBezTo>
                  <a:pt x="8361" y="4"/>
                  <a:pt x="8357" y="4"/>
                  <a:pt x="8353" y="4"/>
                </a:cubicBezTo>
                <a:cubicBezTo>
                  <a:pt x="8343" y="4"/>
                  <a:pt x="8334" y="4"/>
                  <a:pt x="8325" y="4"/>
                </a:cubicBezTo>
                <a:cubicBezTo>
                  <a:pt x="8306" y="4"/>
                  <a:pt x="8287" y="4"/>
                  <a:pt x="8268" y="4"/>
                </a:cubicBezTo>
                <a:cubicBezTo>
                  <a:pt x="8215" y="4"/>
                  <a:pt x="8163" y="4"/>
                  <a:pt x="8152" y="4"/>
                </a:cubicBezTo>
                <a:cubicBezTo>
                  <a:pt x="8142" y="4"/>
                  <a:pt x="8100" y="4"/>
                  <a:pt x="8059" y="4"/>
                </a:cubicBezTo>
                <a:cubicBezTo>
                  <a:pt x="8018" y="4"/>
                  <a:pt x="7950" y="4"/>
                  <a:pt x="7909" y="4"/>
                </a:cubicBezTo>
                <a:cubicBezTo>
                  <a:pt x="7867" y="4"/>
                  <a:pt x="7758" y="4"/>
                  <a:pt x="7667" y="4"/>
                </a:cubicBezTo>
                <a:cubicBezTo>
                  <a:pt x="7636" y="4"/>
                  <a:pt x="7604" y="4"/>
                  <a:pt x="7573" y="4"/>
                </a:cubicBezTo>
                <a:cubicBezTo>
                  <a:pt x="7557" y="4"/>
                  <a:pt x="7542" y="4"/>
                  <a:pt x="7526" y="4"/>
                </a:cubicBezTo>
                <a:cubicBezTo>
                  <a:pt x="7519" y="4"/>
                  <a:pt x="7511" y="3"/>
                  <a:pt x="7504" y="4"/>
                </a:cubicBezTo>
                <a:cubicBezTo>
                  <a:pt x="7498" y="4"/>
                  <a:pt x="7497" y="5"/>
                  <a:pt x="7492" y="4"/>
                </a:cubicBezTo>
                <a:cubicBezTo>
                  <a:pt x="7487" y="3"/>
                  <a:pt x="7480" y="4"/>
                  <a:pt x="7475" y="4"/>
                </a:cubicBezTo>
                <a:cubicBezTo>
                  <a:pt x="7468" y="4"/>
                  <a:pt x="7462" y="4"/>
                  <a:pt x="7455" y="4"/>
                </a:cubicBezTo>
                <a:cubicBezTo>
                  <a:pt x="7442" y="4"/>
                  <a:pt x="7428" y="4"/>
                  <a:pt x="7415" y="4"/>
                </a:cubicBezTo>
                <a:cubicBezTo>
                  <a:pt x="7401" y="4"/>
                  <a:pt x="7387" y="4"/>
                  <a:pt x="7373" y="4"/>
                </a:cubicBezTo>
                <a:cubicBezTo>
                  <a:pt x="7363" y="4"/>
                  <a:pt x="7348" y="4"/>
                  <a:pt x="7340" y="5"/>
                </a:cubicBezTo>
                <a:cubicBezTo>
                  <a:pt x="7338" y="5"/>
                  <a:pt x="7335" y="5"/>
                  <a:pt x="7332" y="5"/>
                </a:cubicBezTo>
                <a:cubicBezTo>
                  <a:pt x="7324" y="4"/>
                  <a:pt x="7314" y="4"/>
                  <a:pt x="7306" y="4"/>
                </a:cubicBezTo>
                <a:cubicBezTo>
                  <a:pt x="7290" y="4"/>
                  <a:pt x="7251" y="4"/>
                  <a:pt x="7218" y="4"/>
                </a:cubicBezTo>
                <a:cubicBezTo>
                  <a:pt x="7200" y="4"/>
                  <a:pt x="7181" y="5"/>
                  <a:pt x="7163" y="4"/>
                </a:cubicBezTo>
                <a:cubicBezTo>
                  <a:pt x="7160" y="4"/>
                  <a:pt x="7158" y="4"/>
                  <a:pt x="7156" y="4"/>
                </a:cubicBezTo>
                <a:cubicBezTo>
                  <a:pt x="7155" y="4"/>
                  <a:pt x="7154" y="3"/>
                  <a:pt x="7153" y="3"/>
                </a:cubicBezTo>
                <a:cubicBezTo>
                  <a:pt x="7149" y="3"/>
                  <a:pt x="7141" y="3"/>
                  <a:pt x="7136" y="3"/>
                </a:cubicBezTo>
                <a:cubicBezTo>
                  <a:pt x="7132" y="3"/>
                  <a:pt x="7127" y="4"/>
                  <a:pt x="7122" y="4"/>
                </a:cubicBezTo>
                <a:cubicBezTo>
                  <a:pt x="7118" y="4"/>
                  <a:pt x="7114" y="4"/>
                  <a:pt x="7111" y="4"/>
                </a:cubicBezTo>
                <a:cubicBezTo>
                  <a:pt x="7108" y="5"/>
                  <a:pt x="7107" y="5"/>
                  <a:pt x="7104" y="5"/>
                </a:cubicBezTo>
                <a:cubicBezTo>
                  <a:pt x="7100" y="5"/>
                  <a:pt x="7096" y="4"/>
                  <a:pt x="7092" y="4"/>
                </a:cubicBezTo>
                <a:cubicBezTo>
                  <a:pt x="7087" y="4"/>
                  <a:pt x="7084" y="5"/>
                  <a:pt x="7080" y="5"/>
                </a:cubicBezTo>
                <a:cubicBezTo>
                  <a:pt x="7078" y="5"/>
                  <a:pt x="7077" y="5"/>
                  <a:pt x="7075" y="5"/>
                </a:cubicBezTo>
                <a:cubicBezTo>
                  <a:pt x="7068" y="4"/>
                  <a:pt x="7057" y="4"/>
                  <a:pt x="7049" y="4"/>
                </a:cubicBezTo>
                <a:cubicBezTo>
                  <a:pt x="7041" y="4"/>
                  <a:pt x="7033" y="4"/>
                  <a:pt x="7025" y="4"/>
                </a:cubicBezTo>
                <a:cubicBezTo>
                  <a:pt x="7021" y="4"/>
                  <a:pt x="7012" y="5"/>
                  <a:pt x="7009" y="4"/>
                </a:cubicBezTo>
                <a:cubicBezTo>
                  <a:pt x="7006" y="3"/>
                  <a:pt x="7007" y="3"/>
                  <a:pt x="7006" y="3"/>
                </a:cubicBezTo>
                <a:cubicBezTo>
                  <a:pt x="7005" y="2"/>
                  <a:pt x="7004" y="2"/>
                  <a:pt x="7003" y="2"/>
                </a:cubicBezTo>
                <a:cubicBezTo>
                  <a:pt x="6999" y="2"/>
                  <a:pt x="6995" y="1"/>
                  <a:pt x="6991" y="2"/>
                </a:cubicBezTo>
                <a:cubicBezTo>
                  <a:pt x="6990" y="2"/>
                  <a:pt x="6988" y="2"/>
                  <a:pt x="6988" y="2"/>
                </a:cubicBezTo>
                <a:cubicBezTo>
                  <a:pt x="6987" y="3"/>
                  <a:pt x="6989" y="3"/>
                  <a:pt x="6989" y="3"/>
                </a:cubicBezTo>
                <a:cubicBezTo>
                  <a:pt x="6989" y="3"/>
                  <a:pt x="6988" y="4"/>
                  <a:pt x="6986" y="4"/>
                </a:cubicBezTo>
                <a:cubicBezTo>
                  <a:pt x="6980" y="5"/>
                  <a:pt x="6972" y="5"/>
                  <a:pt x="6965" y="5"/>
                </a:cubicBezTo>
                <a:cubicBezTo>
                  <a:pt x="6956" y="4"/>
                  <a:pt x="6948" y="3"/>
                  <a:pt x="6940" y="3"/>
                </a:cubicBezTo>
                <a:cubicBezTo>
                  <a:pt x="6931" y="3"/>
                  <a:pt x="6921" y="2"/>
                  <a:pt x="6912" y="3"/>
                </a:cubicBezTo>
                <a:cubicBezTo>
                  <a:pt x="6905" y="3"/>
                  <a:pt x="6900" y="4"/>
                  <a:pt x="6892" y="3"/>
                </a:cubicBezTo>
                <a:cubicBezTo>
                  <a:pt x="6888" y="3"/>
                  <a:pt x="6884" y="3"/>
                  <a:pt x="6880" y="3"/>
                </a:cubicBezTo>
                <a:cubicBezTo>
                  <a:pt x="6876" y="3"/>
                  <a:pt x="6873" y="3"/>
                  <a:pt x="6869" y="3"/>
                </a:cubicBezTo>
                <a:cubicBezTo>
                  <a:pt x="6865" y="2"/>
                  <a:pt x="6860" y="2"/>
                  <a:pt x="6856" y="2"/>
                </a:cubicBezTo>
                <a:cubicBezTo>
                  <a:pt x="6849" y="2"/>
                  <a:pt x="6842" y="2"/>
                  <a:pt x="6835" y="2"/>
                </a:cubicBezTo>
                <a:cubicBezTo>
                  <a:pt x="6827" y="2"/>
                  <a:pt x="6816" y="1"/>
                  <a:pt x="6808" y="2"/>
                </a:cubicBezTo>
                <a:cubicBezTo>
                  <a:pt x="6803" y="3"/>
                  <a:pt x="6807" y="4"/>
                  <a:pt x="6802" y="4"/>
                </a:cubicBezTo>
                <a:cubicBezTo>
                  <a:pt x="6797" y="5"/>
                  <a:pt x="6790" y="5"/>
                  <a:pt x="6785" y="5"/>
                </a:cubicBezTo>
                <a:cubicBezTo>
                  <a:pt x="6780" y="5"/>
                  <a:pt x="6748" y="3"/>
                  <a:pt x="6747" y="5"/>
                </a:cubicBezTo>
                <a:cubicBezTo>
                  <a:pt x="6747" y="5"/>
                  <a:pt x="6747" y="5"/>
                  <a:pt x="6746" y="5"/>
                </a:cubicBezTo>
                <a:cubicBezTo>
                  <a:pt x="6738" y="5"/>
                  <a:pt x="6731" y="5"/>
                  <a:pt x="6723" y="5"/>
                </a:cubicBezTo>
                <a:cubicBezTo>
                  <a:pt x="6688" y="4"/>
                  <a:pt x="6663" y="3"/>
                  <a:pt x="6625" y="4"/>
                </a:cubicBezTo>
                <a:cubicBezTo>
                  <a:pt x="6612" y="4"/>
                  <a:pt x="6598" y="4"/>
                  <a:pt x="6584" y="4"/>
                </a:cubicBezTo>
                <a:cubicBezTo>
                  <a:pt x="6584" y="4"/>
                  <a:pt x="6584" y="4"/>
                  <a:pt x="6584" y="3"/>
                </a:cubicBezTo>
                <a:cubicBezTo>
                  <a:pt x="6583" y="3"/>
                  <a:pt x="6583" y="3"/>
                  <a:pt x="6582" y="3"/>
                </a:cubicBezTo>
                <a:cubicBezTo>
                  <a:pt x="6580" y="3"/>
                  <a:pt x="6578" y="3"/>
                  <a:pt x="6576" y="3"/>
                </a:cubicBezTo>
                <a:cubicBezTo>
                  <a:pt x="6570" y="4"/>
                  <a:pt x="6567" y="3"/>
                  <a:pt x="6561" y="3"/>
                </a:cubicBezTo>
                <a:cubicBezTo>
                  <a:pt x="6556" y="2"/>
                  <a:pt x="6550" y="2"/>
                  <a:pt x="6547" y="3"/>
                </a:cubicBezTo>
                <a:cubicBezTo>
                  <a:pt x="6546" y="3"/>
                  <a:pt x="6546" y="3"/>
                  <a:pt x="6546" y="3"/>
                </a:cubicBezTo>
                <a:cubicBezTo>
                  <a:pt x="6543" y="4"/>
                  <a:pt x="6532" y="4"/>
                  <a:pt x="6528" y="4"/>
                </a:cubicBezTo>
                <a:cubicBezTo>
                  <a:pt x="6522" y="4"/>
                  <a:pt x="6516" y="4"/>
                  <a:pt x="6510" y="4"/>
                </a:cubicBezTo>
                <a:cubicBezTo>
                  <a:pt x="6490" y="4"/>
                  <a:pt x="6471" y="4"/>
                  <a:pt x="6467" y="4"/>
                </a:cubicBezTo>
                <a:cubicBezTo>
                  <a:pt x="6459" y="4"/>
                  <a:pt x="6452" y="4"/>
                  <a:pt x="6444" y="4"/>
                </a:cubicBezTo>
                <a:cubicBezTo>
                  <a:pt x="6443" y="3"/>
                  <a:pt x="6441" y="3"/>
                  <a:pt x="6441" y="3"/>
                </a:cubicBezTo>
                <a:cubicBezTo>
                  <a:pt x="6439" y="3"/>
                  <a:pt x="6438" y="3"/>
                  <a:pt x="6433" y="3"/>
                </a:cubicBezTo>
                <a:cubicBezTo>
                  <a:pt x="6429" y="3"/>
                  <a:pt x="6424" y="3"/>
                  <a:pt x="6420" y="3"/>
                </a:cubicBezTo>
                <a:cubicBezTo>
                  <a:pt x="6418" y="3"/>
                  <a:pt x="6417" y="3"/>
                  <a:pt x="6416" y="3"/>
                </a:cubicBezTo>
                <a:cubicBezTo>
                  <a:pt x="6414" y="3"/>
                  <a:pt x="6415" y="3"/>
                  <a:pt x="6414" y="3"/>
                </a:cubicBezTo>
                <a:cubicBezTo>
                  <a:pt x="6411" y="4"/>
                  <a:pt x="6405" y="3"/>
                  <a:pt x="6401" y="4"/>
                </a:cubicBezTo>
                <a:cubicBezTo>
                  <a:pt x="6393" y="4"/>
                  <a:pt x="6385" y="4"/>
                  <a:pt x="6377" y="3"/>
                </a:cubicBezTo>
                <a:cubicBezTo>
                  <a:pt x="6369" y="3"/>
                  <a:pt x="6362" y="3"/>
                  <a:pt x="6355" y="4"/>
                </a:cubicBezTo>
                <a:cubicBezTo>
                  <a:pt x="6351" y="4"/>
                  <a:pt x="6348" y="5"/>
                  <a:pt x="6344" y="5"/>
                </a:cubicBezTo>
                <a:cubicBezTo>
                  <a:pt x="6338" y="6"/>
                  <a:pt x="6333" y="5"/>
                  <a:pt x="6328" y="5"/>
                </a:cubicBezTo>
                <a:cubicBezTo>
                  <a:pt x="6313" y="4"/>
                  <a:pt x="6295" y="5"/>
                  <a:pt x="6280" y="5"/>
                </a:cubicBezTo>
                <a:cubicBezTo>
                  <a:pt x="6255" y="5"/>
                  <a:pt x="6229" y="6"/>
                  <a:pt x="6221" y="6"/>
                </a:cubicBezTo>
                <a:cubicBezTo>
                  <a:pt x="6215" y="6"/>
                  <a:pt x="6206" y="6"/>
                  <a:pt x="6202" y="7"/>
                </a:cubicBezTo>
                <a:cubicBezTo>
                  <a:pt x="6201" y="7"/>
                  <a:pt x="6201" y="7"/>
                  <a:pt x="6200" y="7"/>
                </a:cubicBezTo>
                <a:cubicBezTo>
                  <a:pt x="6200" y="7"/>
                  <a:pt x="6199" y="7"/>
                  <a:pt x="6199" y="7"/>
                </a:cubicBezTo>
                <a:cubicBezTo>
                  <a:pt x="6197" y="7"/>
                  <a:pt x="6195" y="7"/>
                  <a:pt x="6193" y="7"/>
                </a:cubicBezTo>
                <a:cubicBezTo>
                  <a:pt x="6192" y="7"/>
                  <a:pt x="6191" y="7"/>
                  <a:pt x="6189" y="6"/>
                </a:cubicBezTo>
                <a:cubicBezTo>
                  <a:pt x="6181" y="5"/>
                  <a:pt x="6168" y="6"/>
                  <a:pt x="6158" y="6"/>
                </a:cubicBezTo>
                <a:cubicBezTo>
                  <a:pt x="6147" y="6"/>
                  <a:pt x="6136" y="6"/>
                  <a:pt x="6124" y="6"/>
                </a:cubicBezTo>
                <a:cubicBezTo>
                  <a:pt x="6111" y="6"/>
                  <a:pt x="6099" y="6"/>
                  <a:pt x="6086" y="5"/>
                </a:cubicBezTo>
                <a:cubicBezTo>
                  <a:pt x="6079" y="5"/>
                  <a:pt x="6073" y="5"/>
                  <a:pt x="6066" y="5"/>
                </a:cubicBezTo>
                <a:cubicBezTo>
                  <a:pt x="6062" y="5"/>
                  <a:pt x="6059" y="6"/>
                  <a:pt x="6055" y="6"/>
                </a:cubicBezTo>
                <a:cubicBezTo>
                  <a:pt x="6054" y="6"/>
                  <a:pt x="6053" y="6"/>
                  <a:pt x="6051" y="6"/>
                </a:cubicBezTo>
                <a:cubicBezTo>
                  <a:pt x="6050" y="6"/>
                  <a:pt x="6049" y="7"/>
                  <a:pt x="6047" y="7"/>
                </a:cubicBezTo>
                <a:cubicBezTo>
                  <a:pt x="6039" y="6"/>
                  <a:pt x="6032" y="5"/>
                  <a:pt x="6024" y="5"/>
                </a:cubicBezTo>
                <a:cubicBezTo>
                  <a:pt x="6015" y="5"/>
                  <a:pt x="6007" y="5"/>
                  <a:pt x="5998" y="5"/>
                </a:cubicBezTo>
                <a:cubicBezTo>
                  <a:pt x="5991" y="5"/>
                  <a:pt x="5984" y="6"/>
                  <a:pt x="5977" y="6"/>
                </a:cubicBezTo>
                <a:cubicBezTo>
                  <a:pt x="5971" y="6"/>
                  <a:pt x="5966" y="6"/>
                  <a:pt x="5962" y="7"/>
                </a:cubicBezTo>
                <a:cubicBezTo>
                  <a:pt x="5960" y="8"/>
                  <a:pt x="5957" y="8"/>
                  <a:pt x="5954" y="8"/>
                </a:cubicBezTo>
                <a:cubicBezTo>
                  <a:pt x="5949" y="8"/>
                  <a:pt x="5943" y="8"/>
                  <a:pt x="5937" y="8"/>
                </a:cubicBezTo>
                <a:cubicBezTo>
                  <a:pt x="5932" y="8"/>
                  <a:pt x="5926" y="8"/>
                  <a:pt x="5920" y="8"/>
                </a:cubicBezTo>
                <a:cubicBezTo>
                  <a:pt x="5918" y="8"/>
                  <a:pt x="5916" y="8"/>
                  <a:pt x="5914" y="8"/>
                </a:cubicBezTo>
                <a:cubicBezTo>
                  <a:pt x="5913" y="9"/>
                  <a:pt x="5913" y="9"/>
                  <a:pt x="5913" y="9"/>
                </a:cubicBezTo>
                <a:cubicBezTo>
                  <a:pt x="5912" y="9"/>
                  <a:pt x="5912" y="9"/>
                  <a:pt x="5911" y="9"/>
                </a:cubicBezTo>
                <a:cubicBezTo>
                  <a:pt x="5909" y="9"/>
                  <a:pt x="5906" y="9"/>
                  <a:pt x="5904" y="8"/>
                </a:cubicBezTo>
                <a:cubicBezTo>
                  <a:pt x="5900" y="8"/>
                  <a:pt x="5895" y="8"/>
                  <a:pt x="5890" y="8"/>
                </a:cubicBezTo>
                <a:cubicBezTo>
                  <a:pt x="5885" y="7"/>
                  <a:pt x="5880" y="7"/>
                  <a:pt x="5876" y="7"/>
                </a:cubicBezTo>
                <a:cubicBezTo>
                  <a:pt x="5875" y="7"/>
                  <a:pt x="5873" y="7"/>
                  <a:pt x="5872" y="7"/>
                </a:cubicBezTo>
                <a:cubicBezTo>
                  <a:pt x="5864" y="7"/>
                  <a:pt x="5855" y="7"/>
                  <a:pt x="5848" y="7"/>
                </a:cubicBezTo>
                <a:cubicBezTo>
                  <a:pt x="5843" y="7"/>
                  <a:pt x="5839" y="7"/>
                  <a:pt x="5834" y="7"/>
                </a:cubicBezTo>
                <a:cubicBezTo>
                  <a:pt x="5829" y="7"/>
                  <a:pt x="5825" y="7"/>
                  <a:pt x="5820" y="6"/>
                </a:cubicBezTo>
                <a:cubicBezTo>
                  <a:pt x="5817" y="6"/>
                  <a:pt x="5815" y="5"/>
                  <a:pt x="5811" y="5"/>
                </a:cubicBezTo>
                <a:cubicBezTo>
                  <a:pt x="5804" y="5"/>
                  <a:pt x="5797" y="5"/>
                  <a:pt x="5790" y="5"/>
                </a:cubicBezTo>
                <a:cubicBezTo>
                  <a:pt x="5771" y="5"/>
                  <a:pt x="5753" y="6"/>
                  <a:pt x="5734" y="6"/>
                </a:cubicBezTo>
                <a:cubicBezTo>
                  <a:pt x="5733" y="6"/>
                  <a:pt x="5732" y="6"/>
                  <a:pt x="5731" y="6"/>
                </a:cubicBezTo>
                <a:cubicBezTo>
                  <a:pt x="5729" y="6"/>
                  <a:pt x="5727" y="5"/>
                  <a:pt x="5726" y="5"/>
                </a:cubicBezTo>
                <a:cubicBezTo>
                  <a:pt x="5723" y="5"/>
                  <a:pt x="5720" y="4"/>
                  <a:pt x="5716" y="4"/>
                </a:cubicBezTo>
                <a:cubicBezTo>
                  <a:pt x="5714" y="4"/>
                  <a:pt x="5710" y="4"/>
                  <a:pt x="5707" y="4"/>
                </a:cubicBezTo>
                <a:cubicBezTo>
                  <a:pt x="5700" y="4"/>
                  <a:pt x="5694" y="4"/>
                  <a:pt x="5687" y="4"/>
                </a:cubicBezTo>
                <a:cubicBezTo>
                  <a:pt x="5680" y="4"/>
                  <a:pt x="5674" y="4"/>
                  <a:pt x="5668" y="4"/>
                </a:cubicBezTo>
                <a:cubicBezTo>
                  <a:pt x="5665" y="4"/>
                  <a:pt x="5663" y="4"/>
                  <a:pt x="5660" y="4"/>
                </a:cubicBezTo>
                <a:cubicBezTo>
                  <a:pt x="5658" y="4"/>
                  <a:pt x="5655" y="4"/>
                  <a:pt x="5653" y="4"/>
                </a:cubicBezTo>
                <a:cubicBezTo>
                  <a:pt x="5650" y="4"/>
                  <a:pt x="5643" y="7"/>
                  <a:pt x="5638" y="6"/>
                </a:cubicBezTo>
                <a:cubicBezTo>
                  <a:pt x="5635" y="5"/>
                  <a:pt x="5640" y="4"/>
                  <a:pt x="5638" y="3"/>
                </a:cubicBezTo>
                <a:cubicBezTo>
                  <a:pt x="5636" y="3"/>
                  <a:pt x="5627" y="3"/>
                  <a:pt x="5625" y="3"/>
                </a:cubicBezTo>
                <a:cubicBezTo>
                  <a:pt x="5624" y="3"/>
                  <a:pt x="5625" y="3"/>
                  <a:pt x="5627" y="3"/>
                </a:cubicBezTo>
                <a:cubicBezTo>
                  <a:pt x="5629" y="3"/>
                  <a:pt x="5631" y="4"/>
                  <a:pt x="5631" y="4"/>
                </a:cubicBezTo>
                <a:cubicBezTo>
                  <a:pt x="5631" y="5"/>
                  <a:pt x="5630" y="5"/>
                  <a:pt x="5630" y="5"/>
                </a:cubicBezTo>
                <a:cubicBezTo>
                  <a:pt x="5626" y="5"/>
                  <a:pt x="5621" y="5"/>
                  <a:pt x="5617" y="5"/>
                </a:cubicBezTo>
                <a:cubicBezTo>
                  <a:pt x="5614" y="5"/>
                  <a:pt x="5612" y="5"/>
                  <a:pt x="5609" y="5"/>
                </a:cubicBezTo>
                <a:cubicBezTo>
                  <a:pt x="5608" y="5"/>
                  <a:pt x="5606" y="5"/>
                  <a:pt x="5603" y="5"/>
                </a:cubicBezTo>
                <a:cubicBezTo>
                  <a:pt x="5603" y="4"/>
                  <a:pt x="5602" y="4"/>
                  <a:pt x="5600" y="4"/>
                </a:cubicBezTo>
                <a:cubicBezTo>
                  <a:pt x="5599" y="4"/>
                  <a:pt x="5598" y="5"/>
                  <a:pt x="5598" y="5"/>
                </a:cubicBezTo>
                <a:cubicBezTo>
                  <a:pt x="5598" y="5"/>
                  <a:pt x="5598" y="5"/>
                  <a:pt x="5598" y="5"/>
                </a:cubicBezTo>
                <a:cubicBezTo>
                  <a:pt x="5600" y="7"/>
                  <a:pt x="5590" y="6"/>
                  <a:pt x="5586" y="6"/>
                </a:cubicBezTo>
                <a:cubicBezTo>
                  <a:pt x="5579" y="6"/>
                  <a:pt x="5570" y="5"/>
                  <a:pt x="5566" y="4"/>
                </a:cubicBezTo>
                <a:cubicBezTo>
                  <a:pt x="5559" y="3"/>
                  <a:pt x="5552" y="3"/>
                  <a:pt x="5545" y="3"/>
                </a:cubicBezTo>
                <a:cubicBezTo>
                  <a:pt x="5539" y="3"/>
                  <a:pt x="5533" y="3"/>
                  <a:pt x="5528" y="3"/>
                </a:cubicBezTo>
                <a:cubicBezTo>
                  <a:pt x="5522" y="3"/>
                  <a:pt x="5517" y="3"/>
                  <a:pt x="5511" y="3"/>
                </a:cubicBezTo>
                <a:cubicBezTo>
                  <a:pt x="5509" y="3"/>
                  <a:pt x="5501" y="3"/>
                  <a:pt x="5501" y="3"/>
                </a:cubicBezTo>
                <a:cubicBezTo>
                  <a:pt x="5500" y="3"/>
                  <a:pt x="5498" y="3"/>
                  <a:pt x="5497" y="3"/>
                </a:cubicBezTo>
                <a:cubicBezTo>
                  <a:pt x="5497" y="4"/>
                  <a:pt x="5497" y="4"/>
                  <a:pt x="5497" y="4"/>
                </a:cubicBezTo>
                <a:cubicBezTo>
                  <a:pt x="5497" y="4"/>
                  <a:pt x="5498" y="4"/>
                  <a:pt x="5498" y="5"/>
                </a:cubicBezTo>
                <a:cubicBezTo>
                  <a:pt x="5497" y="5"/>
                  <a:pt x="5489" y="5"/>
                  <a:pt x="5489" y="5"/>
                </a:cubicBezTo>
                <a:cubicBezTo>
                  <a:pt x="5489" y="4"/>
                  <a:pt x="5491" y="4"/>
                  <a:pt x="5491" y="4"/>
                </a:cubicBezTo>
                <a:cubicBezTo>
                  <a:pt x="5491" y="3"/>
                  <a:pt x="5480" y="3"/>
                  <a:pt x="5478" y="3"/>
                </a:cubicBezTo>
                <a:cubicBezTo>
                  <a:pt x="5474" y="3"/>
                  <a:pt x="5471" y="3"/>
                  <a:pt x="5467" y="3"/>
                </a:cubicBezTo>
                <a:cubicBezTo>
                  <a:pt x="5466" y="3"/>
                  <a:pt x="5465" y="3"/>
                  <a:pt x="5464" y="3"/>
                </a:cubicBezTo>
                <a:cubicBezTo>
                  <a:pt x="5463" y="3"/>
                  <a:pt x="5461" y="3"/>
                  <a:pt x="5460" y="3"/>
                </a:cubicBezTo>
                <a:cubicBezTo>
                  <a:pt x="5458" y="3"/>
                  <a:pt x="5456" y="3"/>
                  <a:pt x="5455" y="3"/>
                </a:cubicBezTo>
                <a:cubicBezTo>
                  <a:pt x="5454" y="3"/>
                  <a:pt x="5453" y="3"/>
                  <a:pt x="5453" y="3"/>
                </a:cubicBezTo>
                <a:cubicBezTo>
                  <a:pt x="5449" y="4"/>
                  <a:pt x="5461" y="5"/>
                  <a:pt x="5463" y="5"/>
                </a:cubicBezTo>
                <a:cubicBezTo>
                  <a:pt x="5465" y="4"/>
                  <a:pt x="5469" y="4"/>
                  <a:pt x="5469" y="5"/>
                </a:cubicBezTo>
                <a:cubicBezTo>
                  <a:pt x="5469" y="6"/>
                  <a:pt x="5468" y="6"/>
                  <a:pt x="5464" y="6"/>
                </a:cubicBezTo>
                <a:cubicBezTo>
                  <a:pt x="5459" y="6"/>
                  <a:pt x="5455" y="6"/>
                  <a:pt x="5450" y="6"/>
                </a:cubicBezTo>
                <a:cubicBezTo>
                  <a:pt x="5441" y="6"/>
                  <a:pt x="5432" y="6"/>
                  <a:pt x="5423" y="6"/>
                </a:cubicBezTo>
                <a:cubicBezTo>
                  <a:pt x="5412" y="6"/>
                  <a:pt x="5402" y="6"/>
                  <a:pt x="5391" y="5"/>
                </a:cubicBezTo>
                <a:cubicBezTo>
                  <a:pt x="5387" y="5"/>
                  <a:pt x="5383" y="5"/>
                  <a:pt x="5379" y="5"/>
                </a:cubicBezTo>
                <a:cubicBezTo>
                  <a:pt x="5376" y="5"/>
                  <a:pt x="5373" y="5"/>
                  <a:pt x="5370" y="5"/>
                </a:cubicBezTo>
                <a:cubicBezTo>
                  <a:pt x="5371" y="5"/>
                  <a:pt x="5371" y="5"/>
                  <a:pt x="5371" y="5"/>
                </a:cubicBezTo>
                <a:cubicBezTo>
                  <a:pt x="5369" y="5"/>
                  <a:pt x="5368" y="5"/>
                  <a:pt x="5366" y="5"/>
                </a:cubicBezTo>
                <a:cubicBezTo>
                  <a:pt x="5364" y="4"/>
                  <a:pt x="5372" y="4"/>
                  <a:pt x="5373" y="3"/>
                </a:cubicBezTo>
                <a:cubicBezTo>
                  <a:pt x="5375" y="3"/>
                  <a:pt x="5371" y="3"/>
                  <a:pt x="5368" y="3"/>
                </a:cubicBezTo>
                <a:cubicBezTo>
                  <a:pt x="5366" y="3"/>
                  <a:pt x="5366" y="4"/>
                  <a:pt x="5363" y="4"/>
                </a:cubicBezTo>
                <a:cubicBezTo>
                  <a:pt x="5360" y="4"/>
                  <a:pt x="5359" y="3"/>
                  <a:pt x="5358" y="3"/>
                </a:cubicBezTo>
                <a:cubicBezTo>
                  <a:pt x="5355" y="3"/>
                  <a:pt x="5352" y="3"/>
                  <a:pt x="5349" y="3"/>
                </a:cubicBezTo>
                <a:cubicBezTo>
                  <a:pt x="5343" y="3"/>
                  <a:pt x="5337" y="3"/>
                  <a:pt x="5331" y="3"/>
                </a:cubicBezTo>
                <a:cubicBezTo>
                  <a:pt x="5318" y="3"/>
                  <a:pt x="5307" y="3"/>
                  <a:pt x="5305" y="3"/>
                </a:cubicBezTo>
                <a:cubicBezTo>
                  <a:pt x="5300" y="3"/>
                  <a:pt x="5291" y="3"/>
                  <a:pt x="5287" y="2"/>
                </a:cubicBezTo>
                <a:cubicBezTo>
                  <a:pt x="5285" y="2"/>
                  <a:pt x="5283" y="2"/>
                  <a:pt x="5281" y="3"/>
                </a:cubicBezTo>
                <a:cubicBezTo>
                  <a:pt x="5281" y="3"/>
                  <a:pt x="5281" y="3"/>
                  <a:pt x="5281" y="3"/>
                </a:cubicBezTo>
                <a:cubicBezTo>
                  <a:pt x="5281" y="4"/>
                  <a:pt x="5281" y="4"/>
                  <a:pt x="5279" y="4"/>
                </a:cubicBezTo>
                <a:cubicBezTo>
                  <a:pt x="5276" y="4"/>
                  <a:pt x="5273" y="3"/>
                  <a:pt x="5271" y="3"/>
                </a:cubicBezTo>
                <a:cubicBezTo>
                  <a:pt x="5268" y="3"/>
                  <a:pt x="5265" y="3"/>
                  <a:pt x="5262" y="3"/>
                </a:cubicBezTo>
                <a:cubicBezTo>
                  <a:pt x="5256" y="3"/>
                  <a:pt x="5250" y="3"/>
                  <a:pt x="5243" y="3"/>
                </a:cubicBezTo>
                <a:cubicBezTo>
                  <a:pt x="5241" y="3"/>
                  <a:pt x="5239" y="3"/>
                  <a:pt x="5236" y="3"/>
                </a:cubicBezTo>
                <a:cubicBezTo>
                  <a:pt x="5236" y="3"/>
                  <a:pt x="5236" y="3"/>
                  <a:pt x="5236" y="4"/>
                </a:cubicBezTo>
                <a:cubicBezTo>
                  <a:pt x="5223" y="4"/>
                  <a:pt x="5211" y="3"/>
                  <a:pt x="5199" y="3"/>
                </a:cubicBezTo>
                <a:cubicBezTo>
                  <a:pt x="5191" y="3"/>
                  <a:pt x="5184" y="3"/>
                  <a:pt x="5177" y="3"/>
                </a:cubicBezTo>
                <a:cubicBezTo>
                  <a:pt x="5175" y="3"/>
                  <a:pt x="5173" y="3"/>
                  <a:pt x="5170" y="3"/>
                </a:cubicBezTo>
                <a:cubicBezTo>
                  <a:pt x="5169" y="3"/>
                  <a:pt x="5162" y="4"/>
                  <a:pt x="5164" y="3"/>
                </a:cubicBezTo>
                <a:cubicBezTo>
                  <a:pt x="5165" y="3"/>
                  <a:pt x="5173" y="3"/>
                  <a:pt x="5172" y="2"/>
                </a:cubicBezTo>
                <a:cubicBezTo>
                  <a:pt x="5172" y="1"/>
                  <a:pt x="5166" y="2"/>
                  <a:pt x="5165" y="2"/>
                </a:cubicBezTo>
                <a:cubicBezTo>
                  <a:pt x="5163" y="3"/>
                  <a:pt x="5159" y="3"/>
                  <a:pt x="5157" y="3"/>
                </a:cubicBezTo>
                <a:cubicBezTo>
                  <a:pt x="5155" y="3"/>
                  <a:pt x="5153" y="3"/>
                  <a:pt x="5153" y="3"/>
                </a:cubicBezTo>
                <a:cubicBezTo>
                  <a:pt x="5153" y="3"/>
                  <a:pt x="5153" y="3"/>
                  <a:pt x="5152" y="3"/>
                </a:cubicBezTo>
                <a:cubicBezTo>
                  <a:pt x="5145" y="2"/>
                  <a:pt x="5136" y="2"/>
                  <a:pt x="5129" y="2"/>
                </a:cubicBezTo>
                <a:cubicBezTo>
                  <a:pt x="5115" y="1"/>
                  <a:pt x="5101" y="2"/>
                  <a:pt x="5087" y="2"/>
                </a:cubicBezTo>
                <a:cubicBezTo>
                  <a:pt x="5080" y="2"/>
                  <a:pt x="5073" y="3"/>
                  <a:pt x="5066" y="3"/>
                </a:cubicBezTo>
                <a:cubicBezTo>
                  <a:pt x="5060" y="3"/>
                  <a:pt x="5053" y="3"/>
                  <a:pt x="5047" y="3"/>
                </a:cubicBezTo>
                <a:cubicBezTo>
                  <a:pt x="5046" y="3"/>
                  <a:pt x="5046" y="3"/>
                  <a:pt x="5045" y="3"/>
                </a:cubicBezTo>
                <a:cubicBezTo>
                  <a:pt x="5045" y="3"/>
                  <a:pt x="5044" y="3"/>
                  <a:pt x="5044" y="3"/>
                </a:cubicBezTo>
                <a:cubicBezTo>
                  <a:pt x="5041" y="3"/>
                  <a:pt x="5038" y="3"/>
                  <a:pt x="5035" y="3"/>
                </a:cubicBezTo>
                <a:cubicBezTo>
                  <a:pt x="5034" y="3"/>
                  <a:pt x="5031" y="3"/>
                  <a:pt x="5031" y="3"/>
                </a:cubicBezTo>
                <a:cubicBezTo>
                  <a:pt x="5030" y="4"/>
                  <a:pt x="5031" y="4"/>
                  <a:pt x="5028" y="4"/>
                </a:cubicBezTo>
                <a:cubicBezTo>
                  <a:pt x="5025" y="5"/>
                  <a:pt x="5021" y="4"/>
                  <a:pt x="5019" y="4"/>
                </a:cubicBezTo>
                <a:cubicBezTo>
                  <a:pt x="5016" y="4"/>
                  <a:pt x="5012" y="3"/>
                  <a:pt x="5007" y="4"/>
                </a:cubicBezTo>
                <a:cubicBezTo>
                  <a:pt x="5005" y="4"/>
                  <a:pt x="5002" y="5"/>
                  <a:pt x="4998" y="5"/>
                </a:cubicBezTo>
                <a:cubicBezTo>
                  <a:pt x="4995" y="5"/>
                  <a:pt x="4990" y="5"/>
                  <a:pt x="4987" y="5"/>
                </a:cubicBezTo>
                <a:cubicBezTo>
                  <a:pt x="4978" y="5"/>
                  <a:pt x="4964" y="5"/>
                  <a:pt x="4956" y="4"/>
                </a:cubicBezTo>
                <a:cubicBezTo>
                  <a:pt x="4953" y="4"/>
                  <a:pt x="4950" y="4"/>
                  <a:pt x="4946" y="3"/>
                </a:cubicBezTo>
                <a:cubicBezTo>
                  <a:pt x="4944" y="3"/>
                  <a:pt x="4942" y="3"/>
                  <a:pt x="4938" y="4"/>
                </a:cubicBezTo>
                <a:cubicBezTo>
                  <a:pt x="4937" y="4"/>
                  <a:pt x="4936" y="4"/>
                  <a:pt x="4935" y="3"/>
                </a:cubicBezTo>
                <a:cubicBezTo>
                  <a:pt x="4929" y="3"/>
                  <a:pt x="4925" y="4"/>
                  <a:pt x="4922" y="5"/>
                </a:cubicBezTo>
                <a:cubicBezTo>
                  <a:pt x="4921" y="5"/>
                  <a:pt x="4917" y="5"/>
                  <a:pt x="4916" y="5"/>
                </a:cubicBezTo>
                <a:cubicBezTo>
                  <a:pt x="4914" y="5"/>
                  <a:pt x="4913" y="4"/>
                  <a:pt x="4911" y="4"/>
                </a:cubicBezTo>
                <a:cubicBezTo>
                  <a:pt x="4908" y="3"/>
                  <a:pt x="4905" y="3"/>
                  <a:pt x="4901" y="3"/>
                </a:cubicBezTo>
                <a:cubicBezTo>
                  <a:pt x="4900" y="3"/>
                  <a:pt x="4899" y="3"/>
                  <a:pt x="4897" y="3"/>
                </a:cubicBezTo>
                <a:cubicBezTo>
                  <a:pt x="4895" y="3"/>
                  <a:pt x="4896" y="3"/>
                  <a:pt x="4894" y="3"/>
                </a:cubicBezTo>
                <a:cubicBezTo>
                  <a:pt x="4893" y="3"/>
                  <a:pt x="4892" y="3"/>
                  <a:pt x="4891" y="3"/>
                </a:cubicBezTo>
                <a:cubicBezTo>
                  <a:pt x="4891" y="3"/>
                  <a:pt x="4890" y="3"/>
                  <a:pt x="4888" y="3"/>
                </a:cubicBezTo>
                <a:cubicBezTo>
                  <a:pt x="4886" y="3"/>
                  <a:pt x="4885" y="3"/>
                  <a:pt x="4884" y="4"/>
                </a:cubicBezTo>
                <a:cubicBezTo>
                  <a:pt x="4883" y="4"/>
                  <a:pt x="4883" y="5"/>
                  <a:pt x="4884" y="5"/>
                </a:cubicBezTo>
                <a:cubicBezTo>
                  <a:pt x="4882" y="5"/>
                  <a:pt x="4880" y="5"/>
                  <a:pt x="4878" y="5"/>
                </a:cubicBezTo>
                <a:cubicBezTo>
                  <a:pt x="4875" y="5"/>
                  <a:pt x="4872" y="5"/>
                  <a:pt x="4870" y="5"/>
                </a:cubicBezTo>
                <a:cubicBezTo>
                  <a:pt x="4860" y="5"/>
                  <a:pt x="4850" y="4"/>
                  <a:pt x="4840" y="4"/>
                </a:cubicBezTo>
                <a:cubicBezTo>
                  <a:pt x="4836" y="4"/>
                  <a:pt x="4832" y="4"/>
                  <a:pt x="4828" y="3"/>
                </a:cubicBezTo>
                <a:cubicBezTo>
                  <a:pt x="4825" y="3"/>
                  <a:pt x="4821" y="3"/>
                  <a:pt x="4819" y="3"/>
                </a:cubicBezTo>
                <a:cubicBezTo>
                  <a:pt x="4815" y="3"/>
                  <a:pt x="4812" y="3"/>
                  <a:pt x="4807" y="3"/>
                </a:cubicBezTo>
                <a:cubicBezTo>
                  <a:pt x="4803" y="3"/>
                  <a:pt x="4798" y="3"/>
                  <a:pt x="4795" y="3"/>
                </a:cubicBezTo>
                <a:cubicBezTo>
                  <a:pt x="4793" y="3"/>
                  <a:pt x="4792" y="3"/>
                  <a:pt x="4791" y="4"/>
                </a:cubicBezTo>
                <a:cubicBezTo>
                  <a:pt x="4790" y="4"/>
                  <a:pt x="4790" y="4"/>
                  <a:pt x="4789" y="4"/>
                </a:cubicBezTo>
                <a:cubicBezTo>
                  <a:pt x="4788" y="5"/>
                  <a:pt x="4786" y="5"/>
                  <a:pt x="4784" y="5"/>
                </a:cubicBezTo>
                <a:cubicBezTo>
                  <a:pt x="4772" y="5"/>
                  <a:pt x="4761" y="2"/>
                  <a:pt x="4749" y="3"/>
                </a:cubicBezTo>
                <a:cubicBezTo>
                  <a:pt x="4748" y="3"/>
                  <a:pt x="4747" y="3"/>
                  <a:pt x="4745" y="3"/>
                </a:cubicBezTo>
                <a:cubicBezTo>
                  <a:pt x="4741" y="4"/>
                  <a:pt x="4736" y="4"/>
                  <a:pt x="4730" y="4"/>
                </a:cubicBezTo>
                <a:cubicBezTo>
                  <a:pt x="4727" y="4"/>
                  <a:pt x="4724" y="4"/>
                  <a:pt x="4720" y="4"/>
                </a:cubicBezTo>
                <a:cubicBezTo>
                  <a:pt x="4718" y="4"/>
                  <a:pt x="4717" y="5"/>
                  <a:pt x="4715" y="5"/>
                </a:cubicBezTo>
                <a:cubicBezTo>
                  <a:pt x="4713" y="5"/>
                  <a:pt x="4712" y="6"/>
                  <a:pt x="4709" y="6"/>
                </a:cubicBezTo>
                <a:cubicBezTo>
                  <a:pt x="4705" y="6"/>
                  <a:pt x="4701" y="6"/>
                  <a:pt x="4697" y="6"/>
                </a:cubicBezTo>
                <a:cubicBezTo>
                  <a:pt x="4695" y="5"/>
                  <a:pt x="4693" y="5"/>
                  <a:pt x="4690" y="5"/>
                </a:cubicBezTo>
                <a:cubicBezTo>
                  <a:pt x="4687" y="4"/>
                  <a:pt x="4681" y="4"/>
                  <a:pt x="4677" y="4"/>
                </a:cubicBezTo>
                <a:cubicBezTo>
                  <a:pt x="4672" y="4"/>
                  <a:pt x="4668" y="4"/>
                  <a:pt x="4663" y="4"/>
                </a:cubicBezTo>
                <a:cubicBezTo>
                  <a:pt x="4658" y="4"/>
                  <a:pt x="4653" y="4"/>
                  <a:pt x="4648" y="4"/>
                </a:cubicBezTo>
                <a:cubicBezTo>
                  <a:pt x="4645" y="4"/>
                  <a:pt x="4641" y="4"/>
                  <a:pt x="4638" y="4"/>
                </a:cubicBezTo>
                <a:cubicBezTo>
                  <a:pt x="4634" y="5"/>
                  <a:pt x="4635" y="7"/>
                  <a:pt x="4630" y="7"/>
                </a:cubicBezTo>
                <a:cubicBezTo>
                  <a:pt x="4625" y="7"/>
                  <a:pt x="4620" y="6"/>
                  <a:pt x="4616" y="6"/>
                </a:cubicBezTo>
                <a:cubicBezTo>
                  <a:pt x="4611" y="6"/>
                  <a:pt x="4605" y="6"/>
                  <a:pt x="4600" y="6"/>
                </a:cubicBezTo>
                <a:cubicBezTo>
                  <a:pt x="4593" y="6"/>
                  <a:pt x="4586" y="6"/>
                  <a:pt x="4579" y="6"/>
                </a:cubicBezTo>
                <a:cubicBezTo>
                  <a:pt x="4563" y="6"/>
                  <a:pt x="4547" y="6"/>
                  <a:pt x="4531" y="6"/>
                </a:cubicBezTo>
                <a:cubicBezTo>
                  <a:pt x="4527" y="6"/>
                  <a:pt x="4522" y="6"/>
                  <a:pt x="4518" y="6"/>
                </a:cubicBezTo>
                <a:cubicBezTo>
                  <a:pt x="4514" y="6"/>
                  <a:pt x="4511" y="5"/>
                  <a:pt x="4507" y="5"/>
                </a:cubicBezTo>
                <a:cubicBezTo>
                  <a:pt x="4506" y="5"/>
                  <a:pt x="4505" y="5"/>
                  <a:pt x="4504" y="5"/>
                </a:cubicBezTo>
                <a:cubicBezTo>
                  <a:pt x="4503" y="5"/>
                  <a:pt x="4503" y="5"/>
                  <a:pt x="4503" y="5"/>
                </a:cubicBezTo>
                <a:cubicBezTo>
                  <a:pt x="4500" y="6"/>
                  <a:pt x="4496" y="6"/>
                  <a:pt x="4493" y="6"/>
                </a:cubicBezTo>
                <a:cubicBezTo>
                  <a:pt x="4490" y="6"/>
                  <a:pt x="4486" y="6"/>
                  <a:pt x="4482" y="6"/>
                </a:cubicBezTo>
                <a:cubicBezTo>
                  <a:pt x="4476" y="6"/>
                  <a:pt x="4469" y="6"/>
                  <a:pt x="4463" y="6"/>
                </a:cubicBezTo>
                <a:cubicBezTo>
                  <a:pt x="4460" y="6"/>
                  <a:pt x="4453" y="7"/>
                  <a:pt x="4450" y="6"/>
                </a:cubicBezTo>
                <a:cubicBezTo>
                  <a:pt x="4449" y="6"/>
                  <a:pt x="4449" y="5"/>
                  <a:pt x="4448" y="5"/>
                </a:cubicBezTo>
                <a:cubicBezTo>
                  <a:pt x="4446" y="5"/>
                  <a:pt x="4445" y="5"/>
                  <a:pt x="4443" y="5"/>
                </a:cubicBezTo>
                <a:cubicBezTo>
                  <a:pt x="4443" y="5"/>
                  <a:pt x="4444" y="6"/>
                  <a:pt x="4444" y="6"/>
                </a:cubicBezTo>
                <a:cubicBezTo>
                  <a:pt x="4449" y="7"/>
                  <a:pt x="4438" y="9"/>
                  <a:pt x="4434" y="8"/>
                </a:cubicBezTo>
                <a:cubicBezTo>
                  <a:pt x="4431" y="8"/>
                  <a:pt x="4432" y="7"/>
                  <a:pt x="4430" y="6"/>
                </a:cubicBezTo>
                <a:cubicBezTo>
                  <a:pt x="4428" y="6"/>
                  <a:pt x="4426" y="6"/>
                  <a:pt x="4424" y="6"/>
                </a:cubicBezTo>
                <a:cubicBezTo>
                  <a:pt x="4420" y="6"/>
                  <a:pt x="4417" y="6"/>
                  <a:pt x="4414" y="6"/>
                </a:cubicBezTo>
                <a:cubicBezTo>
                  <a:pt x="4411" y="6"/>
                  <a:pt x="4406" y="5"/>
                  <a:pt x="4403" y="5"/>
                </a:cubicBezTo>
                <a:cubicBezTo>
                  <a:pt x="4402" y="5"/>
                  <a:pt x="4402" y="6"/>
                  <a:pt x="4401" y="6"/>
                </a:cubicBezTo>
                <a:cubicBezTo>
                  <a:pt x="4397" y="7"/>
                  <a:pt x="4396" y="6"/>
                  <a:pt x="4393" y="6"/>
                </a:cubicBezTo>
                <a:cubicBezTo>
                  <a:pt x="4390" y="5"/>
                  <a:pt x="4386" y="6"/>
                  <a:pt x="4384" y="7"/>
                </a:cubicBezTo>
                <a:cubicBezTo>
                  <a:pt x="4381" y="7"/>
                  <a:pt x="4380" y="7"/>
                  <a:pt x="4377" y="7"/>
                </a:cubicBezTo>
                <a:cubicBezTo>
                  <a:pt x="4377" y="7"/>
                  <a:pt x="4376" y="7"/>
                  <a:pt x="4375" y="7"/>
                </a:cubicBezTo>
                <a:cubicBezTo>
                  <a:pt x="4374" y="7"/>
                  <a:pt x="4373" y="7"/>
                  <a:pt x="4372" y="6"/>
                </a:cubicBezTo>
                <a:cubicBezTo>
                  <a:pt x="4368" y="6"/>
                  <a:pt x="4360" y="6"/>
                  <a:pt x="4356" y="6"/>
                </a:cubicBezTo>
                <a:cubicBezTo>
                  <a:pt x="4296" y="6"/>
                  <a:pt x="4270" y="7"/>
                  <a:pt x="4267" y="7"/>
                </a:cubicBezTo>
                <a:cubicBezTo>
                  <a:pt x="4266" y="7"/>
                  <a:pt x="4234" y="7"/>
                  <a:pt x="4227" y="7"/>
                </a:cubicBezTo>
                <a:cubicBezTo>
                  <a:pt x="4224" y="7"/>
                  <a:pt x="4219" y="6"/>
                  <a:pt x="4216" y="6"/>
                </a:cubicBezTo>
                <a:cubicBezTo>
                  <a:pt x="4213" y="5"/>
                  <a:pt x="4211" y="5"/>
                  <a:pt x="4208" y="5"/>
                </a:cubicBezTo>
                <a:cubicBezTo>
                  <a:pt x="4205" y="5"/>
                  <a:pt x="4203" y="5"/>
                  <a:pt x="4200" y="5"/>
                </a:cubicBezTo>
                <a:cubicBezTo>
                  <a:pt x="4199" y="5"/>
                  <a:pt x="4197" y="5"/>
                  <a:pt x="4196" y="5"/>
                </a:cubicBezTo>
                <a:cubicBezTo>
                  <a:pt x="4195" y="4"/>
                  <a:pt x="4197" y="4"/>
                  <a:pt x="4195" y="4"/>
                </a:cubicBezTo>
                <a:cubicBezTo>
                  <a:pt x="4194" y="3"/>
                  <a:pt x="4190" y="3"/>
                  <a:pt x="4187" y="3"/>
                </a:cubicBezTo>
                <a:cubicBezTo>
                  <a:pt x="4184" y="3"/>
                  <a:pt x="4179" y="4"/>
                  <a:pt x="4176" y="4"/>
                </a:cubicBezTo>
                <a:cubicBezTo>
                  <a:pt x="4171" y="4"/>
                  <a:pt x="4165" y="5"/>
                  <a:pt x="4158" y="4"/>
                </a:cubicBezTo>
                <a:cubicBezTo>
                  <a:pt x="4158" y="4"/>
                  <a:pt x="4157" y="3"/>
                  <a:pt x="4156" y="3"/>
                </a:cubicBezTo>
                <a:cubicBezTo>
                  <a:pt x="4152" y="3"/>
                  <a:pt x="4151" y="4"/>
                  <a:pt x="4149" y="4"/>
                </a:cubicBezTo>
                <a:cubicBezTo>
                  <a:pt x="4147" y="5"/>
                  <a:pt x="4143" y="5"/>
                  <a:pt x="4140" y="5"/>
                </a:cubicBezTo>
                <a:cubicBezTo>
                  <a:pt x="4134" y="5"/>
                  <a:pt x="4128" y="5"/>
                  <a:pt x="4122" y="5"/>
                </a:cubicBezTo>
                <a:cubicBezTo>
                  <a:pt x="4104" y="5"/>
                  <a:pt x="4086" y="5"/>
                  <a:pt x="4080" y="5"/>
                </a:cubicBezTo>
                <a:cubicBezTo>
                  <a:pt x="4075" y="5"/>
                  <a:pt x="4068" y="5"/>
                  <a:pt x="4064" y="6"/>
                </a:cubicBezTo>
                <a:cubicBezTo>
                  <a:pt x="4061" y="6"/>
                  <a:pt x="4058" y="6"/>
                  <a:pt x="4056" y="6"/>
                </a:cubicBezTo>
                <a:cubicBezTo>
                  <a:pt x="4054" y="7"/>
                  <a:pt x="4053" y="7"/>
                  <a:pt x="4051" y="7"/>
                </a:cubicBezTo>
                <a:cubicBezTo>
                  <a:pt x="4046" y="8"/>
                  <a:pt x="4039" y="7"/>
                  <a:pt x="4034" y="7"/>
                </a:cubicBezTo>
                <a:cubicBezTo>
                  <a:pt x="4031" y="7"/>
                  <a:pt x="4027" y="6"/>
                  <a:pt x="4023" y="6"/>
                </a:cubicBezTo>
                <a:cubicBezTo>
                  <a:pt x="4020" y="6"/>
                  <a:pt x="4018" y="6"/>
                  <a:pt x="4015" y="6"/>
                </a:cubicBezTo>
                <a:cubicBezTo>
                  <a:pt x="4006" y="6"/>
                  <a:pt x="3998" y="6"/>
                  <a:pt x="3989" y="6"/>
                </a:cubicBezTo>
                <a:cubicBezTo>
                  <a:pt x="3971" y="7"/>
                  <a:pt x="3946" y="7"/>
                  <a:pt x="3918" y="7"/>
                </a:cubicBezTo>
                <a:cubicBezTo>
                  <a:pt x="3864" y="7"/>
                  <a:pt x="3806" y="7"/>
                  <a:pt x="3791" y="7"/>
                </a:cubicBezTo>
                <a:cubicBezTo>
                  <a:pt x="3785" y="7"/>
                  <a:pt x="3779" y="7"/>
                  <a:pt x="3773" y="7"/>
                </a:cubicBezTo>
                <a:cubicBezTo>
                  <a:pt x="3769" y="7"/>
                  <a:pt x="3763" y="7"/>
                  <a:pt x="3760" y="8"/>
                </a:cubicBezTo>
                <a:cubicBezTo>
                  <a:pt x="3758" y="8"/>
                  <a:pt x="3757" y="8"/>
                  <a:pt x="3756" y="8"/>
                </a:cubicBezTo>
                <a:cubicBezTo>
                  <a:pt x="3755" y="8"/>
                  <a:pt x="3754" y="8"/>
                  <a:pt x="3752" y="8"/>
                </a:cubicBezTo>
                <a:cubicBezTo>
                  <a:pt x="3752" y="8"/>
                  <a:pt x="3751" y="8"/>
                  <a:pt x="3751" y="8"/>
                </a:cubicBezTo>
                <a:cubicBezTo>
                  <a:pt x="3746" y="8"/>
                  <a:pt x="3741" y="8"/>
                  <a:pt x="3737" y="8"/>
                </a:cubicBezTo>
                <a:cubicBezTo>
                  <a:pt x="3732" y="8"/>
                  <a:pt x="3728" y="8"/>
                  <a:pt x="3723" y="8"/>
                </a:cubicBezTo>
                <a:cubicBezTo>
                  <a:pt x="3718" y="8"/>
                  <a:pt x="3713" y="7"/>
                  <a:pt x="3708" y="8"/>
                </a:cubicBezTo>
                <a:cubicBezTo>
                  <a:pt x="3708" y="8"/>
                  <a:pt x="3707" y="8"/>
                  <a:pt x="3706" y="8"/>
                </a:cubicBezTo>
                <a:cubicBezTo>
                  <a:pt x="3700" y="9"/>
                  <a:pt x="3695" y="9"/>
                  <a:pt x="3687" y="9"/>
                </a:cubicBezTo>
                <a:cubicBezTo>
                  <a:pt x="3687" y="9"/>
                  <a:pt x="3686" y="9"/>
                  <a:pt x="3686" y="9"/>
                </a:cubicBezTo>
                <a:cubicBezTo>
                  <a:pt x="3684" y="8"/>
                  <a:pt x="3685" y="8"/>
                  <a:pt x="3685" y="7"/>
                </a:cubicBezTo>
                <a:cubicBezTo>
                  <a:pt x="3680" y="6"/>
                  <a:pt x="3672" y="7"/>
                  <a:pt x="3666" y="7"/>
                </a:cubicBezTo>
                <a:cubicBezTo>
                  <a:pt x="3659" y="7"/>
                  <a:pt x="3652" y="8"/>
                  <a:pt x="3644" y="8"/>
                </a:cubicBezTo>
                <a:cubicBezTo>
                  <a:pt x="3637" y="7"/>
                  <a:pt x="3630" y="7"/>
                  <a:pt x="3622" y="7"/>
                </a:cubicBezTo>
                <a:cubicBezTo>
                  <a:pt x="3617" y="7"/>
                  <a:pt x="3598" y="7"/>
                  <a:pt x="3579" y="7"/>
                </a:cubicBezTo>
                <a:cubicBezTo>
                  <a:pt x="3573" y="7"/>
                  <a:pt x="3566" y="7"/>
                  <a:pt x="3560" y="7"/>
                </a:cubicBezTo>
                <a:cubicBezTo>
                  <a:pt x="3555" y="8"/>
                  <a:pt x="3549" y="8"/>
                  <a:pt x="3545" y="8"/>
                </a:cubicBezTo>
                <a:cubicBezTo>
                  <a:pt x="3543" y="8"/>
                  <a:pt x="3541" y="9"/>
                  <a:pt x="3539" y="9"/>
                </a:cubicBezTo>
                <a:cubicBezTo>
                  <a:pt x="3536" y="9"/>
                  <a:pt x="3532" y="8"/>
                  <a:pt x="3529" y="8"/>
                </a:cubicBezTo>
                <a:cubicBezTo>
                  <a:pt x="3520" y="7"/>
                  <a:pt x="3510" y="8"/>
                  <a:pt x="3501" y="7"/>
                </a:cubicBezTo>
                <a:cubicBezTo>
                  <a:pt x="3491" y="7"/>
                  <a:pt x="3481" y="7"/>
                  <a:pt x="3471" y="7"/>
                </a:cubicBezTo>
                <a:cubicBezTo>
                  <a:pt x="3460" y="7"/>
                  <a:pt x="3449" y="7"/>
                  <a:pt x="3438" y="7"/>
                </a:cubicBezTo>
                <a:cubicBezTo>
                  <a:pt x="3433" y="7"/>
                  <a:pt x="3429" y="7"/>
                  <a:pt x="3424" y="7"/>
                </a:cubicBezTo>
                <a:cubicBezTo>
                  <a:pt x="3419" y="8"/>
                  <a:pt x="3415" y="7"/>
                  <a:pt x="3410" y="8"/>
                </a:cubicBezTo>
                <a:cubicBezTo>
                  <a:pt x="3404" y="8"/>
                  <a:pt x="3399" y="9"/>
                  <a:pt x="3393" y="9"/>
                </a:cubicBezTo>
                <a:cubicBezTo>
                  <a:pt x="3385" y="9"/>
                  <a:pt x="3377" y="9"/>
                  <a:pt x="3369" y="8"/>
                </a:cubicBezTo>
                <a:cubicBezTo>
                  <a:pt x="3361" y="8"/>
                  <a:pt x="3353" y="8"/>
                  <a:pt x="3345" y="8"/>
                </a:cubicBezTo>
                <a:cubicBezTo>
                  <a:pt x="3326" y="8"/>
                  <a:pt x="3308" y="8"/>
                  <a:pt x="3290" y="8"/>
                </a:cubicBezTo>
                <a:cubicBezTo>
                  <a:pt x="3276" y="8"/>
                  <a:pt x="3263" y="8"/>
                  <a:pt x="3250" y="8"/>
                </a:cubicBezTo>
                <a:cubicBezTo>
                  <a:pt x="3238" y="8"/>
                  <a:pt x="3227" y="8"/>
                  <a:pt x="3216" y="8"/>
                </a:cubicBezTo>
                <a:cubicBezTo>
                  <a:pt x="3213" y="9"/>
                  <a:pt x="3209" y="9"/>
                  <a:pt x="3206" y="9"/>
                </a:cubicBezTo>
                <a:cubicBezTo>
                  <a:pt x="3205" y="9"/>
                  <a:pt x="3204" y="9"/>
                  <a:pt x="3202" y="9"/>
                </a:cubicBezTo>
                <a:cubicBezTo>
                  <a:pt x="3200" y="9"/>
                  <a:pt x="3198" y="9"/>
                  <a:pt x="3196" y="9"/>
                </a:cubicBezTo>
                <a:cubicBezTo>
                  <a:pt x="3195" y="10"/>
                  <a:pt x="3193" y="9"/>
                  <a:pt x="3193" y="9"/>
                </a:cubicBezTo>
                <a:cubicBezTo>
                  <a:pt x="3191" y="8"/>
                  <a:pt x="3180" y="8"/>
                  <a:pt x="3176" y="8"/>
                </a:cubicBezTo>
                <a:cubicBezTo>
                  <a:pt x="3173" y="7"/>
                  <a:pt x="3163" y="7"/>
                  <a:pt x="3160" y="7"/>
                </a:cubicBezTo>
                <a:cubicBezTo>
                  <a:pt x="3160" y="8"/>
                  <a:pt x="3160" y="8"/>
                  <a:pt x="3159" y="8"/>
                </a:cubicBezTo>
                <a:cubicBezTo>
                  <a:pt x="3159" y="8"/>
                  <a:pt x="3158" y="8"/>
                  <a:pt x="3157" y="8"/>
                </a:cubicBezTo>
                <a:cubicBezTo>
                  <a:pt x="3152" y="8"/>
                  <a:pt x="3147" y="8"/>
                  <a:pt x="3142" y="8"/>
                </a:cubicBezTo>
                <a:cubicBezTo>
                  <a:pt x="3133" y="8"/>
                  <a:pt x="3117" y="8"/>
                  <a:pt x="3108" y="8"/>
                </a:cubicBezTo>
                <a:cubicBezTo>
                  <a:pt x="3092" y="8"/>
                  <a:pt x="3051" y="8"/>
                  <a:pt x="3027" y="8"/>
                </a:cubicBezTo>
                <a:cubicBezTo>
                  <a:pt x="3022" y="8"/>
                  <a:pt x="3011" y="8"/>
                  <a:pt x="3001" y="8"/>
                </a:cubicBezTo>
                <a:cubicBezTo>
                  <a:pt x="2994" y="8"/>
                  <a:pt x="2987" y="9"/>
                  <a:pt x="2980" y="8"/>
                </a:cubicBezTo>
                <a:cubicBezTo>
                  <a:pt x="2977" y="7"/>
                  <a:pt x="2976" y="7"/>
                  <a:pt x="2973" y="7"/>
                </a:cubicBezTo>
                <a:cubicBezTo>
                  <a:pt x="2969" y="7"/>
                  <a:pt x="2965" y="7"/>
                  <a:pt x="2962" y="7"/>
                </a:cubicBezTo>
                <a:cubicBezTo>
                  <a:pt x="2955" y="8"/>
                  <a:pt x="2944" y="8"/>
                  <a:pt x="2938" y="7"/>
                </a:cubicBezTo>
                <a:cubicBezTo>
                  <a:pt x="2934" y="7"/>
                  <a:pt x="2931" y="7"/>
                  <a:pt x="2928" y="7"/>
                </a:cubicBezTo>
                <a:cubicBezTo>
                  <a:pt x="2927" y="6"/>
                  <a:pt x="2925" y="6"/>
                  <a:pt x="2924" y="7"/>
                </a:cubicBezTo>
                <a:cubicBezTo>
                  <a:pt x="2923" y="7"/>
                  <a:pt x="2923" y="7"/>
                  <a:pt x="2922" y="7"/>
                </a:cubicBezTo>
                <a:cubicBezTo>
                  <a:pt x="2919" y="8"/>
                  <a:pt x="2915" y="7"/>
                  <a:pt x="2911" y="7"/>
                </a:cubicBezTo>
                <a:cubicBezTo>
                  <a:pt x="2906" y="7"/>
                  <a:pt x="2901" y="7"/>
                  <a:pt x="2896" y="7"/>
                </a:cubicBezTo>
                <a:cubicBezTo>
                  <a:pt x="2886" y="7"/>
                  <a:pt x="2876" y="7"/>
                  <a:pt x="2866" y="7"/>
                </a:cubicBezTo>
                <a:cubicBezTo>
                  <a:pt x="2848" y="7"/>
                  <a:pt x="2830" y="7"/>
                  <a:pt x="2813" y="7"/>
                </a:cubicBezTo>
                <a:cubicBezTo>
                  <a:pt x="2810" y="8"/>
                  <a:pt x="2807" y="8"/>
                  <a:pt x="2804" y="8"/>
                </a:cubicBezTo>
                <a:cubicBezTo>
                  <a:pt x="2803" y="9"/>
                  <a:pt x="2801" y="9"/>
                  <a:pt x="2799" y="9"/>
                </a:cubicBezTo>
                <a:cubicBezTo>
                  <a:pt x="2798" y="9"/>
                  <a:pt x="2797" y="9"/>
                  <a:pt x="2797" y="9"/>
                </a:cubicBezTo>
                <a:cubicBezTo>
                  <a:pt x="2793" y="9"/>
                  <a:pt x="2791" y="9"/>
                  <a:pt x="2788" y="8"/>
                </a:cubicBezTo>
                <a:cubicBezTo>
                  <a:pt x="2784" y="8"/>
                  <a:pt x="2780" y="8"/>
                  <a:pt x="2776" y="8"/>
                </a:cubicBezTo>
                <a:cubicBezTo>
                  <a:pt x="2772" y="7"/>
                  <a:pt x="2763" y="7"/>
                  <a:pt x="2761" y="8"/>
                </a:cubicBezTo>
                <a:cubicBezTo>
                  <a:pt x="2760" y="8"/>
                  <a:pt x="2760" y="9"/>
                  <a:pt x="2759" y="9"/>
                </a:cubicBezTo>
                <a:cubicBezTo>
                  <a:pt x="2759" y="9"/>
                  <a:pt x="2757" y="9"/>
                  <a:pt x="2756" y="9"/>
                </a:cubicBezTo>
                <a:cubicBezTo>
                  <a:pt x="2755" y="9"/>
                  <a:pt x="2754" y="9"/>
                  <a:pt x="2751" y="8"/>
                </a:cubicBezTo>
                <a:cubicBezTo>
                  <a:pt x="2750" y="7"/>
                  <a:pt x="2742" y="7"/>
                  <a:pt x="2738" y="7"/>
                </a:cubicBezTo>
                <a:cubicBezTo>
                  <a:pt x="2732" y="7"/>
                  <a:pt x="2726" y="7"/>
                  <a:pt x="2720" y="6"/>
                </a:cubicBezTo>
                <a:cubicBezTo>
                  <a:pt x="2720" y="6"/>
                  <a:pt x="2719" y="6"/>
                  <a:pt x="2718" y="6"/>
                </a:cubicBezTo>
                <a:cubicBezTo>
                  <a:pt x="2716" y="6"/>
                  <a:pt x="2714" y="6"/>
                  <a:pt x="2713" y="6"/>
                </a:cubicBezTo>
                <a:cubicBezTo>
                  <a:pt x="2712" y="7"/>
                  <a:pt x="2710" y="7"/>
                  <a:pt x="2710" y="7"/>
                </a:cubicBezTo>
                <a:cubicBezTo>
                  <a:pt x="2709" y="7"/>
                  <a:pt x="2707" y="7"/>
                  <a:pt x="2706" y="7"/>
                </a:cubicBezTo>
                <a:cubicBezTo>
                  <a:pt x="2705" y="8"/>
                  <a:pt x="2703" y="7"/>
                  <a:pt x="2702" y="7"/>
                </a:cubicBezTo>
                <a:cubicBezTo>
                  <a:pt x="2702" y="7"/>
                  <a:pt x="2702" y="6"/>
                  <a:pt x="2702" y="6"/>
                </a:cubicBezTo>
                <a:cubicBezTo>
                  <a:pt x="2700" y="6"/>
                  <a:pt x="2699" y="5"/>
                  <a:pt x="2698" y="5"/>
                </a:cubicBezTo>
                <a:cubicBezTo>
                  <a:pt x="2693" y="5"/>
                  <a:pt x="2691" y="7"/>
                  <a:pt x="2687" y="7"/>
                </a:cubicBezTo>
                <a:cubicBezTo>
                  <a:pt x="2684" y="7"/>
                  <a:pt x="2682" y="7"/>
                  <a:pt x="2679" y="7"/>
                </a:cubicBezTo>
                <a:cubicBezTo>
                  <a:pt x="2674" y="7"/>
                  <a:pt x="2669" y="7"/>
                  <a:pt x="2664" y="7"/>
                </a:cubicBezTo>
                <a:cubicBezTo>
                  <a:pt x="2650" y="7"/>
                  <a:pt x="2633" y="7"/>
                  <a:pt x="2626" y="7"/>
                </a:cubicBezTo>
                <a:cubicBezTo>
                  <a:pt x="2623" y="6"/>
                  <a:pt x="2618" y="6"/>
                  <a:pt x="2615" y="6"/>
                </a:cubicBezTo>
                <a:cubicBezTo>
                  <a:pt x="2615" y="6"/>
                  <a:pt x="2614" y="6"/>
                  <a:pt x="2614" y="5"/>
                </a:cubicBezTo>
                <a:cubicBezTo>
                  <a:pt x="2613" y="5"/>
                  <a:pt x="2611" y="4"/>
                  <a:pt x="2608" y="5"/>
                </a:cubicBezTo>
                <a:cubicBezTo>
                  <a:pt x="2606" y="5"/>
                  <a:pt x="2609" y="6"/>
                  <a:pt x="2605" y="7"/>
                </a:cubicBezTo>
                <a:cubicBezTo>
                  <a:pt x="2601" y="7"/>
                  <a:pt x="2594" y="7"/>
                  <a:pt x="2590" y="6"/>
                </a:cubicBezTo>
                <a:cubicBezTo>
                  <a:pt x="2577" y="6"/>
                  <a:pt x="2564" y="6"/>
                  <a:pt x="2551" y="6"/>
                </a:cubicBezTo>
                <a:cubicBezTo>
                  <a:pt x="2546" y="6"/>
                  <a:pt x="2541" y="6"/>
                  <a:pt x="2536" y="6"/>
                </a:cubicBezTo>
                <a:cubicBezTo>
                  <a:pt x="2534" y="6"/>
                  <a:pt x="2531" y="6"/>
                  <a:pt x="2529" y="6"/>
                </a:cubicBezTo>
                <a:cubicBezTo>
                  <a:pt x="2528" y="6"/>
                  <a:pt x="2526" y="5"/>
                  <a:pt x="2525" y="5"/>
                </a:cubicBezTo>
                <a:cubicBezTo>
                  <a:pt x="2524" y="5"/>
                  <a:pt x="2522" y="5"/>
                  <a:pt x="2521" y="5"/>
                </a:cubicBezTo>
                <a:cubicBezTo>
                  <a:pt x="2520" y="5"/>
                  <a:pt x="2518" y="5"/>
                  <a:pt x="2517" y="5"/>
                </a:cubicBezTo>
                <a:cubicBezTo>
                  <a:pt x="2514" y="5"/>
                  <a:pt x="2515" y="6"/>
                  <a:pt x="2514" y="6"/>
                </a:cubicBezTo>
                <a:cubicBezTo>
                  <a:pt x="2513" y="7"/>
                  <a:pt x="2510" y="7"/>
                  <a:pt x="2508" y="7"/>
                </a:cubicBezTo>
                <a:cubicBezTo>
                  <a:pt x="2501" y="8"/>
                  <a:pt x="2493" y="8"/>
                  <a:pt x="2486" y="8"/>
                </a:cubicBezTo>
                <a:cubicBezTo>
                  <a:pt x="2481" y="8"/>
                  <a:pt x="2476" y="8"/>
                  <a:pt x="2471" y="8"/>
                </a:cubicBezTo>
                <a:cubicBezTo>
                  <a:pt x="2468" y="7"/>
                  <a:pt x="2464" y="7"/>
                  <a:pt x="2460" y="7"/>
                </a:cubicBezTo>
                <a:cubicBezTo>
                  <a:pt x="2458" y="6"/>
                  <a:pt x="2455" y="6"/>
                  <a:pt x="2454" y="6"/>
                </a:cubicBezTo>
                <a:cubicBezTo>
                  <a:pt x="2453" y="6"/>
                  <a:pt x="2453" y="6"/>
                  <a:pt x="2453" y="6"/>
                </a:cubicBezTo>
                <a:cubicBezTo>
                  <a:pt x="2451" y="5"/>
                  <a:pt x="2450" y="5"/>
                  <a:pt x="2449" y="6"/>
                </a:cubicBezTo>
                <a:cubicBezTo>
                  <a:pt x="2448" y="6"/>
                  <a:pt x="2447" y="6"/>
                  <a:pt x="2447" y="6"/>
                </a:cubicBezTo>
                <a:cubicBezTo>
                  <a:pt x="2447" y="6"/>
                  <a:pt x="2446" y="6"/>
                  <a:pt x="2445" y="6"/>
                </a:cubicBezTo>
                <a:cubicBezTo>
                  <a:pt x="2440" y="6"/>
                  <a:pt x="2434" y="5"/>
                  <a:pt x="2429" y="6"/>
                </a:cubicBezTo>
                <a:cubicBezTo>
                  <a:pt x="2428" y="6"/>
                  <a:pt x="2428" y="6"/>
                  <a:pt x="2426" y="6"/>
                </a:cubicBezTo>
                <a:cubicBezTo>
                  <a:pt x="2422" y="5"/>
                  <a:pt x="2417" y="6"/>
                  <a:pt x="2414" y="6"/>
                </a:cubicBezTo>
                <a:cubicBezTo>
                  <a:pt x="2411" y="7"/>
                  <a:pt x="2408" y="7"/>
                  <a:pt x="2405" y="7"/>
                </a:cubicBezTo>
                <a:cubicBezTo>
                  <a:pt x="2402" y="8"/>
                  <a:pt x="2400" y="8"/>
                  <a:pt x="2398" y="9"/>
                </a:cubicBezTo>
                <a:cubicBezTo>
                  <a:pt x="2394" y="9"/>
                  <a:pt x="2391" y="9"/>
                  <a:pt x="2388" y="8"/>
                </a:cubicBezTo>
                <a:cubicBezTo>
                  <a:pt x="2384" y="8"/>
                  <a:pt x="2381" y="7"/>
                  <a:pt x="2378" y="7"/>
                </a:cubicBezTo>
                <a:cubicBezTo>
                  <a:pt x="2370" y="7"/>
                  <a:pt x="2363" y="6"/>
                  <a:pt x="2356" y="6"/>
                </a:cubicBezTo>
                <a:cubicBezTo>
                  <a:pt x="2350" y="6"/>
                  <a:pt x="2344" y="6"/>
                  <a:pt x="2338" y="6"/>
                </a:cubicBezTo>
                <a:cubicBezTo>
                  <a:pt x="2334" y="5"/>
                  <a:pt x="2329" y="5"/>
                  <a:pt x="2326" y="5"/>
                </a:cubicBezTo>
                <a:cubicBezTo>
                  <a:pt x="2325" y="5"/>
                  <a:pt x="2324" y="4"/>
                  <a:pt x="2323" y="4"/>
                </a:cubicBezTo>
                <a:cubicBezTo>
                  <a:pt x="2322" y="4"/>
                  <a:pt x="2321" y="4"/>
                  <a:pt x="2321" y="5"/>
                </a:cubicBezTo>
                <a:cubicBezTo>
                  <a:pt x="2320" y="5"/>
                  <a:pt x="2319" y="5"/>
                  <a:pt x="2318" y="5"/>
                </a:cubicBezTo>
                <a:cubicBezTo>
                  <a:pt x="2318" y="5"/>
                  <a:pt x="2317" y="5"/>
                  <a:pt x="2317" y="5"/>
                </a:cubicBezTo>
                <a:cubicBezTo>
                  <a:pt x="2317" y="4"/>
                  <a:pt x="2315" y="5"/>
                  <a:pt x="2315" y="5"/>
                </a:cubicBezTo>
                <a:cubicBezTo>
                  <a:pt x="2314" y="5"/>
                  <a:pt x="2313" y="5"/>
                  <a:pt x="2312" y="5"/>
                </a:cubicBezTo>
                <a:cubicBezTo>
                  <a:pt x="2311" y="5"/>
                  <a:pt x="2310" y="5"/>
                  <a:pt x="2309" y="5"/>
                </a:cubicBezTo>
                <a:cubicBezTo>
                  <a:pt x="2308" y="5"/>
                  <a:pt x="2307" y="5"/>
                  <a:pt x="2302" y="5"/>
                </a:cubicBezTo>
                <a:cubicBezTo>
                  <a:pt x="2287" y="5"/>
                  <a:pt x="2273" y="6"/>
                  <a:pt x="2258" y="6"/>
                </a:cubicBezTo>
                <a:cubicBezTo>
                  <a:pt x="2252" y="6"/>
                  <a:pt x="2246" y="6"/>
                  <a:pt x="2240" y="6"/>
                </a:cubicBezTo>
                <a:cubicBezTo>
                  <a:pt x="2235" y="6"/>
                  <a:pt x="2233" y="6"/>
                  <a:pt x="2229" y="5"/>
                </a:cubicBezTo>
                <a:cubicBezTo>
                  <a:pt x="2227" y="5"/>
                  <a:pt x="2226" y="4"/>
                  <a:pt x="2224" y="4"/>
                </a:cubicBezTo>
                <a:lnTo>
                  <a:pt x="2212" y="3"/>
                </a:lnTo>
                <a:cubicBezTo>
                  <a:pt x="2209" y="3"/>
                  <a:pt x="2203" y="3"/>
                  <a:pt x="2200" y="3"/>
                </a:cubicBezTo>
                <a:cubicBezTo>
                  <a:pt x="2200" y="5"/>
                  <a:pt x="2191" y="4"/>
                  <a:pt x="2189" y="3"/>
                </a:cubicBezTo>
                <a:cubicBezTo>
                  <a:pt x="2182" y="3"/>
                  <a:pt x="2175" y="3"/>
                  <a:pt x="2168" y="3"/>
                </a:cubicBezTo>
                <a:cubicBezTo>
                  <a:pt x="2165" y="3"/>
                  <a:pt x="2162" y="3"/>
                  <a:pt x="2159" y="3"/>
                </a:cubicBezTo>
                <a:cubicBezTo>
                  <a:pt x="2156" y="3"/>
                  <a:pt x="2154" y="4"/>
                  <a:pt x="2152" y="4"/>
                </a:cubicBezTo>
                <a:cubicBezTo>
                  <a:pt x="2150" y="4"/>
                  <a:pt x="2147" y="5"/>
                  <a:pt x="2144" y="4"/>
                </a:cubicBezTo>
                <a:cubicBezTo>
                  <a:pt x="2144" y="4"/>
                  <a:pt x="2143" y="4"/>
                  <a:pt x="2142" y="4"/>
                </a:cubicBezTo>
                <a:cubicBezTo>
                  <a:pt x="2144" y="3"/>
                  <a:pt x="2139" y="3"/>
                  <a:pt x="2137" y="3"/>
                </a:cubicBezTo>
                <a:cubicBezTo>
                  <a:pt x="2135" y="3"/>
                  <a:pt x="2133" y="3"/>
                  <a:pt x="2131" y="3"/>
                </a:cubicBezTo>
                <a:cubicBezTo>
                  <a:pt x="2129" y="3"/>
                  <a:pt x="2123" y="3"/>
                  <a:pt x="2122" y="3"/>
                </a:cubicBezTo>
                <a:cubicBezTo>
                  <a:pt x="2121" y="3"/>
                  <a:pt x="2121" y="4"/>
                  <a:pt x="2121" y="4"/>
                </a:cubicBezTo>
                <a:cubicBezTo>
                  <a:pt x="2121" y="4"/>
                  <a:pt x="2120" y="4"/>
                  <a:pt x="2119" y="5"/>
                </a:cubicBezTo>
                <a:cubicBezTo>
                  <a:pt x="2116" y="5"/>
                  <a:pt x="2112" y="5"/>
                  <a:pt x="2108" y="5"/>
                </a:cubicBezTo>
                <a:cubicBezTo>
                  <a:pt x="2103" y="5"/>
                  <a:pt x="2098" y="5"/>
                  <a:pt x="2093" y="4"/>
                </a:cubicBezTo>
                <a:cubicBezTo>
                  <a:pt x="2080" y="4"/>
                  <a:pt x="2048" y="3"/>
                  <a:pt x="2024" y="3"/>
                </a:cubicBezTo>
                <a:cubicBezTo>
                  <a:pt x="2015" y="3"/>
                  <a:pt x="2007" y="3"/>
                  <a:pt x="1999" y="3"/>
                </a:cubicBezTo>
                <a:cubicBezTo>
                  <a:pt x="1992" y="3"/>
                  <a:pt x="1984" y="4"/>
                  <a:pt x="1977" y="3"/>
                </a:cubicBezTo>
                <a:cubicBezTo>
                  <a:pt x="1974" y="3"/>
                  <a:pt x="1972" y="3"/>
                  <a:pt x="1969" y="3"/>
                </a:cubicBezTo>
                <a:cubicBezTo>
                  <a:pt x="1968" y="3"/>
                  <a:pt x="1968" y="3"/>
                  <a:pt x="1967" y="3"/>
                </a:cubicBezTo>
                <a:cubicBezTo>
                  <a:pt x="1966" y="3"/>
                  <a:pt x="1964" y="3"/>
                  <a:pt x="1963" y="3"/>
                </a:cubicBezTo>
                <a:cubicBezTo>
                  <a:pt x="1962" y="3"/>
                  <a:pt x="1962" y="3"/>
                  <a:pt x="1961" y="4"/>
                </a:cubicBezTo>
                <a:cubicBezTo>
                  <a:pt x="1961" y="4"/>
                  <a:pt x="1961" y="4"/>
                  <a:pt x="1958" y="4"/>
                </a:cubicBezTo>
                <a:cubicBezTo>
                  <a:pt x="1955" y="4"/>
                  <a:pt x="1952" y="4"/>
                  <a:pt x="1949" y="4"/>
                </a:cubicBezTo>
                <a:cubicBezTo>
                  <a:pt x="1944" y="3"/>
                  <a:pt x="1934" y="3"/>
                  <a:pt x="1927" y="3"/>
                </a:cubicBezTo>
                <a:cubicBezTo>
                  <a:pt x="1924" y="3"/>
                  <a:pt x="1921" y="3"/>
                  <a:pt x="1918" y="3"/>
                </a:cubicBezTo>
                <a:cubicBezTo>
                  <a:pt x="1916" y="3"/>
                  <a:pt x="1913" y="3"/>
                  <a:pt x="1910" y="3"/>
                </a:cubicBezTo>
                <a:cubicBezTo>
                  <a:pt x="1910" y="3"/>
                  <a:pt x="1909" y="3"/>
                  <a:pt x="1908" y="3"/>
                </a:cubicBezTo>
                <a:cubicBezTo>
                  <a:pt x="1908" y="3"/>
                  <a:pt x="1908" y="3"/>
                  <a:pt x="1910" y="3"/>
                </a:cubicBezTo>
                <a:cubicBezTo>
                  <a:pt x="1910" y="3"/>
                  <a:pt x="1910" y="4"/>
                  <a:pt x="1909" y="4"/>
                </a:cubicBezTo>
                <a:cubicBezTo>
                  <a:pt x="1908" y="4"/>
                  <a:pt x="1907" y="4"/>
                  <a:pt x="1906" y="4"/>
                </a:cubicBezTo>
                <a:cubicBezTo>
                  <a:pt x="1901" y="4"/>
                  <a:pt x="1896" y="4"/>
                  <a:pt x="1891" y="4"/>
                </a:cubicBezTo>
                <a:cubicBezTo>
                  <a:pt x="1880" y="3"/>
                  <a:pt x="1866" y="3"/>
                  <a:pt x="1859" y="3"/>
                </a:cubicBezTo>
                <a:cubicBezTo>
                  <a:pt x="1852" y="4"/>
                  <a:pt x="1834" y="4"/>
                  <a:pt x="1820" y="4"/>
                </a:cubicBezTo>
                <a:cubicBezTo>
                  <a:pt x="1806" y="4"/>
                  <a:pt x="1770" y="4"/>
                  <a:pt x="1740" y="3"/>
                </a:cubicBezTo>
                <a:cubicBezTo>
                  <a:pt x="1730" y="3"/>
                  <a:pt x="1720" y="3"/>
                  <a:pt x="1711" y="3"/>
                </a:cubicBezTo>
                <a:cubicBezTo>
                  <a:pt x="1705" y="3"/>
                  <a:pt x="1700" y="3"/>
                  <a:pt x="1695" y="3"/>
                </a:cubicBezTo>
                <a:cubicBezTo>
                  <a:pt x="1693" y="3"/>
                  <a:pt x="1686" y="4"/>
                  <a:pt x="1685" y="3"/>
                </a:cubicBezTo>
                <a:cubicBezTo>
                  <a:pt x="1685" y="3"/>
                  <a:pt x="1684" y="3"/>
                  <a:pt x="1683" y="3"/>
                </a:cubicBezTo>
                <a:cubicBezTo>
                  <a:pt x="1681" y="2"/>
                  <a:pt x="1673" y="2"/>
                  <a:pt x="1669" y="3"/>
                </a:cubicBezTo>
                <a:cubicBezTo>
                  <a:pt x="1664" y="3"/>
                  <a:pt x="1660" y="3"/>
                  <a:pt x="1656" y="2"/>
                </a:cubicBezTo>
                <a:cubicBezTo>
                  <a:pt x="1655" y="2"/>
                  <a:pt x="1653" y="2"/>
                  <a:pt x="1652" y="2"/>
                </a:cubicBezTo>
                <a:cubicBezTo>
                  <a:pt x="1650" y="2"/>
                  <a:pt x="1650" y="2"/>
                  <a:pt x="1649" y="2"/>
                </a:cubicBezTo>
                <a:cubicBezTo>
                  <a:pt x="1648" y="2"/>
                  <a:pt x="1647" y="2"/>
                  <a:pt x="1646" y="2"/>
                </a:cubicBezTo>
                <a:cubicBezTo>
                  <a:pt x="1645" y="2"/>
                  <a:pt x="1645" y="2"/>
                  <a:pt x="1643" y="3"/>
                </a:cubicBezTo>
                <a:cubicBezTo>
                  <a:pt x="1641" y="3"/>
                  <a:pt x="1634" y="3"/>
                  <a:pt x="1629" y="3"/>
                </a:cubicBezTo>
                <a:cubicBezTo>
                  <a:pt x="1624" y="3"/>
                  <a:pt x="1613" y="3"/>
                  <a:pt x="1605" y="3"/>
                </a:cubicBezTo>
                <a:cubicBezTo>
                  <a:pt x="1602" y="4"/>
                  <a:pt x="1599" y="4"/>
                  <a:pt x="1597" y="4"/>
                </a:cubicBezTo>
                <a:cubicBezTo>
                  <a:pt x="1594" y="4"/>
                  <a:pt x="1593" y="4"/>
                  <a:pt x="1590" y="4"/>
                </a:cubicBezTo>
                <a:cubicBezTo>
                  <a:pt x="1588" y="4"/>
                  <a:pt x="1588" y="3"/>
                  <a:pt x="1587" y="3"/>
                </a:cubicBezTo>
                <a:cubicBezTo>
                  <a:pt x="1583" y="3"/>
                  <a:pt x="1578" y="3"/>
                  <a:pt x="1574" y="3"/>
                </a:cubicBezTo>
                <a:cubicBezTo>
                  <a:pt x="1571" y="3"/>
                  <a:pt x="1567" y="3"/>
                  <a:pt x="1564" y="3"/>
                </a:cubicBezTo>
                <a:cubicBezTo>
                  <a:pt x="1561" y="3"/>
                  <a:pt x="1558" y="3"/>
                  <a:pt x="1555" y="3"/>
                </a:cubicBezTo>
                <a:cubicBezTo>
                  <a:pt x="1553" y="3"/>
                  <a:pt x="1551" y="2"/>
                  <a:pt x="1548" y="2"/>
                </a:cubicBezTo>
                <a:cubicBezTo>
                  <a:pt x="1546" y="2"/>
                  <a:pt x="1545" y="3"/>
                  <a:pt x="1544" y="3"/>
                </a:cubicBezTo>
                <a:cubicBezTo>
                  <a:pt x="1540" y="3"/>
                  <a:pt x="1536" y="3"/>
                  <a:pt x="1533" y="3"/>
                </a:cubicBezTo>
                <a:cubicBezTo>
                  <a:pt x="1527" y="3"/>
                  <a:pt x="1519" y="3"/>
                  <a:pt x="1516" y="3"/>
                </a:cubicBezTo>
                <a:cubicBezTo>
                  <a:pt x="1509" y="4"/>
                  <a:pt x="1504" y="4"/>
                  <a:pt x="1496" y="4"/>
                </a:cubicBezTo>
                <a:cubicBezTo>
                  <a:pt x="1488" y="4"/>
                  <a:pt x="1481" y="3"/>
                  <a:pt x="1474" y="3"/>
                </a:cubicBezTo>
                <a:cubicBezTo>
                  <a:pt x="1471" y="3"/>
                  <a:pt x="1467" y="3"/>
                  <a:pt x="1464" y="3"/>
                </a:cubicBezTo>
                <a:cubicBezTo>
                  <a:pt x="1463" y="3"/>
                  <a:pt x="1461" y="3"/>
                  <a:pt x="1461" y="3"/>
                </a:cubicBezTo>
                <a:cubicBezTo>
                  <a:pt x="1459" y="3"/>
                  <a:pt x="1460" y="4"/>
                  <a:pt x="1458" y="4"/>
                </a:cubicBezTo>
                <a:cubicBezTo>
                  <a:pt x="1457" y="4"/>
                  <a:pt x="1455" y="4"/>
                  <a:pt x="1454" y="4"/>
                </a:cubicBezTo>
                <a:cubicBezTo>
                  <a:pt x="1452" y="4"/>
                  <a:pt x="1448" y="4"/>
                  <a:pt x="1446" y="4"/>
                </a:cubicBezTo>
                <a:cubicBezTo>
                  <a:pt x="1444" y="3"/>
                  <a:pt x="1444" y="3"/>
                  <a:pt x="1443" y="3"/>
                </a:cubicBezTo>
                <a:cubicBezTo>
                  <a:pt x="1442" y="3"/>
                  <a:pt x="1440" y="3"/>
                  <a:pt x="1439" y="2"/>
                </a:cubicBezTo>
                <a:cubicBezTo>
                  <a:pt x="1438" y="2"/>
                  <a:pt x="1436" y="1"/>
                  <a:pt x="1435" y="1"/>
                </a:cubicBezTo>
                <a:cubicBezTo>
                  <a:pt x="1432" y="1"/>
                  <a:pt x="1431" y="2"/>
                  <a:pt x="1428" y="2"/>
                </a:cubicBezTo>
                <a:cubicBezTo>
                  <a:pt x="1428" y="2"/>
                  <a:pt x="1428" y="2"/>
                  <a:pt x="1428" y="2"/>
                </a:cubicBezTo>
                <a:cubicBezTo>
                  <a:pt x="1428" y="2"/>
                  <a:pt x="1428" y="1"/>
                  <a:pt x="1428" y="1"/>
                </a:cubicBezTo>
                <a:cubicBezTo>
                  <a:pt x="1428" y="1"/>
                  <a:pt x="1427" y="1"/>
                  <a:pt x="1427" y="1"/>
                </a:cubicBezTo>
                <a:cubicBezTo>
                  <a:pt x="1425" y="0"/>
                  <a:pt x="1423" y="0"/>
                  <a:pt x="1422" y="1"/>
                </a:cubicBezTo>
                <a:cubicBezTo>
                  <a:pt x="1421" y="1"/>
                  <a:pt x="1421" y="1"/>
                  <a:pt x="1421" y="1"/>
                </a:cubicBezTo>
                <a:cubicBezTo>
                  <a:pt x="1421" y="2"/>
                  <a:pt x="1421" y="2"/>
                  <a:pt x="1421" y="2"/>
                </a:cubicBezTo>
                <a:cubicBezTo>
                  <a:pt x="1422" y="2"/>
                  <a:pt x="1423" y="3"/>
                  <a:pt x="1424" y="3"/>
                </a:cubicBezTo>
                <a:cubicBezTo>
                  <a:pt x="1425" y="3"/>
                  <a:pt x="1423" y="3"/>
                  <a:pt x="1421" y="4"/>
                </a:cubicBezTo>
                <a:cubicBezTo>
                  <a:pt x="1420" y="4"/>
                  <a:pt x="1419" y="4"/>
                  <a:pt x="1417" y="4"/>
                </a:cubicBezTo>
                <a:cubicBezTo>
                  <a:pt x="1416" y="4"/>
                  <a:pt x="1415" y="3"/>
                  <a:pt x="1413" y="3"/>
                </a:cubicBezTo>
                <a:cubicBezTo>
                  <a:pt x="1411" y="3"/>
                  <a:pt x="1410" y="2"/>
                  <a:pt x="1407" y="2"/>
                </a:cubicBezTo>
                <a:cubicBezTo>
                  <a:pt x="1405" y="2"/>
                  <a:pt x="1402" y="2"/>
                  <a:pt x="1400" y="2"/>
                </a:cubicBezTo>
                <a:cubicBezTo>
                  <a:pt x="1395" y="2"/>
                  <a:pt x="1382" y="1"/>
                  <a:pt x="1371" y="1"/>
                </a:cubicBezTo>
                <a:cubicBezTo>
                  <a:pt x="1367" y="1"/>
                  <a:pt x="1364" y="1"/>
                  <a:pt x="1360" y="1"/>
                </a:cubicBezTo>
                <a:cubicBezTo>
                  <a:pt x="1359" y="1"/>
                  <a:pt x="1354" y="1"/>
                  <a:pt x="1352" y="1"/>
                </a:cubicBezTo>
                <a:cubicBezTo>
                  <a:pt x="1351" y="1"/>
                  <a:pt x="1350" y="2"/>
                  <a:pt x="1351" y="2"/>
                </a:cubicBezTo>
                <a:cubicBezTo>
                  <a:pt x="1348" y="2"/>
                  <a:pt x="1345" y="2"/>
                  <a:pt x="1342" y="2"/>
                </a:cubicBezTo>
                <a:cubicBezTo>
                  <a:pt x="1339" y="3"/>
                  <a:pt x="1335" y="3"/>
                  <a:pt x="1332" y="3"/>
                </a:cubicBezTo>
                <a:cubicBezTo>
                  <a:pt x="1327" y="3"/>
                  <a:pt x="1320" y="3"/>
                  <a:pt x="1316" y="3"/>
                </a:cubicBezTo>
                <a:cubicBezTo>
                  <a:pt x="1315" y="3"/>
                  <a:pt x="1313" y="2"/>
                  <a:pt x="1312" y="2"/>
                </a:cubicBezTo>
                <a:cubicBezTo>
                  <a:pt x="1311" y="2"/>
                  <a:pt x="1309" y="1"/>
                  <a:pt x="1309" y="1"/>
                </a:cubicBezTo>
                <a:cubicBezTo>
                  <a:pt x="1310" y="1"/>
                  <a:pt x="1311" y="1"/>
                  <a:pt x="1309" y="0"/>
                </a:cubicBezTo>
                <a:cubicBezTo>
                  <a:pt x="1305" y="0"/>
                  <a:pt x="1301" y="0"/>
                  <a:pt x="1297" y="0"/>
                </a:cubicBezTo>
                <a:cubicBezTo>
                  <a:pt x="1295" y="0"/>
                  <a:pt x="1292" y="1"/>
                  <a:pt x="1289" y="1"/>
                </a:cubicBezTo>
                <a:cubicBezTo>
                  <a:pt x="1287" y="1"/>
                  <a:pt x="1285" y="1"/>
                  <a:pt x="1284" y="1"/>
                </a:cubicBezTo>
                <a:cubicBezTo>
                  <a:pt x="1283" y="1"/>
                  <a:pt x="1283" y="1"/>
                  <a:pt x="1282" y="1"/>
                </a:cubicBezTo>
                <a:cubicBezTo>
                  <a:pt x="1280" y="2"/>
                  <a:pt x="1277" y="2"/>
                  <a:pt x="1275" y="3"/>
                </a:cubicBezTo>
                <a:cubicBezTo>
                  <a:pt x="1274" y="3"/>
                  <a:pt x="1273" y="3"/>
                  <a:pt x="1272" y="3"/>
                </a:cubicBezTo>
                <a:cubicBezTo>
                  <a:pt x="1272" y="3"/>
                  <a:pt x="1269" y="3"/>
                  <a:pt x="1269" y="3"/>
                </a:cubicBezTo>
                <a:cubicBezTo>
                  <a:pt x="1268" y="3"/>
                  <a:pt x="1268" y="3"/>
                  <a:pt x="1266" y="2"/>
                </a:cubicBezTo>
                <a:cubicBezTo>
                  <a:pt x="1266" y="2"/>
                  <a:pt x="1264" y="2"/>
                  <a:pt x="1263" y="2"/>
                </a:cubicBezTo>
                <a:cubicBezTo>
                  <a:pt x="1256" y="2"/>
                  <a:pt x="1250" y="2"/>
                  <a:pt x="1243" y="2"/>
                </a:cubicBezTo>
                <a:cubicBezTo>
                  <a:pt x="1240" y="2"/>
                  <a:pt x="1233" y="3"/>
                  <a:pt x="1231" y="2"/>
                </a:cubicBezTo>
                <a:cubicBezTo>
                  <a:pt x="1229" y="2"/>
                  <a:pt x="1217" y="2"/>
                  <a:pt x="1202" y="2"/>
                </a:cubicBezTo>
                <a:cubicBezTo>
                  <a:pt x="1198" y="2"/>
                  <a:pt x="1193" y="2"/>
                  <a:pt x="1188" y="2"/>
                </a:cubicBezTo>
                <a:cubicBezTo>
                  <a:pt x="1184" y="2"/>
                  <a:pt x="1179" y="1"/>
                  <a:pt x="1176" y="2"/>
                </a:cubicBezTo>
                <a:cubicBezTo>
                  <a:pt x="1175" y="2"/>
                  <a:pt x="1173" y="2"/>
                  <a:pt x="1171" y="3"/>
                </a:cubicBezTo>
                <a:cubicBezTo>
                  <a:pt x="1169" y="3"/>
                  <a:pt x="1165" y="3"/>
                  <a:pt x="1161" y="3"/>
                </a:cubicBezTo>
                <a:cubicBezTo>
                  <a:pt x="1160" y="3"/>
                  <a:pt x="1157" y="3"/>
                  <a:pt x="1156" y="3"/>
                </a:cubicBezTo>
                <a:cubicBezTo>
                  <a:pt x="1155" y="3"/>
                  <a:pt x="1154" y="3"/>
                  <a:pt x="1152" y="2"/>
                </a:cubicBezTo>
                <a:cubicBezTo>
                  <a:pt x="1150" y="2"/>
                  <a:pt x="1147" y="2"/>
                  <a:pt x="1145" y="2"/>
                </a:cubicBezTo>
                <a:cubicBezTo>
                  <a:pt x="1142" y="2"/>
                  <a:pt x="1138" y="2"/>
                  <a:pt x="1135" y="2"/>
                </a:cubicBezTo>
                <a:cubicBezTo>
                  <a:pt x="1128" y="2"/>
                  <a:pt x="1120" y="2"/>
                  <a:pt x="1115" y="3"/>
                </a:cubicBezTo>
                <a:cubicBezTo>
                  <a:pt x="1112" y="3"/>
                  <a:pt x="1106" y="4"/>
                  <a:pt x="1102" y="3"/>
                </a:cubicBezTo>
                <a:cubicBezTo>
                  <a:pt x="1099" y="3"/>
                  <a:pt x="1095" y="3"/>
                  <a:pt x="1093" y="3"/>
                </a:cubicBezTo>
                <a:cubicBezTo>
                  <a:pt x="1092" y="3"/>
                  <a:pt x="1091" y="2"/>
                  <a:pt x="1088" y="2"/>
                </a:cubicBezTo>
                <a:cubicBezTo>
                  <a:pt x="1084" y="2"/>
                  <a:pt x="1079" y="2"/>
                  <a:pt x="1075" y="2"/>
                </a:cubicBezTo>
                <a:cubicBezTo>
                  <a:pt x="1067" y="2"/>
                  <a:pt x="1056" y="2"/>
                  <a:pt x="1052" y="1"/>
                </a:cubicBezTo>
                <a:cubicBezTo>
                  <a:pt x="1048" y="1"/>
                  <a:pt x="1034" y="1"/>
                  <a:pt x="1020" y="1"/>
                </a:cubicBezTo>
                <a:cubicBezTo>
                  <a:pt x="1013" y="1"/>
                  <a:pt x="1006" y="1"/>
                  <a:pt x="998" y="1"/>
                </a:cubicBezTo>
                <a:cubicBezTo>
                  <a:pt x="998" y="1"/>
                  <a:pt x="997" y="1"/>
                  <a:pt x="997" y="1"/>
                </a:cubicBezTo>
                <a:cubicBezTo>
                  <a:pt x="996" y="1"/>
                  <a:pt x="996" y="2"/>
                  <a:pt x="997" y="2"/>
                </a:cubicBezTo>
                <a:cubicBezTo>
                  <a:pt x="997" y="2"/>
                  <a:pt x="996" y="2"/>
                  <a:pt x="995" y="2"/>
                </a:cubicBezTo>
                <a:cubicBezTo>
                  <a:pt x="994" y="2"/>
                  <a:pt x="993" y="2"/>
                  <a:pt x="992" y="2"/>
                </a:cubicBezTo>
                <a:cubicBezTo>
                  <a:pt x="988" y="3"/>
                  <a:pt x="986" y="3"/>
                  <a:pt x="982" y="3"/>
                </a:cubicBezTo>
                <a:cubicBezTo>
                  <a:pt x="980" y="3"/>
                  <a:pt x="977" y="3"/>
                  <a:pt x="975" y="3"/>
                </a:cubicBezTo>
                <a:cubicBezTo>
                  <a:pt x="970" y="3"/>
                  <a:pt x="965" y="3"/>
                  <a:pt x="959" y="3"/>
                </a:cubicBezTo>
                <a:cubicBezTo>
                  <a:pt x="952" y="3"/>
                  <a:pt x="944" y="3"/>
                  <a:pt x="937" y="3"/>
                </a:cubicBezTo>
                <a:cubicBezTo>
                  <a:pt x="933" y="3"/>
                  <a:pt x="930" y="3"/>
                  <a:pt x="926" y="3"/>
                </a:cubicBezTo>
                <a:cubicBezTo>
                  <a:pt x="925" y="3"/>
                  <a:pt x="922" y="3"/>
                  <a:pt x="921" y="3"/>
                </a:cubicBezTo>
                <a:cubicBezTo>
                  <a:pt x="920" y="3"/>
                  <a:pt x="921" y="3"/>
                  <a:pt x="921" y="3"/>
                </a:cubicBezTo>
                <a:cubicBezTo>
                  <a:pt x="920" y="2"/>
                  <a:pt x="919" y="2"/>
                  <a:pt x="917" y="2"/>
                </a:cubicBezTo>
                <a:cubicBezTo>
                  <a:pt x="915" y="2"/>
                  <a:pt x="912" y="2"/>
                  <a:pt x="909" y="2"/>
                </a:cubicBezTo>
                <a:cubicBezTo>
                  <a:pt x="902" y="2"/>
                  <a:pt x="892" y="2"/>
                  <a:pt x="886" y="2"/>
                </a:cubicBezTo>
                <a:cubicBezTo>
                  <a:pt x="882" y="2"/>
                  <a:pt x="876" y="1"/>
                  <a:pt x="873" y="2"/>
                </a:cubicBezTo>
                <a:cubicBezTo>
                  <a:pt x="872" y="2"/>
                  <a:pt x="871" y="2"/>
                  <a:pt x="871" y="3"/>
                </a:cubicBezTo>
                <a:cubicBezTo>
                  <a:pt x="871" y="3"/>
                  <a:pt x="871" y="3"/>
                  <a:pt x="871" y="3"/>
                </a:cubicBezTo>
                <a:cubicBezTo>
                  <a:pt x="870" y="3"/>
                  <a:pt x="869" y="3"/>
                  <a:pt x="868" y="3"/>
                </a:cubicBezTo>
                <a:cubicBezTo>
                  <a:pt x="860" y="3"/>
                  <a:pt x="852" y="3"/>
                  <a:pt x="844" y="3"/>
                </a:cubicBezTo>
                <a:cubicBezTo>
                  <a:pt x="838" y="3"/>
                  <a:pt x="832" y="3"/>
                  <a:pt x="826" y="3"/>
                </a:cubicBezTo>
                <a:cubicBezTo>
                  <a:pt x="824" y="3"/>
                  <a:pt x="822" y="3"/>
                  <a:pt x="821" y="3"/>
                </a:cubicBezTo>
                <a:cubicBezTo>
                  <a:pt x="821" y="3"/>
                  <a:pt x="822" y="3"/>
                  <a:pt x="820" y="3"/>
                </a:cubicBezTo>
                <a:cubicBezTo>
                  <a:pt x="820" y="3"/>
                  <a:pt x="819" y="3"/>
                  <a:pt x="818" y="3"/>
                </a:cubicBezTo>
                <a:cubicBezTo>
                  <a:pt x="814" y="3"/>
                  <a:pt x="806" y="4"/>
                  <a:pt x="802" y="3"/>
                </a:cubicBezTo>
                <a:cubicBezTo>
                  <a:pt x="802" y="3"/>
                  <a:pt x="802" y="3"/>
                  <a:pt x="802" y="3"/>
                </a:cubicBezTo>
                <a:cubicBezTo>
                  <a:pt x="802" y="3"/>
                  <a:pt x="802" y="3"/>
                  <a:pt x="802" y="2"/>
                </a:cubicBezTo>
                <a:cubicBezTo>
                  <a:pt x="802" y="2"/>
                  <a:pt x="801" y="1"/>
                  <a:pt x="800" y="1"/>
                </a:cubicBezTo>
                <a:cubicBezTo>
                  <a:pt x="799" y="1"/>
                  <a:pt x="797" y="1"/>
                  <a:pt x="796" y="1"/>
                </a:cubicBezTo>
                <a:cubicBezTo>
                  <a:pt x="794" y="1"/>
                  <a:pt x="793" y="1"/>
                  <a:pt x="792" y="1"/>
                </a:cubicBezTo>
                <a:cubicBezTo>
                  <a:pt x="791" y="1"/>
                  <a:pt x="791" y="1"/>
                  <a:pt x="790" y="2"/>
                </a:cubicBezTo>
                <a:cubicBezTo>
                  <a:pt x="788" y="2"/>
                  <a:pt x="787" y="0"/>
                  <a:pt x="785" y="0"/>
                </a:cubicBezTo>
                <a:cubicBezTo>
                  <a:pt x="781" y="0"/>
                  <a:pt x="776" y="0"/>
                  <a:pt x="772" y="0"/>
                </a:cubicBezTo>
                <a:cubicBezTo>
                  <a:pt x="761" y="0"/>
                  <a:pt x="751" y="0"/>
                  <a:pt x="740" y="0"/>
                </a:cubicBezTo>
                <a:cubicBezTo>
                  <a:pt x="731" y="0"/>
                  <a:pt x="723" y="0"/>
                  <a:pt x="714" y="0"/>
                </a:cubicBezTo>
                <a:cubicBezTo>
                  <a:pt x="710" y="0"/>
                  <a:pt x="705" y="0"/>
                  <a:pt x="701" y="0"/>
                </a:cubicBezTo>
                <a:cubicBezTo>
                  <a:pt x="698" y="0"/>
                  <a:pt x="693" y="0"/>
                  <a:pt x="692" y="1"/>
                </a:cubicBezTo>
                <a:cubicBezTo>
                  <a:pt x="691" y="2"/>
                  <a:pt x="690" y="2"/>
                  <a:pt x="687" y="2"/>
                </a:cubicBezTo>
                <a:cubicBezTo>
                  <a:pt x="685" y="2"/>
                  <a:pt x="681" y="3"/>
                  <a:pt x="679" y="3"/>
                </a:cubicBezTo>
                <a:cubicBezTo>
                  <a:pt x="676" y="4"/>
                  <a:pt x="675" y="4"/>
                  <a:pt x="669" y="4"/>
                </a:cubicBezTo>
                <a:cubicBezTo>
                  <a:pt x="665" y="4"/>
                  <a:pt x="661" y="4"/>
                  <a:pt x="657" y="4"/>
                </a:cubicBezTo>
                <a:cubicBezTo>
                  <a:pt x="652" y="4"/>
                  <a:pt x="645" y="4"/>
                  <a:pt x="639" y="4"/>
                </a:cubicBezTo>
                <a:cubicBezTo>
                  <a:pt x="638" y="4"/>
                  <a:pt x="637" y="4"/>
                  <a:pt x="636" y="4"/>
                </a:cubicBezTo>
                <a:cubicBezTo>
                  <a:pt x="634" y="4"/>
                  <a:pt x="634" y="4"/>
                  <a:pt x="633" y="4"/>
                </a:cubicBezTo>
                <a:cubicBezTo>
                  <a:pt x="632" y="4"/>
                  <a:pt x="631" y="4"/>
                  <a:pt x="630" y="4"/>
                </a:cubicBezTo>
                <a:cubicBezTo>
                  <a:pt x="627" y="4"/>
                  <a:pt x="624" y="4"/>
                  <a:pt x="621" y="4"/>
                </a:cubicBezTo>
                <a:cubicBezTo>
                  <a:pt x="618" y="4"/>
                  <a:pt x="614" y="4"/>
                  <a:pt x="610" y="4"/>
                </a:cubicBezTo>
                <a:cubicBezTo>
                  <a:pt x="610" y="4"/>
                  <a:pt x="609" y="4"/>
                  <a:pt x="608" y="4"/>
                </a:cubicBezTo>
                <a:cubicBezTo>
                  <a:pt x="608" y="3"/>
                  <a:pt x="608" y="3"/>
                  <a:pt x="606" y="3"/>
                </a:cubicBezTo>
                <a:cubicBezTo>
                  <a:pt x="605" y="3"/>
                  <a:pt x="603" y="3"/>
                  <a:pt x="602" y="3"/>
                </a:cubicBezTo>
                <a:cubicBezTo>
                  <a:pt x="600" y="3"/>
                  <a:pt x="599" y="3"/>
                  <a:pt x="597" y="3"/>
                </a:cubicBezTo>
                <a:cubicBezTo>
                  <a:pt x="597" y="3"/>
                  <a:pt x="596" y="3"/>
                  <a:pt x="596" y="3"/>
                </a:cubicBezTo>
                <a:cubicBezTo>
                  <a:pt x="595" y="3"/>
                  <a:pt x="596" y="3"/>
                  <a:pt x="596" y="3"/>
                </a:cubicBezTo>
                <a:cubicBezTo>
                  <a:pt x="600" y="5"/>
                  <a:pt x="594" y="4"/>
                  <a:pt x="590" y="4"/>
                </a:cubicBezTo>
                <a:cubicBezTo>
                  <a:pt x="586" y="5"/>
                  <a:pt x="582" y="4"/>
                  <a:pt x="579" y="3"/>
                </a:cubicBezTo>
                <a:cubicBezTo>
                  <a:pt x="576" y="3"/>
                  <a:pt x="572" y="3"/>
                  <a:pt x="568" y="3"/>
                </a:cubicBezTo>
                <a:cubicBezTo>
                  <a:pt x="566" y="3"/>
                  <a:pt x="563" y="3"/>
                  <a:pt x="561" y="3"/>
                </a:cubicBezTo>
                <a:cubicBezTo>
                  <a:pt x="561" y="3"/>
                  <a:pt x="560" y="3"/>
                  <a:pt x="560" y="3"/>
                </a:cubicBezTo>
                <a:cubicBezTo>
                  <a:pt x="560" y="3"/>
                  <a:pt x="560" y="4"/>
                  <a:pt x="560" y="4"/>
                </a:cubicBezTo>
                <a:cubicBezTo>
                  <a:pt x="560" y="4"/>
                  <a:pt x="559" y="4"/>
                  <a:pt x="558" y="4"/>
                </a:cubicBezTo>
                <a:cubicBezTo>
                  <a:pt x="552" y="5"/>
                  <a:pt x="544" y="5"/>
                  <a:pt x="537" y="5"/>
                </a:cubicBezTo>
                <a:cubicBezTo>
                  <a:pt x="530" y="5"/>
                  <a:pt x="523" y="5"/>
                  <a:pt x="516" y="5"/>
                </a:cubicBezTo>
                <a:cubicBezTo>
                  <a:pt x="507" y="5"/>
                  <a:pt x="498" y="5"/>
                  <a:pt x="489" y="5"/>
                </a:cubicBezTo>
                <a:cubicBezTo>
                  <a:pt x="485" y="5"/>
                  <a:pt x="481" y="5"/>
                  <a:pt x="476" y="5"/>
                </a:cubicBezTo>
                <a:cubicBezTo>
                  <a:pt x="475" y="5"/>
                  <a:pt x="474" y="5"/>
                  <a:pt x="473" y="5"/>
                </a:cubicBezTo>
                <a:cubicBezTo>
                  <a:pt x="473" y="4"/>
                  <a:pt x="474" y="4"/>
                  <a:pt x="472" y="3"/>
                </a:cubicBezTo>
                <a:cubicBezTo>
                  <a:pt x="469" y="3"/>
                  <a:pt x="459" y="4"/>
                  <a:pt x="457" y="3"/>
                </a:cubicBezTo>
                <a:cubicBezTo>
                  <a:pt x="457" y="3"/>
                  <a:pt x="458" y="3"/>
                  <a:pt x="458" y="3"/>
                </a:cubicBezTo>
                <a:cubicBezTo>
                  <a:pt x="458" y="3"/>
                  <a:pt x="457" y="3"/>
                  <a:pt x="457" y="3"/>
                </a:cubicBezTo>
                <a:cubicBezTo>
                  <a:pt x="456" y="3"/>
                  <a:pt x="455" y="3"/>
                  <a:pt x="454" y="3"/>
                </a:cubicBezTo>
                <a:cubicBezTo>
                  <a:pt x="439" y="3"/>
                  <a:pt x="425" y="3"/>
                  <a:pt x="410" y="3"/>
                </a:cubicBezTo>
                <a:cubicBezTo>
                  <a:pt x="407" y="3"/>
                  <a:pt x="404" y="3"/>
                  <a:pt x="400" y="3"/>
                </a:cubicBezTo>
                <a:cubicBezTo>
                  <a:pt x="396" y="4"/>
                  <a:pt x="395" y="4"/>
                  <a:pt x="392" y="5"/>
                </a:cubicBezTo>
                <a:cubicBezTo>
                  <a:pt x="389" y="6"/>
                  <a:pt x="387" y="6"/>
                  <a:pt x="383" y="7"/>
                </a:cubicBezTo>
                <a:cubicBezTo>
                  <a:pt x="380" y="7"/>
                  <a:pt x="377" y="7"/>
                  <a:pt x="374" y="7"/>
                </a:cubicBezTo>
                <a:cubicBezTo>
                  <a:pt x="371" y="7"/>
                  <a:pt x="368" y="7"/>
                  <a:pt x="365" y="7"/>
                </a:cubicBezTo>
                <a:cubicBezTo>
                  <a:pt x="365" y="7"/>
                  <a:pt x="364" y="7"/>
                  <a:pt x="364" y="6"/>
                </a:cubicBezTo>
                <a:cubicBezTo>
                  <a:pt x="364" y="6"/>
                  <a:pt x="363" y="5"/>
                  <a:pt x="362" y="5"/>
                </a:cubicBezTo>
                <a:cubicBezTo>
                  <a:pt x="359" y="5"/>
                  <a:pt x="356" y="5"/>
                  <a:pt x="353" y="5"/>
                </a:cubicBezTo>
                <a:cubicBezTo>
                  <a:pt x="349" y="5"/>
                  <a:pt x="348" y="5"/>
                  <a:pt x="345" y="4"/>
                </a:cubicBezTo>
                <a:cubicBezTo>
                  <a:pt x="343" y="3"/>
                  <a:pt x="340" y="3"/>
                  <a:pt x="336" y="3"/>
                </a:cubicBezTo>
                <a:cubicBezTo>
                  <a:pt x="333" y="3"/>
                  <a:pt x="329" y="3"/>
                  <a:pt x="326" y="3"/>
                </a:cubicBezTo>
                <a:cubicBezTo>
                  <a:pt x="322" y="3"/>
                  <a:pt x="316" y="3"/>
                  <a:pt x="312" y="3"/>
                </a:cubicBezTo>
                <a:cubicBezTo>
                  <a:pt x="310" y="3"/>
                  <a:pt x="309" y="4"/>
                  <a:pt x="307" y="4"/>
                </a:cubicBezTo>
                <a:cubicBezTo>
                  <a:pt x="304" y="5"/>
                  <a:pt x="301" y="4"/>
                  <a:pt x="299" y="4"/>
                </a:cubicBezTo>
                <a:cubicBezTo>
                  <a:pt x="294" y="4"/>
                  <a:pt x="278" y="4"/>
                  <a:pt x="263" y="4"/>
                </a:cubicBezTo>
                <a:cubicBezTo>
                  <a:pt x="257" y="4"/>
                  <a:pt x="252" y="4"/>
                  <a:pt x="246" y="4"/>
                </a:cubicBezTo>
                <a:cubicBezTo>
                  <a:pt x="217" y="5"/>
                  <a:pt x="190" y="3"/>
                  <a:pt x="160" y="3"/>
                </a:cubicBezTo>
                <a:cubicBezTo>
                  <a:pt x="160" y="3"/>
                  <a:pt x="160" y="3"/>
                  <a:pt x="160" y="3"/>
                </a:cubicBezTo>
                <a:cubicBezTo>
                  <a:pt x="160" y="3"/>
                  <a:pt x="159" y="3"/>
                  <a:pt x="159" y="3"/>
                </a:cubicBezTo>
                <a:cubicBezTo>
                  <a:pt x="159" y="3"/>
                  <a:pt x="158" y="3"/>
                  <a:pt x="158" y="3"/>
                </a:cubicBezTo>
                <a:cubicBezTo>
                  <a:pt x="158" y="3"/>
                  <a:pt x="158" y="3"/>
                  <a:pt x="157" y="3"/>
                </a:cubicBezTo>
                <a:cubicBezTo>
                  <a:pt x="157" y="3"/>
                  <a:pt x="157" y="3"/>
                  <a:pt x="157" y="3"/>
                </a:cubicBezTo>
                <a:cubicBezTo>
                  <a:pt x="146" y="3"/>
                  <a:pt x="134" y="3"/>
                  <a:pt x="121" y="3"/>
                </a:cubicBezTo>
                <a:cubicBezTo>
                  <a:pt x="121" y="3"/>
                  <a:pt x="121" y="3"/>
                  <a:pt x="121" y="3"/>
                </a:cubicBezTo>
                <a:cubicBezTo>
                  <a:pt x="120" y="3"/>
                  <a:pt x="120" y="3"/>
                  <a:pt x="120" y="3"/>
                </a:cubicBezTo>
                <a:cubicBezTo>
                  <a:pt x="119" y="3"/>
                  <a:pt x="117" y="3"/>
                  <a:pt x="116" y="3"/>
                </a:cubicBezTo>
                <a:cubicBezTo>
                  <a:pt x="111" y="3"/>
                  <a:pt x="107" y="3"/>
                  <a:pt x="102" y="3"/>
                </a:cubicBezTo>
                <a:cubicBezTo>
                  <a:pt x="84" y="3"/>
                  <a:pt x="59" y="3"/>
                  <a:pt x="37" y="3"/>
                </a:cubicBezTo>
                <a:cubicBezTo>
                  <a:pt x="34" y="3"/>
                  <a:pt x="30" y="3"/>
                  <a:pt x="27" y="3"/>
                </a:cubicBezTo>
                <a:cubicBezTo>
                  <a:pt x="19" y="3"/>
                  <a:pt x="7" y="1"/>
                  <a:pt x="1" y="7"/>
                </a:cubicBezTo>
                <a:cubicBezTo>
                  <a:pt x="0" y="9"/>
                  <a:pt x="0" y="11"/>
                  <a:pt x="0" y="14"/>
                </a:cubicBezTo>
                <a:cubicBezTo>
                  <a:pt x="0" y="14"/>
                  <a:pt x="0" y="15"/>
                  <a:pt x="0" y="15"/>
                </a:cubicBezTo>
                <a:cubicBezTo>
                  <a:pt x="0" y="19"/>
                  <a:pt x="0" y="24"/>
                  <a:pt x="0" y="27"/>
                </a:cubicBezTo>
                <a:cubicBezTo>
                  <a:pt x="0" y="31"/>
                  <a:pt x="2" y="34"/>
                  <a:pt x="3" y="38"/>
                </a:cubicBezTo>
                <a:cubicBezTo>
                  <a:pt x="3" y="39"/>
                  <a:pt x="3" y="43"/>
                  <a:pt x="4" y="44"/>
                </a:cubicBezTo>
                <a:cubicBezTo>
                  <a:pt x="5" y="46"/>
                  <a:pt x="6" y="46"/>
                  <a:pt x="7" y="47"/>
                </a:cubicBezTo>
                <a:cubicBezTo>
                  <a:pt x="12" y="49"/>
                  <a:pt x="14" y="50"/>
                  <a:pt x="19" y="51"/>
                </a:cubicBezTo>
                <a:cubicBezTo>
                  <a:pt x="24" y="52"/>
                  <a:pt x="29" y="53"/>
                  <a:pt x="34" y="53"/>
                </a:cubicBezTo>
                <a:cubicBezTo>
                  <a:pt x="38" y="54"/>
                  <a:pt x="43" y="54"/>
                  <a:pt x="48" y="54"/>
                </a:cubicBezTo>
                <a:cubicBezTo>
                  <a:pt x="49" y="54"/>
                  <a:pt x="50" y="54"/>
                  <a:pt x="52" y="53"/>
                </a:cubicBezTo>
                <a:cubicBezTo>
                  <a:pt x="53" y="53"/>
                  <a:pt x="54" y="53"/>
                  <a:pt x="55" y="53"/>
                </a:cubicBezTo>
                <a:cubicBezTo>
                  <a:pt x="56" y="53"/>
                  <a:pt x="58" y="54"/>
                  <a:pt x="59" y="54"/>
                </a:cubicBezTo>
                <a:cubicBezTo>
                  <a:pt x="61" y="54"/>
                  <a:pt x="62" y="54"/>
                  <a:pt x="63" y="54"/>
                </a:cubicBezTo>
                <a:cubicBezTo>
                  <a:pt x="66" y="54"/>
                  <a:pt x="68" y="55"/>
                  <a:pt x="70" y="55"/>
                </a:cubicBezTo>
                <a:cubicBezTo>
                  <a:pt x="72" y="55"/>
                  <a:pt x="74" y="54"/>
                  <a:pt x="76" y="54"/>
                </a:cubicBezTo>
                <a:cubicBezTo>
                  <a:pt x="78" y="54"/>
                  <a:pt x="81" y="54"/>
                  <a:pt x="83" y="54"/>
                </a:cubicBezTo>
                <a:cubicBezTo>
                  <a:pt x="84" y="54"/>
                  <a:pt x="86" y="53"/>
                  <a:pt x="87" y="53"/>
                </a:cubicBezTo>
                <a:cubicBezTo>
                  <a:pt x="89" y="52"/>
                  <a:pt x="91" y="52"/>
                  <a:pt x="93" y="53"/>
                </a:cubicBezTo>
                <a:cubicBezTo>
                  <a:pt x="98" y="53"/>
                  <a:pt x="104" y="53"/>
                  <a:pt x="111" y="53"/>
                </a:cubicBezTo>
                <a:cubicBezTo>
                  <a:pt x="117" y="53"/>
                  <a:pt x="123" y="53"/>
                  <a:pt x="129" y="53"/>
                </a:cubicBezTo>
                <a:cubicBezTo>
                  <a:pt x="146" y="54"/>
                  <a:pt x="164" y="54"/>
                  <a:pt x="181" y="54"/>
                </a:cubicBezTo>
                <a:cubicBezTo>
                  <a:pt x="187" y="54"/>
                  <a:pt x="192" y="54"/>
                  <a:pt x="198" y="53"/>
                </a:cubicBezTo>
                <a:cubicBezTo>
                  <a:pt x="201" y="53"/>
                  <a:pt x="205" y="53"/>
                  <a:pt x="209" y="53"/>
                </a:cubicBezTo>
                <a:cubicBezTo>
                  <a:pt x="214" y="53"/>
                  <a:pt x="220" y="54"/>
                  <a:pt x="226" y="54"/>
                </a:cubicBezTo>
                <a:cubicBezTo>
                  <a:pt x="231" y="54"/>
                  <a:pt x="236" y="54"/>
                  <a:pt x="241" y="54"/>
                </a:cubicBezTo>
                <a:cubicBezTo>
                  <a:pt x="249" y="54"/>
                  <a:pt x="257" y="55"/>
                  <a:pt x="264" y="55"/>
                </a:cubicBezTo>
                <a:cubicBezTo>
                  <a:pt x="272" y="55"/>
                  <a:pt x="280" y="54"/>
                  <a:pt x="288" y="54"/>
                </a:cubicBezTo>
                <a:cubicBezTo>
                  <a:pt x="297" y="54"/>
                  <a:pt x="306" y="54"/>
                  <a:pt x="315" y="54"/>
                </a:cubicBezTo>
                <a:cubicBezTo>
                  <a:pt x="321" y="54"/>
                  <a:pt x="325" y="53"/>
                  <a:pt x="330" y="53"/>
                </a:cubicBezTo>
                <a:cubicBezTo>
                  <a:pt x="337" y="52"/>
                  <a:pt x="345" y="52"/>
                  <a:pt x="352" y="53"/>
                </a:cubicBezTo>
                <a:cubicBezTo>
                  <a:pt x="490" y="54"/>
                  <a:pt x="829" y="54"/>
                  <a:pt x="894" y="53"/>
                </a:cubicBezTo>
                <a:cubicBezTo>
                  <a:pt x="908" y="53"/>
                  <a:pt x="939" y="53"/>
                  <a:pt x="962" y="53"/>
                </a:cubicBezTo>
                <a:cubicBezTo>
                  <a:pt x="985" y="53"/>
                  <a:pt x="1020" y="53"/>
                  <a:pt x="1041" y="52"/>
                </a:cubicBezTo>
                <a:cubicBezTo>
                  <a:pt x="1151" y="52"/>
                  <a:pt x="1195" y="51"/>
                  <a:pt x="1306" y="51"/>
                </a:cubicBezTo>
                <a:cubicBezTo>
                  <a:pt x="1314" y="51"/>
                  <a:pt x="1323" y="51"/>
                  <a:pt x="1332" y="51"/>
                </a:cubicBezTo>
                <a:cubicBezTo>
                  <a:pt x="1339" y="51"/>
                  <a:pt x="1350" y="51"/>
                  <a:pt x="1356" y="51"/>
                </a:cubicBezTo>
                <a:cubicBezTo>
                  <a:pt x="1357" y="50"/>
                  <a:pt x="1357" y="50"/>
                  <a:pt x="1358" y="50"/>
                </a:cubicBezTo>
                <a:cubicBezTo>
                  <a:pt x="1361" y="50"/>
                  <a:pt x="1363" y="51"/>
                  <a:pt x="1366" y="51"/>
                </a:cubicBezTo>
                <a:cubicBezTo>
                  <a:pt x="1368" y="52"/>
                  <a:pt x="1371" y="52"/>
                  <a:pt x="1375" y="52"/>
                </a:cubicBezTo>
                <a:cubicBezTo>
                  <a:pt x="1376" y="52"/>
                  <a:pt x="1376" y="51"/>
                  <a:pt x="1377" y="51"/>
                </a:cubicBezTo>
                <a:cubicBezTo>
                  <a:pt x="1380" y="50"/>
                  <a:pt x="1385" y="50"/>
                  <a:pt x="1390" y="50"/>
                </a:cubicBezTo>
                <a:cubicBezTo>
                  <a:pt x="1396" y="50"/>
                  <a:pt x="1403" y="50"/>
                  <a:pt x="1410" y="50"/>
                </a:cubicBezTo>
                <a:cubicBezTo>
                  <a:pt x="1424" y="50"/>
                  <a:pt x="1439" y="50"/>
                  <a:pt x="1454" y="50"/>
                </a:cubicBezTo>
                <a:cubicBezTo>
                  <a:pt x="1468" y="50"/>
                  <a:pt x="1483" y="50"/>
                  <a:pt x="1497" y="50"/>
                </a:cubicBezTo>
                <a:cubicBezTo>
                  <a:pt x="1503" y="50"/>
                  <a:pt x="1509" y="50"/>
                  <a:pt x="1514" y="50"/>
                </a:cubicBezTo>
                <a:cubicBezTo>
                  <a:pt x="1520" y="50"/>
                  <a:pt x="1528" y="50"/>
                  <a:pt x="1533" y="51"/>
                </a:cubicBezTo>
                <a:cubicBezTo>
                  <a:pt x="1537" y="52"/>
                  <a:pt x="1541" y="53"/>
                  <a:pt x="1546" y="51"/>
                </a:cubicBezTo>
                <a:cubicBezTo>
                  <a:pt x="1547" y="51"/>
                  <a:pt x="1547" y="51"/>
                  <a:pt x="1548" y="51"/>
                </a:cubicBezTo>
                <a:cubicBezTo>
                  <a:pt x="1549" y="51"/>
                  <a:pt x="1550" y="51"/>
                  <a:pt x="1551" y="51"/>
                </a:cubicBezTo>
                <a:cubicBezTo>
                  <a:pt x="1565" y="50"/>
                  <a:pt x="1582" y="50"/>
                  <a:pt x="1596" y="50"/>
                </a:cubicBezTo>
                <a:cubicBezTo>
                  <a:pt x="1613" y="50"/>
                  <a:pt x="1629" y="50"/>
                  <a:pt x="1645" y="50"/>
                </a:cubicBezTo>
                <a:cubicBezTo>
                  <a:pt x="1678" y="50"/>
                  <a:pt x="1711" y="51"/>
                  <a:pt x="1744" y="51"/>
                </a:cubicBezTo>
                <a:cubicBezTo>
                  <a:pt x="1771" y="51"/>
                  <a:pt x="1799" y="51"/>
                  <a:pt x="1826" y="51"/>
                </a:cubicBezTo>
                <a:cubicBezTo>
                  <a:pt x="1891" y="51"/>
                  <a:pt x="1957" y="51"/>
                  <a:pt x="2022" y="51"/>
                </a:cubicBezTo>
                <a:cubicBezTo>
                  <a:pt x="2036" y="51"/>
                  <a:pt x="2051" y="51"/>
                  <a:pt x="2065" y="51"/>
                </a:cubicBezTo>
                <a:cubicBezTo>
                  <a:pt x="2072" y="51"/>
                  <a:pt x="2079" y="51"/>
                  <a:pt x="2087" y="51"/>
                </a:cubicBezTo>
                <a:cubicBezTo>
                  <a:pt x="2092" y="51"/>
                  <a:pt x="2098" y="52"/>
                  <a:pt x="2103" y="51"/>
                </a:cubicBezTo>
                <a:cubicBezTo>
                  <a:pt x="2108" y="50"/>
                  <a:pt x="2108" y="51"/>
                  <a:pt x="2112" y="51"/>
                </a:cubicBezTo>
                <a:cubicBezTo>
                  <a:pt x="2113" y="51"/>
                  <a:pt x="2122" y="52"/>
                  <a:pt x="2123" y="51"/>
                </a:cubicBezTo>
                <a:cubicBezTo>
                  <a:pt x="2124" y="51"/>
                  <a:pt x="2129" y="51"/>
                  <a:pt x="2130" y="51"/>
                </a:cubicBezTo>
                <a:cubicBezTo>
                  <a:pt x="2137" y="51"/>
                  <a:pt x="2143" y="51"/>
                  <a:pt x="2149" y="51"/>
                </a:cubicBezTo>
                <a:cubicBezTo>
                  <a:pt x="2163" y="51"/>
                  <a:pt x="2177" y="51"/>
                  <a:pt x="2191" y="51"/>
                </a:cubicBezTo>
                <a:cubicBezTo>
                  <a:pt x="2192" y="51"/>
                  <a:pt x="2193" y="51"/>
                  <a:pt x="2195" y="51"/>
                </a:cubicBezTo>
                <a:cubicBezTo>
                  <a:pt x="2196" y="51"/>
                  <a:pt x="2197" y="51"/>
                  <a:pt x="2198" y="50"/>
                </a:cubicBezTo>
                <a:cubicBezTo>
                  <a:pt x="2202" y="49"/>
                  <a:pt x="2210" y="49"/>
                  <a:pt x="2215" y="49"/>
                </a:cubicBezTo>
                <a:cubicBezTo>
                  <a:pt x="2217" y="49"/>
                  <a:pt x="2221" y="49"/>
                  <a:pt x="2221" y="49"/>
                </a:cubicBezTo>
                <a:cubicBezTo>
                  <a:pt x="2222" y="50"/>
                  <a:pt x="2216" y="51"/>
                  <a:pt x="2223" y="51"/>
                </a:cubicBezTo>
                <a:cubicBezTo>
                  <a:pt x="2225" y="51"/>
                  <a:pt x="2227" y="51"/>
                  <a:pt x="2229" y="50"/>
                </a:cubicBezTo>
                <a:cubicBezTo>
                  <a:pt x="2231" y="50"/>
                  <a:pt x="2234" y="50"/>
                  <a:pt x="2235" y="51"/>
                </a:cubicBezTo>
                <a:cubicBezTo>
                  <a:pt x="2235" y="51"/>
                  <a:pt x="2236" y="51"/>
                  <a:pt x="2237" y="51"/>
                </a:cubicBezTo>
                <a:cubicBezTo>
                  <a:pt x="2246" y="51"/>
                  <a:pt x="2254" y="51"/>
                  <a:pt x="2263" y="51"/>
                </a:cubicBezTo>
                <a:cubicBezTo>
                  <a:pt x="2270" y="51"/>
                  <a:pt x="2282" y="51"/>
                  <a:pt x="2289" y="50"/>
                </a:cubicBezTo>
                <a:cubicBezTo>
                  <a:pt x="2291" y="50"/>
                  <a:pt x="2292" y="50"/>
                  <a:pt x="2294" y="50"/>
                </a:cubicBezTo>
                <a:cubicBezTo>
                  <a:pt x="2297" y="49"/>
                  <a:pt x="2302" y="49"/>
                  <a:pt x="2305" y="49"/>
                </a:cubicBezTo>
                <a:cubicBezTo>
                  <a:pt x="2311" y="50"/>
                  <a:pt x="2317" y="50"/>
                  <a:pt x="2322" y="50"/>
                </a:cubicBezTo>
                <a:cubicBezTo>
                  <a:pt x="2328" y="51"/>
                  <a:pt x="2334" y="51"/>
                  <a:pt x="2339" y="50"/>
                </a:cubicBezTo>
                <a:cubicBezTo>
                  <a:pt x="2340" y="50"/>
                  <a:pt x="2341" y="50"/>
                  <a:pt x="2342" y="50"/>
                </a:cubicBezTo>
                <a:cubicBezTo>
                  <a:pt x="2342" y="50"/>
                  <a:pt x="2343" y="50"/>
                  <a:pt x="2344" y="50"/>
                </a:cubicBezTo>
                <a:cubicBezTo>
                  <a:pt x="2346" y="50"/>
                  <a:pt x="2348" y="50"/>
                  <a:pt x="2351" y="50"/>
                </a:cubicBezTo>
                <a:cubicBezTo>
                  <a:pt x="2352" y="51"/>
                  <a:pt x="2369" y="51"/>
                  <a:pt x="2372" y="51"/>
                </a:cubicBezTo>
                <a:cubicBezTo>
                  <a:pt x="2380" y="51"/>
                  <a:pt x="2389" y="51"/>
                  <a:pt x="2398" y="51"/>
                </a:cubicBezTo>
                <a:cubicBezTo>
                  <a:pt x="2420" y="51"/>
                  <a:pt x="2443" y="52"/>
                  <a:pt x="2465" y="52"/>
                </a:cubicBezTo>
                <a:cubicBezTo>
                  <a:pt x="2474" y="52"/>
                  <a:pt x="2483" y="51"/>
                  <a:pt x="2492" y="51"/>
                </a:cubicBezTo>
                <a:cubicBezTo>
                  <a:pt x="2496" y="51"/>
                  <a:pt x="2501" y="52"/>
                  <a:pt x="2506" y="51"/>
                </a:cubicBezTo>
                <a:cubicBezTo>
                  <a:pt x="2509" y="51"/>
                  <a:pt x="2512" y="51"/>
                  <a:pt x="2516" y="51"/>
                </a:cubicBezTo>
                <a:cubicBezTo>
                  <a:pt x="2520" y="51"/>
                  <a:pt x="2525" y="51"/>
                  <a:pt x="2529" y="51"/>
                </a:cubicBezTo>
                <a:cubicBezTo>
                  <a:pt x="2531" y="51"/>
                  <a:pt x="2533" y="51"/>
                  <a:pt x="2535" y="51"/>
                </a:cubicBezTo>
                <a:cubicBezTo>
                  <a:pt x="2537" y="51"/>
                  <a:pt x="2539" y="50"/>
                  <a:pt x="2542" y="50"/>
                </a:cubicBezTo>
                <a:cubicBezTo>
                  <a:pt x="2545" y="50"/>
                  <a:pt x="2548" y="51"/>
                  <a:pt x="2551" y="51"/>
                </a:cubicBezTo>
                <a:cubicBezTo>
                  <a:pt x="2560" y="52"/>
                  <a:pt x="2568" y="51"/>
                  <a:pt x="2578" y="52"/>
                </a:cubicBezTo>
                <a:cubicBezTo>
                  <a:pt x="2590" y="52"/>
                  <a:pt x="2603" y="52"/>
                  <a:pt x="2606" y="52"/>
                </a:cubicBezTo>
                <a:cubicBezTo>
                  <a:pt x="2609" y="52"/>
                  <a:pt x="2628" y="52"/>
                  <a:pt x="2649" y="52"/>
                </a:cubicBezTo>
                <a:cubicBezTo>
                  <a:pt x="2656" y="52"/>
                  <a:pt x="2663" y="52"/>
                  <a:pt x="2671" y="52"/>
                </a:cubicBezTo>
                <a:cubicBezTo>
                  <a:pt x="2674" y="52"/>
                  <a:pt x="2677" y="52"/>
                  <a:pt x="2680" y="52"/>
                </a:cubicBezTo>
                <a:cubicBezTo>
                  <a:pt x="2683" y="52"/>
                  <a:pt x="2686" y="52"/>
                  <a:pt x="2688" y="52"/>
                </a:cubicBezTo>
                <a:cubicBezTo>
                  <a:pt x="2689" y="51"/>
                  <a:pt x="2690" y="51"/>
                  <a:pt x="2691" y="51"/>
                </a:cubicBezTo>
                <a:cubicBezTo>
                  <a:pt x="2692" y="51"/>
                  <a:pt x="2692" y="51"/>
                  <a:pt x="2692" y="52"/>
                </a:cubicBezTo>
                <a:cubicBezTo>
                  <a:pt x="2694" y="52"/>
                  <a:pt x="2699" y="52"/>
                  <a:pt x="2702" y="51"/>
                </a:cubicBezTo>
                <a:cubicBezTo>
                  <a:pt x="2708" y="51"/>
                  <a:pt x="2714" y="52"/>
                  <a:pt x="2720" y="52"/>
                </a:cubicBezTo>
                <a:cubicBezTo>
                  <a:pt x="2743" y="52"/>
                  <a:pt x="2754" y="52"/>
                  <a:pt x="2770" y="53"/>
                </a:cubicBezTo>
                <a:cubicBezTo>
                  <a:pt x="2783" y="54"/>
                  <a:pt x="2834" y="54"/>
                  <a:pt x="2863" y="53"/>
                </a:cubicBezTo>
                <a:cubicBezTo>
                  <a:pt x="2871" y="53"/>
                  <a:pt x="2885" y="53"/>
                  <a:pt x="2891" y="52"/>
                </a:cubicBezTo>
                <a:cubicBezTo>
                  <a:pt x="2893" y="51"/>
                  <a:pt x="2895" y="51"/>
                  <a:pt x="2897" y="51"/>
                </a:cubicBezTo>
                <a:cubicBezTo>
                  <a:pt x="2899" y="52"/>
                  <a:pt x="2898" y="52"/>
                  <a:pt x="2902" y="53"/>
                </a:cubicBezTo>
                <a:cubicBezTo>
                  <a:pt x="2903" y="53"/>
                  <a:pt x="2910" y="53"/>
                  <a:pt x="2912" y="53"/>
                </a:cubicBezTo>
                <a:cubicBezTo>
                  <a:pt x="2916" y="53"/>
                  <a:pt x="2926" y="53"/>
                  <a:pt x="2927" y="52"/>
                </a:cubicBezTo>
                <a:cubicBezTo>
                  <a:pt x="2928" y="52"/>
                  <a:pt x="2928" y="51"/>
                  <a:pt x="2930" y="51"/>
                </a:cubicBezTo>
                <a:cubicBezTo>
                  <a:pt x="2931" y="51"/>
                  <a:pt x="2932" y="51"/>
                  <a:pt x="2932" y="51"/>
                </a:cubicBezTo>
                <a:cubicBezTo>
                  <a:pt x="2935" y="51"/>
                  <a:pt x="2938" y="51"/>
                  <a:pt x="2942" y="51"/>
                </a:cubicBezTo>
                <a:cubicBezTo>
                  <a:pt x="2943" y="51"/>
                  <a:pt x="2943" y="51"/>
                  <a:pt x="2942" y="52"/>
                </a:cubicBezTo>
                <a:cubicBezTo>
                  <a:pt x="2941" y="52"/>
                  <a:pt x="2939" y="52"/>
                  <a:pt x="2940" y="52"/>
                </a:cubicBezTo>
                <a:cubicBezTo>
                  <a:pt x="2940" y="53"/>
                  <a:pt x="2942" y="53"/>
                  <a:pt x="2944" y="53"/>
                </a:cubicBezTo>
                <a:cubicBezTo>
                  <a:pt x="2945" y="53"/>
                  <a:pt x="2947" y="53"/>
                  <a:pt x="2948" y="52"/>
                </a:cubicBezTo>
                <a:cubicBezTo>
                  <a:pt x="2952" y="52"/>
                  <a:pt x="2957" y="51"/>
                  <a:pt x="2961" y="51"/>
                </a:cubicBezTo>
                <a:cubicBezTo>
                  <a:pt x="2965" y="51"/>
                  <a:pt x="2969" y="51"/>
                  <a:pt x="2974" y="51"/>
                </a:cubicBezTo>
                <a:cubicBezTo>
                  <a:pt x="2978" y="51"/>
                  <a:pt x="2983" y="50"/>
                  <a:pt x="2985" y="52"/>
                </a:cubicBezTo>
                <a:cubicBezTo>
                  <a:pt x="2988" y="53"/>
                  <a:pt x="2986" y="53"/>
                  <a:pt x="2991" y="53"/>
                </a:cubicBezTo>
                <a:cubicBezTo>
                  <a:pt x="2994" y="53"/>
                  <a:pt x="2994" y="52"/>
                  <a:pt x="2997" y="52"/>
                </a:cubicBezTo>
                <a:cubicBezTo>
                  <a:pt x="3004" y="53"/>
                  <a:pt x="3011" y="53"/>
                  <a:pt x="3019" y="53"/>
                </a:cubicBezTo>
                <a:cubicBezTo>
                  <a:pt x="3026" y="53"/>
                  <a:pt x="3037" y="54"/>
                  <a:pt x="3043" y="52"/>
                </a:cubicBezTo>
                <a:cubicBezTo>
                  <a:pt x="3045" y="52"/>
                  <a:pt x="3046" y="52"/>
                  <a:pt x="3047" y="51"/>
                </a:cubicBezTo>
                <a:cubicBezTo>
                  <a:pt x="3051" y="50"/>
                  <a:pt x="3063" y="50"/>
                  <a:pt x="3066" y="52"/>
                </a:cubicBezTo>
                <a:cubicBezTo>
                  <a:pt x="3066" y="52"/>
                  <a:pt x="3066" y="52"/>
                  <a:pt x="3067" y="52"/>
                </a:cubicBezTo>
                <a:cubicBezTo>
                  <a:pt x="3067" y="53"/>
                  <a:pt x="3070" y="53"/>
                  <a:pt x="3074" y="54"/>
                </a:cubicBezTo>
                <a:cubicBezTo>
                  <a:pt x="3075" y="54"/>
                  <a:pt x="3076" y="54"/>
                  <a:pt x="3076" y="53"/>
                </a:cubicBezTo>
                <a:cubicBezTo>
                  <a:pt x="3077" y="53"/>
                  <a:pt x="3079" y="52"/>
                  <a:pt x="3081" y="53"/>
                </a:cubicBezTo>
                <a:cubicBezTo>
                  <a:pt x="3081" y="53"/>
                  <a:pt x="3083" y="53"/>
                  <a:pt x="3085" y="53"/>
                </a:cubicBezTo>
                <a:cubicBezTo>
                  <a:pt x="3085" y="54"/>
                  <a:pt x="3086" y="54"/>
                  <a:pt x="3087" y="54"/>
                </a:cubicBezTo>
                <a:cubicBezTo>
                  <a:pt x="3118" y="54"/>
                  <a:pt x="3149" y="53"/>
                  <a:pt x="3180" y="54"/>
                </a:cubicBezTo>
                <a:cubicBezTo>
                  <a:pt x="3183" y="54"/>
                  <a:pt x="3191" y="54"/>
                  <a:pt x="3198" y="54"/>
                </a:cubicBezTo>
                <a:cubicBezTo>
                  <a:pt x="3205" y="54"/>
                  <a:pt x="3217" y="54"/>
                  <a:pt x="3225" y="55"/>
                </a:cubicBezTo>
                <a:cubicBezTo>
                  <a:pt x="3233" y="55"/>
                  <a:pt x="3247" y="55"/>
                  <a:pt x="3256" y="55"/>
                </a:cubicBezTo>
                <a:cubicBezTo>
                  <a:pt x="3262" y="56"/>
                  <a:pt x="3268" y="56"/>
                  <a:pt x="3274" y="56"/>
                </a:cubicBezTo>
                <a:cubicBezTo>
                  <a:pt x="3279" y="56"/>
                  <a:pt x="3284" y="57"/>
                  <a:pt x="3289" y="56"/>
                </a:cubicBezTo>
                <a:cubicBezTo>
                  <a:pt x="3295" y="56"/>
                  <a:pt x="3298" y="55"/>
                  <a:pt x="3305" y="55"/>
                </a:cubicBezTo>
                <a:cubicBezTo>
                  <a:pt x="3313" y="55"/>
                  <a:pt x="3322" y="55"/>
                  <a:pt x="3330" y="55"/>
                </a:cubicBezTo>
                <a:cubicBezTo>
                  <a:pt x="3342" y="55"/>
                  <a:pt x="3354" y="55"/>
                  <a:pt x="3367" y="55"/>
                </a:cubicBezTo>
                <a:cubicBezTo>
                  <a:pt x="3378" y="55"/>
                  <a:pt x="3390" y="55"/>
                  <a:pt x="3401" y="55"/>
                </a:cubicBezTo>
                <a:cubicBezTo>
                  <a:pt x="3401" y="54"/>
                  <a:pt x="3403" y="54"/>
                  <a:pt x="3405" y="53"/>
                </a:cubicBezTo>
                <a:cubicBezTo>
                  <a:pt x="3407" y="53"/>
                  <a:pt x="3409" y="53"/>
                  <a:pt x="3411" y="53"/>
                </a:cubicBezTo>
                <a:cubicBezTo>
                  <a:pt x="3411" y="55"/>
                  <a:pt x="3424" y="54"/>
                  <a:pt x="3428" y="54"/>
                </a:cubicBezTo>
                <a:cubicBezTo>
                  <a:pt x="3432" y="54"/>
                  <a:pt x="3440" y="54"/>
                  <a:pt x="3443" y="54"/>
                </a:cubicBezTo>
                <a:cubicBezTo>
                  <a:pt x="3445" y="54"/>
                  <a:pt x="3449" y="52"/>
                  <a:pt x="3451" y="53"/>
                </a:cubicBezTo>
                <a:cubicBezTo>
                  <a:pt x="3449" y="53"/>
                  <a:pt x="3450" y="54"/>
                  <a:pt x="3452" y="54"/>
                </a:cubicBezTo>
                <a:cubicBezTo>
                  <a:pt x="3453" y="54"/>
                  <a:pt x="3455" y="54"/>
                  <a:pt x="3457" y="54"/>
                </a:cubicBezTo>
                <a:cubicBezTo>
                  <a:pt x="3461" y="54"/>
                  <a:pt x="3468" y="54"/>
                  <a:pt x="3472" y="55"/>
                </a:cubicBezTo>
                <a:cubicBezTo>
                  <a:pt x="3475" y="55"/>
                  <a:pt x="3474" y="58"/>
                  <a:pt x="3481" y="57"/>
                </a:cubicBezTo>
                <a:cubicBezTo>
                  <a:pt x="3483" y="56"/>
                  <a:pt x="3484" y="56"/>
                  <a:pt x="3486" y="55"/>
                </a:cubicBezTo>
                <a:cubicBezTo>
                  <a:pt x="3490" y="54"/>
                  <a:pt x="3497" y="54"/>
                  <a:pt x="3503" y="54"/>
                </a:cubicBezTo>
                <a:cubicBezTo>
                  <a:pt x="3512" y="54"/>
                  <a:pt x="3522" y="54"/>
                  <a:pt x="3531" y="54"/>
                </a:cubicBezTo>
                <a:cubicBezTo>
                  <a:pt x="3549" y="54"/>
                  <a:pt x="3567" y="54"/>
                  <a:pt x="3585" y="54"/>
                </a:cubicBezTo>
                <a:cubicBezTo>
                  <a:pt x="3638" y="54"/>
                  <a:pt x="3690" y="55"/>
                  <a:pt x="3701" y="55"/>
                </a:cubicBezTo>
                <a:cubicBezTo>
                  <a:pt x="3712" y="55"/>
                  <a:pt x="3754" y="54"/>
                  <a:pt x="3795" y="54"/>
                </a:cubicBezTo>
                <a:cubicBezTo>
                  <a:pt x="3835" y="54"/>
                  <a:pt x="3903" y="54"/>
                  <a:pt x="3945" y="54"/>
                </a:cubicBezTo>
                <a:cubicBezTo>
                  <a:pt x="3986" y="54"/>
                  <a:pt x="4095" y="54"/>
                  <a:pt x="4186" y="55"/>
                </a:cubicBezTo>
                <a:cubicBezTo>
                  <a:pt x="4215" y="55"/>
                  <a:pt x="4243" y="55"/>
                  <a:pt x="4272" y="55"/>
                </a:cubicBezTo>
                <a:cubicBezTo>
                  <a:pt x="4286" y="55"/>
                  <a:pt x="4300" y="55"/>
                  <a:pt x="4315" y="55"/>
                </a:cubicBezTo>
                <a:cubicBezTo>
                  <a:pt x="4327" y="55"/>
                  <a:pt x="4343" y="55"/>
                  <a:pt x="4355" y="54"/>
                </a:cubicBezTo>
                <a:cubicBezTo>
                  <a:pt x="4356" y="54"/>
                  <a:pt x="4356" y="54"/>
                  <a:pt x="4357" y="54"/>
                </a:cubicBezTo>
                <a:cubicBezTo>
                  <a:pt x="4362" y="54"/>
                  <a:pt x="4367" y="55"/>
                  <a:pt x="4372" y="54"/>
                </a:cubicBezTo>
                <a:cubicBezTo>
                  <a:pt x="4379" y="54"/>
                  <a:pt x="4387" y="54"/>
                  <a:pt x="4394" y="54"/>
                </a:cubicBezTo>
                <a:cubicBezTo>
                  <a:pt x="4409" y="54"/>
                  <a:pt x="4423" y="54"/>
                  <a:pt x="4438" y="54"/>
                </a:cubicBezTo>
                <a:cubicBezTo>
                  <a:pt x="4451" y="54"/>
                  <a:pt x="4464" y="54"/>
                  <a:pt x="4477" y="54"/>
                </a:cubicBezTo>
                <a:cubicBezTo>
                  <a:pt x="4484" y="54"/>
                  <a:pt x="4490" y="54"/>
                  <a:pt x="4497" y="54"/>
                </a:cubicBezTo>
                <a:cubicBezTo>
                  <a:pt x="4502" y="54"/>
                  <a:pt x="4509" y="54"/>
                  <a:pt x="4514" y="54"/>
                </a:cubicBezTo>
                <a:cubicBezTo>
                  <a:pt x="4515" y="54"/>
                  <a:pt x="4518" y="54"/>
                  <a:pt x="4520" y="54"/>
                </a:cubicBezTo>
                <a:cubicBezTo>
                  <a:pt x="4524" y="54"/>
                  <a:pt x="4528" y="54"/>
                  <a:pt x="4532" y="54"/>
                </a:cubicBezTo>
                <a:cubicBezTo>
                  <a:pt x="4537" y="54"/>
                  <a:pt x="4542" y="54"/>
                  <a:pt x="4547" y="54"/>
                </a:cubicBezTo>
                <a:cubicBezTo>
                  <a:pt x="4563" y="54"/>
                  <a:pt x="4602" y="54"/>
                  <a:pt x="4635" y="54"/>
                </a:cubicBezTo>
                <a:cubicBezTo>
                  <a:pt x="4645" y="54"/>
                  <a:pt x="4654" y="54"/>
                  <a:pt x="4664" y="54"/>
                </a:cubicBezTo>
                <a:cubicBezTo>
                  <a:pt x="4672" y="54"/>
                  <a:pt x="4683" y="53"/>
                  <a:pt x="4691" y="54"/>
                </a:cubicBezTo>
                <a:cubicBezTo>
                  <a:pt x="4691" y="54"/>
                  <a:pt x="4692" y="54"/>
                  <a:pt x="4692" y="54"/>
                </a:cubicBezTo>
                <a:cubicBezTo>
                  <a:pt x="4692" y="54"/>
                  <a:pt x="4692" y="54"/>
                  <a:pt x="4692" y="55"/>
                </a:cubicBezTo>
                <a:cubicBezTo>
                  <a:pt x="4693" y="55"/>
                  <a:pt x="4695" y="56"/>
                  <a:pt x="4697" y="56"/>
                </a:cubicBezTo>
                <a:cubicBezTo>
                  <a:pt x="4700" y="56"/>
                  <a:pt x="4702" y="56"/>
                  <a:pt x="4704" y="56"/>
                </a:cubicBezTo>
                <a:cubicBezTo>
                  <a:pt x="4710" y="55"/>
                  <a:pt x="4715" y="55"/>
                  <a:pt x="4720" y="55"/>
                </a:cubicBezTo>
                <a:cubicBezTo>
                  <a:pt x="4723" y="55"/>
                  <a:pt x="4725" y="55"/>
                  <a:pt x="4727" y="55"/>
                </a:cubicBezTo>
                <a:cubicBezTo>
                  <a:pt x="4729" y="55"/>
                  <a:pt x="4730" y="54"/>
                  <a:pt x="4731" y="54"/>
                </a:cubicBezTo>
                <a:cubicBezTo>
                  <a:pt x="4733" y="54"/>
                  <a:pt x="4734" y="55"/>
                  <a:pt x="4736" y="54"/>
                </a:cubicBezTo>
                <a:cubicBezTo>
                  <a:pt x="4736" y="54"/>
                  <a:pt x="4737" y="54"/>
                  <a:pt x="4737" y="54"/>
                </a:cubicBezTo>
                <a:cubicBezTo>
                  <a:pt x="4741" y="53"/>
                  <a:pt x="4750" y="54"/>
                  <a:pt x="4754" y="54"/>
                </a:cubicBezTo>
                <a:cubicBezTo>
                  <a:pt x="4759" y="54"/>
                  <a:pt x="4762" y="55"/>
                  <a:pt x="4769" y="54"/>
                </a:cubicBezTo>
                <a:cubicBezTo>
                  <a:pt x="4771" y="55"/>
                  <a:pt x="4782" y="54"/>
                  <a:pt x="4785" y="54"/>
                </a:cubicBezTo>
                <a:cubicBezTo>
                  <a:pt x="4791" y="54"/>
                  <a:pt x="4798" y="54"/>
                  <a:pt x="4804" y="54"/>
                </a:cubicBezTo>
                <a:cubicBezTo>
                  <a:pt x="4812" y="54"/>
                  <a:pt x="4819" y="54"/>
                  <a:pt x="4827" y="54"/>
                </a:cubicBezTo>
                <a:cubicBezTo>
                  <a:pt x="4831" y="54"/>
                  <a:pt x="4840" y="54"/>
                  <a:pt x="4843" y="55"/>
                </a:cubicBezTo>
                <a:cubicBezTo>
                  <a:pt x="4844" y="55"/>
                  <a:pt x="4844" y="55"/>
                  <a:pt x="4845" y="55"/>
                </a:cubicBezTo>
                <a:cubicBezTo>
                  <a:pt x="4847" y="56"/>
                  <a:pt x="4849" y="56"/>
                  <a:pt x="4851" y="56"/>
                </a:cubicBezTo>
                <a:cubicBezTo>
                  <a:pt x="4853" y="56"/>
                  <a:pt x="4855" y="55"/>
                  <a:pt x="4856" y="55"/>
                </a:cubicBezTo>
                <a:cubicBezTo>
                  <a:pt x="4863" y="54"/>
                  <a:pt x="4870" y="54"/>
                  <a:pt x="4877" y="54"/>
                </a:cubicBezTo>
                <a:cubicBezTo>
                  <a:pt x="4880" y="54"/>
                  <a:pt x="4883" y="54"/>
                  <a:pt x="4885" y="53"/>
                </a:cubicBezTo>
                <a:cubicBezTo>
                  <a:pt x="4895" y="54"/>
                  <a:pt x="4904" y="55"/>
                  <a:pt x="4914" y="55"/>
                </a:cubicBezTo>
                <a:cubicBezTo>
                  <a:pt x="4919" y="56"/>
                  <a:pt x="4924" y="56"/>
                  <a:pt x="4929" y="56"/>
                </a:cubicBezTo>
                <a:cubicBezTo>
                  <a:pt x="4932" y="57"/>
                  <a:pt x="4936" y="57"/>
                  <a:pt x="4940" y="57"/>
                </a:cubicBezTo>
                <a:cubicBezTo>
                  <a:pt x="4943" y="57"/>
                  <a:pt x="4945" y="56"/>
                  <a:pt x="4948" y="56"/>
                </a:cubicBezTo>
                <a:cubicBezTo>
                  <a:pt x="4950" y="55"/>
                  <a:pt x="4954" y="55"/>
                  <a:pt x="4958" y="55"/>
                </a:cubicBezTo>
                <a:cubicBezTo>
                  <a:pt x="4963" y="55"/>
                  <a:pt x="4962" y="56"/>
                  <a:pt x="4966" y="57"/>
                </a:cubicBezTo>
                <a:cubicBezTo>
                  <a:pt x="4969" y="57"/>
                  <a:pt x="4973" y="55"/>
                  <a:pt x="4977" y="56"/>
                </a:cubicBezTo>
                <a:cubicBezTo>
                  <a:pt x="4977" y="56"/>
                  <a:pt x="4978" y="56"/>
                  <a:pt x="4979" y="56"/>
                </a:cubicBezTo>
                <a:cubicBezTo>
                  <a:pt x="4981" y="56"/>
                  <a:pt x="4982" y="57"/>
                  <a:pt x="4984" y="57"/>
                </a:cubicBezTo>
                <a:cubicBezTo>
                  <a:pt x="4985" y="57"/>
                  <a:pt x="4985" y="57"/>
                  <a:pt x="4986" y="57"/>
                </a:cubicBezTo>
                <a:cubicBezTo>
                  <a:pt x="4987" y="58"/>
                  <a:pt x="4987" y="58"/>
                  <a:pt x="4988" y="58"/>
                </a:cubicBezTo>
                <a:cubicBezTo>
                  <a:pt x="4990" y="58"/>
                  <a:pt x="4992" y="58"/>
                  <a:pt x="4994" y="58"/>
                </a:cubicBezTo>
                <a:cubicBezTo>
                  <a:pt x="4997" y="58"/>
                  <a:pt x="5001" y="57"/>
                  <a:pt x="5005" y="57"/>
                </a:cubicBezTo>
                <a:cubicBezTo>
                  <a:pt x="5009" y="57"/>
                  <a:pt x="5014" y="57"/>
                  <a:pt x="5018" y="57"/>
                </a:cubicBezTo>
                <a:cubicBezTo>
                  <a:pt x="5027" y="57"/>
                  <a:pt x="5040" y="58"/>
                  <a:pt x="5048" y="57"/>
                </a:cubicBezTo>
                <a:cubicBezTo>
                  <a:pt x="5054" y="56"/>
                  <a:pt x="5049" y="55"/>
                  <a:pt x="5049" y="54"/>
                </a:cubicBezTo>
                <a:cubicBezTo>
                  <a:pt x="5049" y="53"/>
                  <a:pt x="5051" y="53"/>
                  <a:pt x="5052" y="53"/>
                </a:cubicBezTo>
                <a:cubicBezTo>
                  <a:pt x="5054" y="53"/>
                  <a:pt x="5057" y="54"/>
                  <a:pt x="5059" y="54"/>
                </a:cubicBezTo>
                <a:cubicBezTo>
                  <a:pt x="5062" y="54"/>
                  <a:pt x="5065" y="54"/>
                  <a:pt x="5068" y="54"/>
                </a:cubicBezTo>
                <a:cubicBezTo>
                  <a:pt x="5076" y="54"/>
                  <a:pt x="5084" y="54"/>
                  <a:pt x="5092" y="54"/>
                </a:cubicBezTo>
                <a:cubicBezTo>
                  <a:pt x="5097" y="54"/>
                  <a:pt x="5113" y="56"/>
                  <a:pt x="5116" y="54"/>
                </a:cubicBezTo>
                <a:cubicBezTo>
                  <a:pt x="5116" y="54"/>
                  <a:pt x="5116" y="53"/>
                  <a:pt x="5116" y="53"/>
                </a:cubicBezTo>
                <a:cubicBezTo>
                  <a:pt x="5118" y="52"/>
                  <a:pt x="5128" y="53"/>
                  <a:pt x="5130" y="53"/>
                </a:cubicBezTo>
                <a:cubicBezTo>
                  <a:pt x="5165" y="55"/>
                  <a:pt x="5190" y="55"/>
                  <a:pt x="5228" y="55"/>
                </a:cubicBezTo>
                <a:cubicBezTo>
                  <a:pt x="5237" y="55"/>
                  <a:pt x="5247" y="54"/>
                  <a:pt x="5255" y="54"/>
                </a:cubicBezTo>
                <a:cubicBezTo>
                  <a:pt x="5259" y="54"/>
                  <a:pt x="5260" y="55"/>
                  <a:pt x="5263" y="55"/>
                </a:cubicBezTo>
                <a:cubicBezTo>
                  <a:pt x="5266" y="56"/>
                  <a:pt x="5270" y="56"/>
                  <a:pt x="5274" y="56"/>
                </a:cubicBezTo>
                <a:cubicBezTo>
                  <a:pt x="5279" y="56"/>
                  <a:pt x="5284" y="55"/>
                  <a:pt x="5289" y="56"/>
                </a:cubicBezTo>
                <a:cubicBezTo>
                  <a:pt x="5292" y="56"/>
                  <a:pt x="5294" y="57"/>
                  <a:pt x="5298" y="57"/>
                </a:cubicBezTo>
                <a:cubicBezTo>
                  <a:pt x="5302" y="58"/>
                  <a:pt x="5306" y="57"/>
                  <a:pt x="5309" y="56"/>
                </a:cubicBezTo>
                <a:cubicBezTo>
                  <a:pt x="5314" y="54"/>
                  <a:pt x="5316" y="54"/>
                  <a:pt x="5322" y="55"/>
                </a:cubicBezTo>
                <a:cubicBezTo>
                  <a:pt x="5329" y="55"/>
                  <a:pt x="5337" y="54"/>
                  <a:pt x="5343" y="54"/>
                </a:cubicBezTo>
                <a:cubicBezTo>
                  <a:pt x="5363" y="54"/>
                  <a:pt x="5382" y="54"/>
                  <a:pt x="5386" y="54"/>
                </a:cubicBezTo>
                <a:cubicBezTo>
                  <a:pt x="5389" y="54"/>
                  <a:pt x="5393" y="54"/>
                  <a:pt x="5396" y="54"/>
                </a:cubicBezTo>
                <a:cubicBezTo>
                  <a:pt x="5399" y="54"/>
                  <a:pt x="5401" y="55"/>
                  <a:pt x="5403" y="56"/>
                </a:cubicBezTo>
                <a:cubicBezTo>
                  <a:pt x="5405" y="56"/>
                  <a:pt x="5409" y="56"/>
                  <a:pt x="5412" y="57"/>
                </a:cubicBezTo>
                <a:cubicBezTo>
                  <a:pt x="5417" y="57"/>
                  <a:pt x="5423" y="57"/>
                  <a:pt x="5429" y="57"/>
                </a:cubicBezTo>
                <a:cubicBezTo>
                  <a:pt x="5431" y="57"/>
                  <a:pt x="5432" y="57"/>
                  <a:pt x="5434" y="57"/>
                </a:cubicBezTo>
                <a:cubicBezTo>
                  <a:pt x="5436" y="57"/>
                  <a:pt x="5437" y="56"/>
                  <a:pt x="5439" y="56"/>
                </a:cubicBezTo>
                <a:cubicBezTo>
                  <a:pt x="5447" y="54"/>
                  <a:pt x="5460" y="54"/>
                  <a:pt x="5471" y="55"/>
                </a:cubicBezTo>
                <a:cubicBezTo>
                  <a:pt x="5477" y="56"/>
                  <a:pt x="5485" y="56"/>
                  <a:pt x="5492" y="56"/>
                </a:cubicBezTo>
                <a:cubicBezTo>
                  <a:pt x="5494" y="56"/>
                  <a:pt x="5497" y="55"/>
                  <a:pt x="5499" y="55"/>
                </a:cubicBezTo>
                <a:cubicBezTo>
                  <a:pt x="5500" y="55"/>
                  <a:pt x="5501" y="54"/>
                  <a:pt x="5502" y="54"/>
                </a:cubicBezTo>
                <a:cubicBezTo>
                  <a:pt x="5505" y="53"/>
                  <a:pt x="5510" y="53"/>
                  <a:pt x="5515" y="53"/>
                </a:cubicBezTo>
                <a:cubicBezTo>
                  <a:pt x="5519" y="53"/>
                  <a:pt x="5523" y="54"/>
                  <a:pt x="5528" y="54"/>
                </a:cubicBezTo>
                <a:cubicBezTo>
                  <a:pt x="5535" y="54"/>
                  <a:pt x="5542" y="54"/>
                  <a:pt x="5549" y="54"/>
                </a:cubicBezTo>
                <a:cubicBezTo>
                  <a:pt x="5557" y="53"/>
                  <a:pt x="5565" y="53"/>
                  <a:pt x="5573" y="53"/>
                </a:cubicBezTo>
                <a:cubicBezTo>
                  <a:pt x="5598" y="53"/>
                  <a:pt x="5625" y="52"/>
                  <a:pt x="5633" y="52"/>
                </a:cubicBezTo>
                <a:cubicBezTo>
                  <a:pt x="5639" y="52"/>
                  <a:pt x="5648" y="53"/>
                  <a:pt x="5653" y="52"/>
                </a:cubicBezTo>
                <a:cubicBezTo>
                  <a:pt x="5654" y="52"/>
                  <a:pt x="5655" y="51"/>
                  <a:pt x="5655" y="51"/>
                </a:cubicBezTo>
                <a:cubicBezTo>
                  <a:pt x="5661" y="51"/>
                  <a:pt x="5667" y="52"/>
                  <a:pt x="5672" y="52"/>
                </a:cubicBezTo>
                <a:cubicBezTo>
                  <a:pt x="5677" y="53"/>
                  <a:pt x="5682" y="53"/>
                  <a:pt x="5687" y="53"/>
                </a:cubicBezTo>
                <a:cubicBezTo>
                  <a:pt x="5701" y="53"/>
                  <a:pt x="5715" y="53"/>
                  <a:pt x="5729" y="52"/>
                </a:cubicBezTo>
                <a:cubicBezTo>
                  <a:pt x="5740" y="52"/>
                  <a:pt x="5752" y="53"/>
                  <a:pt x="5763" y="53"/>
                </a:cubicBezTo>
                <a:cubicBezTo>
                  <a:pt x="5772" y="53"/>
                  <a:pt x="5788" y="54"/>
                  <a:pt x="5796" y="53"/>
                </a:cubicBezTo>
                <a:cubicBezTo>
                  <a:pt x="5797" y="52"/>
                  <a:pt x="5799" y="52"/>
                  <a:pt x="5801" y="52"/>
                </a:cubicBezTo>
                <a:cubicBezTo>
                  <a:pt x="5801" y="52"/>
                  <a:pt x="5802" y="52"/>
                  <a:pt x="5803" y="52"/>
                </a:cubicBezTo>
                <a:cubicBezTo>
                  <a:pt x="5808" y="52"/>
                  <a:pt x="5811" y="52"/>
                  <a:pt x="5815" y="53"/>
                </a:cubicBezTo>
                <a:cubicBezTo>
                  <a:pt x="5819" y="53"/>
                  <a:pt x="5823" y="53"/>
                  <a:pt x="5828" y="54"/>
                </a:cubicBezTo>
                <a:cubicBezTo>
                  <a:pt x="5837" y="54"/>
                  <a:pt x="5846" y="53"/>
                  <a:pt x="5855" y="53"/>
                </a:cubicBezTo>
                <a:cubicBezTo>
                  <a:pt x="5863" y="53"/>
                  <a:pt x="5870" y="53"/>
                  <a:pt x="5878" y="53"/>
                </a:cubicBezTo>
                <a:cubicBezTo>
                  <a:pt x="5881" y="53"/>
                  <a:pt x="5884" y="53"/>
                  <a:pt x="5887" y="52"/>
                </a:cubicBezTo>
                <a:cubicBezTo>
                  <a:pt x="5890" y="52"/>
                  <a:pt x="5891" y="51"/>
                  <a:pt x="5894" y="51"/>
                </a:cubicBezTo>
                <a:cubicBezTo>
                  <a:pt x="5896" y="50"/>
                  <a:pt x="5899" y="50"/>
                  <a:pt x="5902" y="50"/>
                </a:cubicBezTo>
                <a:cubicBezTo>
                  <a:pt x="5914" y="50"/>
                  <a:pt x="5927" y="51"/>
                  <a:pt x="5939" y="50"/>
                </a:cubicBezTo>
                <a:cubicBezTo>
                  <a:pt x="5951" y="50"/>
                  <a:pt x="5962" y="51"/>
                  <a:pt x="5974" y="51"/>
                </a:cubicBezTo>
                <a:cubicBezTo>
                  <a:pt x="5988" y="51"/>
                  <a:pt x="6001" y="51"/>
                  <a:pt x="6015" y="51"/>
                </a:cubicBezTo>
                <a:cubicBezTo>
                  <a:pt x="6027" y="51"/>
                  <a:pt x="6037" y="53"/>
                  <a:pt x="6049" y="53"/>
                </a:cubicBezTo>
                <a:cubicBezTo>
                  <a:pt x="6060" y="53"/>
                  <a:pt x="6071" y="53"/>
                  <a:pt x="6082" y="53"/>
                </a:cubicBezTo>
                <a:cubicBezTo>
                  <a:pt x="6088" y="53"/>
                  <a:pt x="6093" y="53"/>
                  <a:pt x="6099" y="53"/>
                </a:cubicBezTo>
                <a:cubicBezTo>
                  <a:pt x="6103" y="53"/>
                  <a:pt x="6107" y="52"/>
                  <a:pt x="6112" y="53"/>
                </a:cubicBezTo>
                <a:cubicBezTo>
                  <a:pt x="6114" y="53"/>
                  <a:pt x="6116" y="53"/>
                  <a:pt x="6118" y="53"/>
                </a:cubicBezTo>
                <a:cubicBezTo>
                  <a:pt x="6126" y="53"/>
                  <a:pt x="6135" y="54"/>
                  <a:pt x="6143" y="54"/>
                </a:cubicBezTo>
                <a:cubicBezTo>
                  <a:pt x="6154" y="54"/>
                  <a:pt x="6165" y="55"/>
                  <a:pt x="6177" y="55"/>
                </a:cubicBezTo>
                <a:cubicBezTo>
                  <a:pt x="6183" y="55"/>
                  <a:pt x="6190" y="55"/>
                  <a:pt x="6196" y="54"/>
                </a:cubicBezTo>
                <a:cubicBezTo>
                  <a:pt x="6203" y="54"/>
                  <a:pt x="6207" y="53"/>
                  <a:pt x="6214" y="53"/>
                </a:cubicBezTo>
                <a:cubicBezTo>
                  <a:pt x="6215" y="53"/>
                  <a:pt x="6217" y="53"/>
                  <a:pt x="6218" y="53"/>
                </a:cubicBezTo>
                <a:cubicBezTo>
                  <a:pt x="6220" y="54"/>
                  <a:pt x="6222" y="54"/>
                  <a:pt x="6224" y="53"/>
                </a:cubicBezTo>
                <a:cubicBezTo>
                  <a:pt x="6231" y="53"/>
                  <a:pt x="6237" y="53"/>
                  <a:pt x="6243" y="53"/>
                </a:cubicBezTo>
                <a:cubicBezTo>
                  <a:pt x="6245" y="52"/>
                  <a:pt x="6246" y="52"/>
                  <a:pt x="6248" y="52"/>
                </a:cubicBezTo>
                <a:cubicBezTo>
                  <a:pt x="6249" y="52"/>
                  <a:pt x="6251" y="52"/>
                  <a:pt x="6252" y="52"/>
                </a:cubicBezTo>
                <a:cubicBezTo>
                  <a:pt x="6260" y="52"/>
                  <a:pt x="6268" y="52"/>
                  <a:pt x="6275" y="52"/>
                </a:cubicBezTo>
                <a:cubicBezTo>
                  <a:pt x="6284" y="53"/>
                  <a:pt x="6293" y="53"/>
                  <a:pt x="6301" y="54"/>
                </a:cubicBezTo>
                <a:cubicBezTo>
                  <a:pt x="6311" y="54"/>
                  <a:pt x="6320" y="55"/>
                  <a:pt x="6329" y="55"/>
                </a:cubicBezTo>
                <a:cubicBezTo>
                  <a:pt x="6338" y="55"/>
                  <a:pt x="6345" y="55"/>
                  <a:pt x="6354" y="55"/>
                </a:cubicBezTo>
                <a:cubicBezTo>
                  <a:pt x="6355" y="55"/>
                  <a:pt x="6356" y="55"/>
                  <a:pt x="6357" y="55"/>
                </a:cubicBezTo>
                <a:cubicBezTo>
                  <a:pt x="6358" y="55"/>
                  <a:pt x="6359" y="55"/>
                  <a:pt x="6360" y="55"/>
                </a:cubicBezTo>
                <a:cubicBezTo>
                  <a:pt x="6361" y="55"/>
                  <a:pt x="6362" y="55"/>
                  <a:pt x="6364" y="55"/>
                </a:cubicBezTo>
                <a:cubicBezTo>
                  <a:pt x="6370" y="55"/>
                  <a:pt x="6377" y="56"/>
                  <a:pt x="6383" y="56"/>
                </a:cubicBezTo>
                <a:cubicBezTo>
                  <a:pt x="6388" y="56"/>
                  <a:pt x="6391" y="56"/>
                  <a:pt x="6395" y="56"/>
                </a:cubicBezTo>
                <a:cubicBezTo>
                  <a:pt x="6399" y="56"/>
                  <a:pt x="6404" y="56"/>
                  <a:pt x="6407" y="56"/>
                </a:cubicBezTo>
                <a:cubicBezTo>
                  <a:pt x="6410" y="55"/>
                  <a:pt x="6402" y="54"/>
                  <a:pt x="6405" y="53"/>
                </a:cubicBezTo>
                <a:cubicBezTo>
                  <a:pt x="6407" y="52"/>
                  <a:pt x="6416" y="52"/>
                  <a:pt x="6420" y="52"/>
                </a:cubicBezTo>
                <a:cubicBezTo>
                  <a:pt x="6427" y="52"/>
                  <a:pt x="6434" y="52"/>
                  <a:pt x="6441" y="52"/>
                </a:cubicBezTo>
                <a:cubicBezTo>
                  <a:pt x="6448" y="53"/>
                  <a:pt x="6455" y="53"/>
                  <a:pt x="6463" y="53"/>
                </a:cubicBezTo>
                <a:cubicBezTo>
                  <a:pt x="6470" y="53"/>
                  <a:pt x="6474" y="52"/>
                  <a:pt x="6475" y="54"/>
                </a:cubicBezTo>
                <a:cubicBezTo>
                  <a:pt x="6475" y="55"/>
                  <a:pt x="6478" y="56"/>
                  <a:pt x="6482" y="56"/>
                </a:cubicBezTo>
                <a:cubicBezTo>
                  <a:pt x="6483" y="56"/>
                  <a:pt x="6484" y="56"/>
                  <a:pt x="6485" y="56"/>
                </a:cubicBezTo>
                <a:cubicBezTo>
                  <a:pt x="6486" y="56"/>
                  <a:pt x="6487" y="56"/>
                  <a:pt x="6488" y="56"/>
                </a:cubicBezTo>
                <a:cubicBezTo>
                  <a:pt x="6489" y="56"/>
                  <a:pt x="6490" y="56"/>
                  <a:pt x="6491" y="56"/>
                </a:cubicBezTo>
                <a:cubicBezTo>
                  <a:pt x="6494" y="57"/>
                  <a:pt x="6498" y="57"/>
                  <a:pt x="6501" y="56"/>
                </a:cubicBezTo>
                <a:cubicBezTo>
                  <a:pt x="6502" y="56"/>
                  <a:pt x="6503" y="56"/>
                  <a:pt x="6504" y="56"/>
                </a:cubicBezTo>
                <a:cubicBezTo>
                  <a:pt x="6505" y="56"/>
                  <a:pt x="6506" y="57"/>
                  <a:pt x="6507" y="57"/>
                </a:cubicBezTo>
                <a:cubicBezTo>
                  <a:pt x="6511" y="57"/>
                  <a:pt x="6516" y="56"/>
                  <a:pt x="6521" y="56"/>
                </a:cubicBezTo>
                <a:cubicBezTo>
                  <a:pt x="6528" y="57"/>
                  <a:pt x="6534" y="56"/>
                  <a:pt x="6541" y="56"/>
                </a:cubicBezTo>
                <a:cubicBezTo>
                  <a:pt x="6547" y="56"/>
                  <a:pt x="6554" y="57"/>
                  <a:pt x="6560" y="57"/>
                </a:cubicBezTo>
                <a:cubicBezTo>
                  <a:pt x="6564" y="57"/>
                  <a:pt x="6567" y="57"/>
                  <a:pt x="6570" y="57"/>
                </a:cubicBezTo>
                <a:cubicBezTo>
                  <a:pt x="6572" y="57"/>
                  <a:pt x="6574" y="57"/>
                  <a:pt x="6576" y="57"/>
                </a:cubicBezTo>
                <a:cubicBezTo>
                  <a:pt x="6583" y="56"/>
                  <a:pt x="6591" y="56"/>
                  <a:pt x="6598" y="56"/>
                </a:cubicBezTo>
                <a:cubicBezTo>
                  <a:pt x="6605" y="56"/>
                  <a:pt x="6611" y="56"/>
                  <a:pt x="6617" y="55"/>
                </a:cubicBezTo>
                <a:cubicBezTo>
                  <a:pt x="6624" y="55"/>
                  <a:pt x="6629" y="55"/>
                  <a:pt x="6636" y="55"/>
                </a:cubicBezTo>
                <a:cubicBezTo>
                  <a:pt x="6643" y="55"/>
                  <a:pt x="6650" y="55"/>
                  <a:pt x="6657" y="56"/>
                </a:cubicBezTo>
                <a:cubicBezTo>
                  <a:pt x="6660" y="56"/>
                  <a:pt x="6664" y="56"/>
                  <a:pt x="6668" y="56"/>
                </a:cubicBezTo>
                <a:cubicBezTo>
                  <a:pt x="6671" y="56"/>
                  <a:pt x="6676" y="55"/>
                  <a:pt x="6679" y="56"/>
                </a:cubicBezTo>
                <a:cubicBezTo>
                  <a:pt x="6680" y="56"/>
                  <a:pt x="6679" y="56"/>
                  <a:pt x="6678" y="56"/>
                </a:cubicBezTo>
                <a:cubicBezTo>
                  <a:pt x="6677" y="56"/>
                  <a:pt x="6678" y="57"/>
                  <a:pt x="6679" y="57"/>
                </a:cubicBezTo>
                <a:cubicBezTo>
                  <a:pt x="6679" y="57"/>
                  <a:pt x="6680" y="58"/>
                  <a:pt x="6681" y="58"/>
                </a:cubicBezTo>
                <a:cubicBezTo>
                  <a:pt x="6682" y="58"/>
                  <a:pt x="6684" y="58"/>
                  <a:pt x="6685" y="58"/>
                </a:cubicBezTo>
                <a:cubicBezTo>
                  <a:pt x="6686" y="57"/>
                  <a:pt x="6687" y="57"/>
                  <a:pt x="6688" y="57"/>
                </a:cubicBezTo>
                <a:cubicBezTo>
                  <a:pt x="6689" y="57"/>
                  <a:pt x="6689" y="57"/>
                  <a:pt x="6690" y="57"/>
                </a:cubicBezTo>
                <a:cubicBezTo>
                  <a:pt x="6691" y="57"/>
                  <a:pt x="6691" y="57"/>
                  <a:pt x="6691" y="57"/>
                </a:cubicBezTo>
                <a:cubicBezTo>
                  <a:pt x="6692" y="57"/>
                  <a:pt x="6693" y="58"/>
                  <a:pt x="6694" y="58"/>
                </a:cubicBezTo>
                <a:cubicBezTo>
                  <a:pt x="6695" y="58"/>
                  <a:pt x="6696" y="57"/>
                  <a:pt x="6696" y="57"/>
                </a:cubicBezTo>
                <a:cubicBezTo>
                  <a:pt x="6699" y="57"/>
                  <a:pt x="6703" y="57"/>
                  <a:pt x="6706" y="57"/>
                </a:cubicBezTo>
                <a:cubicBezTo>
                  <a:pt x="6711" y="57"/>
                  <a:pt x="6719" y="57"/>
                  <a:pt x="6723" y="57"/>
                </a:cubicBezTo>
                <a:cubicBezTo>
                  <a:pt x="6736" y="58"/>
                  <a:pt x="6749" y="58"/>
                  <a:pt x="6762" y="57"/>
                </a:cubicBezTo>
                <a:cubicBezTo>
                  <a:pt x="6769" y="57"/>
                  <a:pt x="6776" y="57"/>
                  <a:pt x="6783" y="57"/>
                </a:cubicBezTo>
                <a:cubicBezTo>
                  <a:pt x="6785" y="56"/>
                  <a:pt x="6788" y="56"/>
                  <a:pt x="6791" y="56"/>
                </a:cubicBezTo>
                <a:cubicBezTo>
                  <a:pt x="6794" y="56"/>
                  <a:pt x="6796" y="55"/>
                  <a:pt x="6801" y="55"/>
                </a:cubicBezTo>
                <a:cubicBezTo>
                  <a:pt x="6802" y="55"/>
                  <a:pt x="6802" y="55"/>
                  <a:pt x="6803" y="55"/>
                </a:cubicBezTo>
                <a:cubicBezTo>
                  <a:pt x="6803" y="55"/>
                  <a:pt x="6804" y="56"/>
                  <a:pt x="6804" y="56"/>
                </a:cubicBezTo>
                <a:cubicBezTo>
                  <a:pt x="6806" y="56"/>
                  <a:pt x="6809" y="57"/>
                  <a:pt x="6812" y="57"/>
                </a:cubicBezTo>
                <a:cubicBezTo>
                  <a:pt x="6813" y="57"/>
                  <a:pt x="6814" y="57"/>
                  <a:pt x="6815" y="57"/>
                </a:cubicBezTo>
                <a:cubicBezTo>
                  <a:pt x="6818" y="57"/>
                  <a:pt x="6818" y="56"/>
                  <a:pt x="6819" y="56"/>
                </a:cubicBezTo>
                <a:cubicBezTo>
                  <a:pt x="6821" y="55"/>
                  <a:pt x="6823" y="55"/>
                  <a:pt x="6826" y="55"/>
                </a:cubicBezTo>
                <a:cubicBezTo>
                  <a:pt x="6828" y="54"/>
                  <a:pt x="6830" y="54"/>
                  <a:pt x="6833" y="54"/>
                </a:cubicBezTo>
                <a:cubicBezTo>
                  <a:pt x="6836" y="54"/>
                  <a:pt x="6839" y="55"/>
                  <a:pt x="6843" y="55"/>
                </a:cubicBezTo>
                <a:cubicBezTo>
                  <a:pt x="6848" y="54"/>
                  <a:pt x="6848" y="54"/>
                  <a:pt x="6851" y="53"/>
                </a:cubicBezTo>
                <a:cubicBezTo>
                  <a:pt x="6854" y="53"/>
                  <a:pt x="6862" y="53"/>
                  <a:pt x="6866" y="53"/>
                </a:cubicBezTo>
                <a:cubicBezTo>
                  <a:pt x="6873" y="53"/>
                  <a:pt x="6880" y="53"/>
                  <a:pt x="6887" y="54"/>
                </a:cubicBezTo>
                <a:cubicBezTo>
                  <a:pt x="6889" y="54"/>
                  <a:pt x="6893" y="54"/>
                  <a:pt x="6896" y="54"/>
                </a:cubicBezTo>
                <a:cubicBezTo>
                  <a:pt x="6898" y="54"/>
                  <a:pt x="6900" y="55"/>
                  <a:pt x="6903" y="56"/>
                </a:cubicBezTo>
                <a:cubicBezTo>
                  <a:pt x="6905" y="56"/>
                  <a:pt x="6908" y="56"/>
                  <a:pt x="6910" y="55"/>
                </a:cubicBezTo>
                <a:cubicBezTo>
                  <a:pt x="6911" y="55"/>
                  <a:pt x="6911" y="55"/>
                  <a:pt x="6912" y="54"/>
                </a:cubicBezTo>
                <a:cubicBezTo>
                  <a:pt x="6913" y="54"/>
                  <a:pt x="6915" y="54"/>
                  <a:pt x="6916" y="55"/>
                </a:cubicBezTo>
                <a:cubicBezTo>
                  <a:pt x="6916" y="55"/>
                  <a:pt x="6917" y="55"/>
                  <a:pt x="6918" y="56"/>
                </a:cubicBezTo>
                <a:cubicBezTo>
                  <a:pt x="6919" y="56"/>
                  <a:pt x="6921" y="56"/>
                  <a:pt x="6922" y="55"/>
                </a:cubicBezTo>
                <a:cubicBezTo>
                  <a:pt x="6924" y="55"/>
                  <a:pt x="6924" y="54"/>
                  <a:pt x="6927" y="54"/>
                </a:cubicBezTo>
                <a:cubicBezTo>
                  <a:pt x="6929" y="53"/>
                  <a:pt x="6932" y="54"/>
                  <a:pt x="6935" y="54"/>
                </a:cubicBezTo>
                <a:cubicBezTo>
                  <a:pt x="6936" y="54"/>
                  <a:pt x="6936" y="54"/>
                  <a:pt x="6936" y="54"/>
                </a:cubicBezTo>
                <a:cubicBezTo>
                  <a:pt x="6938" y="55"/>
                  <a:pt x="6943" y="54"/>
                  <a:pt x="6946" y="55"/>
                </a:cubicBezTo>
                <a:cubicBezTo>
                  <a:pt x="6948" y="55"/>
                  <a:pt x="6949" y="56"/>
                  <a:pt x="6952" y="56"/>
                </a:cubicBezTo>
                <a:cubicBezTo>
                  <a:pt x="6955" y="56"/>
                  <a:pt x="6957" y="56"/>
                  <a:pt x="6960" y="56"/>
                </a:cubicBezTo>
                <a:cubicBezTo>
                  <a:pt x="6961" y="56"/>
                  <a:pt x="6963" y="56"/>
                  <a:pt x="6964" y="56"/>
                </a:cubicBezTo>
                <a:cubicBezTo>
                  <a:pt x="6965" y="56"/>
                  <a:pt x="6966" y="55"/>
                  <a:pt x="6968" y="55"/>
                </a:cubicBezTo>
                <a:cubicBezTo>
                  <a:pt x="6969" y="55"/>
                  <a:pt x="6969" y="55"/>
                  <a:pt x="6970" y="55"/>
                </a:cubicBezTo>
                <a:cubicBezTo>
                  <a:pt x="6970" y="54"/>
                  <a:pt x="6970" y="54"/>
                  <a:pt x="6971" y="54"/>
                </a:cubicBezTo>
                <a:cubicBezTo>
                  <a:pt x="6972" y="53"/>
                  <a:pt x="6974" y="54"/>
                  <a:pt x="6975" y="54"/>
                </a:cubicBezTo>
                <a:cubicBezTo>
                  <a:pt x="6978" y="54"/>
                  <a:pt x="6980" y="53"/>
                  <a:pt x="6982" y="53"/>
                </a:cubicBezTo>
                <a:cubicBezTo>
                  <a:pt x="6985" y="53"/>
                  <a:pt x="6989" y="53"/>
                  <a:pt x="6992" y="53"/>
                </a:cubicBezTo>
                <a:cubicBezTo>
                  <a:pt x="6999" y="54"/>
                  <a:pt x="7006" y="54"/>
                  <a:pt x="7013" y="54"/>
                </a:cubicBezTo>
                <a:cubicBezTo>
                  <a:pt x="7017" y="54"/>
                  <a:pt x="7032" y="55"/>
                  <a:pt x="7035" y="56"/>
                </a:cubicBezTo>
                <a:cubicBezTo>
                  <a:pt x="7035" y="56"/>
                  <a:pt x="7040" y="56"/>
                  <a:pt x="7046" y="56"/>
                </a:cubicBezTo>
                <a:cubicBezTo>
                  <a:pt x="7049" y="56"/>
                  <a:pt x="7053" y="56"/>
                  <a:pt x="7056" y="56"/>
                </a:cubicBezTo>
                <a:cubicBezTo>
                  <a:pt x="7061" y="56"/>
                  <a:pt x="7063" y="53"/>
                  <a:pt x="7068" y="53"/>
                </a:cubicBezTo>
                <a:cubicBezTo>
                  <a:pt x="7071" y="53"/>
                  <a:pt x="7076" y="54"/>
                  <a:pt x="7079" y="54"/>
                </a:cubicBezTo>
                <a:cubicBezTo>
                  <a:pt x="7084" y="55"/>
                  <a:pt x="7090" y="55"/>
                  <a:pt x="7095" y="56"/>
                </a:cubicBezTo>
                <a:cubicBezTo>
                  <a:pt x="7098" y="56"/>
                  <a:pt x="7103" y="57"/>
                  <a:pt x="7106" y="56"/>
                </a:cubicBezTo>
                <a:cubicBezTo>
                  <a:pt x="7107" y="56"/>
                  <a:pt x="7107" y="55"/>
                  <a:pt x="7107" y="55"/>
                </a:cubicBezTo>
                <a:cubicBezTo>
                  <a:pt x="7108" y="55"/>
                  <a:pt x="7111" y="54"/>
                  <a:pt x="7113" y="54"/>
                </a:cubicBezTo>
                <a:cubicBezTo>
                  <a:pt x="7116" y="54"/>
                  <a:pt x="7120" y="54"/>
                  <a:pt x="7123" y="54"/>
                </a:cubicBezTo>
                <a:cubicBezTo>
                  <a:pt x="7127" y="54"/>
                  <a:pt x="7137" y="54"/>
                  <a:pt x="7140" y="53"/>
                </a:cubicBezTo>
                <a:cubicBezTo>
                  <a:pt x="7140" y="53"/>
                  <a:pt x="7141" y="53"/>
                  <a:pt x="7141" y="53"/>
                </a:cubicBezTo>
                <a:cubicBezTo>
                  <a:pt x="7144" y="53"/>
                  <a:pt x="7146" y="53"/>
                  <a:pt x="7148" y="53"/>
                </a:cubicBezTo>
                <a:cubicBezTo>
                  <a:pt x="7149" y="53"/>
                  <a:pt x="7149" y="53"/>
                  <a:pt x="7150" y="53"/>
                </a:cubicBezTo>
                <a:cubicBezTo>
                  <a:pt x="7152" y="53"/>
                  <a:pt x="7154" y="53"/>
                  <a:pt x="7156" y="53"/>
                </a:cubicBezTo>
                <a:cubicBezTo>
                  <a:pt x="7157" y="53"/>
                  <a:pt x="7157" y="53"/>
                  <a:pt x="7158" y="53"/>
                </a:cubicBezTo>
                <a:cubicBezTo>
                  <a:pt x="7162" y="54"/>
                  <a:pt x="7168" y="54"/>
                  <a:pt x="7172" y="54"/>
                </a:cubicBezTo>
                <a:cubicBezTo>
                  <a:pt x="7178" y="54"/>
                  <a:pt x="7184" y="54"/>
                  <a:pt x="7190" y="54"/>
                </a:cubicBezTo>
                <a:cubicBezTo>
                  <a:pt x="7196" y="54"/>
                  <a:pt x="7202" y="54"/>
                  <a:pt x="7207" y="54"/>
                </a:cubicBezTo>
                <a:cubicBezTo>
                  <a:pt x="7211" y="54"/>
                  <a:pt x="7213" y="53"/>
                  <a:pt x="7216" y="53"/>
                </a:cubicBezTo>
                <a:cubicBezTo>
                  <a:pt x="7218" y="53"/>
                  <a:pt x="7220" y="53"/>
                  <a:pt x="7222" y="53"/>
                </a:cubicBezTo>
                <a:cubicBezTo>
                  <a:pt x="7224" y="53"/>
                  <a:pt x="7226" y="52"/>
                  <a:pt x="7228" y="52"/>
                </a:cubicBezTo>
                <a:cubicBezTo>
                  <a:pt x="7229" y="52"/>
                  <a:pt x="7229" y="52"/>
                  <a:pt x="7230" y="52"/>
                </a:cubicBezTo>
                <a:cubicBezTo>
                  <a:pt x="7230" y="52"/>
                  <a:pt x="7231" y="52"/>
                  <a:pt x="7231" y="52"/>
                </a:cubicBezTo>
                <a:cubicBezTo>
                  <a:pt x="7233" y="52"/>
                  <a:pt x="7234" y="53"/>
                  <a:pt x="7235" y="53"/>
                </a:cubicBezTo>
                <a:cubicBezTo>
                  <a:pt x="7240" y="53"/>
                  <a:pt x="7248" y="53"/>
                  <a:pt x="7253" y="52"/>
                </a:cubicBezTo>
                <a:cubicBezTo>
                  <a:pt x="7260" y="52"/>
                  <a:pt x="7266" y="52"/>
                  <a:pt x="7273" y="52"/>
                </a:cubicBezTo>
                <a:cubicBezTo>
                  <a:pt x="7289" y="52"/>
                  <a:pt x="7304" y="52"/>
                  <a:pt x="7320" y="52"/>
                </a:cubicBezTo>
                <a:cubicBezTo>
                  <a:pt x="7328" y="52"/>
                  <a:pt x="7335" y="52"/>
                  <a:pt x="7343" y="53"/>
                </a:cubicBezTo>
                <a:cubicBezTo>
                  <a:pt x="7345" y="54"/>
                  <a:pt x="7347" y="54"/>
                  <a:pt x="7350" y="54"/>
                </a:cubicBezTo>
                <a:cubicBezTo>
                  <a:pt x="7353" y="53"/>
                  <a:pt x="7354" y="53"/>
                  <a:pt x="7356" y="52"/>
                </a:cubicBezTo>
                <a:cubicBezTo>
                  <a:pt x="7361" y="52"/>
                  <a:pt x="7367" y="53"/>
                  <a:pt x="7371" y="53"/>
                </a:cubicBezTo>
                <a:cubicBezTo>
                  <a:pt x="7381" y="53"/>
                  <a:pt x="7390" y="52"/>
                  <a:pt x="7400" y="53"/>
                </a:cubicBezTo>
                <a:cubicBezTo>
                  <a:pt x="7400" y="53"/>
                  <a:pt x="7401" y="53"/>
                  <a:pt x="7402" y="54"/>
                </a:cubicBezTo>
                <a:cubicBezTo>
                  <a:pt x="7405" y="54"/>
                  <a:pt x="7409" y="54"/>
                  <a:pt x="7413" y="54"/>
                </a:cubicBezTo>
                <a:cubicBezTo>
                  <a:pt x="7415" y="54"/>
                  <a:pt x="7418" y="54"/>
                  <a:pt x="7420" y="53"/>
                </a:cubicBezTo>
                <a:cubicBezTo>
                  <a:pt x="7421" y="53"/>
                  <a:pt x="7418" y="52"/>
                  <a:pt x="7419" y="52"/>
                </a:cubicBezTo>
                <a:cubicBezTo>
                  <a:pt x="7421" y="51"/>
                  <a:pt x="7423" y="52"/>
                  <a:pt x="7425" y="52"/>
                </a:cubicBezTo>
                <a:cubicBezTo>
                  <a:pt x="7428" y="52"/>
                  <a:pt x="7429" y="52"/>
                  <a:pt x="7433" y="52"/>
                </a:cubicBezTo>
                <a:cubicBezTo>
                  <a:pt x="7438" y="52"/>
                  <a:pt x="7441" y="54"/>
                  <a:pt x="7446" y="54"/>
                </a:cubicBezTo>
                <a:cubicBezTo>
                  <a:pt x="7449" y="54"/>
                  <a:pt x="7451" y="53"/>
                  <a:pt x="7454" y="53"/>
                </a:cubicBezTo>
                <a:cubicBezTo>
                  <a:pt x="7456" y="53"/>
                  <a:pt x="7458" y="53"/>
                  <a:pt x="7461" y="53"/>
                </a:cubicBezTo>
                <a:cubicBezTo>
                  <a:pt x="7464" y="53"/>
                  <a:pt x="7466" y="52"/>
                  <a:pt x="7469" y="52"/>
                </a:cubicBezTo>
                <a:cubicBezTo>
                  <a:pt x="7470" y="52"/>
                  <a:pt x="7472" y="52"/>
                  <a:pt x="7475" y="52"/>
                </a:cubicBezTo>
                <a:cubicBezTo>
                  <a:pt x="7476" y="52"/>
                  <a:pt x="7477" y="52"/>
                  <a:pt x="7478" y="52"/>
                </a:cubicBezTo>
                <a:cubicBezTo>
                  <a:pt x="7484" y="53"/>
                  <a:pt x="7491" y="52"/>
                  <a:pt x="7497" y="52"/>
                </a:cubicBezTo>
                <a:cubicBezTo>
                  <a:pt x="7557" y="52"/>
                  <a:pt x="7584" y="52"/>
                  <a:pt x="7586" y="51"/>
                </a:cubicBezTo>
                <a:cubicBezTo>
                  <a:pt x="7587" y="51"/>
                  <a:pt x="7619" y="51"/>
                  <a:pt x="7626" y="52"/>
                </a:cubicBezTo>
                <a:cubicBezTo>
                  <a:pt x="7633" y="52"/>
                  <a:pt x="7640" y="53"/>
                  <a:pt x="7647" y="53"/>
                </a:cubicBezTo>
                <a:cubicBezTo>
                  <a:pt x="7649" y="54"/>
                  <a:pt x="7655" y="53"/>
                  <a:pt x="7656" y="53"/>
                </a:cubicBezTo>
                <a:cubicBezTo>
                  <a:pt x="7659" y="54"/>
                  <a:pt x="7654" y="55"/>
                  <a:pt x="7653" y="55"/>
                </a:cubicBezTo>
                <a:cubicBezTo>
                  <a:pt x="7653" y="56"/>
                  <a:pt x="7653" y="56"/>
                  <a:pt x="7655" y="56"/>
                </a:cubicBezTo>
                <a:cubicBezTo>
                  <a:pt x="7657" y="56"/>
                  <a:pt x="7660" y="56"/>
                  <a:pt x="7662" y="56"/>
                </a:cubicBezTo>
                <a:cubicBezTo>
                  <a:pt x="7665" y="55"/>
                  <a:pt x="7668" y="55"/>
                  <a:pt x="7671" y="55"/>
                </a:cubicBezTo>
                <a:cubicBezTo>
                  <a:pt x="7677" y="54"/>
                  <a:pt x="7682" y="54"/>
                  <a:pt x="7688" y="54"/>
                </a:cubicBezTo>
                <a:cubicBezTo>
                  <a:pt x="7689" y="54"/>
                  <a:pt x="7691" y="54"/>
                  <a:pt x="7692" y="54"/>
                </a:cubicBezTo>
                <a:cubicBezTo>
                  <a:pt x="7694" y="55"/>
                  <a:pt x="7694" y="55"/>
                  <a:pt x="7696" y="55"/>
                </a:cubicBezTo>
                <a:cubicBezTo>
                  <a:pt x="7697" y="56"/>
                  <a:pt x="7699" y="56"/>
                  <a:pt x="7701" y="56"/>
                </a:cubicBezTo>
                <a:cubicBezTo>
                  <a:pt x="7702" y="56"/>
                  <a:pt x="7702" y="56"/>
                  <a:pt x="7703" y="55"/>
                </a:cubicBezTo>
                <a:cubicBezTo>
                  <a:pt x="7707" y="53"/>
                  <a:pt x="7723" y="53"/>
                  <a:pt x="7732" y="53"/>
                </a:cubicBezTo>
                <a:cubicBezTo>
                  <a:pt x="7749" y="53"/>
                  <a:pt x="7767" y="53"/>
                  <a:pt x="7773" y="53"/>
                </a:cubicBezTo>
                <a:cubicBezTo>
                  <a:pt x="7783" y="53"/>
                  <a:pt x="7791" y="53"/>
                  <a:pt x="7801" y="51"/>
                </a:cubicBezTo>
                <a:cubicBezTo>
                  <a:pt x="7805" y="51"/>
                  <a:pt x="7811" y="51"/>
                  <a:pt x="7816" y="51"/>
                </a:cubicBezTo>
                <a:cubicBezTo>
                  <a:pt x="7820" y="52"/>
                  <a:pt x="7825" y="52"/>
                  <a:pt x="7830" y="52"/>
                </a:cubicBezTo>
                <a:cubicBezTo>
                  <a:pt x="7833" y="53"/>
                  <a:pt x="7837" y="53"/>
                  <a:pt x="7840" y="52"/>
                </a:cubicBezTo>
                <a:cubicBezTo>
                  <a:pt x="7855" y="52"/>
                  <a:pt x="7870" y="52"/>
                  <a:pt x="7885" y="52"/>
                </a:cubicBezTo>
                <a:cubicBezTo>
                  <a:pt x="7902" y="52"/>
                  <a:pt x="7918" y="52"/>
                  <a:pt x="7935" y="52"/>
                </a:cubicBezTo>
                <a:cubicBezTo>
                  <a:pt x="7990" y="52"/>
                  <a:pt x="8047" y="51"/>
                  <a:pt x="8063" y="51"/>
                </a:cubicBezTo>
                <a:cubicBezTo>
                  <a:pt x="8069" y="51"/>
                  <a:pt x="8075" y="51"/>
                  <a:pt x="8081" y="51"/>
                </a:cubicBezTo>
                <a:cubicBezTo>
                  <a:pt x="8086" y="51"/>
                  <a:pt x="8092" y="52"/>
                  <a:pt x="8095" y="51"/>
                </a:cubicBezTo>
                <a:cubicBezTo>
                  <a:pt x="8096" y="51"/>
                  <a:pt x="8096" y="51"/>
                  <a:pt x="8096" y="51"/>
                </a:cubicBezTo>
                <a:cubicBezTo>
                  <a:pt x="8096" y="52"/>
                  <a:pt x="8098" y="52"/>
                  <a:pt x="8100" y="52"/>
                </a:cubicBezTo>
                <a:cubicBezTo>
                  <a:pt x="8101" y="52"/>
                  <a:pt x="8103" y="52"/>
                  <a:pt x="8104" y="51"/>
                </a:cubicBezTo>
                <a:cubicBezTo>
                  <a:pt x="8105" y="51"/>
                  <a:pt x="8106" y="51"/>
                  <a:pt x="8107" y="50"/>
                </a:cubicBezTo>
                <a:cubicBezTo>
                  <a:pt x="8112" y="50"/>
                  <a:pt x="8124" y="50"/>
                  <a:pt x="8130" y="51"/>
                </a:cubicBezTo>
                <a:cubicBezTo>
                  <a:pt x="8134" y="51"/>
                  <a:pt x="8143" y="51"/>
                  <a:pt x="8147" y="51"/>
                </a:cubicBezTo>
                <a:cubicBezTo>
                  <a:pt x="8147" y="51"/>
                  <a:pt x="8148" y="51"/>
                  <a:pt x="8149" y="50"/>
                </a:cubicBezTo>
                <a:cubicBezTo>
                  <a:pt x="8150" y="50"/>
                  <a:pt x="8152" y="50"/>
                  <a:pt x="8153" y="50"/>
                </a:cubicBezTo>
                <a:cubicBezTo>
                  <a:pt x="8155" y="50"/>
                  <a:pt x="8155" y="49"/>
                  <a:pt x="8157" y="49"/>
                </a:cubicBezTo>
                <a:cubicBezTo>
                  <a:pt x="8160" y="49"/>
                  <a:pt x="8165" y="50"/>
                  <a:pt x="8164" y="51"/>
                </a:cubicBezTo>
                <a:cubicBezTo>
                  <a:pt x="8163" y="51"/>
                  <a:pt x="8162" y="51"/>
                  <a:pt x="8162" y="52"/>
                </a:cubicBezTo>
                <a:cubicBezTo>
                  <a:pt x="8162" y="52"/>
                  <a:pt x="8164" y="52"/>
                  <a:pt x="8165" y="52"/>
                </a:cubicBezTo>
                <a:cubicBezTo>
                  <a:pt x="8166" y="52"/>
                  <a:pt x="8167" y="52"/>
                  <a:pt x="8168" y="52"/>
                </a:cubicBezTo>
                <a:cubicBezTo>
                  <a:pt x="8173" y="51"/>
                  <a:pt x="8181" y="51"/>
                  <a:pt x="8187" y="51"/>
                </a:cubicBezTo>
                <a:cubicBezTo>
                  <a:pt x="8192" y="51"/>
                  <a:pt x="8204" y="50"/>
                  <a:pt x="8209" y="51"/>
                </a:cubicBezTo>
                <a:cubicBezTo>
                  <a:pt x="8210" y="51"/>
                  <a:pt x="8210" y="51"/>
                  <a:pt x="8211" y="51"/>
                </a:cubicBezTo>
                <a:cubicBezTo>
                  <a:pt x="8213" y="51"/>
                  <a:pt x="8214" y="51"/>
                  <a:pt x="8216" y="51"/>
                </a:cubicBezTo>
                <a:cubicBezTo>
                  <a:pt x="8221" y="51"/>
                  <a:pt x="8226" y="52"/>
                  <a:pt x="8231" y="51"/>
                </a:cubicBezTo>
                <a:cubicBezTo>
                  <a:pt x="8236" y="51"/>
                  <a:pt x="8256" y="51"/>
                  <a:pt x="8274" y="51"/>
                </a:cubicBezTo>
                <a:cubicBezTo>
                  <a:pt x="8281" y="51"/>
                  <a:pt x="8288" y="51"/>
                  <a:pt x="8295" y="51"/>
                </a:cubicBezTo>
                <a:cubicBezTo>
                  <a:pt x="8299" y="51"/>
                  <a:pt x="8303" y="51"/>
                  <a:pt x="8307" y="51"/>
                </a:cubicBezTo>
                <a:cubicBezTo>
                  <a:pt x="8309" y="50"/>
                  <a:pt x="8310" y="50"/>
                  <a:pt x="8312" y="50"/>
                </a:cubicBezTo>
                <a:cubicBezTo>
                  <a:pt x="8315" y="49"/>
                  <a:pt x="8318" y="49"/>
                  <a:pt x="8321" y="49"/>
                </a:cubicBezTo>
                <a:cubicBezTo>
                  <a:pt x="8320" y="49"/>
                  <a:pt x="8323" y="50"/>
                  <a:pt x="8324" y="51"/>
                </a:cubicBezTo>
                <a:cubicBezTo>
                  <a:pt x="8326" y="51"/>
                  <a:pt x="8328" y="51"/>
                  <a:pt x="8329" y="51"/>
                </a:cubicBezTo>
                <a:cubicBezTo>
                  <a:pt x="8335" y="51"/>
                  <a:pt x="8340" y="51"/>
                  <a:pt x="8346" y="51"/>
                </a:cubicBezTo>
                <a:cubicBezTo>
                  <a:pt x="8358" y="51"/>
                  <a:pt x="8370" y="51"/>
                  <a:pt x="8382" y="51"/>
                </a:cubicBezTo>
                <a:cubicBezTo>
                  <a:pt x="8393" y="51"/>
                  <a:pt x="8404" y="51"/>
                  <a:pt x="8416" y="51"/>
                </a:cubicBezTo>
                <a:cubicBezTo>
                  <a:pt x="8425" y="51"/>
                  <a:pt x="8437" y="52"/>
                  <a:pt x="8445" y="50"/>
                </a:cubicBezTo>
                <a:cubicBezTo>
                  <a:pt x="8446" y="50"/>
                  <a:pt x="8447" y="50"/>
                  <a:pt x="8448" y="50"/>
                </a:cubicBezTo>
                <a:cubicBezTo>
                  <a:pt x="8449" y="50"/>
                  <a:pt x="8451" y="50"/>
                  <a:pt x="8452" y="50"/>
                </a:cubicBezTo>
                <a:cubicBezTo>
                  <a:pt x="8453" y="50"/>
                  <a:pt x="8454" y="50"/>
                  <a:pt x="8455" y="50"/>
                </a:cubicBezTo>
                <a:cubicBezTo>
                  <a:pt x="8457" y="50"/>
                  <a:pt x="8458" y="50"/>
                  <a:pt x="8460" y="50"/>
                </a:cubicBezTo>
                <a:cubicBezTo>
                  <a:pt x="8468" y="50"/>
                  <a:pt x="8476" y="50"/>
                  <a:pt x="8484" y="50"/>
                </a:cubicBezTo>
                <a:cubicBezTo>
                  <a:pt x="8492" y="50"/>
                  <a:pt x="8501" y="50"/>
                  <a:pt x="8509" y="51"/>
                </a:cubicBezTo>
                <a:cubicBezTo>
                  <a:pt x="8527" y="51"/>
                  <a:pt x="8545" y="50"/>
                  <a:pt x="8563" y="50"/>
                </a:cubicBezTo>
                <a:cubicBezTo>
                  <a:pt x="8595" y="50"/>
                  <a:pt x="8626" y="50"/>
                  <a:pt x="8659" y="49"/>
                </a:cubicBezTo>
                <a:cubicBezTo>
                  <a:pt x="8659" y="49"/>
                  <a:pt x="8659" y="50"/>
                  <a:pt x="8659" y="50"/>
                </a:cubicBezTo>
                <a:cubicBezTo>
                  <a:pt x="8659" y="50"/>
                  <a:pt x="8660" y="50"/>
                  <a:pt x="8660" y="50"/>
                </a:cubicBezTo>
                <a:cubicBezTo>
                  <a:pt x="8661" y="50"/>
                  <a:pt x="8662" y="50"/>
                  <a:pt x="8663" y="50"/>
                </a:cubicBezTo>
                <a:cubicBezTo>
                  <a:pt x="8667" y="50"/>
                  <a:pt x="8670" y="51"/>
                  <a:pt x="8674" y="51"/>
                </a:cubicBezTo>
                <a:cubicBezTo>
                  <a:pt x="8678" y="51"/>
                  <a:pt x="8682" y="51"/>
                  <a:pt x="8686" y="51"/>
                </a:cubicBezTo>
                <a:cubicBezTo>
                  <a:pt x="8688" y="51"/>
                  <a:pt x="8690" y="52"/>
                  <a:pt x="8693" y="52"/>
                </a:cubicBezTo>
                <a:cubicBezTo>
                  <a:pt x="8696" y="51"/>
                  <a:pt x="8698" y="50"/>
                  <a:pt x="8700" y="50"/>
                </a:cubicBezTo>
                <a:cubicBezTo>
                  <a:pt x="8703" y="50"/>
                  <a:pt x="8708" y="50"/>
                  <a:pt x="8711" y="50"/>
                </a:cubicBezTo>
                <a:cubicBezTo>
                  <a:pt x="8720" y="50"/>
                  <a:pt x="8736" y="51"/>
                  <a:pt x="8746" y="50"/>
                </a:cubicBezTo>
                <a:cubicBezTo>
                  <a:pt x="8761" y="50"/>
                  <a:pt x="8803" y="50"/>
                  <a:pt x="8826" y="50"/>
                </a:cubicBezTo>
                <a:cubicBezTo>
                  <a:pt x="8831" y="51"/>
                  <a:pt x="8842" y="50"/>
                  <a:pt x="8852" y="50"/>
                </a:cubicBezTo>
                <a:cubicBezTo>
                  <a:pt x="8858" y="50"/>
                  <a:pt x="8863" y="50"/>
                  <a:pt x="8869" y="50"/>
                </a:cubicBezTo>
                <a:cubicBezTo>
                  <a:pt x="8869" y="51"/>
                  <a:pt x="8870" y="51"/>
                  <a:pt x="8872" y="51"/>
                </a:cubicBezTo>
                <a:cubicBezTo>
                  <a:pt x="8873" y="51"/>
                  <a:pt x="8875" y="51"/>
                  <a:pt x="8876" y="51"/>
                </a:cubicBezTo>
                <a:cubicBezTo>
                  <a:pt x="8879" y="52"/>
                  <a:pt x="8882" y="52"/>
                  <a:pt x="8884" y="52"/>
                </a:cubicBezTo>
                <a:cubicBezTo>
                  <a:pt x="8886" y="51"/>
                  <a:pt x="8887" y="51"/>
                  <a:pt x="8888" y="51"/>
                </a:cubicBezTo>
                <a:cubicBezTo>
                  <a:pt x="8893" y="51"/>
                  <a:pt x="8901" y="50"/>
                  <a:pt x="8906" y="51"/>
                </a:cubicBezTo>
                <a:cubicBezTo>
                  <a:pt x="8912" y="51"/>
                  <a:pt x="8915" y="53"/>
                  <a:pt x="8918" y="54"/>
                </a:cubicBezTo>
                <a:cubicBezTo>
                  <a:pt x="8920" y="54"/>
                  <a:pt x="8922" y="55"/>
                  <a:pt x="8924" y="54"/>
                </a:cubicBezTo>
                <a:cubicBezTo>
                  <a:pt x="8927" y="53"/>
                  <a:pt x="8931" y="53"/>
                  <a:pt x="8934" y="52"/>
                </a:cubicBezTo>
                <a:cubicBezTo>
                  <a:pt x="8934" y="51"/>
                  <a:pt x="8935" y="51"/>
                  <a:pt x="8935" y="51"/>
                </a:cubicBezTo>
                <a:cubicBezTo>
                  <a:pt x="8936" y="51"/>
                  <a:pt x="8938" y="51"/>
                  <a:pt x="8939" y="51"/>
                </a:cubicBezTo>
                <a:cubicBezTo>
                  <a:pt x="8940" y="51"/>
                  <a:pt x="8940" y="51"/>
                  <a:pt x="8941" y="51"/>
                </a:cubicBezTo>
                <a:cubicBezTo>
                  <a:pt x="8945" y="50"/>
                  <a:pt x="8955" y="51"/>
                  <a:pt x="8959" y="51"/>
                </a:cubicBezTo>
                <a:cubicBezTo>
                  <a:pt x="8969" y="51"/>
                  <a:pt x="8978" y="51"/>
                  <a:pt x="8987" y="51"/>
                </a:cubicBezTo>
                <a:cubicBezTo>
                  <a:pt x="9005" y="51"/>
                  <a:pt x="9024" y="51"/>
                  <a:pt x="9042" y="51"/>
                </a:cubicBezTo>
                <a:cubicBezTo>
                  <a:pt x="9044" y="51"/>
                  <a:pt x="9046" y="51"/>
                  <a:pt x="9048" y="51"/>
                </a:cubicBezTo>
                <a:cubicBezTo>
                  <a:pt x="9048" y="50"/>
                  <a:pt x="9049" y="50"/>
                  <a:pt x="9049" y="50"/>
                </a:cubicBezTo>
                <a:cubicBezTo>
                  <a:pt x="9050" y="50"/>
                  <a:pt x="9051" y="50"/>
                  <a:pt x="9052" y="50"/>
                </a:cubicBezTo>
                <a:cubicBezTo>
                  <a:pt x="9052" y="50"/>
                  <a:pt x="9053" y="50"/>
                  <a:pt x="9053" y="50"/>
                </a:cubicBezTo>
                <a:cubicBezTo>
                  <a:pt x="9055" y="50"/>
                  <a:pt x="9063" y="50"/>
                  <a:pt x="9065" y="50"/>
                </a:cubicBezTo>
                <a:cubicBezTo>
                  <a:pt x="9068" y="50"/>
                  <a:pt x="9072" y="50"/>
                  <a:pt x="9077" y="51"/>
                </a:cubicBezTo>
                <a:cubicBezTo>
                  <a:pt x="9082" y="51"/>
                  <a:pt x="9087" y="51"/>
                  <a:pt x="9092" y="51"/>
                </a:cubicBezTo>
                <a:cubicBezTo>
                  <a:pt x="9092" y="51"/>
                  <a:pt x="9093" y="51"/>
                  <a:pt x="9093" y="51"/>
                </a:cubicBezTo>
                <a:cubicBezTo>
                  <a:pt x="9094" y="51"/>
                  <a:pt x="9095" y="51"/>
                  <a:pt x="9095" y="51"/>
                </a:cubicBezTo>
                <a:cubicBezTo>
                  <a:pt x="9097" y="50"/>
                  <a:pt x="9100" y="50"/>
                  <a:pt x="9102" y="50"/>
                </a:cubicBezTo>
                <a:cubicBezTo>
                  <a:pt x="9102" y="51"/>
                  <a:pt x="9103" y="51"/>
                  <a:pt x="9104" y="51"/>
                </a:cubicBezTo>
                <a:cubicBezTo>
                  <a:pt x="9108" y="51"/>
                  <a:pt x="9112" y="51"/>
                  <a:pt x="9116" y="51"/>
                </a:cubicBezTo>
                <a:cubicBezTo>
                  <a:pt x="9119" y="51"/>
                  <a:pt x="9124" y="51"/>
                  <a:pt x="9128" y="52"/>
                </a:cubicBezTo>
                <a:cubicBezTo>
                  <a:pt x="9130" y="52"/>
                  <a:pt x="9132" y="53"/>
                  <a:pt x="9135" y="53"/>
                </a:cubicBezTo>
                <a:cubicBezTo>
                  <a:pt x="9139" y="53"/>
                  <a:pt x="9146" y="50"/>
                  <a:pt x="9150" y="51"/>
                </a:cubicBezTo>
                <a:cubicBezTo>
                  <a:pt x="9151" y="51"/>
                  <a:pt x="9150" y="52"/>
                  <a:pt x="9150" y="52"/>
                </a:cubicBezTo>
                <a:cubicBezTo>
                  <a:pt x="9150" y="52"/>
                  <a:pt x="9149" y="52"/>
                  <a:pt x="9149" y="53"/>
                </a:cubicBezTo>
                <a:cubicBezTo>
                  <a:pt x="9150" y="53"/>
                  <a:pt x="9150" y="53"/>
                  <a:pt x="9151" y="53"/>
                </a:cubicBezTo>
                <a:cubicBezTo>
                  <a:pt x="9154" y="53"/>
                  <a:pt x="9157" y="53"/>
                  <a:pt x="9159" y="52"/>
                </a:cubicBezTo>
                <a:cubicBezTo>
                  <a:pt x="9159" y="52"/>
                  <a:pt x="9160" y="52"/>
                  <a:pt x="9161" y="52"/>
                </a:cubicBezTo>
                <a:cubicBezTo>
                  <a:pt x="9169" y="51"/>
                  <a:pt x="9180" y="51"/>
                  <a:pt x="9189" y="51"/>
                </a:cubicBezTo>
                <a:cubicBezTo>
                  <a:pt x="9198" y="51"/>
                  <a:pt x="9206" y="51"/>
                  <a:pt x="9214" y="51"/>
                </a:cubicBezTo>
                <a:cubicBezTo>
                  <a:pt x="9218" y="51"/>
                  <a:pt x="9223" y="51"/>
                  <a:pt x="9227" y="52"/>
                </a:cubicBezTo>
                <a:cubicBezTo>
                  <a:pt x="9232" y="52"/>
                  <a:pt x="9230" y="52"/>
                  <a:pt x="9233" y="53"/>
                </a:cubicBezTo>
                <a:cubicBezTo>
                  <a:pt x="9234" y="54"/>
                  <a:pt x="9235" y="54"/>
                  <a:pt x="9235" y="55"/>
                </a:cubicBezTo>
                <a:cubicBezTo>
                  <a:pt x="9237" y="55"/>
                  <a:pt x="9238" y="55"/>
                  <a:pt x="9239" y="55"/>
                </a:cubicBezTo>
                <a:cubicBezTo>
                  <a:pt x="9241" y="55"/>
                  <a:pt x="9243" y="54"/>
                  <a:pt x="9243" y="54"/>
                </a:cubicBezTo>
                <a:cubicBezTo>
                  <a:pt x="9244" y="53"/>
                  <a:pt x="9245" y="53"/>
                  <a:pt x="9248" y="52"/>
                </a:cubicBezTo>
                <a:cubicBezTo>
                  <a:pt x="9252" y="52"/>
                  <a:pt x="9257" y="52"/>
                  <a:pt x="9261" y="52"/>
                </a:cubicBezTo>
                <a:cubicBezTo>
                  <a:pt x="9267" y="52"/>
                  <a:pt x="9272" y="53"/>
                  <a:pt x="9278" y="53"/>
                </a:cubicBezTo>
                <a:cubicBezTo>
                  <a:pt x="9286" y="53"/>
                  <a:pt x="9294" y="53"/>
                  <a:pt x="9302" y="53"/>
                </a:cubicBezTo>
                <a:cubicBezTo>
                  <a:pt x="9306" y="52"/>
                  <a:pt x="9310" y="52"/>
                  <a:pt x="9314" y="52"/>
                </a:cubicBezTo>
                <a:cubicBezTo>
                  <a:pt x="9316" y="52"/>
                  <a:pt x="9318" y="52"/>
                  <a:pt x="9319" y="52"/>
                </a:cubicBezTo>
                <a:cubicBezTo>
                  <a:pt x="9322" y="52"/>
                  <a:pt x="9321" y="53"/>
                  <a:pt x="9323" y="53"/>
                </a:cubicBezTo>
                <a:cubicBezTo>
                  <a:pt x="9325" y="53"/>
                  <a:pt x="9326" y="53"/>
                  <a:pt x="9328" y="54"/>
                </a:cubicBezTo>
                <a:cubicBezTo>
                  <a:pt x="9328" y="54"/>
                  <a:pt x="9329" y="54"/>
                  <a:pt x="9329" y="54"/>
                </a:cubicBezTo>
                <a:cubicBezTo>
                  <a:pt x="9330" y="54"/>
                  <a:pt x="9330" y="53"/>
                  <a:pt x="9331" y="53"/>
                </a:cubicBezTo>
                <a:cubicBezTo>
                  <a:pt x="9332" y="53"/>
                  <a:pt x="9335" y="53"/>
                  <a:pt x="9338" y="52"/>
                </a:cubicBezTo>
                <a:cubicBezTo>
                  <a:pt x="9340" y="52"/>
                  <a:pt x="9342" y="51"/>
                  <a:pt x="9346" y="51"/>
                </a:cubicBezTo>
                <a:cubicBezTo>
                  <a:pt x="9348" y="51"/>
                  <a:pt x="9349" y="51"/>
                  <a:pt x="9351" y="51"/>
                </a:cubicBezTo>
                <a:cubicBezTo>
                  <a:pt x="9361" y="51"/>
                  <a:pt x="9372" y="51"/>
                  <a:pt x="9382" y="51"/>
                </a:cubicBezTo>
                <a:cubicBezTo>
                  <a:pt x="9390" y="51"/>
                  <a:pt x="9394" y="52"/>
                  <a:pt x="9400" y="53"/>
                </a:cubicBezTo>
                <a:cubicBezTo>
                  <a:pt x="9401" y="54"/>
                  <a:pt x="9402" y="54"/>
                  <a:pt x="9403" y="54"/>
                </a:cubicBezTo>
                <a:cubicBezTo>
                  <a:pt x="9406" y="54"/>
                  <a:pt x="9408" y="52"/>
                  <a:pt x="9411" y="52"/>
                </a:cubicBezTo>
                <a:cubicBezTo>
                  <a:pt x="9413" y="52"/>
                  <a:pt x="9415" y="52"/>
                  <a:pt x="9417" y="53"/>
                </a:cubicBezTo>
                <a:cubicBezTo>
                  <a:pt x="9425" y="54"/>
                  <a:pt x="9432" y="53"/>
                  <a:pt x="9439" y="52"/>
                </a:cubicBezTo>
                <a:cubicBezTo>
                  <a:pt x="9443" y="52"/>
                  <a:pt x="9446" y="51"/>
                  <a:pt x="9449" y="51"/>
                </a:cubicBezTo>
                <a:cubicBezTo>
                  <a:pt x="9456" y="51"/>
                  <a:pt x="9463" y="51"/>
                  <a:pt x="9471" y="51"/>
                </a:cubicBezTo>
                <a:cubicBezTo>
                  <a:pt x="9472" y="51"/>
                  <a:pt x="9474" y="51"/>
                  <a:pt x="9476" y="51"/>
                </a:cubicBezTo>
                <a:cubicBezTo>
                  <a:pt x="9483" y="52"/>
                  <a:pt x="9490" y="52"/>
                  <a:pt x="9498" y="52"/>
                </a:cubicBezTo>
                <a:cubicBezTo>
                  <a:pt x="9503" y="52"/>
                  <a:pt x="9509" y="52"/>
                  <a:pt x="9515" y="53"/>
                </a:cubicBezTo>
                <a:cubicBezTo>
                  <a:pt x="9520" y="53"/>
                  <a:pt x="9525" y="54"/>
                  <a:pt x="9530" y="55"/>
                </a:cubicBezTo>
                <a:cubicBezTo>
                  <a:pt x="9530" y="55"/>
                  <a:pt x="9531" y="55"/>
                  <a:pt x="9533" y="55"/>
                </a:cubicBezTo>
                <a:cubicBezTo>
                  <a:pt x="9534" y="55"/>
                  <a:pt x="9535" y="55"/>
                  <a:pt x="9535" y="55"/>
                </a:cubicBezTo>
                <a:cubicBezTo>
                  <a:pt x="9536" y="55"/>
                  <a:pt x="9536" y="54"/>
                  <a:pt x="9536" y="54"/>
                </a:cubicBezTo>
                <a:cubicBezTo>
                  <a:pt x="9536" y="54"/>
                  <a:pt x="9537" y="54"/>
                  <a:pt x="9538" y="54"/>
                </a:cubicBezTo>
                <a:cubicBezTo>
                  <a:pt x="9539" y="54"/>
                  <a:pt x="9538" y="55"/>
                  <a:pt x="9540" y="55"/>
                </a:cubicBezTo>
                <a:cubicBezTo>
                  <a:pt x="9541" y="54"/>
                  <a:pt x="9542" y="54"/>
                  <a:pt x="9543" y="54"/>
                </a:cubicBezTo>
                <a:cubicBezTo>
                  <a:pt x="9544" y="54"/>
                  <a:pt x="9544" y="54"/>
                  <a:pt x="9545" y="54"/>
                </a:cubicBezTo>
                <a:cubicBezTo>
                  <a:pt x="9546" y="53"/>
                  <a:pt x="9547" y="54"/>
                  <a:pt x="9548" y="54"/>
                </a:cubicBezTo>
                <a:cubicBezTo>
                  <a:pt x="9550" y="55"/>
                  <a:pt x="9553" y="54"/>
                  <a:pt x="9555" y="54"/>
                </a:cubicBezTo>
                <a:cubicBezTo>
                  <a:pt x="9563" y="51"/>
                  <a:pt x="9583" y="52"/>
                  <a:pt x="9595" y="52"/>
                </a:cubicBezTo>
                <a:cubicBezTo>
                  <a:pt x="9601" y="52"/>
                  <a:pt x="9609" y="51"/>
                  <a:pt x="9615" y="52"/>
                </a:cubicBezTo>
                <a:cubicBezTo>
                  <a:pt x="9616" y="52"/>
                  <a:pt x="9617" y="52"/>
                  <a:pt x="9618" y="52"/>
                </a:cubicBezTo>
                <a:cubicBezTo>
                  <a:pt x="9620" y="53"/>
                  <a:pt x="9623" y="53"/>
                  <a:pt x="9624" y="53"/>
                </a:cubicBezTo>
                <a:cubicBezTo>
                  <a:pt x="9625" y="53"/>
                  <a:pt x="9626" y="54"/>
                  <a:pt x="9627" y="54"/>
                </a:cubicBezTo>
                <a:cubicBezTo>
                  <a:pt x="9630" y="55"/>
                  <a:pt x="9637" y="55"/>
                  <a:pt x="9642" y="55"/>
                </a:cubicBezTo>
                <a:cubicBezTo>
                  <a:pt x="9646" y="55"/>
                  <a:pt x="9653" y="56"/>
                  <a:pt x="9657" y="55"/>
                </a:cubicBezTo>
                <a:cubicBezTo>
                  <a:pt x="9659" y="54"/>
                  <a:pt x="9666" y="55"/>
                  <a:pt x="9669" y="55"/>
                </a:cubicBezTo>
                <a:cubicBezTo>
                  <a:pt x="9675" y="55"/>
                  <a:pt x="9681" y="55"/>
                  <a:pt x="9688" y="55"/>
                </a:cubicBezTo>
                <a:cubicBezTo>
                  <a:pt x="9690" y="55"/>
                  <a:pt x="9694" y="55"/>
                  <a:pt x="9697" y="55"/>
                </a:cubicBezTo>
                <a:cubicBezTo>
                  <a:pt x="9700" y="55"/>
                  <a:pt x="9701" y="54"/>
                  <a:pt x="9705" y="54"/>
                </a:cubicBezTo>
                <a:cubicBezTo>
                  <a:pt x="9707" y="53"/>
                  <a:pt x="9710" y="54"/>
                  <a:pt x="9710" y="54"/>
                </a:cubicBezTo>
                <a:cubicBezTo>
                  <a:pt x="9710" y="55"/>
                  <a:pt x="9709" y="55"/>
                  <a:pt x="9710" y="55"/>
                </a:cubicBezTo>
                <a:cubicBezTo>
                  <a:pt x="9711" y="56"/>
                  <a:pt x="9721" y="55"/>
                  <a:pt x="9723" y="55"/>
                </a:cubicBezTo>
                <a:cubicBezTo>
                  <a:pt x="9726" y="55"/>
                  <a:pt x="9737" y="56"/>
                  <a:pt x="9738" y="55"/>
                </a:cubicBezTo>
                <a:cubicBezTo>
                  <a:pt x="9738" y="54"/>
                  <a:pt x="9738" y="54"/>
                  <a:pt x="9738" y="54"/>
                </a:cubicBezTo>
                <a:cubicBezTo>
                  <a:pt x="9740" y="53"/>
                  <a:pt x="9746" y="53"/>
                  <a:pt x="9748" y="53"/>
                </a:cubicBezTo>
                <a:cubicBezTo>
                  <a:pt x="9752" y="53"/>
                  <a:pt x="9756" y="54"/>
                  <a:pt x="9760" y="54"/>
                </a:cubicBezTo>
                <a:cubicBezTo>
                  <a:pt x="9774" y="54"/>
                  <a:pt x="9805" y="55"/>
                  <a:pt x="9830" y="55"/>
                </a:cubicBezTo>
                <a:cubicBezTo>
                  <a:pt x="9838" y="55"/>
                  <a:pt x="9846" y="55"/>
                  <a:pt x="9855" y="55"/>
                </a:cubicBezTo>
                <a:cubicBezTo>
                  <a:pt x="9861" y="55"/>
                  <a:pt x="9872" y="54"/>
                  <a:pt x="9878" y="55"/>
                </a:cubicBezTo>
                <a:cubicBezTo>
                  <a:pt x="9879" y="55"/>
                  <a:pt x="9880" y="55"/>
                  <a:pt x="9881" y="56"/>
                </a:cubicBezTo>
                <a:cubicBezTo>
                  <a:pt x="9883" y="56"/>
                  <a:pt x="9886" y="56"/>
                  <a:pt x="9889" y="56"/>
                </a:cubicBezTo>
                <a:cubicBezTo>
                  <a:pt x="9892" y="55"/>
                  <a:pt x="9895" y="55"/>
                  <a:pt x="9897" y="55"/>
                </a:cubicBezTo>
                <a:cubicBezTo>
                  <a:pt x="9898" y="54"/>
                  <a:pt x="9898" y="54"/>
                  <a:pt x="9899" y="54"/>
                </a:cubicBezTo>
                <a:cubicBezTo>
                  <a:pt x="9901" y="54"/>
                  <a:pt x="9903" y="55"/>
                  <a:pt x="9905" y="55"/>
                </a:cubicBezTo>
                <a:cubicBezTo>
                  <a:pt x="9916" y="55"/>
                  <a:pt x="9930" y="56"/>
                  <a:pt x="9941" y="56"/>
                </a:cubicBezTo>
                <a:cubicBezTo>
                  <a:pt x="9942" y="56"/>
                  <a:pt x="9943" y="56"/>
                  <a:pt x="9943" y="55"/>
                </a:cubicBezTo>
                <a:cubicBezTo>
                  <a:pt x="9944" y="53"/>
                  <a:pt x="9958" y="54"/>
                  <a:pt x="9962" y="55"/>
                </a:cubicBezTo>
                <a:cubicBezTo>
                  <a:pt x="9973" y="55"/>
                  <a:pt x="9987" y="55"/>
                  <a:pt x="9994" y="55"/>
                </a:cubicBezTo>
                <a:cubicBezTo>
                  <a:pt x="10001" y="55"/>
                  <a:pt x="10019" y="55"/>
                  <a:pt x="10033" y="55"/>
                </a:cubicBezTo>
                <a:cubicBezTo>
                  <a:pt x="10047" y="55"/>
                  <a:pt x="10083" y="55"/>
                  <a:pt x="10113" y="55"/>
                </a:cubicBezTo>
                <a:cubicBezTo>
                  <a:pt x="10123" y="55"/>
                  <a:pt x="10132" y="55"/>
                  <a:pt x="10142" y="55"/>
                </a:cubicBezTo>
                <a:cubicBezTo>
                  <a:pt x="10145" y="55"/>
                  <a:pt x="10165" y="54"/>
                  <a:pt x="10165" y="55"/>
                </a:cubicBezTo>
                <a:cubicBezTo>
                  <a:pt x="10165" y="56"/>
                  <a:pt x="10164" y="56"/>
                  <a:pt x="10164" y="56"/>
                </a:cubicBezTo>
                <a:cubicBezTo>
                  <a:pt x="10163" y="56"/>
                  <a:pt x="10165" y="57"/>
                  <a:pt x="10166" y="57"/>
                </a:cubicBezTo>
                <a:cubicBezTo>
                  <a:pt x="10169" y="57"/>
                  <a:pt x="10171" y="57"/>
                  <a:pt x="10174" y="57"/>
                </a:cubicBezTo>
                <a:cubicBezTo>
                  <a:pt x="10177" y="57"/>
                  <a:pt x="10181" y="57"/>
                  <a:pt x="10185" y="57"/>
                </a:cubicBezTo>
                <a:cubicBezTo>
                  <a:pt x="10189" y="57"/>
                  <a:pt x="10194" y="57"/>
                  <a:pt x="10199" y="57"/>
                </a:cubicBezTo>
                <a:cubicBezTo>
                  <a:pt x="10202" y="57"/>
                  <a:pt x="10205" y="58"/>
                  <a:pt x="10209" y="57"/>
                </a:cubicBezTo>
                <a:cubicBezTo>
                  <a:pt x="10212" y="57"/>
                  <a:pt x="10214" y="56"/>
                  <a:pt x="10216" y="56"/>
                </a:cubicBezTo>
                <a:cubicBezTo>
                  <a:pt x="10219" y="55"/>
                  <a:pt x="10221" y="55"/>
                  <a:pt x="10225" y="55"/>
                </a:cubicBezTo>
                <a:cubicBezTo>
                  <a:pt x="10229" y="55"/>
                  <a:pt x="10240" y="55"/>
                  <a:pt x="10249" y="55"/>
                </a:cubicBezTo>
                <a:cubicBezTo>
                  <a:pt x="10254" y="55"/>
                  <a:pt x="10261" y="54"/>
                  <a:pt x="10266" y="55"/>
                </a:cubicBezTo>
                <a:cubicBezTo>
                  <a:pt x="10270" y="55"/>
                  <a:pt x="10274" y="55"/>
                  <a:pt x="10279" y="55"/>
                </a:cubicBezTo>
                <a:cubicBezTo>
                  <a:pt x="10284" y="55"/>
                  <a:pt x="10289" y="55"/>
                  <a:pt x="10293" y="55"/>
                </a:cubicBezTo>
                <a:cubicBezTo>
                  <a:pt x="10297" y="56"/>
                  <a:pt x="10299" y="56"/>
                  <a:pt x="10303" y="57"/>
                </a:cubicBezTo>
                <a:cubicBezTo>
                  <a:pt x="10308" y="57"/>
                  <a:pt x="10315" y="56"/>
                  <a:pt x="10320" y="56"/>
                </a:cubicBezTo>
                <a:cubicBezTo>
                  <a:pt x="10329" y="56"/>
                  <a:pt x="10335" y="55"/>
                  <a:pt x="10343" y="54"/>
                </a:cubicBezTo>
                <a:cubicBezTo>
                  <a:pt x="10348" y="54"/>
                  <a:pt x="10353" y="54"/>
                  <a:pt x="10357" y="54"/>
                </a:cubicBezTo>
                <a:cubicBezTo>
                  <a:pt x="10363" y="54"/>
                  <a:pt x="10370" y="55"/>
                  <a:pt x="10376" y="55"/>
                </a:cubicBezTo>
                <a:cubicBezTo>
                  <a:pt x="10381" y="55"/>
                  <a:pt x="10384" y="56"/>
                  <a:pt x="10392" y="56"/>
                </a:cubicBezTo>
                <a:cubicBezTo>
                  <a:pt x="10392" y="56"/>
                  <a:pt x="10392" y="56"/>
                  <a:pt x="10392" y="55"/>
                </a:cubicBezTo>
                <a:cubicBezTo>
                  <a:pt x="10394" y="54"/>
                  <a:pt x="10399" y="54"/>
                  <a:pt x="10402" y="55"/>
                </a:cubicBezTo>
                <a:cubicBezTo>
                  <a:pt x="10404" y="55"/>
                  <a:pt x="10413" y="55"/>
                  <a:pt x="10409" y="56"/>
                </a:cubicBezTo>
                <a:cubicBezTo>
                  <a:pt x="10409" y="56"/>
                  <a:pt x="10410" y="56"/>
                  <a:pt x="10411" y="57"/>
                </a:cubicBezTo>
                <a:cubicBezTo>
                  <a:pt x="10412" y="57"/>
                  <a:pt x="10413" y="57"/>
                  <a:pt x="10413" y="58"/>
                </a:cubicBezTo>
                <a:cubicBezTo>
                  <a:pt x="10414" y="58"/>
                  <a:pt x="10415" y="58"/>
                  <a:pt x="10417" y="58"/>
                </a:cubicBezTo>
                <a:cubicBezTo>
                  <a:pt x="10418" y="58"/>
                  <a:pt x="10418" y="58"/>
                  <a:pt x="10420" y="58"/>
                </a:cubicBezTo>
                <a:cubicBezTo>
                  <a:pt x="10422" y="58"/>
                  <a:pt x="10423" y="58"/>
                  <a:pt x="10425" y="59"/>
                </a:cubicBezTo>
                <a:cubicBezTo>
                  <a:pt x="10426" y="59"/>
                  <a:pt x="10429" y="59"/>
                  <a:pt x="10431" y="59"/>
                </a:cubicBezTo>
                <a:cubicBezTo>
                  <a:pt x="10432" y="59"/>
                  <a:pt x="10434" y="58"/>
                  <a:pt x="10433" y="57"/>
                </a:cubicBezTo>
                <a:cubicBezTo>
                  <a:pt x="10432" y="57"/>
                  <a:pt x="10432" y="57"/>
                  <a:pt x="10432" y="57"/>
                </a:cubicBezTo>
                <a:cubicBezTo>
                  <a:pt x="10432" y="56"/>
                  <a:pt x="10434" y="56"/>
                  <a:pt x="10437" y="56"/>
                </a:cubicBezTo>
                <a:cubicBezTo>
                  <a:pt x="10438" y="56"/>
                  <a:pt x="10439" y="56"/>
                  <a:pt x="10439" y="56"/>
                </a:cubicBezTo>
                <a:cubicBezTo>
                  <a:pt x="10440" y="57"/>
                  <a:pt x="10439" y="57"/>
                  <a:pt x="10441" y="57"/>
                </a:cubicBezTo>
                <a:cubicBezTo>
                  <a:pt x="10446" y="57"/>
                  <a:pt x="10451" y="58"/>
                  <a:pt x="10457" y="58"/>
                </a:cubicBezTo>
                <a:cubicBezTo>
                  <a:pt x="10462" y="58"/>
                  <a:pt x="10467" y="58"/>
                  <a:pt x="10473" y="58"/>
                </a:cubicBezTo>
                <a:cubicBezTo>
                  <a:pt x="10476" y="58"/>
                  <a:pt x="10480" y="58"/>
                  <a:pt x="10483" y="58"/>
                </a:cubicBezTo>
                <a:cubicBezTo>
                  <a:pt x="10487" y="58"/>
                  <a:pt x="10491" y="58"/>
                  <a:pt x="10495" y="58"/>
                </a:cubicBezTo>
                <a:cubicBezTo>
                  <a:pt x="10498" y="58"/>
                  <a:pt x="10501" y="58"/>
                  <a:pt x="10505" y="58"/>
                </a:cubicBezTo>
                <a:cubicBezTo>
                  <a:pt x="10507" y="58"/>
                  <a:pt x="10506" y="57"/>
                  <a:pt x="10508" y="57"/>
                </a:cubicBezTo>
                <a:cubicBezTo>
                  <a:pt x="10509" y="57"/>
                  <a:pt x="10513" y="57"/>
                  <a:pt x="10515" y="57"/>
                </a:cubicBezTo>
                <a:cubicBezTo>
                  <a:pt x="10520" y="57"/>
                  <a:pt x="10525" y="56"/>
                  <a:pt x="10531" y="56"/>
                </a:cubicBezTo>
                <a:cubicBezTo>
                  <a:pt x="10532" y="56"/>
                  <a:pt x="10533" y="56"/>
                  <a:pt x="10534" y="56"/>
                </a:cubicBezTo>
                <a:cubicBezTo>
                  <a:pt x="10535" y="56"/>
                  <a:pt x="10536" y="57"/>
                  <a:pt x="10536" y="57"/>
                </a:cubicBezTo>
                <a:cubicBezTo>
                  <a:pt x="10536" y="57"/>
                  <a:pt x="10535" y="57"/>
                  <a:pt x="10535" y="58"/>
                </a:cubicBezTo>
                <a:cubicBezTo>
                  <a:pt x="10535" y="58"/>
                  <a:pt x="10536" y="59"/>
                  <a:pt x="10538" y="59"/>
                </a:cubicBezTo>
                <a:cubicBezTo>
                  <a:pt x="10539" y="59"/>
                  <a:pt x="10541" y="59"/>
                  <a:pt x="10543" y="59"/>
                </a:cubicBezTo>
                <a:cubicBezTo>
                  <a:pt x="10545" y="60"/>
                  <a:pt x="10552" y="59"/>
                  <a:pt x="10555" y="59"/>
                </a:cubicBezTo>
                <a:cubicBezTo>
                  <a:pt x="10560" y="58"/>
                  <a:pt x="10566" y="59"/>
                  <a:pt x="10572" y="58"/>
                </a:cubicBezTo>
                <a:cubicBezTo>
                  <a:pt x="10573" y="58"/>
                  <a:pt x="10575" y="57"/>
                  <a:pt x="10576" y="57"/>
                </a:cubicBezTo>
                <a:cubicBezTo>
                  <a:pt x="10577" y="57"/>
                  <a:pt x="10578" y="57"/>
                  <a:pt x="10580" y="57"/>
                </a:cubicBezTo>
                <a:cubicBezTo>
                  <a:pt x="10581" y="57"/>
                  <a:pt x="10583" y="56"/>
                  <a:pt x="10584" y="57"/>
                </a:cubicBezTo>
                <a:cubicBezTo>
                  <a:pt x="10588" y="59"/>
                  <a:pt x="10599" y="58"/>
                  <a:pt x="10604" y="57"/>
                </a:cubicBezTo>
                <a:cubicBezTo>
                  <a:pt x="10613" y="57"/>
                  <a:pt x="10621" y="57"/>
                  <a:pt x="10623" y="57"/>
                </a:cubicBezTo>
                <a:cubicBezTo>
                  <a:pt x="10624" y="57"/>
                  <a:pt x="10636" y="57"/>
                  <a:pt x="10651" y="57"/>
                </a:cubicBezTo>
                <a:cubicBezTo>
                  <a:pt x="10656" y="57"/>
                  <a:pt x="10661" y="57"/>
                  <a:pt x="10666" y="58"/>
                </a:cubicBezTo>
                <a:cubicBezTo>
                  <a:pt x="10669" y="58"/>
                  <a:pt x="10673" y="58"/>
                  <a:pt x="10677" y="57"/>
                </a:cubicBezTo>
                <a:cubicBezTo>
                  <a:pt x="10678" y="57"/>
                  <a:pt x="10680" y="57"/>
                  <a:pt x="10681" y="56"/>
                </a:cubicBezTo>
                <a:cubicBezTo>
                  <a:pt x="10683" y="56"/>
                  <a:pt x="10684" y="56"/>
                  <a:pt x="10686" y="56"/>
                </a:cubicBezTo>
                <a:cubicBezTo>
                  <a:pt x="10689" y="55"/>
                  <a:pt x="10690" y="55"/>
                  <a:pt x="10693" y="56"/>
                </a:cubicBezTo>
                <a:cubicBezTo>
                  <a:pt x="10697" y="56"/>
                  <a:pt x="10702" y="57"/>
                  <a:pt x="10703" y="57"/>
                </a:cubicBezTo>
                <a:cubicBezTo>
                  <a:pt x="10706" y="58"/>
                  <a:pt x="10730" y="58"/>
                  <a:pt x="10738" y="56"/>
                </a:cubicBezTo>
                <a:cubicBezTo>
                  <a:pt x="10742" y="56"/>
                  <a:pt x="10751" y="54"/>
                  <a:pt x="10755" y="56"/>
                </a:cubicBezTo>
                <a:cubicBezTo>
                  <a:pt x="10756" y="56"/>
                  <a:pt x="10756" y="56"/>
                  <a:pt x="10756" y="56"/>
                </a:cubicBezTo>
                <a:cubicBezTo>
                  <a:pt x="10757" y="56"/>
                  <a:pt x="10759" y="56"/>
                  <a:pt x="10760" y="57"/>
                </a:cubicBezTo>
                <a:cubicBezTo>
                  <a:pt x="10766" y="57"/>
                  <a:pt x="10772" y="57"/>
                  <a:pt x="10778" y="57"/>
                </a:cubicBezTo>
                <a:cubicBezTo>
                  <a:pt x="10787" y="57"/>
                  <a:pt x="10797" y="58"/>
                  <a:pt x="10801" y="58"/>
                </a:cubicBezTo>
                <a:cubicBezTo>
                  <a:pt x="10805" y="58"/>
                  <a:pt x="10819" y="58"/>
                  <a:pt x="10833" y="58"/>
                </a:cubicBezTo>
                <a:cubicBezTo>
                  <a:pt x="10842" y="58"/>
                  <a:pt x="10859" y="59"/>
                  <a:pt x="10864" y="56"/>
                </a:cubicBezTo>
                <a:cubicBezTo>
                  <a:pt x="10864" y="56"/>
                  <a:pt x="10864" y="56"/>
                  <a:pt x="10865" y="56"/>
                </a:cubicBezTo>
                <a:cubicBezTo>
                  <a:pt x="10866" y="56"/>
                  <a:pt x="10867" y="56"/>
                  <a:pt x="10868" y="56"/>
                </a:cubicBezTo>
                <a:cubicBezTo>
                  <a:pt x="10872" y="56"/>
                  <a:pt x="10875" y="55"/>
                  <a:pt x="10879" y="55"/>
                </a:cubicBezTo>
                <a:cubicBezTo>
                  <a:pt x="10884" y="55"/>
                  <a:pt x="10889" y="55"/>
                  <a:pt x="10894" y="56"/>
                </a:cubicBezTo>
                <a:cubicBezTo>
                  <a:pt x="10900" y="56"/>
                  <a:pt x="10907" y="56"/>
                  <a:pt x="10914" y="56"/>
                </a:cubicBezTo>
                <a:cubicBezTo>
                  <a:pt x="10917" y="56"/>
                  <a:pt x="10927" y="56"/>
                  <a:pt x="10930" y="56"/>
                </a:cubicBezTo>
                <a:cubicBezTo>
                  <a:pt x="10930" y="56"/>
                  <a:pt x="10930" y="56"/>
                  <a:pt x="10931" y="56"/>
                </a:cubicBezTo>
                <a:cubicBezTo>
                  <a:pt x="10934" y="57"/>
                  <a:pt x="10940" y="57"/>
                  <a:pt x="10944" y="57"/>
                </a:cubicBezTo>
                <a:cubicBezTo>
                  <a:pt x="10951" y="57"/>
                  <a:pt x="10961" y="58"/>
                  <a:pt x="10967" y="58"/>
                </a:cubicBezTo>
                <a:cubicBezTo>
                  <a:pt x="10972" y="58"/>
                  <a:pt x="10976" y="58"/>
                  <a:pt x="10981" y="57"/>
                </a:cubicBezTo>
                <a:cubicBezTo>
                  <a:pt x="10984" y="56"/>
                  <a:pt x="10986" y="56"/>
                  <a:pt x="10991" y="56"/>
                </a:cubicBezTo>
                <a:cubicBezTo>
                  <a:pt x="10997" y="55"/>
                  <a:pt x="11003" y="56"/>
                  <a:pt x="11009" y="55"/>
                </a:cubicBezTo>
                <a:cubicBezTo>
                  <a:pt x="11016" y="55"/>
                  <a:pt x="11023" y="55"/>
                  <a:pt x="11030" y="55"/>
                </a:cubicBezTo>
                <a:cubicBezTo>
                  <a:pt x="11030" y="56"/>
                  <a:pt x="11030" y="56"/>
                  <a:pt x="11030" y="56"/>
                </a:cubicBezTo>
                <a:cubicBezTo>
                  <a:pt x="11030" y="57"/>
                  <a:pt x="11031" y="57"/>
                  <a:pt x="11032" y="57"/>
                </a:cubicBezTo>
                <a:cubicBezTo>
                  <a:pt x="11033" y="57"/>
                  <a:pt x="11033" y="57"/>
                  <a:pt x="11034" y="57"/>
                </a:cubicBezTo>
                <a:cubicBezTo>
                  <a:pt x="11038" y="56"/>
                  <a:pt x="11046" y="54"/>
                  <a:pt x="11050" y="56"/>
                </a:cubicBezTo>
                <a:cubicBezTo>
                  <a:pt x="11051" y="56"/>
                  <a:pt x="11051" y="57"/>
                  <a:pt x="11050" y="57"/>
                </a:cubicBezTo>
                <a:cubicBezTo>
                  <a:pt x="11050" y="57"/>
                  <a:pt x="11049" y="57"/>
                  <a:pt x="11049" y="58"/>
                </a:cubicBezTo>
                <a:cubicBezTo>
                  <a:pt x="11049" y="58"/>
                  <a:pt x="11051" y="59"/>
                  <a:pt x="11053" y="59"/>
                </a:cubicBezTo>
                <a:cubicBezTo>
                  <a:pt x="11055" y="59"/>
                  <a:pt x="11057" y="59"/>
                  <a:pt x="11059" y="59"/>
                </a:cubicBezTo>
                <a:cubicBezTo>
                  <a:pt x="11061" y="59"/>
                  <a:pt x="11062" y="58"/>
                  <a:pt x="11065" y="57"/>
                </a:cubicBezTo>
                <a:cubicBezTo>
                  <a:pt x="11066" y="57"/>
                  <a:pt x="11066" y="58"/>
                  <a:pt x="11066" y="58"/>
                </a:cubicBezTo>
                <a:cubicBezTo>
                  <a:pt x="11066" y="58"/>
                  <a:pt x="11066" y="58"/>
                  <a:pt x="11065" y="58"/>
                </a:cubicBezTo>
                <a:cubicBezTo>
                  <a:pt x="11065" y="60"/>
                  <a:pt x="11081" y="59"/>
                  <a:pt x="11084" y="59"/>
                </a:cubicBezTo>
                <a:cubicBezTo>
                  <a:pt x="11093" y="59"/>
                  <a:pt x="11103" y="59"/>
                  <a:pt x="11113" y="59"/>
                </a:cubicBezTo>
                <a:cubicBezTo>
                  <a:pt x="11122" y="59"/>
                  <a:pt x="11131" y="59"/>
                  <a:pt x="11140" y="59"/>
                </a:cubicBezTo>
                <a:cubicBezTo>
                  <a:pt x="11145" y="59"/>
                  <a:pt x="11155" y="60"/>
                  <a:pt x="11160" y="59"/>
                </a:cubicBezTo>
                <a:cubicBezTo>
                  <a:pt x="11161" y="58"/>
                  <a:pt x="11161" y="58"/>
                  <a:pt x="11163" y="57"/>
                </a:cubicBezTo>
                <a:cubicBezTo>
                  <a:pt x="11164" y="57"/>
                  <a:pt x="11166" y="57"/>
                  <a:pt x="11168" y="57"/>
                </a:cubicBezTo>
                <a:cubicBezTo>
                  <a:pt x="11171" y="56"/>
                  <a:pt x="11175" y="56"/>
                  <a:pt x="11178" y="55"/>
                </a:cubicBezTo>
                <a:cubicBezTo>
                  <a:pt x="11181" y="55"/>
                  <a:pt x="11182" y="54"/>
                  <a:pt x="11185" y="54"/>
                </a:cubicBezTo>
                <a:cubicBezTo>
                  <a:pt x="11189" y="54"/>
                  <a:pt x="11193" y="54"/>
                  <a:pt x="11196" y="54"/>
                </a:cubicBezTo>
                <a:cubicBezTo>
                  <a:pt x="11199" y="54"/>
                  <a:pt x="11212" y="54"/>
                  <a:pt x="11214" y="55"/>
                </a:cubicBezTo>
                <a:cubicBezTo>
                  <a:pt x="11214" y="55"/>
                  <a:pt x="11214" y="55"/>
                  <a:pt x="11214" y="55"/>
                </a:cubicBezTo>
                <a:cubicBezTo>
                  <a:pt x="11214" y="56"/>
                  <a:pt x="11216" y="56"/>
                  <a:pt x="11219" y="56"/>
                </a:cubicBezTo>
                <a:cubicBezTo>
                  <a:pt x="11220" y="56"/>
                  <a:pt x="11221" y="56"/>
                  <a:pt x="11221" y="55"/>
                </a:cubicBezTo>
                <a:cubicBezTo>
                  <a:pt x="11221" y="55"/>
                  <a:pt x="11221" y="54"/>
                  <a:pt x="11223" y="54"/>
                </a:cubicBezTo>
                <a:cubicBezTo>
                  <a:pt x="11229" y="54"/>
                  <a:pt x="11237" y="54"/>
                  <a:pt x="11243" y="54"/>
                </a:cubicBezTo>
                <a:cubicBezTo>
                  <a:pt x="11244" y="54"/>
                  <a:pt x="11244" y="54"/>
                  <a:pt x="11245" y="54"/>
                </a:cubicBezTo>
                <a:cubicBezTo>
                  <a:pt x="11246" y="54"/>
                  <a:pt x="11245" y="55"/>
                  <a:pt x="11245" y="55"/>
                </a:cubicBezTo>
                <a:cubicBezTo>
                  <a:pt x="11245" y="56"/>
                  <a:pt x="11252" y="59"/>
                  <a:pt x="11257" y="57"/>
                </a:cubicBezTo>
                <a:cubicBezTo>
                  <a:pt x="11259" y="57"/>
                  <a:pt x="11257" y="56"/>
                  <a:pt x="11257" y="56"/>
                </a:cubicBezTo>
                <a:cubicBezTo>
                  <a:pt x="11258" y="55"/>
                  <a:pt x="11258" y="55"/>
                  <a:pt x="11259" y="55"/>
                </a:cubicBezTo>
                <a:cubicBezTo>
                  <a:pt x="11259" y="55"/>
                  <a:pt x="11259" y="54"/>
                  <a:pt x="11259" y="54"/>
                </a:cubicBezTo>
                <a:cubicBezTo>
                  <a:pt x="11261" y="53"/>
                  <a:pt x="11267" y="54"/>
                  <a:pt x="11269" y="54"/>
                </a:cubicBezTo>
                <a:cubicBezTo>
                  <a:pt x="11272" y="54"/>
                  <a:pt x="11271" y="55"/>
                  <a:pt x="11273" y="56"/>
                </a:cubicBezTo>
                <a:cubicBezTo>
                  <a:pt x="11275" y="56"/>
                  <a:pt x="11280" y="55"/>
                  <a:pt x="11282" y="55"/>
                </a:cubicBezTo>
                <a:cubicBezTo>
                  <a:pt x="11286" y="55"/>
                  <a:pt x="11292" y="56"/>
                  <a:pt x="11296" y="55"/>
                </a:cubicBezTo>
                <a:cubicBezTo>
                  <a:pt x="11300" y="55"/>
                  <a:pt x="11301" y="54"/>
                  <a:pt x="11305" y="54"/>
                </a:cubicBezTo>
                <a:cubicBezTo>
                  <a:pt x="11314" y="53"/>
                  <a:pt x="11327" y="53"/>
                  <a:pt x="11337" y="53"/>
                </a:cubicBezTo>
                <a:cubicBezTo>
                  <a:pt x="11342" y="53"/>
                  <a:pt x="11373" y="52"/>
                  <a:pt x="11374" y="54"/>
                </a:cubicBezTo>
                <a:cubicBezTo>
                  <a:pt x="11375" y="54"/>
                  <a:pt x="11374" y="54"/>
                  <a:pt x="11375" y="54"/>
                </a:cubicBezTo>
                <a:cubicBezTo>
                  <a:pt x="11375" y="55"/>
                  <a:pt x="11376" y="55"/>
                  <a:pt x="11377" y="55"/>
                </a:cubicBezTo>
                <a:cubicBezTo>
                  <a:pt x="11379" y="55"/>
                  <a:pt x="11392" y="54"/>
                  <a:pt x="11386" y="56"/>
                </a:cubicBezTo>
                <a:cubicBezTo>
                  <a:pt x="11385" y="56"/>
                  <a:pt x="11384" y="56"/>
                  <a:pt x="11384" y="57"/>
                </a:cubicBezTo>
                <a:cubicBezTo>
                  <a:pt x="11385" y="57"/>
                  <a:pt x="11387" y="57"/>
                  <a:pt x="11389" y="57"/>
                </a:cubicBezTo>
                <a:cubicBezTo>
                  <a:pt x="11390" y="56"/>
                  <a:pt x="11392" y="56"/>
                  <a:pt x="11393" y="56"/>
                </a:cubicBezTo>
                <a:cubicBezTo>
                  <a:pt x="11396" y="56"/>
                  <a:pt x="11398" y="56"/>
                  <a:pt x="11401" y="56"/>
                </a:cubicBezTo>
                <a:cubicBezTo>
                  <a:pt x="11403" y="56"/>
                  <a:pt x="11406" y="56"/>
                  <a:pt x="11408" y="56"/>
                </a:cubicBezTo>
                <a:cubicBezTo>
                  <a:pt x="11416" y="56"/>
                  <a:pt x="11424" y="56"/>
                  <a:pt x="11432" y="55"/>
                </a:cubicBezTo>
                <a:cubicBezTo>
                  <a:pt x="11435" y="55"/>
                  <a:pt x="11438" y="55"/>
                  <a:pt x="11441" y="55"/>
                </a:cubicBezTo>
                <a:cubicBezTo>
                  <a:pt x="11444" y="55"/>
                  <a:pt x="11447" y="56"/>
                  <a:pt x="11450" y="56"/>
                </a:cubicBezTo>
                <a:cubicBezTo>
                  <a:pt x="11451" y="55"/>
                  <a:pt x="11454" y="55"/>
                  <a:pt x="11456" y="55"/>
                </a:cubicBezTo>
                <a:cubicBezTo>
                  <a:pt x="11457" y="55"/>
                  <a:pt x="11459" y="54"/>
                  <a:pt x="11460" y="54"/>
                </a:cubicBezTo>
                <a:cubicBezTo>
                  <a:pt x="11463" y="53"/>
                  <a:pt x="11467" y="53"/>
                  <a:pt x="11468" y="52"/>
                </a:cubicBezTo>
                <a:cubicBezTo>
                  <a:pt x="11468" y="52"/>
                  <a:pt x="11468" y="52"/>
                  <a:pt x="11468" y="52"/>
                </a:cubicBezTo>
                <a:cubicBezTo>
                  <a:pt x="11469" y="52"/>
                  <a:pt x="11470" y="51"/>
                  <a:pt x="11471" y="51"/>
                </a:cubicBezTo>
                <a:cubicBezTo>
                  <a:pt x="11474" y="51"/>
                  <a:pt x="11477" y="51"/>
                  <a:pt x="11479" y="51"/>
                </a:cubicBezTo>
                <a:cubicBezTo>
                  <a:pt x="11482" y="51"/>
                  <a:pt x="11486" y="51"/>
                  <a:pt x="11487" y="52"/>
                </a:cubicBezTo>
                <a:cubicBezTo>
                  <a:pt x="11487" y="53"/>
                  <a:pt x="11487" y="53"/>
                  <a:pt x="11488" y="54"/>
                </a:cubicBezTo>
                <a:cubicBezTo>
                  <a:pt x="11490" y="54"/>
                  <a:pt x="11497" y="53"/>
                  <a:pt x="11500" y="53"/>
                </a:cubicBezTo>
                <a:cubicBezTo>
                  <a:pt x="11505" y="53"/>
                  <a:pt x="11508" y="55"/>
                  <a:pt x="11513" y="56"/>
                </a:cubicBezTo>
                <a:cubicBezTo>
                  <a:pt x="11518" y="57"/>
                  <a:pt x="11526" y="56"/>
                  <a:pt x="11532" y="56"/>
                </a:cubicBezTo>
                <a:cubicBezTo>
                  <a:pt x="11535" y="56"/>
                  <a:pt x="11539" y="56"/>
                  <a:pt x="11541" y="55"/>
                </a:cubicBezTo>
                <a:cubicBezTo>
                  <a:pt x="11543" y="55"/>
                  <a:pt x="11545" y="55"/>
                  <a:pt x="11547" y="54"/>
                </a:cubicBezTo>
                <a:cubicBezTo>
                  <a:pt x="11553" y="54"/>
                  <a:pt x="11561" y="54"/>
                  <a:pt x="11567" y="54"/>
                </a:cubicBezTo>
                <a:cubicBezTo>
                  <a:pt x="11575" y="54"/>
                  <a:pt x="11583" y="54"/>
                  <a:pt x="11591" y="54"/>
                </a:cubicBezTo>
                <a:cubicBezTo>
                  <a:pt x="11596" y="54"/>
                  <a:pt x="11602" y="54"/>
                  <a:pt x="11607" y="54"/>
                </a:cubicBezTo>
                <a:cubicBezTo>
                  <a:pt x="11614" y="54"/>
                  <a:pt x="11620" y="54"/>
                  <a:pt x="11627" y="54"/>
                </a:cubicBezTo>
                <a:lnTo>
                  <a:pt x="11627" y="56"/>
                </a:lnTo>
                <a:cubicBezTo>
                  <a:pt x="11630" y="56"/>
                  <a:pt x="11634" y="56"/>
                  <a:pt x="11638" y="56"/>
                </a:cubicBezTo>
                <a:cubicBezTo>
                  <a:pt x="11640" y="55"/>
                  <a:pt x="11643" y="55"/>
                  <a:pt x="11645" y="55"/>
                </a:cubicBezTo>
                <a:cubicBezTo>
                  <a:pt x="11646" y="55"/>
                  <a:pt x="11646" y="56"/>
                  <a:pt x="11647" y="56"/>
                </a:cubicBezTo>
                <a:cubicBezTo>
                  <a:pt x="11648" y="57"/>
                  <a:pt x="11649" y="57"/>
                  <a:pt x="11650" y="57"/>
                </a:cubicBezTo>
                <a:cubicBezTo>
                  <a:pt x="11651" y="57"/>
                  <a:pt x="11653" y="56"/>
                  <a:pt x="11654" y="57"/>
                </a:cubicBezTo>
                <a:cubicBezTo>
                  <a:pt x="11655" y="57"/>
                  <a:pt x="11656" y="58"/>
                  <a:pt x="11656" y="58"/>
                </a:cubicBezTo>
                <a:cubicBezTo>
                  <a:pt x="11658" y="59"/>
                  <a:pt x="11659" y="58"/>
                  <a:pt x="11659" y="57"/>
                </a:cubicBezTo>
                <a:cubicBezTo>
                  <a:pt x="11661" y="55"/>
                  <a:pt x="11661" y="55"/>
                  <a:pt x="11663" y="55"/>
                </a:cubicBezTo>
                <a:cubicBezTo>
                  <a:pt x="11665" y="56"/>
                  <a:pt x="11666" y="55"/>
                  <a:pt x="11668" y="55"/>
                </a:cubicBezTo>
                <a:cubicBezTo>
                  <a:pt x="11673" y="56"/>
                  <a:pt x="11678" y="56"/>
                  <a:pt x="11684" y="56"/>
                </a:cubicBezTo>
                <a:cubicBezTo>
                  <a:pt x="11684" y="56"/>
                  <a:pt x="11684" y="56"/>
                  <a:pt x="11684" y="57"/>
                </a:cubicBezTo>
                <a:cubicBezTo>
                  <a:pt x="11685" y="57"/>
                  <a:pt x="11686" y="57"/>
                  <a:pt x="11687" y="57"/>
                </a:cubicBezTo>
                <a:cubicBezTo>
                  <a:pt x="11688" y="58"/>
                  <a:pt x="11690" y="58"/>
                  <a:pt x="11691" y="58"/>
                </a:cubicBezTo>
                <a:cubicBezTo>
                  <a:pt x="11692" y="58"/>
                  <a:pt x="11692" y="58"/>
                  <a:pt x="11693" y="58"/>
                </a:cubicBezTo>
                <a:cubicBezTo>
                  <a:pt x="11693" y="58"/>
                  <a:pt x="11693" y="57"/>
                  <a:pt x="11694" y="57"/>
                </a:cubicBezTo>
                <a:cubicBezTo>
                  <a:pt x="11694" y="57"/>
                  <a:pt x="11695" y="57"/>
                  <a:pt x="11695" y="56"/>
                </a:cubicBezTo>
                <a:cubicBezTo>
                  <a:pt x="11718" y="57"/>
                  <a:pt x="11741" y="58"/>
                  <a:pt x="11765" y="58"/>
                </a:cubicBezTo>
                <a:cubicBezTo>
                  <a:pt x="11776" y="57"/>
                  <a:pt x="11786" y="57"/>
                  <a:pt x="11797" y="56"/>
                </a:cubicBezTo>
                <a:cubicBezTo>
                  <a:pt x="11802" y="56"/>
                  <a:pt x="11807" y="57"/>
                  <a:pt x="11812" y="56"/>
                </a:cubicBezTo>
                <a:cubicBezTo>
                  <a:pt x="11816" y="56"/>
                  <a:pt x="11820" y="55"/>
                  <a:pt x="11824" y="54"/>
                </a:cubicBezTo>
                <a:cubicBezTo>
                  <a:pt x="11825" y="53"/>
                  <a:pt x="11827" y="52"/>
                  <a:pt x="11828" y="51"/>
                </a:cubicBezTo>
                <a:cubicBezTo>
                  <a:pt x="11829" y="50"/>
                  <a:pt x="11829" y="49"/>
                  <a:pt x="11829" y="48"/>
                </a:cubicBezTo>
                <a:cubicBezTo>
                  <a:pt x="11828" y="47"/>
                  <a:pt x="11828" y="47"/>
                  <a:pt x="11828" y="47"/>
                </a:cubicBez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205764275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 Column Pictu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9541DB-9159-52E1-36ED-A2271EFDC027}"/>
              </a:ext>
            </a:extLst>
          </p:cNvPr>
          <p:cNvSpPr>
            <a:spLocks noGrp="1"/>
          </p:cNvSpPr>
          <p:nvPr>
            <p:ph type="title"/>
          </p:nvPr>
        </p:nvSpPr>
        <p:spPr/>
        <p:txBody>
          <a:bodyPr/>
          <a:lstStyle/>
          <a:p>
            <a:r>
              <a:rPr lang="en-GB"/>
              <a:t>Click to edit Master title style</a:t>
            </a:r>
          </a:p>
        </p:txBody>
      </p:sp>
      <p:sp>
        <p:nvSpPr>
          <p:cNvPr id="4" name="Date Placeholder 3">
            <a:extLst>
              <a:ext uri="{FF2B5EF4-FFF2-40B4-BE49-F238E27FC236}">
                <a16:creationId xmlns:a16="http://schemas.microsoft.com/office/drawing/2014/main" id="{0F414784-DF0B-C117-2497-A8A415ABF3CE}"/>
              </a:ext>
            </a:extLst>
          </p:cNvPr>
          <p:cNvSpPr>
            <a:spLocks noGrp="1"/>
          </p:cNvSpPr>
          <p:nvPr>
            <p:ph type="dt" sz="half" idx="10"/>
          </p:nvPr>
        </p:nvSpPr>
        <p:spPr/>
        <p:txBody>
          <a:bodyPr/>
          <a:lstStyle/>
          <a:p>
            <a:r>
              <a:rPr lang="en-US"/>
              <a:t>25 March 2026</a:t>
            </a:r>
            <a:endParaRPr lang="en-GB"/>
          </a:p>
        </p:txBody>
      </p:sp>
      <p:sp>
        <p:nvSpPr>
          <p:cNvPr id="5" name="Footer Placeholder 4">
            <a:extLst>
              <a:ext uri="{FF2B5EF4-FFF2-40B4-BE49-F238E27FC236}">
                <a16:creationId xmlns:a16="http://schemas.microsoft.com/office/drawing/2014/main" id="{746C971E-9D30-B3A7-DEE4-B7BB3F23D10F}"/>
              </a:ext>
            </a:extLst>
          </p:cNvPr>
          <p:cNvSpPr>
            <a:spLocks noGrp="1"/>
          </p:cNvSpPr>
          <p:nvPr>
            <p:ph type="ftr" sz="quarter" idx="11"/>
          </p:nvPr>
        </p:nvSpPr>
        <p:spPr/>
        <p:txBody>
          <a:bodyPr/>
          <a:lstStyle/>
          <a:p>
            <a:r>
              <a:rPr lang="en-GB"/>
              <a:t>Q member event</a:t>
            </a:r>
          </a:p>
        </p:txBody>
      </p:sp>
      <p:sp>
        <p:nvSpPr>
          <p:cNvPr id="6" name="Slide Number Placeholder 5">
            <a:extLst>
              <a:ext uri="{FF2B5EF4-FFF2-40B4-BE49-F238E27FC236}">
                <a16:creationId xmlns:a16="http://schemas.microsoft.com/office/drawing/2014/main" id="{F736F856-1147-9EF5-CC3C-F2CDFD6CB6DE}"/>
              </a:ext>
            </a:extLst>
          </p:cNvPr>
          <p:cNvSpPr>
            <a:spLocks noGrp="1"/>
          </p:cNvSpPr>
          <p:nvPr>
            <p:ph type="sldNum" sz="quarter" idx="12"/>
          </p:nvPr>
        </p:nvSpPr>
        <p:spPr/>
        <p:txBody>
          <a:bodyPr/>
          <a:lstStyle/>
          <a:p>
            <a:fld id="{C790EBD1-482B-4C6F-AFC1-9F7ACF0A1A11}" type="slidenum">
              <a:rPr lang="en-GB" smtClean="0"/>
              <a:t>‹#›</a:t>
            </a:fld>
            <a:endParaRPr lang="en-GB"/>
          </a:p>
        </p:txBody>
      </p:sp>
      <p:sp>
        <p:nvSpPr>
          <p:cNvPr id="8" name="Picture Placeholder 9">
            <a:extLst>
              <a:ext uri="{FF2B5EF4-FFF2-40B4-BE49-F238E27FC236}">
                <a16:creationId xmlns:a16="http://schemas.microsoft.com/office/drawing/2014/main" id="{3091C926-009A-220E-8908-29DFE4B2A79D}"/>
              </a:ext>
            </a:extLst>
          </p:cNvPr>
          <p:cNvSpPr>
            <a:spLocks noGrp="1"/>
          </p:cNvSpPr>
          <p:nvPr>
            <p:ph type="pic" sz="quarter" idx="14"/>
          </p:nvPr>
        </p:nvSpPr>
        <p:spPr>
          <a:xfrm>
            <a:off x="457200" y="1524000"/>
            <a:ext cx="11277600" cy="4508500"/>
          </a:xfrm>
          <a:solidFill>
            <a:schemeClr val="bg1">
              <a:lumMod val="95000"/>
            </a:schemeClr>
          </a:solidFill>
        </p:spPr>
        <p:txBody>
          <a:bodyPr anchor="ctr" anchorCtr="1"/>
          <a:lstStyle>
            <a:lvl1pPr algn="ctr">
              <a:defRPr b="0"/>
            </a:lvl1pPr>
          </a:lstStyle>
          <a:p>
            <a:r>
              <a:rPr lang="en-GB"/>
              <a:t>Click icon to add picture</a:t>
            </a:r>
          </a:p>
        </p:txBody>
      </p:sp>
      <p:sp>
        <p:nvSpPr>
          <p:cNvPr id="3" name="Freeform 5">
            <a:extLst>
              <a:ext uri="{FF2B5EF4-FFF2-40B4-BE49-F238E27FC236}">
                <a16:creationId xmlns:a16="http://schemas.microsoft.com/office/drawing/2014/main" id="{79B33BAC-1F9A-40CE-41DE-ADFDD31D439E}"/>
              </a:ext>
            </a:extLst>
          </p:cNvPr>
          <p:cNvSpPr>
            <a:spLocks/>
          </p:cNvSpPr>
          <p:nvPr userDrawn="1"/>
        </p:nvSpPr>
        <p:spPr bwMode="auto">
          <a:xfrm>
            <a:off x="457200" y="6184803"/>
            <a:ext cx="11293312" cy="57600"/>
          </a:xfrm>
          <a:custGeom>
            <a:avLst/>
            <a:gdLst>
              <a:gd name="T0" fmla="*/ 11754 w 11830"/>
              <a:gd name="T1" fmla="*/ 5 h 60"/>
              <a:gd name="T2" fmla="*/ 11665 w 11830"/>
              <a:gd name="T3" fmla="*/ 3 h 60"/>
              <a:gd name="T4" fmla="*/ 10458 w 11830"/>
              <a:gd name="T5" fmla="*/ 8 h 60"/>
              <a:gd name="T6" fmla="*/ 9631 w 11830"/>
              <a:gd name="T7" fmla="*/ 9 h 60"/>
              <a:gd name="T8" fmla="*/ 9276 w 11830"/>
              <a:gd name="T9" fmla="*/ 7 h 60"/>
              <a:gd name="T10" fmla="*/ 8873 w 11830"/>
              <a:gd name="T11" fmla="*/ 7 h 60"/>
              <a:gd name="T12" fmla="*/ 8453 w 11830"/>
              <a:gd name="T13" fmla="*/ 4 h 60"/>
              <a:gd name="T14" fmla="*/ 7526 w 11830"/>
              <a:gd name="T15" fmla="*/ 4 h 60"/>
              <a:gd name="T16" fmla="*/ 7003 w 11830"/>
              <a:gd name="T17" fmla="*/ 2 h 60"/>
              <a:gd name="T18" fmla="*/ 6547 w 11830"/>
              <a:gd name="T19" fmla="*/ 3 h 60"/>
              <a:gd name="T20" fmla="*/ 6086 w 11830"/>
              <a:gd name="T21" fmla="*/ 5 h 60"/>
              <a:gd name="T22" fmla="*/ 5731 w 11830"/>
              <a:gd name="T23" fmla="*/ 6 h 60"/>
              <a:gd name="T24" fmla="*/ 5501 w 11830"/>
              <a:gd name="T25" fmla="*/ 3 h 60"/>
              <a:gd name="T26" fmla="*/ 5358 w 11830"/>
              <a:gd name="T27" fmla="*/ 3 h 60"/>
              <a:gd name="T28" fmla="*/ 5047 w 11830"/>
              <a:gd name="T29" fmla="*/ 3 h 60"/>
              <a:gd name="T30" fmla="*/ 4870 w 11830"/>
              <a:gd name="T31" fmla="*/ 5 h 60"/>
              <a:gd name="T32" fmla="*/ 4531 w 11830"/>
              <a:gd name="T33" fmla="*/ 6 h 60"/>
              <a:gd name="T34" fmla="*/ 4227 w 11830"/>
              <a:gd name="T35" fmla="*/ 7 h 60"/>
              <a:gd name="T36" fmla="*/ 3756 w 11830"/>
              <a:gd name="T37" fmla="*/ 8 h 60"/>
              <a:gd name="T38" fmla="*/ 3345 w 11830"/>
              <a:gd name="T39" fmla="*/ 8 h 60"/>
              <a:gd name="T40" fmla="*/ 2866 w 11830"/>
              <a:gd name="T41" fmla="*/ 7 h 60"/>
              <a:gd name="T42" fmla="*/ 2614 w 11830"/>
              <a:gd name="T43" fmla="*/ 5 h 60"/>
              <a:gd name="T44" fmla="*/ 2388 w 11830"/>
              <a:gd name="T45" fmla="*/ 8 h 60"/>
              <a:gd name="T46" fmla="*/ 2137 w 11830"/>
              <a:gd name="T47" fmla="*/ 3 h 60"/>
              <a:gd name="T48" fmla="*/ 1820 w 11830"/>
              <a:gd name="T49" fmla="*/ 4 h 60"/>
              <a:gd name="T50" fmla="*/ 1474 w 11830"/>
              <a:gd name="T51" fmla="*/ 3 h 60"/>
              <a:gd name="T52" fmla="*/ 1351 w 11830"/>
              <a:gd name="T53" fmla="*/ 2 h 60"/>
              <a:gd name="T54" fmla="*/ 1145 w 11830"/>
              <a:gd name="T55" fmla="*/ 2 h 60"/>
              <a:gd name="T56" fmla="*/ 871 w 11830"/>
              <a:gd name="T57" fmla="*/ 3 h 60"/>
              <a:gd name="T58" fmla="*/ 639 w 11830"/>
              <a:gd name="T59" fmla="*/ 4 h 60"/>
              <a:gd name="T60" fmla="*/ 457 w 11830"/>
              <a:gd name="T61" fmla="*/ 3 h 60"/>
              <a:gd name="T62" fmla="*/ 157 w 11830"/>
              <a:gd name="T63" fmla="*/ 3 h 60"/>
              <a:gd name="T64" fmla="*/ 83 w 11830"/>
              <a:gd name="T65" fmla="*/ 54 h 60"/>
              <a:gd name="T66" fmla="*/ 1390 w 11830"/>
              <a:gd name="T67" fmla="*/ 50 h 60"/>
              <a:gd name="T68" fmla="*/ 2221 w 11830"/>
              <a:gd name="T69" fmla="*/ 49 h 60"/>
              <a:gd name="T70" fmla="*/ 2606 w 11830"/>
              <a:gd name="T71" fmla="*/ 52 h 60"/>
              <a:gd name="T72" fmla="*/ 2985 w 11830"/>
              <a:gd name="T73" fmla="*/ 52 h 60"/>
              <a:gd name="T74" fmla="*/ 3428 w 11830"/>
              <a:gd name="T75" fmla="*/ 54 h 60"/>
              <a:gd name="T76" fmla="*/ 4520 w 11830"/>
              <a:gd name="T77" fmla="*/ 54 h 60"/>
              <a:gd name="T78" fmla="*/ 4885 w 11830"/>
              <a:gd name="T79" fmla="*/ 53 h 60"/>
              <a:gd name="T80" fmla="*/ 5255 w 11830"/>
              <a:gd name="T81" fmla="*/ 54 h 60"/>
              <a:gd name="T82" fmla="*/ 5655 w 11830"/>
              <a:gd name="T83" fmla="*/ 51 h 60"/>
              <a:gd name="T84" fmla="*/ 6196 w 11830"/>
              <a:gd name="T85" fmla="*/ 54 h 60"/>
              <a:gd name="T86" fmla="*/ 6491 w 11830"/>
              <a:gd name="T87" fmla="*/ 56 h 60"/>
              <a:gd name="T88" fmla="*/ 6723 w 11830"/>
              <a:gd name="T89" fmla="*/ 57 h 60"/>
              <a:gd name="T90" fmla="*/ 6936 w 11830"/>
              <a:gd name="T91" fmla="*/ 54 h 60"/>
              <a:gd name="T92" fmla="*/ 7150 w 11830"/>
              <a:gd name="T93" fmla="*/ 53 h 60"/>
              <a:gd name="T94" fmla="*/ 7433 w 11830"/>
              <a:gd name="T95" fmla="*/ 52 h 60"/>
              <a:gd name="T96" fmla="*/ 7830 w 11830"/>
              <a:gd name="T97" fmla="*/ 52 h 60"/>
              <a:gd name="T98" fmla="*/ 8274 w 11830"/>
              <a:gd name="T99" fmla="*/ 51 h 60"/>
              <a:gd name="T100" fmla="*/ 8700 w 11830"/>
              <a:gd name="T101" fmla="*/ 50 h 60"/>
              <a:gd name="T102" fmla="*/ 9077 w 11830"/>
              <a:gd name="T103" fmla="*/ 51 h 60"/>
              <a:gd name="T104" fmla="*/ 9302 w 11830"/>
              <a:gd name="T105" fmla="*/ 53 h 60"/>
              <a:gd name="T106" fmla="*/ 9538 w 11830"/>
              <a:gd name="T107" fmla="*/ 54 h 60"/>
              <a:gd name="T108" fmla="*/ 9855 w 11830"/>
              <a:gd name="T109" fmla="*/ 55 h 60"/>
              <a:gd name="T110" fmla="*/ 10279 w 11830"/>
              <a:gd name="T111" fmla="*/ 55 h 60"/>
              <a:gd name="T112" fmla="*/ 10495 w 11830"/>
              <a:gd name="T113" fmla="*/ 58 h 60"/>
              <a:gd name="T114" fmla="*/ 10755 w 11830"/>
              <a:gd name="T115" fmla="*/ 56 h 60"/>
              <a:gd name="T116" fmla="*/ 11049 w 11830"/>
              <a:gd name="T117" fmla="*/ 58 h 60"/>
              <a:gd name="T118" fmla="*/ 11259 w 11830"/>
              <a:gd name="T119" fmla="*/ 55 h 60"/>
              <a:gd name="T120" fmla="*/ 11479 w 11830"/>
              <a:gd name="T121" fmla="*/ 51 h 60"/>
              <a:gd name="T122" fmla="*/ 11691 w 11830"/>
              <a:gd name="T123" fmla="*/ 5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830" h="60">
                <a:moveTo>
                  <a:pt x="11828" y="47"/>
                </a:moveTo>
                <a:lnTo>
                  <a:pt x="11828" y="47"/>
                </a:lnTo>
                <a:cubicBezTo>
                  <a:pt x="11828" y="46"/>
                  <a:pt x="11828" y="46"/>
                  <a:pt x="11829" y="45"/>
                </a:cubicBezTo>
                <a:cubicBezTo>
                  <a:pt x="11829" y="45"/>
                  <a:pt x="11828" y="44"/>
                  <a:pt x="11828" y="43"/>
                </a:cubicBezTo>
                <a:cubicBezTo>
                  <a:pt x="11828" y="43"/>
                  <a:pt x="11828" y="43"/>
                  <a:pt x="11828" y="43"/>
                </a:cubicBezTo>
                <a:cubicBezTo>
                  <a:pt x="11828" y="42"/>
                  <a:pt x="11829" y="42"/>
                  <a:pt x="11829" y="42"/>
                </a:cubicBezTo>
                <a:cubicBezTo>
                  <a:pt x="11829" y="42"/>
                  <a:pt x="11829" y="41"/>
                  <a:pt x="11829" y="41"/>
                </a:cubicBezTo>
                <a:cubicBezTo>
                  <a:pt x="11830" y="40"/>
                  <a:pt x="11829" y="39"/>
                  <a:pt x="11829" y="38"/>
                </a:cubicBezTo>
                <a:cubicBezTo>
                  <a:pt x="11829" y="38"/>
                  <a:pt x="11829" y="37"/>
                  <a:pt x="11829" y="37"/>
                </a:cubicBezTo>
                <a:cubicBezTo>
                  <a:pt x="11829" y="36"/>
                  <a:pt x="11829" y="35"/>
                  <a:pt x="11829" y="34"/>
                </a:cubicBezTo>
                <a:cubicBezTo>
                  <a:pt x="11829" y="32"/>
                  <a:pt x="11829" y="31"/>
                  <a:pt x="11829" y="30"/>
                </a:cubicBezTo>
                <a:cubicBezTo>
                  <a:pt x="11829" y="27"/>
                  <a:pt x="11828" y="25"/>
                  <a:pt x="11827" y="22"/>
                </a:cubicBezTo>
                <a:cubicBezTo>
                  <a:pt x="11826" y="21"/>
                  <a:pt x="11826" y="20"/>
                  <a:pt x="11825" y="19"/>
                </a:cubicBezTo>
                <a:cubicBezTo>
                  <a:pt x="11825" y="19"/>
                  <a:pt x="11825" y="18"/>
                  <a:pt x="11825" y="18"/>
                </a:cubicBezTo>
                <a:cubicBezTo>
                  <a:pt x="11824" y="17"/>
                  <a:pt x="11824" y="17"/>
                  <a:pt x="11824" y="16"/>
                </a:cubicBezTo>
                <a:cubicBezTo>
                  <a:pt x="11823" y="15"/>
                  <a:pt x="11824" y="13"/>
                  <a:pt x="11824" y="11"/>
                </a:cubicBezTo>
                <a:cubicBezTo>
                  <a:pt x="11823" y="9"/>
                  <a:pt x="11823" y="8"/>
                  <a:pt x="11822" y="6"/>
                </a:cubicBezTo>
                <a:cubicBezTo>
                  <a:pt x="11822" y="6"/>
                  <a:pt x="11821" y="6"/>
                  <a:pt x="11821" y="6"/>
                </a:cubicBezTo>
                <a:cubicBezTo>
                  <a:pt x="11821" y="5"/>
                  <a:pt x="11818" y="4"/>
                  <a:pt x="11817" y="4"/>
                </a:cubicBezTo>
                <a:cubicBezTo>
                  <a:pt x="11808" y="3"/>
                  <a:pt x="11807" y="5"/>
                  <a:pt x="11799" y="4"/>
                </a:cubicBezTo>
                <a:cubicBezTo>
                  <a:pt x="11794" y="3"/>
                  <a:pt x="11790" y="4"/>
                  <a:pt x="11784" y="4"/>
                </a:cubicBezTo>
                <a:cubicBezTo>
                  <a:pt x="11782" y="4"/>
                  <a:pt x="11775" y="4"/>
                  <a:pt x="11772" y="4"/>
                </a:cubicBezTo>
                <a:cubicBezTo>
                  <a:pt x="11770" y="4"/>
                  <a:pt x="11761" y="5"/>
                  <a:pt x="11760" y="5"/>
                </a:cubicBezTo>
                <a:cubicBezTo>
                  <a:pt x="11759" y="5"/>
                  <a:pt x="11759" y="5"/>
                  <a:pt x="11759" y="5"/>
                </a:cubicBezTo>
                <a:cubicBezTo>
                  <a:pt x="11757" y="5"/>
                  <a:pt x="11756" y="5"/>
                  <a:pt x="11754" y="5"/>
                </a:cubicBezTo>
                <a:cubicBezTo>
                  <a:pt x="11754" y="5"/>
                  <a:pt x="11754" y="5"/>
                  <a:pt x="11753" y="5"/>
                </a:cubicBezTo>
                <a:cubicBezTo>
                  <a:pt x="11751" y="5"/>
                  <a:pt x="11749" y="5"/>
                  <a:pt x="11747" y="5"/>
                </a:cubicBezTo>
                <a:cubicBezTo>
                  <a:pt x="11747" y="4"/>
                  <a:pt x="11747" y="4"/>
                  <a:pt x="11747" y="4"/>
                </a:cubicBezTo>
                <a:cubicBezTo>
                  <a:pt x="11746" y="4"/>
                  <a:pt x="11744" y="3"/>
                  <a:pt x="11743" y="4"/>
                </a:cubicBezTo>
                <a:cubicBezTo>
                  <a:pt x="11743" y="4"/>
                  <a:pt x="11743" y="4"/>
                  <a:pt x="11744" y="4"/>
                </a:cubicBezTo>
                <a:cubicBezTo>
                  <a:pt x="11744" y="4"/>
                  <a:pt x="11744" y="4"/>
                  <a:pt x="11744" y="4"/>
                </a:cubicBezTo>
                <a:cubicBezTo>
                  <a:pt x="11738" y="4"/>
                  <a:pt x="11732" y="4"/>
                  <a:pt x="11726" y="4"/>
                </a:cubicBezTo>
                <a:cubicBezTo>
                  <a:pt x="11724" y="4"/>
                  <a:pt x="11723" y="4"/>
                  <a:pt x="11722" y="4"/>
                </a:cubicBezTo>
                <a:cubicBezTo>
                  <a:pt x="11720" y="4"/>
                  <a:pt x="11719" y="4"/>
                  <a:pt x="11717" y="4"/>
                </a:cubicBezTo>
                <a:cubicBezTo>
                  <a:pt x="11716" y="4"/>
                  <a:pt x="11714" y="4"/>
                  <a:pt x="11713" y="4"/>
                </a:cubicBezTo>
                <a:cubicBezTo>
                  <a:pt x="11712" y="4"/>
                  <a:pt x="11710" y="4"/>
                  <a:pt x="11710" y="4"/>
                </a:cubicBezTo>
                <a:cubicBezTo>
                  <a:pt x="11710" y="4"/>
                  <a:pt x="11710" y="4"/>
                  <a:pt x="11710" y="4"/>
                </a:cubicBezTo>
                <a:cubicBezTo>
                  <a:pt x="11708" y="4"/>
                  <a:pt x="11707" y="4"/>
                  <a:pt x="11706" y="4"/>
                </a:cubicBezTo>
                <a:cubicBezTo>
                  <a:pt x="11705" y="4"/>
                  <a:pt x="11704" y="4"/>
                  <a:pt x="11704" y="4"/>
                </a:cubicBezTo>
                <a:cubicBezTo>
                  <a:pt x="11703" y="4"/>
                  <a:pt x="11702" y="4"/>
                  <a:pt x="11701" y="4"/>
                </a:cubicBezTo>
                <a:cubicBezTo>
                  <a:pt x="11701" y="4"/>
                  <a:pt x="11701" y="4"/>
                  <a:pt x="11701" y="4"/>
                </a:cubicBezTo>
                <a:cubicBezTo>
                  <a:pt x="11700" y="4"/>
                  <a:pt x="11700" y="4"/>
                  <a:pt x="11699" y="4"/>
                </a:cubicBezTo>
                <a:cubicBezTo>
                  <a:pt x="11699" y="4"/>
                  <a:pt x="11698" y="4"/>
                  <a:pt x="11698" y="4"/>
                </a:cubicBezTo>
                <a:cubicBezTo>
                  <a:pt x="11698" y="4"/>
                  <a:pt x="11698" y="4"/>
                  <a:pt x="11698" y="4"/>
                </a:cubicBezTo>
                <a:cubicBezTo>
                  <a:pt x="11691" y="4"/>
                  <a:pt x="11683" y="4"/>
                  <a:pt x="11676" y="4"/>
                </a:cubicBezTo>
                <a:cubicBezTo>
                  <a:pt x="11676" y="3"/>
                  <a:pt x="11676" y="3"/>
                  <a:pt x="11675" y="3"/>
                </a:cubicBezTo>
                <a:cubicBezTo>
                  <a:pt x="11675" y="3"/>
                  <a:pt x="11675" y="3"/>
                  <a:pt x="11675" y="4"/>
                </a:cubicBezTo>
                <a:cubicBezTo>
                  <a:pt x="11674" y="4"/>
                  <a:pt x="11673" y="4"/>
                  <a:pt x="11672" y="4"/>
                </a:cubicBezTo>
                <a:cubicBezTo>
                  <a:pt x="11671" y="3"/>
                  <a:pt x="11671" y="3"/>
                  <a:pt x="11670" y="3"/>
                </a:cubicBezTo>
                <a:cubicBezTo>
                  <a:pt x="11668" y="3"/>
                  <a:pt x="11667" y="3"/>
                  <a:pt x="11665" y="3"/>
                </a:cubicBezTo>
                <a:cubicBezTo>
                  <a:pt x="11662" y="3"/>
                  <a:pt x="11659" y="3"/>
                  <a:pt x="11658" y="3"/>
                </a:cubicBezTo>
                <a:cubicBezTo>
                  <a:pt x="11657" y="4"/>
                  <a:pt x="11655" y="3"/>
                  <a:pt x="11653" y="3"/>
                </a:cubicBezTo>
                <a:cubicBezTo>
                  <a:pt x="11653" y="3"/>
                  <a:pt x="11653" y="3"/>
                  <a:pt x="11652" y="3"/>
                </a:cubicBezTo>
                <a:cubicBezTo>
                  <a:pt x="11652" y="3"/>
                  <a:pt x="11652" y="3"/>
                  <a:pt x="11652" y="3"/>
                </a:cubicBezTo>
                <a:cubicBezTo>
                  <a:pt x="11651" y="3"/>
                  <a:pt x="11649" y="3"/>
                  <a:pt x="11648" y="3"/>
                </a:cubicBezTo>
                <a:cubicBezTo>
                  <a:pt x="11648" y="3"/>
                  <a:pt x="11647" y="3"/>
                  <a:pt x="11647" y="3"/>
                </a:cubicBezTo>
                <a:cubicBezTo>
                  <a:pt x="11646" y="3"/>
                  <a:pt x="11645" y="3"/>
                  <a:pt x="11644" y="3"/>
                </a:cubicBezTo>
                <a:cubicBezTo>
                  <a:pt x="11643" y="3"/>
                  <a:pt x="11643" y="3"/>
                  <a:pt x="11642" y="3"/>
                </a:cubicBezTo>
                <a:cubicBezTo>
                  <a:pt x="11632" y="3"/>
                  <a:pt x="11623" y="3"/>
                  <a:pt x="11613" y="3"/>
                </a:cubicBezTo>
                <a:cubicBezTo>
                  <a:pt x="11604" y="3"/>
                  <a:pt x="11595" y="4"/>
                  <a:pt x="11586" y="4"/>
                </a:cubicBezTo>
                <a:cubicBezTo>
                  <a:pt x="11579" y="4"/>
                  <a:pt x="11572" y="4"/>
                  <a:pt x="11565" y="4"/>
                </a:cubicBezTo>
                <a:cubicBezTo>
                  <a:pt x="11554" y="4"/>
                  <a:pt x="11542" y="3"/>
                  <a:pt x="11531" y="5"/>
                </a:cubicBezTo>
                <a:cubicBezTo>
                  <a:pt x="11526" y="5"/>
                  <a:pt x="11523" y="6"/>
                  <a:pt x="11517" y="6"/>
                </a:cubicBezTo>
                <a:cubicBezTo>
                  <a:pt x="11512" y="6"/>
                  <a:pt x="11507" y="6"/>
                  <a:pt x="11501" y="6"/>
                </a:cubicBezTo>
                <a:cubicBezTo>
                  <a:pt x="11363" y="5"/>
                  <a:pt x="11024" y="4"/>
                  <a:pt x="10959" y="5"/>
                </a:cubicBezTo>
                <a:cubicBezTo>
                  <a:pt x="10945" y="5"/>
                  <a:pt x="10915" y="5"/>
                  <a:pt x="10892" y="5"/>
                </a:cubicBezTo>
                <a:cubicBezTo>
                  <a:pt x="10868" y="5"/>
                  <a:pt x="10833" y="6"/>
                  <a:pt x="10813" y="6"/>
                </a:cubicBezTo>
                <a:cubicBezTo>
                  <a:pt x="10702" y="7"/>
                  <a:pt x="10658" y="7"/>
                  <a:pt x="10548" y="7"/>
                </a:cubicBezTo>
                <a:cubicBezTo>
                  <a:pt x="10538" y="7"/>
                  <a:pt x="10528" y="7"/>
                  <a:pt x="10518" y="7"/>
                </a:cubicBezTo>
                <a:cubicBezTo>
                  <a:pt x="10515" y="7"/>
                  <a:pt x="10511" y="7"/>
                  <a:pt x="10507" y="7"/>
                </a:cubicBezTo>
                <a:cubicBezTo>
                  <a:pt x="10504" y="7"/>
                  <a:pt x="10501" y="8"/>
                  <a:pt x="10499" y="8"/>
                </a:cubicBezTo>
                <a:cubicBezTo>
                  <a:pt x="10494" y="9"/>
                  <a:pt x="10493" y="9"/>
                  <a:pt x="10488" y="8"/>
                </a:cubicBezTo>
                <a:cubicBezTo>
                  <a:pt x="10485" y="7"/>
                  <a:pt x="10481" y="6"/>
                  <a:pt x="10477" y="7"/>
                </a:cubicBezTo>
                <a:cubicBezTo>
                  <a:pt x="10476" y="7"/>
                  <a:pt x="10476" y="8"/>
                  <a:pt x="10475" y="8"/>
                </a:cubicBezTo>
                <a:cubicBezTo>
                  <a:pt x="10471" y="9"/>
                  <a:pt x="10463" y="8"/>
                  <a:pt x="10458" y="8"/>
                </a:cubicBezTo>
                <a:cubicBezTo>
                  <a:pt x="10452" y="8"/>
                  <a:pt x="10445" y="8"/>
                  <a:pt x="10439" y="8"/>
                </a:cubicBezTo>
                <a:cubicBezTo>
                  <a:pt x="10426" y="8"/>
                  <a:pt x="10413" y="8"/>
                  <a:pt x="10400" y="8"/>
                </a:cubicBezTo>
                <a:cubicBezTo>
                  <a:pt x="10360" y="8"/>
                  <a:pt x="10325" y="8"/>
                  <a:pt x="10322" y="8"/>
                </a:cubicBezTo>
                <a:cubicBezTo>
                  <a:pt x="10320" y="8"/>
                  <a:pt x="10318" y="9"/>
                  <a:pt x="10316" y="9"/>
                </a:cubicBezTo>
                <a:cubicBezTo>
                  <a:pt x="10314" y="8"/>
                  <a:pt x="10311" y="7"/>
                  <a:pt x="10306" y="8"/>
                </a:cubicBezTo>
                <a:cubicBezTo>
                  <a:pt x="10301" y="8"/>
                  <a:pt x="10296" y="8"/>
                  <a:pt x="10289" y="8"/>
                </a:cubicBezTo>
                <a:cubicBezTo>
                  <a:pt x="10282" y="8"/>
                  <a:pt x="10275" y="8"/>
                  <a:pt x="10267" y="8"/>
                </a:cubicBezTo>
                <a:cubicBezTo>
                  <a:pt x="10253" y="8"/>
                  <a:pt x="10238" y="8"/>
                  <a:pt x="10223" y="8"/>
                </a:cubicBezTo>
                <a:cubicBezTo>
                  <a:pt x="10158" y="8"/>
                  <a:pt x="10092" y="8"/>
                  <a:pt x="10027" y="7"/>
                </a:cubicBezTo>
                <a:cubicBezTo>
                  <a:pt x="9998" y="7"/>
                  <a:pt x="9969" y="7"/>
                  <a:pt x="9941" y="7"/>
                </a:cubicBezTo>
                <a:cubicBezTo>
                  <a:pt x="9920" y="7"/>
                  <a:pt x="9898" y="7"/>
                  <a:pt x="9877" y="7"/>
                </a:cubicBezTo>
                <a:cubicBezTo>
                  <a:pt x="9857" y="7"/>
                  <a:pt x="9836" y="7"/>
                  <a:pt x="9815" y="7"/>
                </a:cubicBezTo>
                <a:cubicBezTo>
                  <a:pt x="9806" y="7"/>
                  <a:pt x="9797" y="7"/>
                  <a:pt x="9788" y="7"/>
                </a:cubicBezTo>
                <a:lnTo>
                  <a:pt x="9776" y="7"/>
                </a:lnTo>
                <a:cubicBezTo>
                  <a:pt x="9773" y="7"/>
                  <a:pt x="9766" y="7"/>
                  <a:pt x="9764" y="7"/>
                </a:cubicBezTo>
                <a:cubicBezTo>
                  <a:pt x="9762" y="7"/>
                  <a:pt x="9761" y="7"/>
                  <a:pt x="9759" y="7"/>
                </a:cubicBezTo>
                <a:cubicBezTo>
                  <a:pt x="9759" y="7"/>
                  <a:pt x="9758" y="7"/>
                  <a:pt x="9757" y="7"/>
                </a:cubicBezTo>
                <a:cubicBezTo>
                  <a:pt x="9753" y="7"/>
                  <a:pt x="9751" y="9"/>
                  <a:pt x="9747" y="9"/>
                </a:cubicBezTo>
                <a:cubicBezTo>
                  <a:pt x="9744" y="9"/>
                  <a:pt x="9740" y="8"/>
                  <a:pt x="9737" y="7"/>
                </a:cubicBezTo>
                <a:cubicBezTo>
                  <a:pt x="9732" y="7"/>
                  <a:pt x="9725" y="7"/>
                  <a:pt x="9720" y="7"/>
                </a:cubicBezTo>
                <a:cubicBezTo>
                  <a:pt x="9711" y="7"/>
                  <a:pt x="9703" y="7"/>
                  <a:pt x="9694" y="7"/>
                </a:cubicBezTo>
                <a:cubicBezTo>
                  <a:pt x="9689" y="7"/>
                  <a:pt x="9664" y="6"/>
                  <a:pt x="9662" y="8"/>
                </a:cubicBezTo>
                <a:cubicBezTo>
                  <a:pt x="9662" y="9"/>
                  <a:pt x="9662" y="9"/>
                  <a:pt x="9662" y="9"/>
                </a:cubicBezTo>
                <a:cubicBezTo>
                  <a:pt x="9661" y="10"/>
                  <a:pt x="9650" y="10"/>
                  <a:pt x="9648" y="10"/>
                </a:cubicBezTo>
                <a:cubicBezTo>
                  <a:pt x="9645" y="10"/>
                  <a:pt x="9632" y="10"/>
                  <a:pt x="9631" y="9"/>
                </a:cubicBezTo>
                <a:cubicBezTo>
                  <a:pt x="9631" y="8"/>
                  <a:pt x="9628" y="8"/>
                  <a:pt x="9627" y="9"/>
                </a:cubicBezTo>
                <a:cubicBezTo>
                  <a:pt x="9623" y="9"/>
                  <a:pt x="9625" y="10"/>
                  <a:pt x="9620" y="10"/>
                </a:cubicBezTo>
                <a:cubicBezTo>
                  <a:pt x="9618" y="10"/>
                  <a:pt x="9615" y="10"/>
                  <a:pt x="9613" y="10"/>
                </a:cubicBezTo>
                <a:cubicBezTo>
                  <a:pt x="9610" y="10"/>
                  <a:pt x="9610" y="8"/>
                  <a:pt x="9607" y="8"/>
                </a:cubicBezTo>
                <a:cubicBezTo>
                  <a:pt x="9600" y="7"/>
                  <a:pt x="9590" y="7"/>
                  <a:pt x="9582" y="7"/>
                </a:cubicBezTo>
                <a:cubicBezTo>
                  <a:pt x="9575" y="7"/>
                  <a:pt x="9567" y="7"/>
                  <a:pt x="9562" y="9"/>
                </a:cubicBezTo>
                <a:cubicBezTo>
                  <a:pt x="9558" y="10"/>
                  <a:pt x="9555" y="9"/>
                  <a:pt x="9550" y="9"/>
                </a:cubicBezTo>
                <a:cubicBezTo>
                  <a:pt x="9544" y="8"/>
                  <a:pt x="9538" y="8"/>
                  <a:pt x="9532" y="8"/>
                </a:cubicBezTo>
                <a:cubicBezTo>
                  <a:pt x="9525" y="8"/>
                  <a:pt x="9521" y="8"/>
                  <a:pt x="9515" y="9"/>
                </a:cubicBezTo>
                <a:cubicBezTo>
                  <a:pt x="9512" y="9"/>
                  <a:pt x="9508" y="10"/>
                  <a:pt x="9506" y="10"/>
                </a:cubicBezTo>
                <a:cubicBezTo>
                  <a:pt x="9503" y="10"/>
                  <a:pt x="9500" y="9"/>
                  <a:pt x="9498" y="9"/>
                </a:cubicBezTo>
                <a:cubicBezTo>
                  <a:pt x="9496" y="9"/>
                  <a:pt x="9494" y="8"/>
                  <a:pt x="9492" y="8"/>
                </a:cubicBezTo>
                <a:cubicBezTo>
                  <a:pt x="9487" y="7"/>
                  <a:pt x="9481" y="7"/>
                  <a:pt x="9476" y="7"/>
                </a:cubicBezTo>
                <a:cubicBezTo>
                  <a:pt x="9469" y="7"/>
                  <a:pt x="9462" y="7"/>
                  <a:pt x="9455" y="7"/>
                </a:cubicBezTo>
                <a:cubicBezTo>
                  <a:pt x="9434" y="7"/>
                  <a:pt x="9413" y="7"/>
                  <a:pt x="9392" y="7"/>
                </a:cubicBezTo>
                <a:cubicBezTo>
                  <a:pt x="9382" y="7"/>
                  <a:pt x="9373" y="7"/>
                  <a:pt x="9364" y="7"/>
                </a:cubicBezTo>
                <a:cubicBezTo>
                  <a:pt x="9358" y="7"/>
                  <a:pt x="9351" y="7"/>
                  <a:pt x="9345" y="8"/>
                </a:cubicBezTo>
                <a:cubicBezTo>
                  <a:pt x="9340" y="8"/>
                  <a:pt x="9337" y="9"/>
                  <a:pt x="9333" y="10"/>
                </a:cubicBezTo>
                <a:cubicBezTo>
                  <a:pt x="9330" y="10"/>
                  <a:pt x="9326" y="10"/>
                  <a:pt x="9323" y="9"/>
                </a:cubicBezTo>
                <a:cubicBezTo>
                  <a:pt x="9321" y="9"/>
                  <a:pt x="9314" y="9"/>
                  <a:pt x="9306" y="9"/>
                </a:cubicBezTo>
                <a:cubicBezTo>
                  <a:pt x="9303" y="9"/>
                  <a:pt x="9299" y="10"/>
                  <a:pt x="9296" y="9"/>
                </a:cubicBezTo>
                <a:cubicBezTo>
                  <a:pt x="9294" y="9"/>
                  <a:pt x="9293" y="9"/>
                  <a:pt x="9293" y="8"/>
                </a:cubicBezTo>
                <a:cubicBezTo>
                  <a:pt x="9293" y="8"/>
                  <a:pt x="9294" y="8"/>
                  <a:pt x="9294" y="8"/>
                </a:cubicBezTo>
                <a:cubicBezTo>
                  <a:pt x="9294" y="7"/>
                  <a:pt x="9292" y="7"/>
                  <a:pt x="9290" y="7"/>
                </a:cubicBezTo>
                <a:cubicBezTo>
                  <a:pt x="9286" y="7"/>
                  <a:pt x="9281" y="7"/>
                  <a:pt x="9276" y="7"/>
                </a:cubicBezTo>
                <a:cubicBezTo>
                  <a:pt x="9263" y="7"/>
                  <a:pt x="9250" y="6"/>
                  <a:pt x="9247" y="6"/>
                </a:cubicBezTo>
                <a:cubicBezTo>
                  <a:pt x="9245" y="6"/>
                  <a:pt x="9225" y="6"/>
                  <a:pt x="9204" y="6"/>
                </a:cubicBezTo>
                <a:cubicBezTo>
                  <a:pt x="9197" y="6"/>
                  <a:pt x="9190" y="7"/>
                  <a:pt x="9183" y="7"/>
                </a:cubicBezTo>
                <a:cubicBezTo>
                  <a:pt x="9180" y="7"/>
                  <a:pt x="9171" y="6"/>
                  <a:pt x="9169" y="7"/>
                </a:cubicBezTo>
                <a:cubicBezTo>
                  <a:pt x="9167" y="8"/>
                  <a:pt x="9167" y="8"/>
                  <a:pt x="9164" y="9"/>
                </a:cubicBezTo>
                <a:cubicBezTo>
                  <a:pt x="9162" y="9"/>
                  <a:pt x="9158" y="8"/>
                  <a:pt x="9157" y="8"/>
                </a:cubicBezTo>
                <a:cubicBezTo>
                  <a:pt x="9157" y="8"/>
                  <a:pt x="9157" y="8"/>
                  <a:pt x="9157" y="7"/>
                </a:cubicBezTo>
                <a:cubicBezTo>
                  <a:pt x="9155" y="6"/>
                  <a:pt x="9138" y="7"/>
                  <a:pt x="9134" y="7"/>
                </a:cubicBezTo>
                <a:cubicBezTo>
                  <a:pt x="9111" y="7"/>
                  <a:pt x="9099" y="6"/>
                  <a:pt x="9083" y="5"/>
                </a:cubicBezTo>
                <a:cubicBezTo>
                  <a:pt x="9070" y="4"/>
                  <a:pt x="9019" y="4"/>
                  <a:pt x="8990" y="5"/>
                </a:cubicBezTo>
                <a:cubicBezTo>
                  <a:pt x="8986" y="5"/>
                  <a:pt x="8982" y="5"/>
                  <a:pt x="8978" y="6"/>
                </a:cubicBezTo>
                <a:cubicBezTo>
                  <a:pt x="8976" y="6"/>
                  <a:pt x="8973" y="6"/>
                  <a:pt x="8971" y="6"/>
                </a:cubicBezTo>
                <a:cubicBezTo>
                  <a:pt x="8970" y="6"/>
                  <a:pt x="8969" y="6"/>
                  <a:pt x="8968" y="6"/>
                </a:cubicBezTo>
                <a:cubicBezTo>
                  <a:pt x="8966" y="6"/>
                  <a:pt x="8965" y="6"/>
                  <a:pt x="8964" y="6"/>
                </a:cubicBezTo>
                <a:cubicBezTo>
                  <a:pt x="8963" y="6"/>
                  <a:pt x="8961" y="6"/>
                  <a:pt x="8959" y="6"/>
                </a:cubicBezTo>
                <a:cubicBezTo>
                  <a:pt x="8956" y="6"/>
                  <a:pt x="8954" y="6"/>
                  <a:pt x="8951" y="6"/>
                </a:cubicBezTo>
                <a:cubicBezTo>
                  <a:pt x="8948" y="5"/>
                  <a:pt x="8944" y="6"/>
                  <a:pt x="8941" y="6"/>
                </a:cubicBezTo>
                <a:cubicBezTo>
                  <a:pt x="8935" y="6"/>
                  <a:pt x="8931" y="5"/>
                  <a:pt x="8926" y="6"/>
                </a:cubicBezTo>
                <a:cubicBezTo>
                  <a:pt x="8923" y="7"/>
                  <a:pt x="8920" y="8"/>
                  <a:pt x="8915" y="7"/>
                </a:cubicBezTo>
                <a:cubicBezTo>
                  <a:pt x="8912" y="7"/>
                  <a:pt x="8909" y="6"/>
                  <a:pt x="8906" y="6"/>
                </a:cubicBezTo>
                <a:cubicBezTo>
                  <a:pt x="8905" y="6"/>
                  <a:pt x="8904" y="6"/>
                  <a:pt x="8903" y="6"/>
                </a:cubicBezTo>
                <a:cubicBezTo>
                  <a:pt x="8902" y="6"/>
                  <a:pt x="8902" y="6"/>
                  <a:pt x="8901" y="6"/>
                </a:cubicBezTo>
                <a:cubicBezTo>
                  <a:pt x="8900" y="6"/>
                  <a:pt x="8900" y="6"/>
                  <a:pt x="8900" y="6"/>
                </a:cubicBezTo>
                <a:cubicBezTo>
                  <a:pt x="8895" y="8"/>
                  <a:pt x="8887" y="8"/>
                  <a:pt x="8880" y="8"/>
                </a:cubicBezTo>
                <a:cubicBezTo>
                  <a:pt x="8877" y="8"/>
                  <a:pt x="8874" y="8"/>
                  <a:pt x="8873" y="7"/>
                </a:cubicBezTo>
                <a:cubicBezTo>
                  <a:pt x="8871" y="7"/>
                  <a:pt x="8871" y="6"/>
                  <a:pt x="8869" y="6"/>
                </a:cubicBezTo>
                <a:cubicBezTo>
                  <a:pt x="8867" y="5"/>
                  <a:pt x="8865" y="6"/>
                  <a:pt x="8864" y="6"/>
                </a:cubicBezTo>
                <a:cubicBezTo>
                  <a:pt x="8859" y="7"/>
                  <a:pt x="8855" y="5"/>
                  <a:pt x="8849" y="5"/>
                </a:cubicBezTo>
                <a:cubicBezTo>
                  <a:pt x="8844" y="5"/>
                  <a:pt x="8839" y="5"/>
                  <a:pt x="8834" y="5"/>
                </a:cubicBezTo>
                <a:cubicBezTo>
                  <a:pt x="8830" y="5"/>
                  <a:pt x="8811" y="4"/>
                  <a:pt x="8809" y="6"/>
                </a:cubicBezTo>
                <a:cubicBezTo>
                  <a:pt x="8808" y="6"/>
                  <a:pt x="8809" y="6"/>
                  <a:pt x="8809" y="6"/>
                </a:cubicBezTo>
                <a:cubicBezTo>
                  <a:pt x="8808" y="8"/>
                  <a:pt x="8800" y="7"/>
                  <a:pt x="8797" y="7"/>
                </a:cubicBezTo>
                <a:cubicBezTo>
                  <a:pt x="8791" y="7"/>
                  <a:pt x="8789" y="7"/>
                  <a:pt x="8784" y="6"/>
                </a:cubicBezTo>
                <a:cubicBezTo>
                  <a:pt x="8782" y="6"/>
                  <a:pt x="8780" y="6"/>
                  <a:pt x="8778" y="5"/>
                </a:cubicBezTo>
                <a:cubicBezTo>
                  <a:pt x="8776" y="5"/>
                  <a:pt x="8773" y="6"/>
                  <a:pt x="8773" y="6"/>
                </a:cubicBezTo>
                <a:cubicBezTo>
                  <a:pt x="8772" y="6"/>
                  <a:pt x="8772" y="7"/>
                  <a:pt x="8772" y="7"/>
                </a:cubicBezTo>
                <a:cubicBezTo>
                  <a:pt x="8772" y="7"/>
                  <a:pt x="8771" y="7"/>
                  <a:pt x="8770" y="7"/>
                </a:cubicBezTo>
                <a:cubicBezTo>
                  <a:pt x="8768" y="7"/>
                  <a:pt x="8765" y="7"/>
                  <a:pt x="8763" y="7"/>
                </a:cubicBezTo>
                <a:cubicBezTo>
                  <a:pt x="8760" y="7"/>
                  <a:pt x="8758" y="6"/>
                  <a:pt x="8757" y="6"/>
                </a:cubicBezTo>
                <a:cubicBezTo>
                  <a:pt x="8757" y="5"/>
                  <a:pt x="8757" y="5"/>
                  <a:pt x="8755" y="5"/>
                </a:cubicBezTo>
                <a:cubicBezTo>
                  <a:pt x="8752" y="5"/>
                  <a:pt x="8750" y="5"/>
                  <a:pt x="8747" y="5"/>
                </a:cubicBezTo>
                <a:cubicBezTo>
                  <a:pt x="8728" y="5"/>
                  <a:pt x="8684" y="4"/>
                  <a:pt x="8673" y="4"/>
                </a:cubicBezTo>
                <a:cubicBezTo>
                  <a:pt x="8670" y="4"/>
                  <a:pt x="8662" y="4"/>
                  <a:pt x="8655" y="4"/>
                </a:cubicBezTo>
                <a:cubicBezTo>
                  <a:pt x="8648" y="4"/>
                  <a:pt x="8636" y="4"/>
                  <a:pt x="8628" y="4"/>
                </a:cubicBezTo>
                <a:cubicBezTo>
                  <a:pt x="8620" y="3"/>
                  <a:pt x="8606" y="3"/>
                  <a:pt x="8597" y="3"/>
                </a:cubicBezTo>
                <a:cubicBezTo>
                  <a:pt x="8584" y="3"/>
                  <a:pt x="8569" y="2"/>
                  <a:pt x="8557" y="3"/>
                </a:cubicBezTo>
                <a:cubicBezTo>
                  <a:pt x="8554" y="3"/>
                  <a:pt x="8552" y="3"/>
                  <a:pt x="8548" y="3"/>
                </a:cubicBezTo>
                <a:cubicBezTo>
                  <a:pt x="8540" y="3"/>
                  <a:pt x="8531" y="3"/>
                  <a:pt x="8523" y="3"/>
                </a:cubicBezTo>
                <a:cubicBezTo>
                  <a:pt x="8505" y="3"/>
                  <a:pt x="8482" y="4"/>
                  <a:pt x="8471" y="4"/>
                </a:cubicBezTo>
                <a:cubicBezTo>
                  <a:pt x="8465" y="4"/>
                  <a:pt x="8459" y="4"/>
                  <a:pt x="8453" y="4"/>
                </a:cubicBezTo>
                <a:cubicBezTo>
                  <a:pt x="8451" y="4"/>
                  <a:pt x="8449" y="4"/>
                  <a:pt x="8449" y="5"/>
                </a:cubicBezTo>
                <a:cubicBezTo>
                  <a:pt x="8449" y="5"/>
                  <a:pt x="8452" y="6"/>
                  <a:pt x="8452" y="6"/>
                </a:cubicBezTo>
                <a:cubicBezTo>
                  <a:pt x="8449" y="6"/>
                  <a:pt x="8446" y="6"/>
                  <a:pt x="8444" y="6"/>
                </a:cubicBezTo>
                <a:cubicBezTo>
                  <a:pt x="8442" y="6"/>
                  <a:pt x="8441" y="6"/>
                  <a:pt x="8441" y="6"/>
                </a:cubicBezTo>
                <a:cubicBezTo>
                  <a:pt x="8441" y="5"/>
                  <a:pt x="8441" y="5"/>
                  <a:pt x="8441" y="5"/>
                </a:cubicBezTo>
                <a:cubicBezTo>
                  <a:pt x="8441" y="5"/>
                  <a:pt x="8441" y="5"/>
                  <a:pt x="8440" y="5"/>
                </a:cubicBezTo>
                <a:cubicBezTo>
                  <a:pt x="8436" y="4"/>
                  <a:pt x="8429" y="4"/>
                  <a:pt x="8425" y="4"/>
                </a:cubicBezTo>
                <a:cubicBezTo>
                  <a:pt x="8422" y="4"/>
                  <a:pt x="8415" y="5"/>
                  <a:pt x="8413" y="5"/>
                </a:cubicBezTo>
                <a:cubicBezTo>
                  <a:pt x="8410" y="4"/>
                  <a:pt x="8407" y="5"/>
                  <a:pt x="8407" y="5"/>
                </a:cubicBezTo>
                <a:cubicBezTo>
                  <a:pt x="8405" y="7"/>
                  <a:pt x="8404" y="7"/>
                  <a:pt x="8400" y="6"/>
                </a:cubicBezTo>
                <a:cubicBezTo>
                  <a:pt x="8399" y="6"/>
                  <a:pt x="8397" y="6"/>
                  <a:pt x="8397" y="5"/>
                </a:cubicBezTo>
                <a:cubicBezTo>
                  <a:pt x="8396" y="5"/>
                  <a:pt x="8394" y="4"/>
                  <a:pt x="8393" y="4"/>
                </a:cubicBezTo>
                <a:cubicBezTo>
                  <a:pt x="8390" y="4"/>
                  <a:pt x="8381" y="4"/>
                  <a:pt x="8379" y="3"/>
                </a:cubicBezTo>
                <a:cubicBezTo>
                  <a:pt x="8379" y="3"/>
                  <a:pt x="8379" y="3"/>
                  <a:pt x="8378" y="3"/>
                </a:cubicBezTo>
                <a:cubicBezTo>
                  <a:pt x="8378" y="3"/>
                  <a:pt x="8376" y="3"/>
                  <a:pt x="8374" y="3"/>
                </a:cubicBezTo>
                <a:cubicBezTo>
                  <a:pt x="8371" y="3"/>
                  <a:pt x="8368" y="3"/>
                  <a:pt x="8364" y="4"/>
                </a:cubicBezTo>
                <a:cubicBezTo>
                  <a:pt x="8361" y="4"/>
                  <a:pt x="8357" y="4"/>
                  <a:pt x="8353" y="4"/>
                </a:cubicBezTo>
                <a:cubicBezTo>
                  <a:pt x="8343" y="4"/>
                  <a:pt x="8334" y="4"/>
                  <a:pt x="8325" y="4"/>
                </a:cubicBezTo>
                <a:cubicBezTo>
                  <a:pt x="8306" y="4"/>
                  <a:pt x="8287" y="4"/>
                  <a:pt x="8268" y="4"/>
                </a:cubicBezTo>
                <a:cubicBezTo>
                  <a:pt x="8215" y="4"/>
                  <a:pt x="8163" y="4"/>
                  <a:pt x="8152" y="4"/>
                </a:cubicBezTo>
                <a:cubicBezTo>
                  <a:pt x="8142" y="4"/>
                  <a:pt x="8100" y="4"/>
                  <a:pt x="8059" y="4"/>
                </a:cubicBezTo>
                <a:cubicBezTo>
                  <a:pt x="8018" y="4"/>
                  <a:pt x="7950" y="4"/>
                  <a:pt x="7909" y="4"/>
                </a:cubicBezTo>
                <a:cubicBezTo>
                  <a:pt x="7867" y="4"/>
                  <a:pt x="7758" y="4"/>
                  <a:pt x="7667" y="4"/>
                </a:cubicBezTo>
                <a:cubicBezTo>
                  <a:pt x="7636" y="4"/>
                  <a:pt x="7604" y="4"/>
                  <a:pt x="7573" y="4"/>
                </a:cubicBezTo>
                <a:cubicBezTo>
                  <a:pt x="7557" y="4"/>
                  <a:pt x="7542" y="4"/>
                  <a:pt x="7526" y="4"/>
                </a:cubicBezTo>
                <a:cubicBezTo>
                  <a:pt x="7519" y="4"/>
                  <a:pt x="7511" y="3"/>
                  <a:pt x="7504" y="4"/>
                </a:cubicBezTo>
                <a:cubicBezTo>
                  <a:pt x="7498" y="4"/>
                  <a:pt x="7497" y="5"/>
                  <a:pt x="7492" y="4"/>
                </a:cubicBezTo>
                <a:cubicBezTo>
                  <a:pt x="7487" y="3"/>
                  <a:pt x="7480" y="4"/>
                  <a:pt x="7475" y="4"/>
                </a:cubicBezTo>
                <a:cubicBezTo>
                  <a:pt x="7468" y="4"/>
                  <a:pt x="7462" y="4"/>
                  <a:pt x="7455" y="4"/>
                </a:cubicBezTo>
                <a:cubicBezTo>
                  <a:pt x="7442" y="4"/>
                  <a:pt x="7428" y="4"/>
                  <a:pt x="7415" y="4"/>
                </a:cubicBezTo>
                <a:cubicBezTo>
                  <a:pt x="7401" y="4"/>
                  <a:pt x="7387" y="4"/>
                  <a:pt x="7373" y="4"/>
                </a:cubicBezTo>
                <a:cubicBezTo>
                  <a:pt x="7363" y="4"/>
                  <a:pt x="7348" y="4"/>
                  <a:pt x="7340" y="5"/>
                </a:cubicBezTo>
                <a:cubicBezTo>
                  <a:pt x="7338" y="5"/>
                  <a:pt x="7335" y="5"/>
                  <a:pt x="7332" y="5"/>
                </a:cubicBezTo>
                <a:cubicBezTo>
                  <a:pt x="7324" y="4"/>
                  <a:pt x="7314" y="4"/>
                  <a:pt x="7306" y="4"/>
                </a:cubicBezTo>
                <a:cubicBezTo>
                  <a:pt x="7290" y="4"/>
                  <a:pt x="7251" y="4"/>
                  <a:pt x="7218" y="4"/>
                </a:cubicBezTo>
                <a:cubicBezTo>
                  <a:pt x="7200" y="4"/>
                  <a:pt x="7181" y="5"/>
                  <a:pt x="7163" y="4"/>
                </a:cubicBezTo>
                <a:cubicBezTo>
                  <a:pt x="7160" y="4"/>
                  <a:pt x="7158" y="4"/>
                  <a:pt x="7156" y="4"/>
                </a:cubicBezTo>
                <a:cubicBezTo>
                  <a:pt x="7155" y="4"/>
                  <a:pt x="7154" y="3"/>
                  <a:pt x="7153" y="3"/>
                </a:cubicBezTo>
                <a:cubicBezTo>
                  <a:pt x="7149" y="3"/>
                  <a:pt x="7141" y="3"/>
                  <a:pt x="7136" y="3"/>
                </a:cubicBezTo>
                <a:cubicBezTo>
                  <a:pt x="7132" y="3"/>
                  <a:pt x="7127" y="4"/>
                  <a:pt x="7122" y="4"/>
                </a:cubicBezTo>
                <a:cubicBezTo>
                  <a:pt x="7118" y="4"/>
                  <a:pt x="7114" y="4"/>
                  <a:pt x="7111" y="4"/>
                </a:cubicBezTo>
                <a:cubicBezTo>
                  <a:pt x="7108" y="5"/>
                  <a:pt x="7107" y="5"/>
                  <a:pt x="7104" y="5"/>
                </a:cubicBezTo>
                <a:cubicBezTo>
                  <a:pt x="7100" y="5"/>
                  <a:pt x="7096" y="4"/>
                  <a:pt x="7092" y="4"/>
                </a:cubicBezTo>
                <a:cubicBezTo>
                  <a:pt x="7087" y="4"/>
                  <a:pt x="7084" y="5"/>
                  <a:pt x="7080" y="5"/>
                </a:cubicBezTo>
                <a:cubicBezTo>
                  <a:pt x="7078" y="5"/>
                  <a:pt x="7077" y="5"/>
                  <a:pt x="7075" y="5"/>
                </a:cubicBezTo>
                <a:cubicBezTo>
                  <a:pt x="7068" y="4"/>
                  <a:pt x="7057" y="4"/>
                  <a:pt x="7049" y="4"/>
                </a:cubicBezTo>
                <a:cubicBezTo>
                  <a:pt x="7041" y="4"/>
                  <a:pt x="7033" y="4"/>
                  <a:pt x="7025" y="4"/>
                </a:cubicBezTo>
                <a:cubicBezTo>
                  <a:pt x="7021" y="4"/>
                  <a:pt x="7012" y="5"/>
                  <a:pt x="7009" y="4"/>
                </a:cubicBezTo>
                <a:cubicBezTo>
                  <a:pt x="7006" y="3"/>
                  <a:pt x="7007" y="3"/>
                  <a:pt x="7006" y="3"/>
                </a:cubicBezTo>
                <a:cubicBezTo>
                  <a:pt x="7005" y="2"/>
                  <a:pt x="7004" y="2"/>
                  <a:pt x="7003" y="2"/>
                </a:cubicBezTo>
                <a:cubicBezTo>
                  <a:pt x="6999" y="2"/>
                  <a:pt x="6995" y="1"/>
                  <a:pt x="6991" y="2"/>
                </a:cubicBezTo>
                <a:cubicBezTo>
                  <a:pt x="6990" y="2"/>
                  <a:pt x="6988" y="2"/>
                  <a:pt x="6988" y="2"/>
                </a:cubicBezTo>
                <a:cubicBezTo>
                  <a:pt x="6987" y="3"/>
                  <a:pt x="6989" y="3"/>
                  <a:pt x="6989" y="3"/>
                </a:cubicBezTo>
                <a:cubicBezTo>
                  <a:pt x="6989" y="3"/>
                  <a:pt x="6988" y="4"/>
                  <a:pt x="6986" y="4"/>
                </a:cubicBezTo>
                <a:cubicBezTo>
                  <a:pt x="6980" y="5"/>
                  <a:pt x="6972" y="5"/>
                  <a:pt x="6965" y="5"/>
                </a:cubicBezTo>
                <a:cubicBezTo>
                  <a:pt x="6956" y="4"/>
                  <a:pt x="6948" y="3"/>
                  <a:pt x="6940" y="3"/>
                </a:cubicBezTo>
                <a:cubicBezTo>
                  <a:pt x="6931" y="3"/>
                  <a:pt x="6921" y="2"/>
                  <a:pt x="6912" y="3"/>
                </a:cubicBezTo>
                <a:cubicBezTo>
                  <a:pt x="6905" y="3"/>
                  <a:pt x="6900" y="4"/>
                  <a:pt x="6892" y="3"/>
                </a:cubicBezTo>
                <a:cubicBezTo>
                  <a:pt x="6888" y="3"/>
                  <a:pt x="6884" y="3"/>
                  <a:pt x="6880" y="3"/>
                </a:cubicBezTo>
                <a:cubicBezTo>
                  <a:pt x="6876" y="3"/>
                  <a:pt x="6873" y="3"/>
                  <a:pt x="6869" y="3"/>
                </a:cubicBezTo>
                <a:cubicBezTo>
                  <a:pt x="6865" y="2"/>
                  <a:pt x="6860" y="2"/>
                  <a:pt x="6856" y="2"/>
                </a:cubicBezTo>
                <a:cubicBezTo>
                  <a:pt x="6849" y="2"/>
                  <a:pt x="6842" y="2"/>
                  <a:pt x="6835" y="2"/>
                </a:cubicBezTo>
                <a:cubicBezTo>
                  <a:pt x="6827" y="2"/>
                  <a:pt x="6816" y="1"/>
                  <a:pt x="6808" y="2"/>
                </a:cubicBezTo>
                <a:cubicBezTo>
                  <a:pt x="6803" y="3"/>
                  <a:pt x="6807" y="4"/>
                  <a:pt x="6802" y="4"/>
                </a:cubicBezTo>
                <a:cubicBezTo>
                  <a:pt x="6797" y="5"/>
                  <a:pt x="6790" y="5"/>
                  <a:pt x="6785" y="5"/>
                </a:cubicBezTo>
                <a:cubicBezTo>
                  <a:pt x="6780" y="5"/>
                  <a:pt x="6748" y="3"/>
                  <a:pt x="6747" y="5"/>
                </a:cubicBezTo>
                <a:cubicBezTo>
                  <a:pt x="6747" y="5"/>
                  <a:pt x="6747" y="5"/>
                  <a:pt x="6746" y="5"/>
                </a:cubicBezTo>
                <a:cubicBezTo>
                  <a:pt x="6738" y="5"/>
                  <a:pt x="6731" y="5"/>
                  <a:pt x="6723" y="5"/>
                </a:cubicBezTo>
                <a:cubicBezTo>
                  <a:pt x="6688" y="4"/>
                  <a:pt x="6663" y="3"/>
                  <a:pt x="6625" y="4"/>
                </a:cubicBezTo>
                <a:cubicBezTo>
                  <a:pt x="6612" y="4"/>
                  <a:pt x="6598" y="4"/>
                  <a:pt x="6584" y="4"/>
                </a:cubicBezTo>
                <a:cubicBezTo>
                  <a:pt x="6584" y="4"/>
                  <a:pt x="6584" y="4"/>
                  <a:pt x="6584" y="3"/>
                </a:cubicBezTo>
                <a:cubicBezTo>
                  <a:pt x="6583" y="3"/>
                  <a:pt x="6583" y="3"/>
                  <a:pt x="6582" y="3"/>
                </a:cubicBezTo>
                <a:cubicBezTo>
                  <a:pt x="6580" y="3"/>
                  <a:pt x="6578" y="3"/>
                  <a:pt x="6576" y="3"/>
                </a:cubicBezTo>
                <a:cubicBezTo>
                  <a:pt x="6570" y="4"/>
                  <a:pt x="6567" y="3"/>
                  <a:pt x="6561" y="3"/>
                </a:cubicBezTo>
                <a:cubicBezTo>
                  <a:pt x="6556" y="2"/>
                  <a:pt x="6550" y="2"/>
                  <a:pt x="6547" y="3"/>
                </a:cubicBezTo>
                <a:cubicBezTo>
                  <a:pt x="6546" y="3"/>
                  <a:pt x="6546" y="3"/>
                  <a:pt x="6546" y="3"/>
                </a:cubicBezTo>
                <a:cubicBezTo>
                  <a:pt x="6543" y="4"/>
                  <a:pt x="6532" y="4"/>
                  <a:pt x="6528" y="4"/>
                </a:cubicBezTo>
                <a:cubicBezTo>
                  <a:pt x="6522" y="4"/>
                  <a:pt x="6516" y="4"/>
                  <a:pt x="6510" y="4"/>
                </a:cubicBezTo>
                <a:cubicBezTo>
                  <a:pt x="6490" y="4"/>
                  <a:pt x="6471" y="4"/>
                  <a:pt x="6467" y="4"/>
                </a:cubicBezTo>
                <a:cubicBezTo>
                  <a:pt x="6459" y="4"/>
                  <a:pt x="6452" y="4"/>
                  <a:pt x="6444" y="4"/>
                </a:cubicBezTo>
                <a:cubicBezTo>
                  <a:pt x="6443" y="3"/>
                  <a:pt x="6441" y="3"/>
                  <a:pt x="6441" y="3"/>
                </a:cubicBezTo>
                <a:cubicBezTo>
                  <a:pt x="6439" y="3"/>
                  <a:pt x="6438" y="3"/>
                  <a:pt x="6433" y="3"/>
                </a:cubicBezTo>
                <a:cubicBezTo>
                  <a:pt x="6429" y="3"/>
                  <a:pt x="6424" y="3"/>
                  <a:pt x="6420" y="3"/>
                </a:cubicBezTo>
                <a:cubicBezTo>
                  <a:pt x="6418" y="3"/>
                  <a:pt x="6417" y="3"/>
                  <a:pt x="6416" y="3"/>
                </a:cubicBezTo>
                <a:cubicBezTo>
                  <a:pt x="6414" y="3"/>
                  <a:pt x="6415" y="3"/>
                  <a:pt x="6414" y="3"/>
                </a:cubicBezTo>
                <a:cubicBezTo>
                  <a:pt x="6411" y="4"/>
                  <a:pt x="6405" y="3"/>
                  <a:pt x="6401" y="4"/>
                </a:cubicBezTo>
                <a:cubicBezTo>
                  <a:pt x="6393" y="4"/>
                  <a:pt x="6385" y="4"/>
                  <a:pt x="6377" y="3"/>
                </a:cubicBezTo>
                <a:cubicBezTo>
                  <a:pt x="6369" y="3"/>
                  <a:pt x="6362" y="3"/>
                  <a:pt x="6355" y="4"/>
                </a:cubicBezTo>
                <a:cubicBezTo>
                  <a:pt x="6351" y="4"/>
                  <a:pt x="6348" y="5"/>
                  <a:pt x="6344" y="5"/>
                </a:cubicBezTo>
                <a:cubicBezTo>
                  <a:pt x="6338" y="6"/>
                  <a:pt x="6333" y="5"/>
                  <a:pt x="6328" y="5"/>
                </a:cubicBezTo>
                <a:cubicBezTo>
                  <a:pt x="6313" y="4"/>
                  <a:pt x="6295" y="5"/>
                  <a:pt x="6280" y="5"/>
                </a:cubicBezTo>
                <a:cubicBezTo>
                  <a:pt x="6255" y="5"/>
                  <a:pt x="6229" y="6"/>
                  <a:pt x="6221" y="6"/>
                </a:cubicBezTo>
                <a:cubicBezTo>
                  <a:pt x="6215" y="6"/>
                  <a:pt x="6206" y="6"/>
                  <a:pt x="6202" y="7"/>
                </a:cubicBezTo>
                <a:cubicBezTo>
                  <a:pt x="6201" y="7"/>
                  <a:pt x="6201" y="7"/>
                  <a:pt x="6200" y="7"/>
                </a:cubicBezTo>
                <a:cubicBezTo>
                  <a:pt x="6200" y="7"/>
                  <a:pt x="6199" y="7"/>
                  <a:pt x="6199" y="7"/>
                </a:cubicBezTo>
                <a:cubicBezTo>
                  <a:pt x="6197" y="7"/>
                  <a:pt x="6195" y="7"/>
                  <a:pt x="6193" y="7"/>
                </a:cubicBezTo>
                <a:cubicBezTo>
                  <a:pt x="6192" y="7"/>
                  <a:pt x="6191" y="7"/>
                  <a:pt x="6189" y="6"/>
                </a:cubicBezTo>
                <a:cubicBezTo>
                  <a:pt x="6181" y="5"/>
                  <a:pt x="6168" y="6"/>
                  <a:pt x="6158" y="6"/>
                </a:cubicBezTo>
                <a:cubicBezTo>
                  <a:pt x="6147" y="6"/>
                  <a:pt x="6136" y="6"/>
                  <a:pt x="6124" y="6"/>
                </a:cubicBezTo>
                <a:cubicBezTo>
                  <a:pt x="6111" y="6"/>
                  <a:pt x="6099" y="6"/>
                  <a:pt x="6086" y="5"/>
                </a:cubicBezTo>
                <a:cubicBezTo>
                  <a:pt x="6079" y="5"/>
                  <a:pt x="6073" y="5"/>
                  <a:pt x="6066" y="5"/>
                </a:cubicBezTo>
                <a:cubicBezTo>
                  <a:pt x="6062" y="5"/>
                  <a:pt x="6059" y="6"/>
                  <a:pt x="6055" y="6"/>
                </a:cubicBezTo>
                <a:cubicBezTo>
                  <a:pt x="6054" y="6"/>
                  <a:pt x="6053" y="6"/>
                  <a:pt x="6051" y="6"/>
                </a:cubicBezTo>
                <a:cubicBezTo>
                  <a:pt x="6050" y="6"/>
                  <a:pt x="6049" y="7"/>
                  <a:pt x="6047" y="7"/>
                </a:cubicBezTo>
                <a:cubicBezTo>
                  <a:pt x="6039" y="6"/>
                  <a:pt x="6032" y="5"/>
                  <a:pt x="6024" y="5"/>
                </a:cubicBezTo>
                <a:cubicBezTo>
                  <a:pt x="6015" y="5"/>
                  <a:pt x="6007" y="5"/>
                  <a:pt x="5998" y="5"/>
                </a:cubicBezTo>
                <a:cubicBezTo>
                  <a:pt x="5991" y="5"/>
                  <a:pt x="5984" y="6"/>
                  <a:pt x="5977" y="6"/>
                </a:cubicBezTo>
                <a:cubicBezTo>
                  <a:pt x="5971" y="6"/>
                  <a:pt x="5966" y="6"/>
                  <a:pt x="5962" y="7"/>
                </a:cubicBezTo>
                <a:cubicBezTo>
                  <a:pt x="5960" y="8"/>
                  <a:pt x="5957" y="8"/>
                  <a:pt x="5954" y="8"/>
                </a:cubicBezTo>
                <a:cubicBezTo>
                  <a:pt x="5949" y="8"/>
                  <a:pt x="5943" y="8"/>
                  <a:pt x="5937" y="8"/>
                </a:cubicBezTo>
                <a:cubicBezTo>
                  <a:pt x="5932" y="8"/>
                  <a:pt x="5926" y="8"/>
                  <a:pt x="5920" y="8"/>
                </a:cubicBezTo>
                <a:cubicBezTo>
                  <a:pt x="5918" y="8"/>
                  <a:pt x="5916" y="8"/>
                  <a:pt x="5914" y="8"/>
                </a:cubicBezTo>
                <a:cubicBezTo>
                  <a:pt x="5913" y="9"/>
                  <a:pt x="5913" y="9"/>
                  <a:pt x="5913" y="9"/>
                </a:cubicBezTo>
                <a:cubicBezTo>
                  <a:pt x="5912" y="9"/>
                  <a:pt x="5912" y="9"/>
                  <a:pt x="5911" y="9"/>
                </a:cubicBezTo>
                <a:cubicBezTo>
                  <a:pt x="5909" y="9"/>
                  <a:pt x="5906" y="9"/>
                  <a:pt x="5904" y="8"/>
                </a:cubicBezTo>
                <a:cubicBezTo>
                  <a:pt x="5900" y="8"/>
                  <a:pt x="5895" y="8"/>
                  <a:pt x="5890" y="8"/>
                </a:cubicBezTo>
                <a:cubicBezTo>
                  <a:pt x="5885" y="7"/>
                  <a:pt x="5880" y="7"/>
                  <a:pt x="5876" y="7"/>
                </a:cubicBezTo>
                <a:cubicBezTo>
                  <a:pt x="5875" y="7"/>
                  <a:pt x="5873" y="7"/>
                  <a:pt x="5872" y="7"/>
                </a:cubicBezTo>
                <a:cubicBezTo>
                  <a:pt x="5864" y="7"/>
                  <a:pt x="5855" y="7"/>
                  <a:pt x="5848" y="7"/>
                </a:cubicBezTo>
                <a:cubicBezTo>
                  <a:pt x="5843" y="7"/>
                  <a:pt x="5839" y="7"/>
                  <a:pt x="5834" y="7"/>
                </a:cubicBezTo>
                <a:cubicBezTo>
                  <a:pt x="5829" y="7"/>
                  <a:pt x="5825" y="7"/>
                  <a:pt x="5820" y="6"/>
                </a:cubicBezTo>
                <a:cubicBezTo>
                  <a:pt x="5817" y="6"/>
                  <a:pt x="5815" y="5"/>
                  <a:pt x="5811" y="5"/>
                </a:cubicBezTo>
                <a:cubicBezTo>
                  <a:pt x="5804" y="5"/>
                  <a:pt x="5797" y="5"/>
                  <a:pt x="5790" y="5"/>
                </a:cubicBezTo>
                <a:cubicBezTo>
                  <a:pt x="5771" y="5"/>
                  <a:pt x="5753" y="6"/>
                  <a:pt x="5734" y="6"/>
                </a:cubicBezTo>
                <a:cubicBezTo>
                  <a:pt x="5733" y="6"/>
                  <a:pt x="5732" y="6"/>
                  <a:pt x="5731" y="6"/>
                </a:cubicBezTo>
                <a:cubicBezTo>
                  <a:pt x="5729" y="6"/>
                  <a:pt x="5727" y="5"/>
                  <a:pt x="5726" y="5"/>
                </a:cubicBezTo>
                <a:cubicBezTo>
                  <a:pt x="5723" y="5"/>
                  <a:pt x="5720" y="4"/>
                  <a:pt x="5716" y="4"/>
                </a:cubicBezTo>
                <a:cubicBezTo>
                  <a:pt x="5714" y="4"/>
                  <a:pt x="5710" y="4"/>
                  <a:pt x="5707" y="4"/>
                </a:cubicBezTo>
                <a:cubicBezTo>
                  <a:pt x="5700" y="4"/>
                  <a:pt x="5694" y="4"/>
                  <a:pt x="5687" y="4"/>
                </a:cubicBezTo>
                <a:cubicBezTo>
                  <a:pt x="5680" y="4"/>
                  <a:pt x="5674" y="4"/>
                  <a:pt x="5668" y="4"/>
                </a:cubicBezTo>
                <a:cubicBezTo>
                  <a:pt x="5665" y="4"/>
                  <a:pt x="5663" y="4"/>
                  <a:pt x="5660" y="4"/>
                </a:cubicBezTo>
                <a:cubicBezTo>
                  <a:pt x="5658" y="4"/>
                  <a:pt x="5655" y="4"/>
                  <a:pt x="5653" y="4"/>
                </a:cubicBezTo>
                <a:cubicBezTo>
                  <a:pt x="5650" y="4"/>
                  <a:pt x="5643" y="7"/>
                  <a:pt x="5638" y="6"/>
                </a:cubicBezTo>
                <a:cubicBezTo>
                  <a:pt x="5635" y="5"/>
                  <a:pt x="5640" y="4"/>
                  <a:pt x="5638" y="3"/>
                </a:cubicBezTo>
                <a:cubicBezTo>
                  <a:pt x="5636" y="3"/>
                  <a:pt x="5627" y="3"/>
                  <a:pt x="5625" y="3"/>
                </a:cubicBezTo>
                <a:cubicBezTo>
                  <a:pt x="5624" y="3"/>
                  <a:pt x="5625" y="3"/>
                  <a:pt x="5627" y="3"/>
                </a:cubicBezTo>
                <a:cubicBezTo>
                  <a:pt x="5629" y="3"/>
                  <a:pt x="5631" y="4"/>
                  <a:pt x="5631" y="4"/>
                </a:cubicBezTo>
                <a:cubicBezTo>
                  <a:pt x="5631" y="5"/>
                  <a:pt x="5630" y="5"/>
                  <a:pt x="5630" y="5"/>
                </a:cubicBezTo>
                <a:cubicBezTo>
                  <a:pt x="5626" y="5"/>
                  <a:pt x="5621" y="5"/>
                  <a:pt x="5617" y="5"/>
                </a:cubicBezTo>
                <a:cubicBezTo>
                  <a:pt x="5614" y="5"/>
                  <a:pt x="5612" y="5"/>
                  <a:pt x="5609" y="5"/>
                </a:cubicBezTo>
                <a:cubicBezTo>
                  <a:pt x="5608" y="5"/>
                  <a:pt x="5606" y="5"/>
                  <a:pt x="5603" y="5"/>
                </a:cubicBezTo>
                <a:cubicBezTo>
                  <a:pt x="5603" y="4"/>
                  <a:pt x="5602" y="4"/>
                  <a:pt x="5600" y="4"/>
                </a:cubicBezTo>
                <a:cubicBezTo>
                  <a:pt x="5599" y="4"/>
                  <a:pt x="5598" y="5"/>
                  <a:pt x="5598" y="5"/>
                </a:cubicBezTo>
                <a:cubicBezTo>
                  <a:pt x="5598" y="5"/>
                  <a:pt x="5598" y="5"/>
                  <a:pt x="5598" y="5"/>
                </a:cubicBezTo>
                <a:cubicBezTo>
                  <a:pt x="5600" y="7"/>
                  <a:pt x="5590" y="6"/>
                  <a:pt x="5586" y="6"/>
                </a:cubicBezTo>
                <a:cubicBezTo>
                  <a:pt x="5579" y="6"/>
                  <a:pt x="5570" y="5"/>
                  <a:pt x="5566" y="4"/>
                </a:cubicBezTo>
                <a:cubicBezTo>
                  <a:pt x="5559" y="3"/>
                  <a:pt x="5552" y="3"/>
                  <a:pt x="5545" y="3"/>
                </a:cubicBezTo>
                <a:cubicBezTo>
                  <a:pt x="5539" y="3"/>
                  <a:pt x="5533" y="3"/>
                  <a:pt x="5528" y="3"/>
                </a:cubicBezTo>
                <a:cubicBezTo>
                  <a:pt x="5522" y="3"/>
                  <a:pt x="5517" y="3"/>
                  <a:pt x="5511" y="3"/>
                </a:cubicBezTo>
                <a:cubicBezTo>
                  <a:pt x="5509" y="3"/>
                  <a:pt x="5501" y="3"/>
                  <a:pt x="5501" y="3"/>
                </a:cubicBezTo>
                <a:cubicBezTo>
                  <a:pt x="5500" y="3"/>
                  <a:pt x="5498" y="3"/>
                  <a:pt x="5497" y="3"/>
                </a:cubicBezTo>
                <a:cubicBezTo>
                  <a:pt x="5497" y="4"/>
                  <a:pt x="5497" y="4"/>
                  <a:pt x="5497" y="4"/>
                </a:cubicBezTo>
                <a:cubicBezTo>
                  <a:pt x="5497" y="4"/>
                  <a:pt x="5498" y="4"/>
                  <a:pt x="5498" y="5"/>
                </a:cubicBezTo>
                <a:cubicBezTo>
                  <a:pt x="5497" y="5"/>
                  <a:pt x="5489" y="5"/>
                  <a:pt x="5489" y="5"/>
                </a:cubicBezTo>
                <a:cubicBezTo>
                  <a:pt x="5489" y="4"/>
                  <a:pt x="5491" y="4"/>
                  <a:pt x="5491" y="4"/>
                </a:cubicBezTo>
                <a:cubicBezTo>
                  <a:pt x="5491" y="3"/>
                  <a:pt x="5480" y="3"/>
                  <a:pt x="5478" y="3"/>
                </a:cubicBezTo>
                <a:cubicBezTo>
                  <a:pt x="5474" y="3"/>
                  <a:pt x="5471" y="3"/>
                  <a:pt x="5467" y="3"/>
                </a:cubicBezTo>
                <a:cubicBezTo>
                  <a:pt x="5466" y="3"/>
                  <a:pt x="5465" y="3"/>
                  <a:pt x="5464" y="3"/>
                </a:cubicBezTo>
                <a:cubicBezTo>
                  <a:pt x="5463" y="3"/>
                  <a:pt x="5461" y="3"/>
                  <a:pt x="5460" y="3"/>
                </a:cubicBezTo>
                <a:cubicBezTo>
                  <a:pt x="5458" y="3"/>
                  <a:pt x="5456" y="3"/>
                  <a:pt x="5455" y="3"/>
                </a:cubicBezTo>
                <a:cubicBezTo>
                  <a:pt x="5454" y="3"/>
                  <a:pt x="5453" y="3"/>
                  <a:pt x="5453" y="3"/>
                </a:cubicBezTo>
                <a:cubicBezTo>
                  <a:pt x="5449" y="4"/>
                  <a:pt x="5461" y="5"/>
                  <a:pt x="5463" y="5"/>
                </a:cubicBezTo>
                <a:cubicBezTo>
                  <a:pt x="5465" y="4"/>
                  <a:pt x="5469" y="4"/>
                  <a:pt x="5469" y="5"/>
                </a:cubicBezTo>
                <a:cubicBezTo>
                  <a:pt x="5469" y="6"/>
                  <a:pt x="5468" y="6"/>
                  <a:pt x="5464" y="6"/>
                </a:cubicBezTo>
                <a:cubicBezTo>
                  <a:pt x="5459" y="6"/>
                  <a:pt x="5455" y="6"/>
                  <a:pt x="5450" y="6"/>
                </a:cubicBezTo>
                <a:cubicBezTo>
                  <a:pt x="5441" y="6"/>
                  <a:pt x="5432" y="6"/>
                  <a:pt x="5423" y="6"/>
                </a:cubicBezTo>
                <a:cubicBezTo>
                  <a:pt x="5412" y="6"/>
                  <a:pt x="5402" y="6"/>
                  <a:pt x="5391" y="5"/>
                </a:cubicBezTo>
                <a:cubicBezTo>
                  <a:pt x="5387" y="5"/>
                  <a:pt x="5383" y="5"/>
                  <a:pt x="5379" y="5"/>
                </a:cubicBezTo>
                <a:cubicBezTo>
                  <a:pt x="5376" y="5"/>
                  <a:pt x="5373" y="5"/>
                  <a:pt x="5370" y="5"/>
                </a:cubicBezTo>
                <a:cubicBezTo>
                  <a:pt x="5371" y="5"/>
                  <a:pt x="5371" y="5"/>
                  <a:pt x="5371" y="5"/>
                </a:cubicBezTo>
                <a:cubicBezTo>
                  <a:pt x="5369" y="5"/>
                  <a:pt x="5368" y="5"/>
                  <a:pt x="5366" y="5"/>
                </a:cubicBezTo>
                <a:cubicBezTo>
                  <a:pt x="5364" y="4"/>
                  <a:pt x="5372" y="4"/>
                  <a:pt x="5373" y="3"/>
                </a:cubicBezTo>
                <a:cubicBezTo>
                  <a:pt x="5375" y="3"/>
                  <a:pt x="5371" y="3"/>
                  <a:pt x="5368" y="3"/>
                </a:cubicBezTo>
                <a:cubicBezTo>
                  <a:pt x="5366" y="3"/>
                  <a:pt x="5366" y="4"/>
                  <a:pt x="5363" y="4"/>
                </a:cubicBezTo>
                <a:cubicBezTo>
                  <a:pt x="5360" y="4"/>
                  <a:pt x="5359" y="3"/>
                  <a:pt x="5358" y="3"/>
                </a:cubicBezTo>
                <a:cubicBezTo>
                  <a:pt x="5355" y="3"/>
                  <a:pt x="5352" y="3"/>
                  <a:pt x="5349" y="3"/>
                </a:cubicBezTo>
                <a:cubicBezTo>
                  <a:pt x="5343" y="3"/>
                  <a:pt x="5337" y="3"/>
                  <a:pt x="5331" y="3"/>
                </a:cubicBezTo>
                <a:cubicBezTo>
                  <a:pt x="5318" y="3"/>
                  <a:pt x="5307" y="3"/>
                  <a:pt x="5305" y="3"/>
                </a:cubicBezTo>
                <a:cubicBezTo>
                  <a:pt x="5300" y="3"/>
                  <a:pt x="5291" y="3"/>
                  <a:pt x="5287" y="2"/>
                </a:cubicBezTo>
                <a:cubicBezTo>
                  <a:pt x="5285" y="2"/>
                  <a:pt x="5283" y="2"/>
                  <a:pt x="5281" y="3"/>
                </a:cubicBezTo>
                <a:cubicBezTo>
                  <a:pt x="5281" y="3"/>
                  <a:pt x="5281" y="3"/>
                  <a:pt x="5281" y="3"/>
                </a:cubicBezTo>
                <a:cubicBezTo>
                  <a:pt x="5281" y="4"/>
                  <a:pt x="5281" y="4"/>
                  <a:pt x="5279" y="4"/>
                </a:cubicBezTo>
                <a:cubicBezTo>
                  <a:pt x="5276" y="4"/>
                  <a:pt x="5273" y="3"/>
                  <a:pt x="5271" y="3"/>
                </a:cubicBezTo>
                <a:cubicBezTo>
                  <a:pt x="5268" y="3"/>
                  <a:pt x="5265" y="3"/>
                  <a:pt x="5262" y="3"/>
                </a:cubicBezTo>
                <a:cubicBezTo>
                  <a:pt x="5256" y="3"/>
                  <a:pt x="5250" y="3"/>
                  <a:pt x="5243" y="3"/>
                </a:cubicBezTo>
                <a:cubicBezTo>
                  <a:pt x="5241" y="3"/>
                  <a:pt x="5239" y="3"/>
                  <a:pt x="5236" y="3"/>
                </a:cubicBezTo>
                <a:cubicBezTo>
                  <a:pt x="5236" y="3"/>
                  <a:pt x="5236" y="3"/>
                  <a:pt x="5236" y="4"/>
                </a:cubicBezTo>
                <a:cubicBezTo>
                  <a:pt x="5223" y="4"/>
                  <a:pt x="5211" y="3"/>
                  <a:pt x="5199" y="3"/>
                </a:cubicBezTo>
                <a:cubicBezTo>
                  <a:pt x="5191" y="3"/>
                  <a:pt x="5184" y="3"/>
                  <a:pt x="5177" y="3"/>
                </a:cubicBezTo>
                <a:cubicBezTo>
                  <a:pt x="5175" y="3"/>
                  <a:pt x="5173" y="3"/>
                  <a:pt x="5170" y="3"/>
                </a:cubicBezTo>
                <a:cubicBezTo>
                  <a:pt x="5169" y="3"/>
                  <a:pt x="5162" y="4"/>
                  <a:pt x="5164" y="3"/>
                </a:cubicBezTo>
                <a:cubicBezTo>
                  <a:pt x="5165" y="3"/>
                  <a:pt x="5173" y="3"/>
                  <a:pt x="5172" y="2"/>
                </a:cubicBezTo>
                <a:cubicBezTo>
                  <a:pt x="5172" y="1"/>
                  <a:pt x="5166" y="2"/>
                  <a:pt x="5165" y="2"/>
                </a:cubicBezTo>
                <a:cubicBezTo>
                  <a:pt x="5163" y="3"/>
                  <a:pt x="5159" y="3"/>
                  <a:pt x="5157" y="3"/>
                </a:cubicBezTo>
                <a:cubicBezTo>
                  <a:pt x="5155" y="3"/>
                  <a:pt x="5153" y="3"/>
                  <a:pt x="5153" y="3"/>
                </a:cubicBezTo>
                <a:cubicBezTo>
                  <a:pt x="5153" y="3"/>
                  <a:pt x="5153" y="3"/>
                  <a:pt x="5152" y="3"/>
                </a:cubicBezTo>
                <a:cubicBezTo>
                  <a:pt x="5145" y="2"/>
                  <a:pt x="5136" y="2"/>
                  <a:pt x="5129" y="2"/>
                </a:cubicBezTo>
                <a:cubicBezTo>
                  <a:pt x="5115" y="1"/>
                  <a:pt x="5101" y="2"/>
                  <a:pt x="5087" y="2"/>
                </a:cubicBezTo>
                <a:cubicBezTo>
                  <a:pt x="5080" y="2"/>
                  <a:pt x="5073" y="3"/>
                  <a:pt x="5066" y="3"/>
                </a:cubicBezTo>
                <a:cubicBezTo>
                  <a:pt x="5060" y="3"/>
                  <a:pt x="5053" y="3"/>
                  <a:pt x="5047" y="3"/>
                </a:cubicBezTo>
                <a:cubicBezTo>
                  <a:pt x="5046" y="3"/>
                  <a:pt x="5046" y="3"/>
                  <a:pt x="5045" y="3"/>
                </a:cubicBezTo>
                <a:cubicBezTo>
                  <a:pt x="5045" y="3"/>
                  <a:pt x="5044" y="3"/>
                  <a:pt x="5044" y="3"/>
                </a:cubicBezTo>
                <a:cubicBezTo>
                  <a:pt x="5041" y="3"/>
                  <a:pt x="5038" y="3"/>
                  <a:pt x="5035" y="3"/>
                </a:cubicBezTo>
                <a:cubicBezTo>
                  <a:pt x="5034" y="3"/>
                  <a:pt x="5031" y="3"/>
                  <a:pt x="5031" y="3"/>
                </a:cubicBezTo>
                <a:cubicBezTo>
                  <a:pt x="5030" y="4"/>
                  <a:pt x="5031" y="4"/>
                  <a:pt x="5028" y="4"/>
                </a:cubicBezTo>
                <a:cubicBezTo>
                  <a:pt x="5025" y="5"/>
                  <a:pt x="5021" y="4"/>
                  <a:pt x="5019" y="4"/>
                </a:cubicBezTo>
                <a:cubicBezTo>
                  <a:pt x="5016" y="4"/>
                  <a:pt x="5012" y="3"/>
                  <a:pt x="5007" y="4"/>
                </a:cubicBezTo>
                <a:cubicBezTo>
                  <a:pt x="5005" y="4"/>
                  <a:pt x="5002" y="5"/>
                  <a:pt x="4998" y="5"/>
                </a:cubicBezTo>
                <a:cubicBezTo>
                  <a:pt x="4995" y="5"/>
                  <a:pt x="4990" y="5"/>
                  <a:pt x="4987" y="5"/>
                </a:cubicBezTo>
                <a:cubicBezTo>
                  <a:pt x="4978" y="5"/>
                  <a:pt x="4964" y="5"/>
                  <a:pt x="4956" y="4"/>
                </a:cubicBezTo>
                <a:cubicBezTo>
                  <a:pt x="4953" y="4"/>
                  <a:pt x="4950" y="4"/>
                  <a:pt x="4946" y="3"/>
                </a:cubicBezTo>
                <a:cubicBezTo>
                  <a:pt x="4944" y="3"/>
                  <a:pt x="4942" y="3"/>
                  <a:pt x="4938" y="4"/>
                </a:cubicBezTo>
                <a:cubicBezTo>
                  <a:pt x="4937" y="4"/>
                  <a:pt x="4936" y="4"/>
                  <a:pt x="4935" y="3"/>
                </a:cubicBezTo>
                <a:cubicBezTo>
                  <a:pt x="4929" y="3"/>
                  <a:pt x="4925" y="4"/>
                  <a:pt x="4922" y="5"/>
                </a:cubicBezTo>
                <a:cubicBezTo>
                  <a:pt x="4921" y="5"/>
                  <a:pt x="4917" y="5"/>
                  <a:pt x="4916" y="5"/>
                </a:cubicBezTo>
                <a:cubicBezTo>
                  <a:pt x="4914" y="5"/>
                  <a:pt x="4913" y="4"/>
                  <a:pt x="4911" y="4"/>
                </a:cubicBezTo>
                <a:cubicBezTo>
                  <a:pt x="4908" y="3"/>
                  <a:pt x="4905" y="3"/>
                  <a:pt x="4901" y="3"/>
                </a:cubicBezTo>
                <a:cubicBezTo>
                  <a:pt x="4900" y="3"/>
                  <a:pt x="4899" y="3"/>
                  <a:pt x="4897" y="3"/>
                </a:cubicBezTo>
                <a:cubicBezTo>
                  <a:pt x="4895" y="3"/>
                  <a:pt x="4896" y="3"/>
                  <a:pt x="4894" y="3"/>
                </a:cubicBezTo>
                <a:cubicBezTo>
                  <a:pt x="4893" y="3"/>
                  <a:pt x="4892" y="3"/>
                  <a:pt x="4891" y="3"/>
                </a:cubicBezTo>
                <a:cubicBezTo>
                  <a:pt x="4891" y="3"/>
                  <a:pt x="4890" y="3"/>
                  <a:pt x="4888" y="3"/>
                </a:cubicBezTo>
                <a:cubicBezTo>
                  <a:pt x="4886" y="3"/>
                  <a:pt x="4885" y="3"/>
                  <a:pt x="4884" y="4"/>
                </a:cubicBezTo>
                <a:cubicBezTo>
                  <a:pt x="4883" y="4"/>
                  <a:pt x="4883" y="5"/>
                  <a:pt x="4884" y="5"/>
                </a:cubicBezTo>
                <a:cubicBezTo>
                  <a:pt x="4882" y="5"/>
                  <a:pt x="4880" y="5"/>
                  <a:pt x="4878" y="5"/>
                </a:cubicBezTo>
                <a:cubicBezTo>
                  <a:pt x="4875" y="5"/>
                  <a:pt x="4872" y="5"/>
                  <a:pt x="4870" y="5"/>
                </a:cubicBezTo>
                <a:cubicBezTo>
                  <a:pt x="4860" y="5"/>
                  <a:pt x="4850" y="4"/>
                  <a:pt x="4840" y="4"/>
                </a:cubicBezTo>
                <a:cubicBezTo>
                  <a:pt x="4836" y="4"/>
                  <a:pt x="4832" y="4"/>
                  <a:pt x="4828" y="3"/>
                </a:cubicBezTo>
                <a:cubicBezTo>
                  <a:pt x="4825" y="3"/>
                  <a:pt x="4821" y="3"/>
                  <a:pt x="4819" y="3"/>
                </a:cubicBezTo>
                <a:cubicBezTo>
                  <a:pt x="4815" y="3"/>
                  <a:pt x="4812" y="3"/>
                  <a:pt x="4807" y="3"/>
                </a:cubicBezTo>
                <a:cubicBezTo>
                  <a:pt x="4803" y="3"/>
                  <a:pt x="4798" y="3"/>
                  <a:pt x="4795" y="3"/>
                </a:cubicBezTo>
                <a:cubicBezTo>
                  <a:pt x="4793" y="3"/>
                  <a:pt x="4792" y="3"/>
                  <a:pt x="4791" y="4"/>
                </a:cubicBezTo>
                <a:cubicBezTo>
                  <a:pt x="4790" y="4"/>
                  <a:pt x="4790" y="4"/>
                  <a:pt x="4789" y="4"/>
                </a:cubicBezTo>
                <a:cubicBezTo>
                  <a:pt x="4788" y="5"/>
                  <a:pt x="4786" y="5"/>
                  <a:pt x="4784" y="5"/>
                </a:cubicBezTo>
                <a:cubicBezTo>
                  <a:pt x="4772" y="5"/>
                  <a:pt x="4761" y="2"/>
                  <a:pt x="4749" y="3"/>
                </a:cubicBezTo>
                <a:cubicBezTo>
                  <a:pt x="4748" y="3"/>
                  <a:pt x="4747" y="3"/>
                  <a:pt x="4745" y="3"/>
                </a:cubicBezTo>
                <a:cubicBezTo>
                  <a:pt x="4741" y="4"/>
                  <a:pt x="4736" y="4"/>
                  <a:pt x="4730" y="4"/>
                </a:cubicBezTo>
                <a:cubicBezTo>
                  <a:pt x="4727" y="4"/>
                  <a:pt x="4724" y="4"/>
                  <a:pt x="4720" y="4"/>
                </a:cubicBezTo>
                <a:cubicBezTo>
                  <a:pt x="4718" y="4"/>
                  <a:pt x="4717" y="5"/>
                  <a:pt x="4715" y="5"/>
                </a:cubicBezTo>
                <a:cubicBezTo>
                  <a:pt x="4713" y="5"/>
                  <a:pt x="4712" y="6"/>
                  <a:pt x="4709" y="6"/>
                </a:cubicBezTo>
                <a:cubicBezTo>
                  <a:pt x="4705" y="6"/>
                  <a:pt x="4701" y="6"/>
                  <a:pt x="4697" y="6"/>
                </a:cubicBezTo>
                <a:cubicBezTo>
                  <a:pt x="4695" y="5"/>
                  <a:pt x="4693" y="5"/>
                  <a:pt x="4690" y="5"/>
                </a:cubicBezTo>
                <a:cubicBezTo>
                  <a:pt x="4687" y="4"/>
                  <a:pt x="4681" y="4"/>
                  <a:pt x="4677" y="4"/>
                </a:cubicBezTo>
                <a:cubicBezTo>
                  <a:pt x="4672" y="4"/>
                  <a:pt x="4668" y="4"/>
                  <a:pt x="4663" y="4"/>
                </a:cubicBezTo>
                <a:cubicBezTo>
                  <a:pt x="4658" y="4"/>
                  <a:pt x="4653" y="4"/>
                  <a:pt x="4648" y="4"/>
                </a:cubicBezTo>
                <a:cubicBezTo>
                  <a:pt x="4645" y="4"/>
                  <a:pt x="4641" y="4"/>
                  <a:pt x="4638" y="4"/>
                </a:cubicBezTo>
                <a:cubicBezTo>
                  <a:pt x="4634" y="5"/>
                  <a:pt x="4635" y="7"/>
                  <a:pt x="4630" y="7"/>
                </a:cubicBezTo>
                <a:cubicBezTo>
                  <a:pt x="4625" y="7"/>
                  <a:pt x="4620" y="6"/>
                  <a:pt x="4616" y="6"/>
                </a:cubicBezTo>
                <a:cubicBezTo>
                  <a:pt x="4611" y="6"/>
                  <a:pt x="4605" y="6"/>
                  <a:pt x="4600" y="6"/>
                </a:cubicBezTo>
                <a:cubicBezTo>
                  <a:pt x="4593" y="6"/>
                  <a:pt x="4586" y="6"/>
                  <a:pt x="4579" y="6"/>
                </a:cubicBezTo>
                <a:cubicBezTo>
                  <a:pt x="4563" y="6"/>
                  <a:pt x="4547" y="6"/>
                  <a:pt x="4531" y="6"/>
                </a:cubicBezTo>
                <a:cubicBezTo>
                  <a:pt x="4527" y="6"/>
                  <a:pt x="4522" y="6"/>
                  <a:pt x="4518" y="6"/>
                </a:cubicBezTo>
                <a:cubicBezTo>
                  <a:pt x="4514" y="6"/>
                  <a:pt x="4511" y="5"/>
                  <a:pt x="4507" y="5"/>
                </a:cubicBezTo>
                <a:cubicBezTo>
                  <a:pt x="4506" y="5"/>
                  <a:pt x="4505" y="5"/>
                  <a:pt x="4504" y="5"/>
                </a:cubicBezTo>
                <a:cubicBezTo>
                  <a:pt x="4503" y="5"/>
                  <a:pt x="4503" y="5"/>
                  <a:pt x="4503" y="5"/>
                </a:cubicBezTo>
                <a:cubicBezTo>
                  <a:pt x="4500" y="6"/>
                  <a:pt x="4496" y="6"/>
                  <a:pt x="4493" y="6"/>
                </a:cubicBezTo>
                <a:cubicBezTo>
                  <a:pt x="4490" y="6"/>
                  <a:pt x="4486" y="6"/>
                  <a:pt x="4482" y="6"/>
                </a:cubicBezTo>
                <a:cubicBezTo>
                  <a:pt x="4476" y="6"/>
                  <a:pt x="4469" y="6"/>
                  <a:pt x="4463" y="6"/>
                </a:cubicBezTo>
                <a:cubicBezTo>
                  <a:pt x="4460" y="6"/>
                  <a:pt x="4453" y="7"/>
                  <a:pt x="4450" y="6"/>
                </a:cubicBezTo>
                <a:cubicBezTo>
                  <a:pt x="4449" y="6"/>
                  <a:pt x="4449" y="5"/>
                  <a:pt x="4448" y="5"/>
                </a:cubicBezTo>
                <a:cubicBezTo>
                  <a:pt x="4446" y="5"/>
                  <a:pt x="4445" y="5"/>
                  <a:pt x="4443" y="5"/>
                </a:cubicBezTo>
                <a:cubicBezTo>
                  <a:pt x="4443" y="5"/>
                  <a:pt x="4444" y="6"/>
                  <a:pt x="4444" y="6"/>
                </a:cubicBezTo>
                <a:cubicBezTo>
                  <a:pt x="4449" y="7"/>
                  <a:pt x="4438" y="9"/>
                  <a:pt x="4434" y="8"/>
                </a:cubicBezTo>
                <a:cubicBezTo>
                  <a:pt x="4431" y="8"/>
                  <a:pt x="4432" y="7"/>
                  <a:pt x="4430" y="6"/>
                </a:cubicBezTo>
                <a:cubicBezTo>
                  <a:pt x="4428" y="6"/>
                  <a:pt x="4426" y="6"/>
                  <a:pt x="4424" y="6"/>
                </a:cubicBezTo>
                <a:cubicBezTo>
                  <a:pt x="4420" y="6"/>
                  <a:pt x="4417" y="6"/>
                  <a:pt x="4414" y="6"/>
                </a:cubicBezTo>
                <a:cubicBezTo>
                  <a:pt x="4411" y="6"/>
                  <a:pt x="4406" y="5"/>
                  <a:pt x="4403" y="5"/>
                </a:cubicBezTo>
                <a:cubicBezTo>
                  <a:pt x="4402" y="5"/>
                  <a:pt x="4402" y="6"/>
                  <a:pt x="4401" y="6"/>
                </a:cubicBezTo>
                <a:cubicBezTo>
                  <a:pt x="4397" y="7"/>
                  <a:pt x="4396" y="6"/>
                  <a:pt x="4393" y="6"/>
                </a:cubicBezTo>
                <a:cubicBezTo>
                  <a:pt x="4390" y="5"/>
                  <a:pt x="4386" y="6"/>
                  <a:pt x="4384" y="7"/>
                </a:cubicBezTo>
                <a:cubicBezTo>
                  <a:pt x="4381" y="7"/>
                  <a:pt x="4380" y="7"/>
                  <a:pt x="4377" y="7"/>
                </a:cubicBezTo>
                <a:cubicBezTo>
                  <a:pt x="4377" y="7"/>
                  <a:pt x="4376" y="7"/>
                  <a:pt x="4375" y="7"/>
                </a:cubicBezTo>
                <a:cubicBezTo>
                  <a:pt x="4374" y="7"/>
                  <a:pt x="4373" y="7"/>
                  <a:pt x="4372" y="6"/>
                </a:cubicBezTo>
                <a:cubicBezTo>
                  <a:pt x="4368" y="6"/>
                  <a:pt x="4360" y="6"/>
                  <a:pt x="4356" y="6"/>
                </a:cubicBezTo>
                <a:cubicBezTo>
                  <a:pt x="4296" y="6"/>
                  <a:pt x="4270" y="7"/>
                  <a:pt x="4267" y="7"/>
                </a:cubicBezTo>
                <a:cubicBezTo>
                  <a:pt x="4266" y="7"/>
                  <a:pt x="4234" y="7"/>
                  <a:pt x="4227" y="7"/>
                </a:cubicBezTo>
                <a:cubicBezTo>
                  <a:pt x="4224" y="7"/>
                  <a:pt x="4219" y="6"/>
                  <a:pt x="4216" y="6"/>
                </a:cubicBezTo>
                <a:cubicBezTo>
                  <a:pt x="4213" y="5"/>
                  <a:pt x="4211" y="5"/>
                  <a:pt x="4208" y="5"/>
                </a:cubicBezTo>
                <a:cubicBezTo>
                  <a:pt x="4205" y="5"/>
                  <a:pt x="4203" y="5"/>
                  <a:pt x="4200" y="5"/>
                </a:cubicBezTo>
                <a:cubicBezTo>
                  <a:pt x="4199" y="5"/>
                  <a:pt x="4197" y="5"/>
                  <a:pt x="4196" y="5"/>
                </a:cubicBezTo>
                <a:cubicBezTo>
                  <a:pt x="4195" y="4"/>
                  <a:pt x="4197" y="4"/>
                  <a:pt x="4195" y="4"/>
                </a:cubicBezTo>
                <a:cubicBezTo>
                  <a:pt x="4194" y="3"/>
                  <a:pt x="4190" y="3"/>
                  <a:pt x="4187" y="3"/>
                </a:cubicBezTo>
                <a:cubicBezTo>
                  <a:pt x="4184" y="3"/>
                  <a:pt x="4179" y="4"/>
                  <a:pt x="4176" y="4"/>
                </a:cubicBezTo>
                <a:cubicBezTo>
                  <a:pt x="4171" y="4"/>
                  <a:pt x="4165" y="5"/>
                  <a:pt x="4158" y="4"/>
                </a:cubicBezTo>
                <a:cubicBezTo>
                  <a:pt x="4158" y="4"/>
                  <a:pt x="4157" y="3"/>
                  <a:pt x="4156" y="3"/>
                </a:cubicBezTo>
                <a:cubicBezTo>
                  <a:pt x="4152" y="3"/>
                  <a:pt x="4151" y="4"/>
                  <a:pt x="4149" y="4"/>
                </a:cubicBezTo>
                <a:cubicBezTo>
                  <a:pt x="4147" y="5"/>
                  <a:pt x="4143" y="5"/>
                  <a:pt x="4140" y="5"/>
                </a:cubicBezTo>
                <a:cubicBezTo>
                  <a:pt x="4134" y="5"/>
                  <a:pt x="4128" y="5"/>
                  <a:pt x="4122" y="5"/>
                </a:cubicBezTo>
                <a:cubicBezTo>
                  <a:pt x="4104" y="5"/>
                  <a:pt x="4086" y="5"/>
                  <a:pt x="4080" y="5"/>
                </a:cubicBezTo>
                <a:cubicBezTo>
                  <a:pt x="4075" y="5"/>
                  <a:pt x="4068" y="5"/>
                  <a:pt x="4064" y="6"/>
                </a:cubicBezTo>
                <a:cubicBezTo>
                  <a:pt x="4061" y="6"/>
                  <a:pt x="4058" y="6"/>
                  <a:pt x="4056" y="6"/>
                </a:cubicBezTo>
                <a:cubicBezTo>
                  <a:pt x="4054" y="7"/>
                  <a:pt x="4053" y="7"/>
                  <a:pt x="4051" y="7"/>
                </a:cubicBezTo>
                <a:cubicBezTo>
                  <a:pt x="4046" y="8"/>
                  <a:pt x="4039" y="7"/>
                  <a:pt x="4034" y="7"/>
                </a:cubicBezTo>
                <a:cubicBezTo>
                  <a:pt x="4031" y="7"/>
                  <a:pt x="4027" y="6"/>
                  <a:pt x="4023" y="6"/>
                </a:cubicBezTo>
                <a:cubicBezTo>
                  <a:pt x="4020" y="6"/>
                  <a:pt x="4018" y="6"/>
                  <a:pt x="4015" y="6"/>
                </a:cubicBezTo>
                <a:cubicBezTo>
                  <a:pt x="4006" y="6"/>
                  <a:pt x="3998" y="6"/>
                  <a:pt x="3989" y="6"/>
                </a:cubicBezTo>
                <a:cubicBezTo>
                  <a:pt x="3971" y="7"/>
                  <a:pt x="3946" y="7"/>
                  <a:pt x="3918" y="7"/>
                </a:cubicBezTo>
                <a:cubicBezTo>
                  <a:pt x="3864" y="7"/>
                  <a:pt x="3806" y="7"/>
                  <a:pt x="3791" y="7"/>
                </a:cubicBezTo>
                <a:cubicBezTo>
                  <a:pt x="3785" y="7"/>
                  <a:pt x="3779" y="7"/>
                  <a:pt x="3773" y="7"/>
                </a:cubicBezTo>
                <a:cubicBezTo>
                  <a:pt x="3769" y="7"/>
                  <a:pt x="3763" y="7"/>
                  <a:pt x="3760" y="8"/>
                </a:cubicBezTo>
                <a:cubicBezTo>
                  <a:pt x="3758" y="8"/>
                  <a:pt x="3757" y="8"/>
                  <a:pt x="3756" y="8"/>
                </a:cubicBezTo>
                <a:cubicBezTo>
                  <a:pt x="3755" y="8"/>
                  <a:pt x="3754" y="8"/>
                  <a:pt x="3752" y="8"/>
                </a:cubicBezTo>
                <a:cubicBezTo>
                  <a:pt x="3752" y="8"/>
                  <a:pt x="3751" y="8"/>
                  <a:pt x="3751" y="8"/>
                </a:cubicBezTo>
                <a:cubicBezTo>
                  <a:pt x="3746" y="8"/>
                  <a:pt x="3741" y="8"/>
                  <a:pt x="3737" y="8"/>
                </a:cubicBezTo>
                <a:cubicBezTo>
                  <a:pt x="3732" y="8"/>
                  <a:pt x="3728" y="8"/>
                  <a:pt x="3723" y="8"/>
                </a:cubicBezTo>
                <a:cubicBezTo>
                  <a:pt x="3718" y="8"/>
                  <a:pt x="3713" y="7"/>
                  <a:pt x="3708" y="8"/>
                </a:cubicBezTo>
                <a:cubicBezTo>
                  <a:pt x="3708" y="8"/>
                  <a:pt x="3707" y="8"/>
                  <a:pt x="3706" y="8"/>
                </a:cubicBezTo>
                <a:cubicBezTo>
                  <a:pt x="3700" y="9"/>
                  <a:pt x="3695" y="9"/>
                  <a:pt x="3687" y="9"/>
                </a:cubicBezTo>
                <a:cubicBezTo>
                  <a:pt x="3687" y="9"/>
                  <a:pt x="3686" y="9"/>
                  <a:pt x="3686" y="9"/>
                </a:cubicBezTo>
                <a:cubicBezTo>
                  <a:pt x="3684" y="8"/>
                  <a:pt x="3685" y="8"/>
                  <a:pt x="3685" y="7"/>
                </a:cubicBezTo>
                <a:cubicBezTo>
                  <a:pt x="3680" y="6"/>
                  <a:pt x="3672" y="7"/>
                  <a:pt x="3666" y="7"/>
                </a:cubicBezTo>
                <a:cubicBezTo>
                  <a:pt x="3659" y="7"/>
                  <a:pt x="3652" y="8"/>
                  <a:pt x="3644" y="8"/>
                </a:cubicBezTo>
                <a:cubicBezTo>
                  <a:pt x="3637" y="7"/>
                  <a:pt x="3630" y="7"/>
                  <a:pt x="3622" y="7"/>
                </a:cubicBezTo>
                <a:cubicBezTo>
                  <a:pt x="3617" y="7"/>
                  <a:pt x="3598" y="7"/>
                  <a:pt x="3579" y="7"/>
                </a:cubicBezTo>
                <a:cubicBezTo>
                  <a:pt x="3573" y="7"/>
                  <a:pt x="3566" y="7"/>
                  <a:pt x="3560" y="7"/>
                </a:cubicBezTo>
                <a:cubicBezTo>
                  <a:pt x="3555" y="8"/>
                  <a:pt x="3549" y="8"/>
                  <a:pt x="3545" y="8"/>
                </a:cubicBezTo>
                <a:cubicBezTo>
                  <a:pt x="3543" y="8"/>
                  <a:pt x="3541" y="9"/>
                  <a:pt x="3539" y="9"/>
                </a:cubicBezTo>
                <a:cubicBezTo>
                  <a:pt x="3536" y="9"/>
                  <a:pt x="3532" y="8"/>
                  <a:pt x="3529" y="8"/>
                </a:cubicBezTo>
                <a:cubicBezTo>
                  <a:pt x="3520" y="7"/>
                  <a:pt x="3510" y="8"/>
                  <a:pt x="3501" y="7"/>
                </a:cubicBezTo>
                <a:cubicBezTo>
                  <a:pt x="3491" y="7"/>
                  <a:pt x="3481" y="7"/>
                  <a:pt x="3471" y="7"/>
                </a:cubicBezTo>
                <a:cubicBezTo>
                  <a:pt x="3460" y="7"/>
                  <a:pt x="3449" y="7"/>
                  <a:pt x="3438" y="7"/>
                </a:cubicBezTo>
                <a:cubicBezTo>
                  <a:pt x="3433" y="7"/>
                  <a:pt x="3429" y="7"/>
                  <a:pt x="3424" y="7"/>
                </a:cubicBezTo>
                <a:cubicBezTo>
                  <a:pt x="3419" y="8"/>
                  <a:pt x="3415" y="7"/>
                  <a:pt x="3410" y="8"/>
                </a:cubicBezTo>
                <a:cubicBezTo>
                  <a:pt x="3404" y="8"/>
                  <a:pt x="3399" y="9"/>
                  <a:pt x="3393" y="9"/>
                </a:cubicBezTo>
                <a:cubicBezTo>
                  <a:pt x="3385" y="9"/>
                  <a:pt x="3377" y="9"/>
                  <a:pt x="3369" y="8"/>
                </a:cubicBezTo>
                <a:cubicBezTo>
                  <a:pt x="3361" y="8"/>
                  <a:pt x="3353" y="8"/>
                  <a:pt x="3345" y="8"/>
                </a:cubicBezTo>
                <a:cubicBezTo>
                  <a:pt x="3326" y="8"/>
                  <a:pt x="3308" y="8"/>
                  <a:pt x="3290" y="8"/>
                </a:cubicBezTo>
                <a:cubicBezTo>
                  <a:pt x="3276" y="8"/>
                  <a:pt x="3263" y="8"/>
                  <a:pt x="3250" y="8"/>
                </a:cubicBezTo>
                <a:cubicBezTo>
                  <a:pt x="3238" y="8"/>
                  <a:pt x="3227" y="8"/>
                  <a:pt x="3216" y="8"/>
                </a:cubicBezTo>
                <a:cubicBezTo>
                  <a:pt x="3213" y="9"/>
                  <a:pt x="3209" y="9"/>
                  <a:pt x="3206" y="9"/>
                </a:cubicBezTo>
                <a:cubicBezTo>
                  <a:pt x="3205" y="9"/>
                  <a:pt x="3204" y="9"/>
                  <a:pt x="3202" y="9"/>
                </a:cubicBezTo>
                <a:cubicBezTo>
                  <a:pt x="3200" y="9"/>
                  <a:pt x="3198" y="9"/>
                  <a:pt x="3196" y="9"/>
                </a:cubicBezTo>
                <a:cubicBezTo>
                  <a:pt x="3195" y="10"/>
                  <a:pt x="3193" y="9"/>
                  <a:pt x="3193" y="9"/>
                </a:cubicBezTo>
                <a:cubicBezTo>
                  <a:pt x="3191" y="8"/>
                  <a:pt x="3180" y="8"/>
                  <a:pt x="3176" y="8"/>
                </a:cubicBezTo>
                <a:cubicBezTo>
                  <a:pt x="3173" y="7"/>
                  <a:pt x="3163" y="7"/>
                  <a:pt x="3160" y="7"/>
                </a:cubicBezTo>
                <a:cubicBezTo>
                  <a:pt x="3160" y="8"/>
                  <a:pt x="3160" y="8"/>
                  <a:pt x="3159" y="8"/>
                </a:cubicBezTo>
                <a:cubicBezTo>
                  <a:pt x="3159" y="8"/>
                  <a:pt x="3158" y="8"/>
                  <a:pt x="3157" y="8"/>
                </a:cubicBezTo>
                <a:cubicBezTo>
                  <a:pt x="3152" y="8"/>
                  <a:pt x="3147" y="8"/>
                  <a:pt x="3142" y="8"/>
                </a:cubicBezTo>
                <a:cubicBezTo>
                  <a:pt x="3133" y="8"/>
                  <a:pt x="3117" y="8"/>
                  <a:pt x="3108" y="8"/>
                </a:cubicBezTo>
                <a:cubicBezTo>
                  <a:pt x="3092" y="8"/>
                  <a:pt x="3051" y="8"/>
                  <a:pt x="3027" y="8"/>
                </a:cubicBezTo>
                <a:cubicBezTo>
                  <a:pt x="3022" y="8"/>
                  <a:pt x="3011" y="8"/>
                  <a:pt x="3001" y="8"/>
                </a:cubicBezTo>
                <a:cubicBezTo>
                  <a:pt x="2994" y="8"/>
                  <a:pt x="2987" y="9"/>
                  <a:pt x="2980" y="8"/>
                </a:cubicBezTo>
                <a:cubicBezTo>
                  <a:pt x="2977" y="7"/>
                  <a:pt x="2976" y="7"/>
                  <a:pt x="2973" y="7"/>
                </a:cubicBezTo>
                <a:cubicBezTo>
                  <a:pt x="2969" y="7"/>
                  <a:pt x="2965" y="7"/>
                  <a:pt x="2962" y="7"/>
                </a:cubicBezTo>
                <a:cubicBezTo>
                  <a:pt x="2955" y="8"/>
                  <a:pt x="2944" y="8"/>
                  <a:pt x="2938" y="7"/>
                </a:cubicBezTo>
                <a:cubicBezTo>
                  <a:pt x="2934" y="7"/>
                  <a:pt x="2931" y="7"/>
                  <a:pt x="2928" y="7"/>
                </a:cubicBezTo>
                <a:cubicBezTo>
                  <a:pt x="2927" y="6"/>
                  <a:pt x="2925" y="6"/>
                  <a:pt x="2924" y="7"/>
                </a:cubicBezTo>
                <a:cubicBezTo>
                  <a:pt x="2923" y="7"/>
                  <a:pt x="2923" y="7"/>
                  <a:pt x="2922" y="7"/>
                </a:cubicBezTo>
                <a:cubicBezTo>
                  <a:pt x="2919" y="8"/>
                  <a:pt x="2915" y="7"/>
                  <a:pt x="2911" y="7"/>
                </a:cubicBezTo>
                <a:cubicBezTo>
                  <a:pt x="2906" y="7"/>
                  <a:pt x="2901" y="7"/>
                  <a:pt x="2896" y="7"/>
                </a:cubicBezTo>
                <a:cubicBezTo>
                  <a:pt x="2886" y="7"/>
                  <a:pt x="2876" y="7"/>
                  <a:pt x="2866" y="7"/>
                </a:cubicBezTo>
                <a:cubicBezTo>
                  <a:pt x="2848" y="7"/>
                  <a:pt x="2830" y="7"/>
                  <a:pt x="2813" y="7"/>
                </a:cubicBezTo>
                <a:cubicBezTo>
                  <a:pt x="2810" y="8"/>
                  <a:pt x="2807" y="8"/>
                  <a:pt x="2804" y="8"/>
                </a:cubicBezTo>
                <a:cubicBezTo>
                  <a:pt x="2803" y="9"/>
                  <a:pt x="2801" y="9"/>
                  <a:pt x="2799" y="9"/>
                </a:cubicBezTo>
                <a:cubicBezTo>
                  <a:pt x="2798" y="9"/>
                  <a:pt x="2797" y="9"/>
                  <a:pt x="2797" y="9"/>
                </a:cubicBezTo>
                <a:cubicBezTo>
                  <a:pt x="2793" y="9"/>
                  <a:pt x="2791" y="9"/>
                  <a:pt x="2788" y="8"/>
                </a:cubicBezTo>
                <a:cubicBezTo>
                  <a:pt x="2784" y="8"/>
                  <a:pt x="2780" y="8"/>
                  <a:pt x="2776" y="8"/>
                </a:cubicBezTo>
                <a:cubicBezTo>
                  <a:pt x="2772" y="7"/>
                  <a:pt x="2763" y="7"/>
                  <a:pt x="2761" y="8"/>
                </a:cubicBezTo>
                <a:cubicBezTo>
                  <a:pt x="2760" y="8"/>
                  <a:pt x="2760" y="9"/>
                  <a:pt x="2759" y="9"/>
                </a:cubicBezTo>
                <a:cubicBezTo>
                  <a:pt x="2759" y="9"/>
                  <a:pt x="2757" y="9"/>
                  <a:pt x="2756" y="9"/>
                </a:cubicBezTo>
                <a:cubicBezTo>
                  <a:pt x="2755" y="9"/>
                  <a:pt x="2754" y="9"/>
                  <a:pt x="2751" y="8"/>
                </a:cubicBezTo>
                <a:cubicBezTo>
                  <a:pt x="2750" y="7"/>
                  <a:pt x="2742" y="7"/>
                  <a:pt x="2738" y="7"/>
                </a:cubicBezTo>
                <a:cubicBezTo>
                  <a:pt x="2732" y="7"/>
                  <a:pt x="2726" y="7"/>
                  <a:pt x="2720" y="6"/>
                </a:cubicBezTo>
                <a:cubicBezTo>
                  <a:pt x="2720" y="6"/>
                  <a:pt x="2719" y="6"/>
                  <a:pt x="2718" y="6"/>
                </a:cubicBezTo>
                <a:cubicBezTo>
                  <a:pt x="2716" y="6"/>
                  <a:pt x="2714" y="6"/>
                  <a:pt x="2713" y="6"/>
                </a:cubicBezTo>
                <a:cubicBezTo>
                  <a:pt x="2712" y="7"/>
                  <a:pt x="2710" y="7"/>
                  <a:pt x="2710" y="7"/>
                </a:cubicBezTo>
                <a:cubicBezTo>
                  <a:pt x="2709" y="7"/>
                  <a:pt x="2707" y="7"/>
                  <a:pt x="2706" y="7"/>
                </a:cubicBezTo>
                <a:cubicBezTo>
                  <a:pt x="2705" y="8"/>
                  <a:pt x="2703" y="7"/>
                  <a:pt x="2702" y="7"/>
                </a:cubicBezTo>
                <a:cubicBezTo>
                  <a:pt x="2702" y="7"/>
                  <a:pt x="2702" y="6"/>
                  <a:pt x="2702" y="6"/>
                </a:cubicBezTo>
                <a:cubicBezTo>
                  <a:pt x="2700" y="6"/>
                  <a:pt x="2699" y="5"/>
                  <a:pt x="2698" y="5"/>
                </a:cubicBezTo>
                <a:cubicBezTo>
                  <a:pt x="2693" y="5"/>
                  <a:pt x="2691" y="7"/>
                  <a:pt x="2687" y="7"/>
                </a:cubicBezTo>
                <a:cubicBezTo>
                  <a:pt x="2684" y="7"/>
                  <a:pt x="2682" y="7"/>
                  <a:pt x="2679" y="7"/>
                </a:cubicBezTo>
                <a:cubicBezTo>
                  <a:pt x="2674" y="7"/>
                  <a:pt x="2669" y="7"/>
                  <a:pt x="2664" y="7"/>
                </a:cubicBezTo>
                <a:cubicBezTo>
                  <a:pt x="2650" y="7"/>
                  <a:pt x="2633" y="7"/>
                  <a:pt x="2626" y="7"/>
                </a:cubicBezTo>
                <a:cubicBezTo>
                  <a:pt x="2623" y="6"/>
                  <a:pt x="2618" y="6"/>
                  <a:pt x="2615" y="6"/>
                </a:cubicBezTo>
                <a:cubicBezTo>
                  <a:pt x="2615" y="6"/>
                  <a:pt x="2614" y="6"/>
                  <a:pt x="2614" y="5"/>
                </a:cubicBezTo>
                <a:cubicBezTo>
                  <a:pt x="2613" y="5"/>
                  <a:pt x="2611" y="4"/>
                  <a:pt x="2608" y="5"/>
                </a:cubicBezTo>
                <a:cubicBezTo>
                  <a:pt x="2606" y="5"/>
                  <a:pt x="2609" y="6"/>
                  <a:pt x="2605" y="7"/>
                </a:cubicBezTo>
                <a:cubicBezTo>
                  <a:pt x="2601" y="7"/>
                  <a:pt x="2594" y="7"/>
                  <a:pt x="2590" y="6"/>
                </a:cubicBezTo>
                <a:cubicBezTo>
                  <a:pt x="2577" y="6"/>
                  <a:pt x="2564" y="6"/>
                  <a:pt x="2551" y="6"/>
                </a:cubicBezTo>
                <a:cubicBezTo>
                  <a:pt x="2546" y="6"/>
                  <a:pt x="2541" y="6"/>
                  <a:pt x="2536" y="6"/>
                </a:cubicBezTo>
                <a:cubicBezTo>
                  <a:pt x="2534" y="6"/>
                  <a:pt x="2531" y="6"/>
                  <a:pt x="2529" y="6"/>
                </a:cubicBezTo>
                <a:cubicBezTo>
                  <a:pt x="2528" y="6"/>
                  <a:pt x="2526" y="5"/>
                  <a:pt x="2525" y="5"/>
                </a:cubicBezTo>
                <a:cubicBezTo>
                  <a:pt x="2524" y="5"/>
                  <a:pt x="2522" y="5"/>
                  <a:pt x="2521" y="5"/>
                </a:cubicBezTo>
                <a:cubicBezTo>
                  <a:pt x="2520" y="5"/>
                  <a:pt x="2518" y="5"/>
                  <a:pt x="2517" y="5"/>
                </a:cubicBezTo>
                <a:cubicBezTo>
                  <a:pt x="2514" y="5"/>
                  <a:pt x="2515" y="6"/>
                  <a:pt x="2514" y="6"/>
                </a:cubicBezTo>
                <a:cubicBezTo>
                  <a:pt x="2513" y="7"/>
                  <a:pt x="2510" y="7"/>
                  <a:pt x="2508" y="7"/>
                </a:cubicBezTo>
                <a:cubicBezTo>
                  <a:pt x="2501" y="8"/>
                  <a:pt x="2493" y="8"/>
                  <a:pt x="2486" y="8"/>
                </a:cubicBezTo>
                <a:cubicBezTo>
                  <a:pt x="2481" y="8"/>
                  <a:pt x="2476" y="8"/>
                  <a:pt x="2471" y="8"/>
                </a:cubicBezTo>
                <a:cubicBezTo>
                  <a:pt x="2468" y="7"/>
                  <a:pt x="2464" y="7"/>
                  <a:pt x="2460" y="7"/>
                </a:cubicBezTo>
                <a:cubicBezTo>
                  <a:pt x="2458" y="6"/>
                  <a:pt x="2455" y="6"/>
                  <a:pt x="2454" y="6"/>
                </a:cubicBezTo>
                <a:cubicBezTo>
                  <a:pt x="2453" y="6"/>
                  <a:pt x="2453" y="6"/>
                  <a:pt x="2453" y="6"/>
                </a:cubicBezTo>
                <a:cubicBezTo>
                  <a:pt x="2451" y="5"/>
                  <a:pt x="2450" y="5"/>
                  <a:pt x="2449" y="6"/>
                </a:cubicBezTo>
                <a:cubicBezTo>
                  <a:pt x="2448" y="6"/>
                  <a:pt x="2447" y="6"/>
                  <a:pt x="2447" y="6"/>
                </a:cubicBezTo>
                <a:cubicBezTo>
                  <a:pt x="2447" y="6"/>
                  <a:pt x="2446" y="6"/>
                  <a:pt x="2445" y="6"/>
                </a:cubicBezTo>
                <a:cubicBezTo>
                  <a:pt x="2440" y="6"/>
                  <a:pt x="2434" y="5"/>
                  <a:pt x="2429" y="6"/>
                </a:cubicBezTo>
                <a:cubicBezTo>
                  <a:pt x="2428" y="6"/>
                  <a:pt x="2428" y="6"/>
                  <a:pt x="2426" y="6"/>
                </a:cubicBezTo>
                <a:cubicBezTo>
                  <a:pt x="2422" y="5"/>
                  <a:pt x="2417" y="6"/>
                  <a:pt x="2414" y="6"/>
                </a:cubicBezTo>
                <a:cubicBezTo>
                  <a:pt x="2411" y="7"/>
                  <a:pt x="2408" y="7"/>
                  <a:pt x="2405" y="7"/>
                </a:cubicBezTo>
                <a:cubicBezTo>
                  <a:pt x="2402" y="8"/>
                  <a:pt x="2400" y="8"/>
                  <a:pt x="2398" y="9"/>
                </a:cubicBezTo>
                <a:cubicBezTo>
                  <a:pt x="2394" y="9"/>
                  <a:pt x="2391" y="9"/>
                  <a:pt x="2388" y="8"/>
                </a:cubicBezTo>
                <a:cubicBezTo>
                  <a:pt x="2384" y="8"/>
                  <a:pt x="2381" y="7"/>
                  <a:pt x="2378" y="7"/>
                </a:cubicBezTo>
                <a:cubicBezTo>
                  <a:pt x="2370" y="7"/>
                  <a:pt x="2363" y="6"/>
                  <a:pt x="2356" y="6"/>
                </a:cubicBezTo>
                <a:cubicBezTo>
                  <a:pt x="2350" y="6"/>
                  <a:pt x="2344" y="6"/>
                  <a:pt x="2338" y="6"/>
                </a:cubicBezTo>
                <a:cubicBezTo>
                  <a:pt x="2334" y="5"/>
                  <a:pt x="2329" y="5"/>
                  <a:pt x="2326" y="5"/>
                </a:cubicBezTo>
                <a:cubicBezTo>
                  <a:pt x="2325" y="5"/>
                  <a:pt x="2324" y="4"/>
                  <a:pt x="2323" y="4"/>
                </a:cubicBezTo>
                <a:cubicBezTo>
                  <a:pt x="2322" y="4"/>
                  <a:pt x="2321" y="4"/>
                  <a:pt x="2321" y="5"/>
                </a:cubicBezTo>
                <a:cubicBezTo>
                  <a:pt x="2320" y="5"/>
                  <a:pt x="2319" y="5"/>
                  <a:pt x="2318" y="5"/>
                </a:cubicBezTo>
                <a:cubicBezTo>
                  <a:pt x="2318" y="5"/>
                  <a:pt x="2317" y="5"/>
                  <a:pt x="2317" y="5"/>
                </a:cubicBezTo>
                <a:cubicBezTo>
                  <a:pt x="2317" y="4"/>
                  <a:pt x="2315" y="5"/>
                  <a:pt x="2315" y="5"/>
                </a:cubicBezTo>
                <a:cubicBezTo>
                  <a:pt x="2314" y="5"/>
                  <a:pt x="2313" y="5"/>
                  <a:pt x="2312" y="5"/>
                </a:cubicBezTo>
                <a:cubicBezTo>
                  <a:pt x="2311" y="5"/>
                  <a:pt x="2310" y="5"/>
                  <a:pt x="2309" y="5"/>
                </a:cubicBezTo>
                <a:cubicBezTo>
                  <a:pt x="2308" y="5"/>
                  <a:pt x="2307" y="5"/>
                  <a:pt x="2302" y="5"/>
                </a:cubicBezTo>
                <a:cubicBezTo>
                  <a:pt x="2287" y="5"/>
                  <a:pt x="2273" y="6"/>
                  <a:pt x="2258" y="6"/>
                </a:cubicBezTo>
                <a:cubicBezTo>
                  <a:pt x="2252" y="6"/>
                  <a:pt x="2246" y="6"/>
                  <a:pt x="2240" y="6"/>
                </a:cubicBezTo>
                <a:cubicBezTo>
                  <a:pt x="2235" y="6"/>
                  <a:pt x="2233" y="6"/>
                  <a:pt x="2229" y="5"/>
                </a:cubicBezTo>
                <a:cubicBezTo>
                  <a:pt x="2227" y="5"/>
                  <a:pt x="2226" y="4"/>
                  <a:pt x="2224" y="4"/>
                </a:cubicBezTo>
                <a:lnTo>
                  <a:pt x="2212" y="3"/>
                </a:lnTo>
                <a:cubicBezTo>
                  <a:pt x="2209" y="3"/>
                  <a:pt x="2203" y="3"/>
                  <a:pt x="2200" y="3"/>
                </a:cubicBezTo>
                <a:cubicBezTo>
                  <a:pt x="2200" y="5"/>
                  <a:pt x="2191" y="4"/>
                  <a:pt x="2189" y="3"/>
                </a:cubicBezTo>
                <a:cubicBezTo>
                  <a:pt x="2182" y="3"/>
                  <a:pt x="2175" y="3"/>
                  <a:pt x="2168" y="3"/>
                </a:cubicBezTo>
                <a:cubicBezTo>
                  <a:pt x="2165" y="3"/>
                  <a:pt x="2162" y="3"/>
                  <a:pt x="2159" y="3"/>
                </a:cubicBezTo>
                <a:cubicBezTo>
                  <a:pt x="2156" y="3"/>
                  <a:pt x="2154" y="4"/>
                  <a:pt x="2152" y="4"/>
                </a:cubicBezTo>
                <a:cubicBezTo>
                  <a:pt x="2150" y="4"/>
                  <a:pt x="2147" y="5"/>
                  <a:pt x="2144" y="4"/>
                </a:cubicBezTo>
                <a:cubicBezTo>
                  <a:pt x="2144" y="4"/>
                  <a:pt x="2143" y="4"/>
                  <a:pt x="2142" y="4"/>
                </a:cubicBezTo>
                <a:cubicBezTo>
                  <a:pt x="2144" y="3"/>
                  <a:pt x="2139" y="3"/>
                  <a:pt x="2137" y="3"/>
                </a:cubicBezTo>
                <a:cubicBezTo>
                  <a:pt x="2135" y="3"/>
                  <a:pt x="2133" y="3"/>
                  <a:pt x="2131" y="3"/>
                </a:cubicBezTo>
                <a:cubicBezTo>
                  <a:pt x="2129" y="3"/>
                  <a:pt x="2123" y="3"/>
                  <a:pt x="2122" y="3"/>
                </a:cubicBezTo>
                <a:cubicBezTo>
                  <a:pt x="2121" y="3"/>
                  <a:pt x="2121" y="4"/>
                  <a:pt x="2121" y="4"/>
                </a:cubicBezTo>
                <a:cubicBezTo>
                  <a:pt x="2121" y="4"/>
                  <a:pt x="2120" y="4"/>
                  <a:pt x="2119" y="5"/>
                </a:cubicBezTo>
                <a:cubicBezTo>
                  <a:pt x="2116" y="5"/>
                  <a:pt x="2112" y="5"/>
                  <a:pt x="2108" y="5"/>
                </a:cubicBezTo>
                <a:cubicBezTo>
                  <a:pt x="2103" y="5"/>
                  <a:pt x="2098" y="5"/>
                  <a:pt x="2093" y="4"/>
                </a:cubicBezTo>
                <a:cubicBezTo>
                  <a:pt x="2080" y="4"/>
                  <a:pt x="2048" y="3"/>
                  <a:pt x="2024" y="3"/>
                </a:cubicBezTo>
                <a:cubicBezTo>
                  <a:pt x="2015" y="3"/>
                  <a:pt x="2007" y="3"/>
                  <a:pt x="1999" y="3"/>
                </a:cubicBezTo>
                <a:cubicBezTo>
                  <a:pt x="1992" y="3"/>
                  <a:pt x="1984" y="4"/>
                  <a:pt x="1977" y="3"/>
                </a:cubicBezTo>
                <a:cubicBezTo>
                  <a:pt x="1974" y="3"/>
                  <a:pt x="1972" y="3"/>
                  <a:pt x="1969" y="3"/>
                </a:cubicBezTo>
                <a:cubicBezTo>
                  <a:pt x="1968" y="3"/>
                  <a:pt x="1968" y="3"/>
                  <a:pt x="1967" y="3"/>
                </a:cubicBezTo>
                <a:cubicBezTo>
                  <a:pt x="1966" y="3"/>
                  <a:pt x="1964" y="3"/>
                  <a:pt x="1963" y="3"/>
                </a:cubicBezTo>
                <a:cubicBezTo>
                  <a:pt x="1962" y="3"/>
                  <a:pt x="1962" y="3"/>
                  <a:pt x="1961" y="4"/>
                </a:cubicBezTo>
                <a:cubicBezTo>
                  <a:pt x="1961" y="4"/>
                  <a:pt x="1961" y="4"/>
                  <a:pt x="1958" y="4"/>
                </a:cubicBezTo>
                <a:cubicBezTo>
                  <a:pt x="1955" y="4"/>
                  <a:pt x="1952" y="4"/>
                  <a:pt x="1949" y="4"/>
                </a:cubicBezTo>
                <a:cubicBezTo>
                  <a:pt x="1944" y="3"/>
                  <a:pt x="1934" y="3"/>
                  <a:pt x="1927" y="3"/>
                </a:cubicBezTo>
                <a:cubicBezTo>
                  <a:pt x="1924" y="3"/>
                  <a:pt x="1921" y="3"/>
                  <a:pt x="1918" y="3"/>
                </a:cubicBezTo>
                <a:cubicBezTo>
                  <a:pt x="1916" y="3"/>
                  <a:pt x="1913" y="3"/>
                  <a:pt x="1910" y="3"/>
                </a:cubicBezTo>
                <a:cubicBezTo>
                  <a:pt x="1910" y="3"/>
                  <a:pt x="1909" y="3"/>
                  <a:pt x="1908" y="3"/>
                </a:cubicBezTo>
                <a:cubicBezTo>
                  <a:pt x="1908" y="3"/>
                  <a:pt x="1908" y="3"/>
                  <a:pt x="1910" y="3"/>
                </a:cubicBezTo>
                <a:cubicBezTo>
                  <a:pt x="1910" y="3"/>
                  <a:pt x="1910" y="4"/>
                  <a:pt x="1909" y="4"/>
                </a:cubicBezTo>
                <a:cubicBezTo>
                  <a:pt x="1908" y="4"/>
                  <a:pt x="1907" y="4"/>
                  <a:pt x="1906" y="4"/>
                </a:cubicBezTo>
                <a:cubicBezTo>
                  <a:pt x="1901" y="4"/>
                  <a:pt x="1896" y="4"/>
                  <a:pt x="1891" y="4"/>
                </a:cubicBezTo>
                <a:cubicBezTo>
                  <a:pt x="1880" y="3"/>
                  <a:pt x="1866" y="3"/>
                  <a:pt x="1859" y="3"/>
                </a:cubicBezTo>
                <a:cubicBezTo>
                  <a:pt x="1852" y="4"/>
                  <a:pt x="1834" y="4"/>
                  <a:pt x="1820" y="4"/>
                </a:cubicBezTo>
                <a:cubicBezTo>
                  <a:pt x="1806" y="4"/>
                  <a:pt x="1770" y="4"/>
                  <a:pt x="1740" y="3"/>
                </a:cubicBezTo>
                <a:cubicBezTo>
                  <a:pt x="1730" y="3"/>
                  <a:pt x="1720" y="3"/>
                  <a:pt x="1711" y="3"/>
                </a:cubicBezTo>
                <a:cubicBezTo>
                  <a:pt x="1705" y="3"/>
                  <a:pt x="1700" y="3"/>
                  <a:pt x="1695" y="3"/>
                </a:cubicBezTo>
                <a:cubicBezTo>
                  <a:pt x="1693" y="3"/>
                  <a:pt x="1686" y="4"/>
                  <a:pt x="1685" y="3"/>
                </a:cubicBezTo>
                <a:cubicBezTo>
                  <a:pt x="1685" y="3"/>
                  <a:pt x="1684" y="3"/>
                  <a:pt x="1683" y="3"/>
                </a:cubicBezTo>
                <a:cubicBezTo>
                  <a:pt x="1681" y="2"/>
                  <a:pt x="1673" y="2"/>
                  <a:pt x="1669" y="3"/>
                </a:cubicBezTo>
                <a:cubicBezTo>
                  <a:pt x="1664" y="3"/>
                  <a:pt x="1660" y="3"/>
                  <a:pt x="1656" y="2"/>
                </a:cubicBezTo>
                <a:cubicBezTo>
                  <a:pt x="1655" y="2"/>
                  <a:pt x="1653" y="2"/>
                  <a:pt x="1652" y="2"/>
                </a:cubicBezTo>
                <a:cubicBezTo>
                  <a:pt x="1650" y="2"/>
                  <a:pt x="1650" y="2"/>
                  <a:pt x="1649" y="2"/>
                </a:cubicBezTo>
                <a:cubicBezTo>
                  <a:pt x="1648" y="2"/>
                  <a:pt x="1647" y="2"/>
                  <a:pt x="1646" y="2"/>
                </a:cubicBezTo>
                <a:cubicBezTo>
                  <a:pt x="1645" y="2"/>
                  <a:pt x="1645" y="2"/>
                  <a:pt x="1643" y="3"/>
                </a:cubicBezTo>
                <a:cubicBezTo>
                  <a:pt x="1641" y="3"/>
                  <a:pt x="1634" y="3"/>
                  <a:pt x="1629" y="3"/>
                </a:cubicBezTo>
                <a:cubicBezTo>
                  <a:pt x="1624" y="3"/>
                  <a:pt x="1613" y="3"/>
                  <a:pt x="1605" y="3"/>
                </a:cubicBezTo>
                <a:cubicBezTo>
                  <a:pt x="1602" y="4"/>
                  <a:pt x="1599" y="4"/>
                  <a:pt x="1597" y="4"/>
                </a:cubicBezTo>
                <a:cubicBezTo>
                  <a:pt x="1594" y="4"/>
                  <a:pt x="1593" y="4"/>
                  <a:pt x="1590" y="4"/>
                </a:cubicBezTo>
                <a:cubicBezTo>
                  <a:pt x="1588" y="4"/>
                  <a:pt x="1588" y="3"/>
                  <a:pt x="1587" y="3"/>
                </a:cubicBezTo>
                <a:cubicBezTo>
                  <a:pt x="1583" y="3"/>
                  <a:pt x="1578" y="3"/>
                  <a:pt x="1574" y="3"/>
                </a:cubicBezTo>
                <a:cubicBezTo>
                  <a:pt x="1571" y="3"/>
                  <a:pt x="1567" y="3"/>
                  <a:pt x="1564" y="3"/>
                </a:cubicBezTo>
                <a:cubicBezTo>
                  <a:pt x="1561" y="3"/>
                  <a:pt x="1558" y="3"/>
                  <a:pt x="1555" y="3"/>
                </a:cubicBezTo>
                <a:cubicBezTo>
                  <a:pt x="1553" y="3"/>
                  <a:pt x="1551" y="2"/>
                  <a:pt x="1548" y="2"/>
                </a:cubicBezTo>
                <a:cubicBezTo>
                  <a:pt x="1546" y="2"/>
                  <a:pt x="1545" y="3"/>
                  <a:pt x="1544" y="3"/>
                </a:cubicBezTo>
                <a:cubicBezTo>
                  <a:pt x="1540" y="3"/>
                  <a:pt x="1536" y="3"/>
                  <a:pt x="1533" y="3"/>
                </a:cubicBezTo>
                <a:cubicBezTo>
                  <a:pt x="1527" y="3"/>
                  <a:pt x="1519" y="3"/>
                  <a:pt x="1516" y="3"/>
                </a:cubicBezTo>
                <a:cubicBezTo>
                  <a:pt x="1509" y="4"/>
                  <a:pt x="1504" y="4"/>
                  <a:pt x="1496" y="4"/>
                </a:cubicBezTo>
                <a:cubicBezTo>
                  <a:pt x="1488" y="4"/>
                  <a:pt x="1481" y="3"/>
                  <a:pt x="1474" y="3"/>
                </a:cubicBezTo>
                <a:cubicBezTo>
                  <a:pt x="1471" y="3"/>
                  <a:pt x="1467" y="3"/>
                  <a:pt x="1464" y="3"/>
                </a:cubicBezTo>
                <a:cubicBezTo>
                  <a:pt x="1463" y="3"/>
                  <a:pt x="1461" y="3"/>
                  <a:pt x="1461" y="3"/>
                </a:cubicBezTo>
                <a:cubicBezTo>
                  <a:pt x="1459" y="3"/>
                  <a:pt x="1460" y="4"/>
                  <a:pt x="1458" y="4"/>
                </a:cubicBezTo>
                <a:cubicBezTo>
                  <a:pt x="1457" y="4"/>
                  <a:pt x="1455" y="4"/>
                  <a:pt x="1454" y="4"/>
                </a:cubicBezTo>
                <a:cubicBezTo>
                  <a:pt x="1452" y="4"/>
                  <a:pt x="1448" y="4"/>
                  <a:pt x="1446" y="4"/>
                </a:cubicBezTo>
                <a:cubicBezTo>
                  <a:pt x="1444" y="3"/>
                  <a:pt x="1444" y="3"/>
                  <a:pt x="1443" y="3"/>
                </a:cubicBezTo>
                <a:cubicBezTo>
                  <a:pt x="1442" y="3"/>
                  <a:pt x="1440" y="3"/>
                  <a:pt x="1439" y="2"/>
                </a:cubicBezTo>
                <a:cubicBezTo>
                  <a:pt x="1438" y="2"/>
                  <a:pt x="1436" y="1"/>
                  <a:pt x="1435" y="1"/>
                </a:cubicBezTo>
                <a:cubicBezTo>
                  <a:pt x="1432" y="1"/>
                  <a:pt x="1431" y="2"/>
                  <a:pt x="1428" y="2"/>
                </a:cubicBezTo>
                <a:cubicBezTo>
                  <a:pt x="1428" y="2"/>
                  <a:pt x="1428" y="2"/>
                  <a:pt x="1428" y="2"/>
                </a:cubicBezTo>
                <a:cubicBezTo>
                  <a:pt x="1428" y="2"/>
                  <a:pt x="1428" y="1"/>
                  <a:pt x="1428" y="1"/>
                </a:cubicBezTo>
                <a:cubicBezTo>
                  <a:pt x="1428" y="1"/>
                  <a:pt x="1427" y="1"/>
                  <a:pt x="1427" y="1"/>
                </a:cubicBezTo>
                <a:cubicBezTo>
                  <a:pt x="1425" y="0"/>
                  <a:pt x="1423" y="0"/>
                  <a:pt x="1422" y="1"/>
                </a:cubicBezTo>
                <a:cubicBezTo>
                  <a:pt x="1421" y="1"/>
                  <a:pt x="1421" y="1"/>
                  <a:pt x="1421" y="1"/>
                </a:cubicBezTo>
                <a:cubicBezTo>
                  <a:pt x="1421" y="2"/>
                  <a:pt x="1421" y="2"/>
                  <a:pt x="1421" y="2"/>
                </a:cubicBezTo>
                <a:cubicBezTo>
                  <a:pt x="1422" y="2"/>
                  <a:pt x="1423" y="3"/>
                  <a:pt x="1424" y="3"/>
                </a:cubicBezTo>
                <a:cubicBezTo>
                  <a:pt x="1425" y="3"/>
                  <a:pt x="1423" y="3"/>
                  <a:pt x="1421" y="4"/>
                </a:cubicBezTo>
                <a:cubicBezTo>
                  <a:pt x="1420" y="4"/>
                  <a:pt x="1419" y="4"/>
                  <a:pt x="1417" y="4"/>
                </a:cubicBezTo>
                <a:cubicBezTo>
                  <a:pt x="1416" y="4"/>
                  <a:pt x="1415" y="3"/>
                  <a:pt x="1413" y="3"/>
                </a:cubicBezTo>
                <a:cubicBezTo>
                  <a:pt x="1411" y="3"/>
                  <a:pt x="1410" y="2"/>
                  <a:pt x="1407" y="2"/>
                </a:cubicBezTo>
                <a:cubicBezTo>
                  <a:pt x="1405" y="2"/>
                  <a:pt x="1402" y="2"/>
                  <a:pt x="1400" y="2"/>
                </a:cubicBezTo>
                <a:cubicBezTo>
                  <a:pt x="1395" y="2"/>
                  <a:pt x="1382" y="1"/>
                  <a:pt x="1371" y="1"/>
                </a:cubicBezTo>
                <a:cubicBezTo>
                  <a:pt x="1367" y="1"/>
                  <a:pt x="1364" y="1"/>
                  <a:pt x="1360" y="1"/>
                </a:cubicBezTo>
                <a:cubicBezTo>
                  <a:pt x="1359" y="1"/>
                  <a:pt x="1354" y="1"/>
                  <a:pt x="1352" y="1"/>
                </a:cubicBezTo>
                <a:cubicBezTo>
                  <a:pt x="1351" y="1"/>
                  <a:pt x="1350" y="2"/>
                  <a:pt x="1351" y="2"/>
                </a:cubicBezTo>
                <a:cubicBezTo>
                  <a:pt x="1348" y="2"/>
                  <a:pt x="1345" y="2"/>
                  <a:pt x="1342" y="2"/>
                </a:cubicBezTo>
                <a:cubicBezTo>
                  <a:pt x="1339" y="3"/>
                  <a:pt x="1335" y="3"/>
                  <a:pt x="1332" y="3"/>
                </a:cubicBezTo>
                <a:cubicBezTo>
                  <a:pt x="1327" y="3"/>
                  <a:pt x="1320" y="3"/>
                  <a:pt x="1316" y="3"/>
                </a:cubicBezTo>
                <a:cubicBezTo>
                  <a:pt x="1315" y="3"/>
                  <a:pt x="1313" y="2"/>
                  <a:pt x="1312" y="2"/>
                </a:cubicBezTo>
                <a:cubicBezTo>
                  <a:pt x="1311" y="2"/>
                  <a:pt x="1309" y="1"/>
                  <a:pt x="1309" y="1"/>
                </a:cubicBezTo>
                <a:cubicBezTo>
                  <a:pt x="1310" y="1"/>
                  <a:pt x="1311" y="1"/>
                  <a:pt x="1309" y="0"/>
                </a:cubicBezTo>
                <a:cubicBezTo>
                  <a:pt x="1305" y="0"/>
                  <a:pt x="1301" y="0"/>
                  <a:pt x="1297" y="0"/>
                </a:cubicBezTo>
                <a:cubicBezTo>
                  <a:pt x="1295" y="0"/>
                  <a:pt x="1292" y="1"/>
                  <a:pt x="1289" y="1"/>
                </a:cubicBezTo>
                <a:cubicBezTo>
                  <a:pt x="1287" y="1"/>
                  <a:pt x="1285" y="1"/>
                  <a:pt x="1284" y="1"/>
                </a:cubicBezTo>
                <a:cubicBezTo>
                  <a:pt x="1283" y="1"/>
                  <a:pt x="1283" y="1"/>
                  <a:pt x="1282" y="1"/>
                </a:cubicBezTo>
                <a:cubicBezTo>
                  <a:pt x="1280" y="2"/>
                  <a:pt x="1277" y="2"/>
                  <a:pt x="1275" y="3"/>
                </a:cubicBezTo>
                <a:cubicBezTo>
                  <a:pt x="1274" y="3"/>
                  <a:pt x="1273" y="3"/>
                  <a:pt x="1272" y="3"/>
                </a:cubicBezTo>
                <a:cubicBezTo>
                  <a:pt x="1272" y="3"/>
                  <a:pt x="1269" y="3"/>
                  <a:pt x="1269" y="3"/>
                </a:cubicBezTo>
                <a:cubicBezTo>
                  <a:pt x="1268" y="3"/>
                  <a:pt x="1268" y="3"/>
                  <a:pt x="1266" y="2"/>
                </a:cubicBezTo>
                <a:cubicBezTo>
                  <a:pt x="1266" y="2"/>
                  <a:pt x="1264" y="2"/>
                  <a:pt x="1263" y="2"/>
                </a:cubicBezTo>
                <a:cubicBezTo>
                  <a:pt x="1256" y="2"/>
                  <a:pt x="1250" y="2"/>
                  <a:pt x="1243" y="2"/>
                </a:cubicBezTo>
                <a:cubicBezTo>
                  <a:pt x="1240" y="2"/>
                  <a:pt x="1233" y="3"/>
                  <a:pt x="1231" y="2"/>
                </a:cubicBezTo>
                <a:cubicBezTo>
                  <a:pt x="1229" y="2"/>
                  <a:pt x="1217" y="2"/>
                  <a:pt x="1202" y="2"/>
                </a:cubicBezTo>
                <a:cubicBezTo>
                  <a:pt x="1198" y="2"/>
                  <a:pt x="1193" y="2"/>
                  <a:pt x="1188" y="2"/>
                </a:cubicBezTo>
                <a:cubicBezTo>
                  <a:pt x="1184" y="2"/>
                  <a:pt x="1179" y="1"/>
                  <a:pt x="1176" y="2"/>
                </a:cubicBezTo>
                <a:cubicBezTo>
                  <a:pt x="1175" y="2"/>
                  <a:pt x="1173" y="2"/>
                  <a:pt x="1171" y="3"/>
                </a:cubicBezTo>
                <a:cubicBezTo>
                  <a:pt x="1169" y="3"/>
                  <a:pt x="1165" y="3"/>
                  <a:pt x="1161" y="3"/>
                </a:cubicBezTo>
                <a:cubicBezTo>
                  <a:pt x="1160" y="3"/>
                  <a:pt x="1157" y="3"/>
                  <a:pt x="1156" y="3"/>
                </a:cubicBezTo>
                <a:cubicBezTo>
                  <a:pt x="1155" y="3"/>
                  <a:pt x="1154" y="3"/>
                  <a:pt x="1152" y="2"/>
                </a:cubicBezTo>
                <a:cubicBezTo>
                  <a:pt x="1150" y="2"/>
                  <a:pt x="1147" y="2"/>
                  <a:pt x="1145" y="2"/>
                </a:cubicBezTo>
                <a:cubicBezTo>
                  <a:pt x="1142" y="2"/>
                  <a:pt x="1138" y="2"/>
                  <a:pt x="1135" y="2"/>
                </a:cubicBezTo>
                <a:cubicBezTo>
                  <a:pt x="1128" y="2"/>
                  <a:pt x="1120" y="2"/>
                  <a:pt x="1115" y="3"/>
                </a:cubicBezTo>
                <a:cubicBezTo>
                  <a:pt x="1112" y="3"/>
                  <a:pt x="1106" y="4"/>
                  <a:pt x="1102" y="3"/>
                </a:cubicBezTo>
                <a:cubicBezTo>
                  <a:pt x="1099" y="3"/>
                  <a:pt x="1095" y="3"/>
                  <a:pt x="1093" y="3"/>
                </a:cubicBezTo>
                <a:cubicBezTo>
                  <a:pt x="1092" y="3"/>
                  <a:pt x="1091" y="2"/>
                  <a:pt x="1088" y="2"/>
                </a:cubicBezTo>
                <a:cubicBezTo>
                  <a:pt x="1084" y="2"/>
                  <a:pt x="1079" y="2"/>
                  <a:pt x="1075" y="2"/>
                </a:cubicBezTo>
                <a:cubicBezTo>
                  <a:pt x="1067" y="2"/>
                  <a:pt x="1056" y="2"/>
                  <a:pt x="1052" y="1"/>
                </a:cubicBezTo>
                <a:cubicBezTo>
                  <a:pt x="1048" y="1"/>
                  <a:pt x="1034" y="1"/>
                  <a:pt x="1020" y="1"/>
                </a:cubicBezTo>
                <a:cubicBezTo>
                  <a:pt x="1013" y="1"/>
                  <a:pt x="1006" y="1"/>
                  <a:pt x="998" y="1"/>
                </a:cubicBezTo>
                <a:cubicBezTo>
                  <a:pt x="998" y="1"/>
                  <a:pt x="997" y="1"/>
                  <a:pt x="997" y="1"/>
                </a:cubicBezTo>
                <a:cubicBezTo>
                  <a:pt x="996" y="1"/>
                  <a:pt x="996" y="2"/>
                  <a:pt x="997" y="2"/>
                </a:cubicBezTo>
                <a:cubicBezTo>
                  <a:pt x="997" y="2"/>
                  <a:pt x="996" y="2"/>
                  <a:pt x="995" y="2"/>
                </a:cubicBezTo>
                <a:cubicBezTo>
                  <a:pt x="994" y="2"/>
                  <a:pt x="993" y="2"/>
                  <a:pt x="992" y="2"/>
                </a:cubicBezTo>
                <a:cubicBezTo>
                  <a:pt x="988" y="3"/>
                  <a:pt x="986" y="3"/>
                  <a:pt x="982" y="3"/>
                </a:cubicBezTo>
                <a:cubicBezTo>
                  <a:pt x="980" y="3"/>
                  <a:pt x="977" y="3"/>
                  <a:pt x="975" y="3"/>
                </a:cubicBezTo>
                <a:cubicBezTo>
                  <a:pt x="970" y="3"/>
                  <a:pt x="965" y="3"/>
                  <a:pt x="959" y="3"/>
                </a:cubicBezTo>
                <a:cubicBezTo>
                  <a:pt x="952" y="3"/>
                  <a:pt x="944" y="3"/>
                  <a:pt x="937" y="3"/>
                </a:cubicBezTo>
                <a:cubicBezTo>
                  <a:pt x="933" y="3"/>
                  <a:pt x="930" y="3"/>
                  <a:pt x="926" y="3"/>
                </a:cubicBezTo>
                <a:cubicBezTo>
                  <a:pt x="925" y="3"/>
                  <a:pt x="922" y="3"/>
                  <a:pt x="921" y="3"/>
                </a:cubicBezTo>
                <a:cubicBezTo>
                  <a:pt x="920" y="3"/>
                  <a:pt x="921" y="3"/>
                  <a:pt x="921" y="3"/>
                </a:cubicBezTo>
                <a:cubicBezTo>
                  <a:pt x="920" y="2"/>
                  <a:pt x="919" y="2"/>
                  <a:pt x="917" y="2"/>
                </a:cubicBezTo>
                <a:cubicBezTo>
                  <a:pt x="915" y="2"/>
                  <a:pt x="912" y="2"/>
                  <a:pt x="909" y="2"/>
                </a:cubicBezTo>
                <a:cubicBezTo>
                  <a:pt x="902" y="2"/>
                  <a:pt x="892" y="2"/>
                  <a:pt x="886" y="2"/>
                </a:cubicBezTo>
                <a:cubicBezTo>
                  <a:pt x="882" y="2"/>
                  <a:pt x="876" y="1"/>
                  <a:pt x="873" y="2"/>
                </a:cubicBezTo>
                <a:cubicBezTo>
                  <a:pt x="872" y="2"/>
                  <a:pt x="871" y="2"/>
                  <a:pt x="871" y="3"/>
                </a:cubicBezTo>
                <a:cubicBezTo>
                  <a:pt x="871" y="3"/>
                  <a:pt x="871" y="3"/>
                  <a:pt x="871" y="3"/>
                </a:cubicBezTo>
                <a:cubicBezTo>
                  <a:pt x="870" y="3"/>
                  <a:pt x="869" y="3"/>
                  <a:pt x="868" y="3"/>
                </a:cubicBezTo>
                <a:cubicBezTo>
                  <a:pt x="860" y="3"/>
                  <a:pt x="852" y="3"/>
                  <a:pt x="844" y="3"/>
                </a:cubicBezTo>
                <a:cubicBezTo>
                  <a:pt x="838" y="3"/>
                  <a:pt x="832" y="3"/>
                  <a:pt x="826" y="3"/>
                </a:cubicBezTo>
                <a:cubicBezTo>
                  <a:pt x="824" y="3"/>
                  <a:pt x="822" y="3"/>
                  <a:pt x="821" y="3"/>
                </a:cubicBezTo>
                <a:cubicBezTo>
                  <a:pt x="821" y="3"/>
                  <a:pt x="822" y="3"/>
                  <a:pt x="820" y="3"/>
                </a:cubicBezTo>
                <a:cubicBezTo>
                  <a:pt x="820" y="3"/>
                  <a:pt x="819" y="3"/>
                  <a:pt x="818" y="3"/>
                </a:cubicBezTo>
                <a:cubicBezTo>
                  <a:pt x="814" y="3"/>
                  <a:pt x="806" y="4"/>
                  <a:pt x="802" y="3"/>
                </a:cubicBezTo>
                <a:cubicBezTo>
                  <a:pt x="802" y="3"/>
                  <a:pt x="802" y="3"/>
                  <a:pt x="802" y="3"/>
                </a:cubicBezTo>
                <a:cubicBezTo>
                  <a:pt x="802" y="3"/>
                  <a:pt x="802" y="3"/>
                  <a:pt x="802" y="2"/>
                </a:cubicBezTo>
                <a:cubicBezTo>
                  <a:pt x="802" y="2"/>
                  <a:pt x="801" y="1"/>
                  <a:pt x="800" y="1"/>
                </a:cubicBezTo>
                <a:cubicBezTo>
                  <a:pt x="799" y="1"/>
                  <a:pt x="797" y="1"/>
                  <a:pt x="796" y="1"/>
                </a:cubicBezTo>
                <a:cubicBezTo>
                  <a:pt x="794" y="1"/>
                  <a:pt x="793" y="1"/>
                  <a:pt x="792" y="1"/>
                </a:cubicBezTo>
                <a:cubicBezTo>
                  <a:pt x="791" y="1"/>
                  <a:pt x="791" y="1"/>
                  <a:pt x="790" y="2"/>
                </a:cubicBezTo>
                <a:cubicBezTo>
                  <a:pt x="788" y="2"/>
                  <a:pt x="787" y="0"/>
                  <a:pt x="785" y="0"/>
                </a:cubicBezTo>
                <a:cubicBezTo>
                  <a:pt x="781" y="0"/>
                  <a:pt x="776" y="0"/>
                  <a:pt x="772" y="0"/>
                </a:cubicBezTo>
                <a:cubicBezTo>
                  <a:pt x="761" y="0"/>
                  <a:pt x="751" y="0"/>
                  <a:pt x="740" y="0"/>
                </a:cubicBezTo>
                <a:cubicBezTo>
                  <a:pt x="731" y="0"/>
                  <a:pt x="723" y="0"/>
                  <a:pt x="714" y="0"/>
                </a:cubicBezTo>
                <a:cubicBezTo>
                  <a:pt x="710" y="0"/>
                  <a:pt x="705" y="0"/>
                  <a:pt x="701" y="0"/>
                </a:cubicBezTo>
                <a:cubicBezTo>
                  <a:pt x="698" y="0"/>
                  <a:pt x="693" y="0"/>
                  <a:pt x="692" y="1"/>
                </a:cubicBezTo>
                <a:cubicBezTo>
                  <a:pt x="691" y="2"/>
                  <a:pt x="690" y="2"/>
                  <a:pt x="687" y="2"/>
                </a:cubicBezTo>
                <a:cubicBezTo>
                  <a:pt x="685" y="2"/>
                  <a:pt x="681" y="3"/>
                  <a:pt x="679" y="3"/>
                </a:cubicBezTo>
                <a:cubicBezTo>
                  <a:pt x="676" y="4"/>
                  <a:pt x="675" y="4"/>
                  <a:pt x="669" y="4"/>
                </a:cubicBezTo>
                <a:cubicBezTo>
                  <a:pt x="665" y="4"/>
                  <a:pt x="661" y="4"/>
                  <a:pt x="657" y="4"/>
                </a:cubicBezTo>
                <a:cubicBezTo>
                  <a:pt x="652" y="4"/>
                  <a:pt x="645" y="4"/>
                  <a:pt x="639" y="4"/>
                </a:cubicBezTo>
                <a:cubicBezTo>
                  <a:pt x="638" y="4"/>
                  <a:pt x="637" y="4"/>
                  <a:pt x="636" y="4"/>
                </a:cubicBezTo>
                <a:cubicBezTo>
                  <a:pt x="634" y="4"/>
                  <a:pt x="634" y="4"/>
                  <a:pt x="633" y="4"/>
                </a:cubicBezTo>
                <a:cubicBezTo>
                  <a:pt x="632" y="4"/>
                  <a:pt x="631" y="4"/>
                  <a:pt x="630" y="4"/>
                </a:cubicBezTo>
                <a:cubicBezTo>
                  <a:pt x="627" y="4"/>
                  <a:pt x="624" y="4"/>
                  <a:pt x="621" y="4"/>
                </a:cubicBezTo>
                <a:cubicBezTo>
                  <a:pt x="618" y="4"/>
                  <a:pt x="614" y="4"/>
                  <a:pt x="610" y="4"/>
                </a:cubicBezTo>
                <a:cubicBezTo>
                  <a:pt x="610" y="4"/>
                  <a:pt x="609" y="4"/>
                  <a:pt x="608" y="4"/>
                </a:cubicBezTo>
                <a:cubicBezTo>
                  <a:pt x="608" y="3"/>
                  <a:pt x="608" y="3"/>
                  <a:pt x="606" y="3"/>
                </a:cubicBezTo>
                <a:cubicBezTo>
                  <a:pt x="605" y="3"/>
                  <a:pt x="603" y="3"/>
                  <a:pt x="602" y="3"/>
                </a:cubicBezTo>
                <a:cubicBezTo>
                  <a:pt x="600" y="3"/>
                  <a:pt x="599" y="3"/>
                  <a:pt x="597" y="3"/>
                </a:cubicBezTo>
                <a:cubicBezTo>
                  <a:pt x="597" y="3"/>
                  <a:pt x="596" y="3"/>
                  <a:pt x="596" y="3"/>
                </a:cubicBezTo>
                <a:cubicBezTo>
                  <a:pt x="595" y="3"/>
                  <a:pt x="596" y="3"/>
                  <a:pt x="596" y="3"/>
                </a:cubicBezTo>
                <a:cubicBezTo>
                  <a:pt x="600" y="5"/>
                  <a:pt x="594" y="4"/>
                  <a:pt x="590" y="4"/>
                </a:cubicBezTo>
                <a:cubicBezTo>
                  <a:pt x="586" y="5"/>
                  <a:pt x="582" y="4"/>
                  <a:pt x="579" y="3"/>
                </a:cubicBezTo>
                <a:cubicBezTo>
                  <a:pt x="576" y="3"/>
                  <a:pt x="572" y="3"/>
                  <a:pt x="568" y="3"/>
                </a:cubicBezTo>
                <a:cubicBezTo>
                  <a:pt x="566" y="3"/>
                  <a:pt x="563" y="3"/>
                  <a:pt x="561" y="3"/>
                </a:cubicBezTo>
                <a:cubicBezTo>
                  <a:pt x="561" y="3"/>
                  <a:pt x="560" y="3"/>
                  <a:pt x="560" y="3"/>
                </a:cubicBezTo>
                <a:cubicBezTo>
                  <a:pt x="560" y="3"/>
                  <a:pt x="560" y="4"/>
                  <a:pt x="560" y="4"/>
                </a:cubicBezTo>
                <a:cubicBezTo>
                  <a:pt x="560" y="4"/>
                  <a:pt x="559" y="4"/>
                  <a:pt x="558" y="4"/>
                </a:cubicBezTo>
                <a:cubicBezTo>
                  <a:pt x="552" y="5"/>
                  <a:pt x="544" y="5"/>
                  <a:pt x="537" y="5"/>
                </a:cubicBezTo>
                <a:cubicBezTo>
                  <a:pt x="530" y="5"/>
                  <a:pt x="523" y="5"/>
                  <a:pt x="516" y="5"/>
                </a:cubicBezTo>
                <a:cubicBezTo>
                  <a:pt x="507" y="5"/>
                  <a:pt x="498" y="5"/>
                  <a:pt x="489" y="5"/>
                </a:cubicBezTo>
                <a:cubicBezTo>
                  <a:pt x="485" y="5"/>
                  <a:pt x="481" y="5"/>
                  <a:pt x="476" y="5"/>
                </a:cubicBezTo>
                <a:cubicBezTo>
                  <a:pt x="475" y="5"/>
                  <a:pt x="474" y="5"/>
                  <a:pt x="473" y="5"/>
                </a:cubicBezTo>
                <a:cubicBezTo>
                  <a:pt x="473" y="4"/>
                  <a:pt x="474" y="4"/>
                  <a:pt x="472" y="3"/>
                </a:cubicBezTo>
                <a:cubicBezTo>
                  <a:pt x="469" y="3"/>
                  <a:pt x="459" y="4"/>
                  <a:pt x="457" y="3"/>
                </a:cubicBezTo>
                <a:cubicBezTo>
                  <a:pt x="457" y="3"/>
                  <a:pt x="458" y="3"/>
                  <a:pt x="458" y="3"/>
                </a:cubicBezTo>
                <a:cubicBezTo>
                  <a:pt x="458" y="3"/>
                  <a:pt x="457" y="3"/>
                  <a:pt x="457" y="3"/>
                </a:cubicBezTo>
                <a:cubicBezTo>
                  <a:pt x="456" y="3"/>
                  <a:pt x="455" y="3"/>
                  <a:pt x="454" y="3"/>
                </a:cubicBezTo>
                <a:cubicBezTo>
                  <a:pt x="439" y="3"/>
                  <a:pt x="425" y="3"/>
                  <a:pt x="410" y="3"/>
                </a:cubicBezTo>
                <a:cubicBezTo>
                  <a:pt x="407" y="3"/>
                  <a:pt x="404" y="3"/>
                  <a:pt x="400" y="3"/>
                </a:cubicBezTo>
                <a:cubicBezTo>
                  <a:pt x="396" y="4"/>
                  <a:pt x="395" y="4"/>
                  <a:pt x="392" y="5"/>
                </a:cubicBezTo>
                <a:cubicBezTo>
                  <a:pt x="389" y="6"/>
                  <a:pt x="387" y="6"/>
                  <a:pt x="383" y="7"/>
                </a:cubicBezTo>
                <a:cubicBezTo>
                  <a:pt x="380" y="7"/>
                  <a:pt x="377" y="7"/>
                  <a:pt x="374" y="7"/>
                </a:cubicBezTo>
                <a:cubicBezTo>
                  <a:pt x="371" y="7"/>
                  <a:pt x="368" y="7"/>
                  <a:pt x="365" y="7"/>
                </a:cubicBezTo>
                <a:cubicBezTo>
                  <a:pt x="365" y="7"/>
                  <a:pt x="364" y="7"/>
                  <a:pt x="364" y="6"/>
                </a:cubicBezTo>
                <a:cubicBezTo>
                  <a:pt x="364" y="6"/>
                  <a:pt x="363" y="5"/>
                  <a:pt x="362" y="5"/>
                </a:cubicBezTo>
                <a:cubicBezTo>
                  <a:pt x="359" y="5"/>
                  <a:pt x="356" y="5"/>
                  <a:pt x="353" y="5"/>
                </a:cubicBezTo>
                <a:cubicBezTo>
                  <a:pt x="349" y="5"/>
                  <a:pt x="348" y="5"/>
                  <a:pt x="345" y="4"/>
                </a:cubicBezTo>
                <a:cubicBezTo>
                  <a:pt x="343" y="3"/>
                  <a:pt x="340" y="3"/>
                  <a:pt x="336" y="3"/>
                </a:cubicBezTo>
                <a:cubicBezTo>
                  <a:pt x="333" y="3"/>
                  <a:pt x="329" y="3"/>
                  <a:pt x="326" y="3"/>
                </a:cubicBezTo>
                <a:cubicBezTo>
                  <a:pt x="322" y="3"/>
                  <a:pt x="316" y="3"/>
                  <a:pt x="312" y="3"/>
                </a:cubicBezTo>
                <a:cubicBezTo>
                  <a:pt x="310" y="3"/>
                  <a:pt x="309" y="4"/>
                  <a:pt x="307" y="4"/>
                </a:cubicBezTo>
                <a:cubicBezTo>
                  <a:pt x="304" y="5"/>
                  <a:pt x="301" y="4"/>
                  <a:pt x="299" y="4"/>
                </a:cubicBezTo>
                <a:cubicBezTo>
                  <a:pt x="294" y="4"/>
                  <a:pt x="278" y="4"/>
                  <a:pt x="263" y="4"/>
                </a:cubicBezTo>
                <a:cubicBezTo>
                  <a:pt x="257" y="4"/>
                  <a:pt x="252" y="4"/>
                  <a:pt x="246" y="4"/>
                </a:cubicBezTo>
                <a:cubicBezTo>
                  <a:pt x="217" y="5"/>
                  <a:pt x="190" y="3"/>
                  <a:pt x="160" y="3"/>
                </a:cubicBezTo>
                <a:cubicBezTo>
                  <a:pt x="160" y="3"/>
                  <a:pt x="160" y="3"/>
                  <a:pt x="160" y="3"/>
                </a:cubicBezTo>
                <a:cubicBezTo>
                  <a:pt x="160" y="3"/>
                  <a:pt x="159" y="3"/>
                  <a:pt x="159" y="3"/>
                </a:cubicBezTo>
                <a:cubicBezTo>
                  <a:pt x="159" y="3"/>
                  <a:pt x="158" y="3"/>
                  <a:pt x="158" y="3"/>
                </a:cubicBezTo>
                <a:cubicBezTo>
                  <a:pt x="158" y="3"/>
                  <a:pt x="158" y="3"/>
                  <a:pt x="157" y="3"/>
                </a:cubicBezTo>
                <a:cubicBezTo>
                  <a:pt x="157" y="3"/>
                  <a:pt x="157" y="3"/>
                  <a:pt x="157" y="3"/>
                </a:cubicBezTo>
                <a:cubicBezTo>
                  <a:pt x="146" y="3"/>
                  <a:pt x="134" y="3"/>
                  <a:pt x="121" y="3"/>
                </a:cubicBezTo>
                <a:cubicBezTo>
                  <a:pt x="121" y="3"/>
                  <a:pt x="121" y="3"/>
                  <a:pt x="121" y="3"/>
                </a:cubicBezTo>
                <a:cubicBezTo>
                  <a:pt x="120" y="3"/>
                  <a:pt x="120" y="3"/>
                  <a:pt x="120" y="3"/>
                </a:cubicBezTo>
                <a:cubicBezTo>
                  <a:pt x="119" y="3"/>
                  <a:pt x="117" y="3"/>
                  <a:pt x="116" y="3"/>
                </a:cubicBezTo>
                <a:cubicBezTo>
                  <a:pt x="111" y="3"/>
                  <a:pt x="107" y="3"/>
                  <a:pt x="102" y="3"/>
                </a:cubicBezTo>
                <a:cubicBezTo>
                  <a:pt x="84" y="3"/>
                  <a:pt x="59" y="3"/>
                  <a:pt x="37" y="3"/>
                </a:cubicBezTo>
                <a:cubicBezTo>
                  <a:pt x="34" y="3"/>
                  <a:pt x="30" y="3"/>
                  <a:pt x="27" y="3"/>
                </a:cubicBezTo>
                <a:cubicBezTo>
                  <a:pt x="19" y="3"/>
                  <a:pt x="7" y="1"/>
                  <a:pt x="1" y="7"/>
                </a:cubicBezTo>
                <a:cubicBezTo>
                  <a:pt x="0" y="9"/>
                  <a:pt x="0" y="11"/>
                  <a:pt x="0" y="14"/>
                </a:cubicBezTo>
                <a:cubicBezTo>
                  <a:pt x="0" y="14"/>
                  <a:pt x="0" y="15"/>
                  <a:pt x="0" y="15"/>
                </a:cubicBezTo>
                <a:cubicBezTo>
                  <a:pt x="0" y="19"/>
                  <a:pt x="0" y="24"/>
                  <a:pt x="0" y="27"/>
                </a:cubicBezTo>
                <a:cubicBezTo>
                  <a:pt x="0" y="31"/>
                  <a:pt x="2" y="34"/>
                  <a:pt x="3" y="38"/>
                </a:cubicBezTo>
                <a:cubicBezTo>
                  <a:pt x="3" y="39"/>
                  <a:pt x="3" y="43"/>
                  <a:pt x="4" y="44"/>
                </a:cubicBezTo>
                <a:cubicBezTo>
                  <a:pt x="5" y="46"/>
                  <a:pt x="6" y="46"/>
                  <a:pt x="7" y="47"/>
                </a:cubicBezTo>
                <a:cubicBezTo>
                  <a:pt x="12" y="49"/>
                  <a:pt x="14" y="50"/>
                  <a:pt x="19" y="51"/>
                </a:cubicBezTo>
                <a:cubicBezTo>
                  <a:pt x="24" y="52"/>
                  <a:pt x="29" y="53"/>
                  <a:pt x="34" y="53"/>
                </a:cubicBezTo>
                <a:cubicBezTo>
                  <a:pt x="38" y="54"/>
                  <a:pt x="43" y="54"/>
                  <a:pt x="48" y="54"/>
                </a:cubicBezTo>
                <a:cubicBezTo>
                  <a:pt x="49" y="54"/>
                  <a:pt x="50" y="54"/>
                  <a:pt x="52" y="53"/>
                </a:cubicBezTo>
                <a:cubicBezTo>
                  <a:pt x="53" y="53"/>
                  <a:pt x="54" y="53"/>
                  <a:pt x="55" y="53"/>
                </a:cubicBezTo>
                <a:cubicBezTo>
                  <a:pt x="56" y="53"/>
                  <a:pt x="58" y="54"/>
                  <a:pt x="59" y="54"/>
                </a:cubicBezTo>
                <a:cubicBezTo>
                  <a:pt x="61" y="54"/>
                  <a:pt x="62" y="54"/>
                  <a:pt x="63" y="54"/>
                </a:cubicBezTo>
                <a:cubicBezTo>
                  <a:pt x="66" y="54"/>
                  <a:pt x="68" y="55"/>
                  <a:pt x="70" y="55"/>
                </a:cubicBezTo>
                <a:cubicBezTo>
                  <a:pt x="72" y="55"/>
                  <a:pt x="74" y="54"/>
                  <a:pt x="76" y="54"/>
                </a:cubicBezTo>
                <a:cubicBezTo>
                  <a:pt x="78" y="54"/>
                  <a:pt x="81" y="54"/>
                  <a:pt x="83" y="54"/>
                </a:cubicBezTo>
                <a:cubicBezTo>
                  <a:pt x="84" y="54"/>
                  <a:pt x="86" y="53"/>
                  <a:pt x="87" y="53"/>
                </a:cubicBezTo>
                <a:cubicBezTo>
                  <a:pt x="89" y="52"/>
                  <a:pt x="91" y="52"/>
                  <a:pt x="93" y="53"/>
                </a:cubicBezTo>
                <a:cubicBezTo>
                  <a:pt x="98" y="53"/>
                  <a:pt x="104" y="53"/>
                  <a:pt x="111" y="53"/>
                </a:cubicBezTo>
                <a:cubicBezTo>
                  <a:pt x="117" y="53"/>
                  <a:pt x="123" y="53"/>
                  <a:pt x="129" y="53"/>
                </a:cubicBezTo>
                <a:cubicBezTo>
                  <a:pt x="146" y="54"/>
                  <a:pt x="164" y="54"/>
                  <a:pt x="181" y="54"/>
                </a:cubicBezTo>
                <a:cubicBezTo>
                  <a:pt x="187" y="54"/>
                  <a:pt x="192" y="54"/>
                  <a:pt x="198" y="53"/>
                </a:cubicBezTo>
                <a:cubicBezTo>
                  <a:pt x="201" y="53"/>
                  <a:pt x="205" y="53"/>
                  <a:pt x="209" y="53"/>
                </a:cubicBezTo>
                <a:cubicBezTo>
                  <a:pt x="214" y="53"/>
                  <a:pt x="220" y="54"/>
                  <a:pt x="226" y="54"/>
                </a:cubicBezTo>
                <a:cubicBezTo>
                  <a:pt x="231" y="54"/>
                  <a:pt x="236" y="54"/>
                  <a:pt x="241" y="54"/>
                </a:cubicBezTo>
                <a:cubicBezTo>
                  <a:pt x="249" y="54"/>
                  <a:pt x="257" y="55"/>
                  <a:pt x="264" y="55"/>
                </a:cubicBezTo>
                <a:cubicBezTo>
                  <a:pt x="272" y="55"/>
                  <a:pt x="280" y="54"/>
                  <a:pt x="288" y="54"/>
                </a:cubicBezTo>
                <a:cubicBezTo>
                  <a:pt x="297" y="54"/>
                  <a:pt x="306" y="54"/>
                  <a:pt x="315" y="54"/>
                </a:cubicBezTo>
                <a:cubicBezTo>
                  <a:pt x="321" y="54"/>
                  <a:pt x="325" y="53"/>
                  <a:pt x="330" y="53"/>
                </a:cubicBezTo>
                <a:cubicBezTo>
                  <a:pt x="337" y="52"/>
                  <a:pt x="345" y="52"/>
                  <a:pt x="352" y="53"/>
                </a:cubicBezTo>
                <a:cubicBezTo>
                  <a:pt x="490" y="54"/>
                  <a:pt x="829" y="54"/>
                  <a:pt x="894" y="53"/>
                </a:cubicBezTo>
                <a:cubicBezTo>
                  <a:pt x="908" y="53"/>
                  <a:pt x="939" y="53"/>
                  <a:pt x="962" y="53"/>
                </a:cubicBezTo>
                <a:cubicBezTo>
                  <a:pt x="985" y="53"/>
                  <a:pt x="1020" y="53"/>
                  <a:pt x="1041" y="52"/>
                </a:cubicBezTo>
                <a:cubicBezTo>
                  <a:pt x="1151" y="52"/>
                  <a:pt x="1195" y="51"/>
                  <a:pt x="1306" y="51"/>
                </a:cubicBezTo>
                <a:cubicBezTo>
                  <a:pt x="1314" y="51"/>
                  <a:pt x="1323" y="51"/>
                  <a:pt x="1332" y="51"/>
                </a:cubicBezTo>
                <a:cubicBezTo>
                  <a:pt x="1339" y="51"/>
                  <a:pt x="1350" y="51"/>
                  <a:pt x="1356" y="51"/>
                </a:cubicBezTo>
                <a:cubicBezTo>
                  <a:pt x="1357" y="50"/>
                  <a:pt x="1357" y="50"/>
                  <a:pt x="1358" y="50"/>
                </a:cubicBezTo>
                <a:cubicBezTo>
                  <a:pt x="1361" y="50"/>
                  <a:pt x="1363" y="51"/>
                  <a:pt x="1366" y="51"/>
                </a:cubicBezTo>
                <a:cubicBezTo>
                  <a:pt x="1368" y="52"/>
                  <a:pt x="1371" y="52"/>
                  <a:pt x="1375" y="52"/>
                </a:cubicBezTo>
                <a:cubicBezTo>
                  <a:pt x="1376" y="52"/>
                  <a:pt x="1376" y="51"/>
                  <a:pt x="1377" y="51"/>
                </a:cubicBezTo>
                <a:cubicBezTo>
                  <a:pt x="1380" y="50"/>
                  <a:pt x="1385" y="50"/>
                  <a:pt x="1390" y="50"/>
                </a:cubicBezTo>
                <a:cubicBezTo>
                  <a:pt x="1396" y="50"/>
                  <a:pt x="1403" y="50"/>
                  <a:pt x="1410" y="50"/>
                </a:cubicBezTo>
                <a:cubicBezTo>
                  <a:pt x="1424" y="50"/>
                  <a:pt x="1439" y="50"/>
                  <a:pt x="1454" y="50"/>
                </a:cubicBezTo>
                <a:cubicBezTo>
                  <a:pt x="1468" y="50"/>
                  <a:pt x="1483" y="50"/>
                  <a:pt x="1497" y="50"/>
                </a:cubicBezTo>
                <a:cubicBezTo>
                  <a:pt x="1503" y="50"/>
                  <a:pt x="1509" y="50"/>
                  <a:pt x="1514" y="50"/>
                </a:cubicBezTo>
                <a:cubicBezTo>
                  <a:pt x="1520" y="50"/>
                  <a:pt x="1528" y="50"/>
                  <a:pt x="1533" y="51"/>
                </a:cubicBezTo>
                <a:cubicBezTo>
                  <a:pt x="1537" y="52"/>
                  <a:pt x="1541" y="53"/>
                  <a:pt x="1546" y="51"/>
                </a:cubicBezTo>
                <a:cubicBezTo>
                  <a:pt x="1547" y="51"/>
                  <a:pt x="1547" y="51"/>
                  <a:pt x="1548" y="51"/>
                </a:cubicBezTo>
                <a:cubicBezTo>
                  <a:pt x="1549" y="51"/>
                  <a:pt x="1550" y="51"/>
                  <a:pt x="1551" y="51"/>
                </a:cubicBezTo>
                <a:cubicBezTo>
                  <a:pt x="1565" y="50"/>
                  <a:pt x="1582" y="50"/>
                  <a:pt x="1596" y="50"/>
                </a:cubicBezTo>
                <a:cubicBezTo>
                  <a:pt x="1613" y="50"/>
                  <a:pt x="1629" y="50"/>
                  <a:pt x="1645" y="50"/>
                </a:cubicBezTo>
                <a:cubicBezTo>
                  <a:pt x="1678" y="50"/>
                  <a:pt x="1711" y="51"/>
                  <a:pt x="1744" y="51"/>
                </a:cubicBezTo>
                <a:cubicBezTo>
                  <a:pt x="1771" y="51"/>
                  <a:pt x="1799" y="51"/>
                  <a:pt x="1826" y="51"/>
                </a:cubicBezTo>
                <a:cubicBezTo>
                  <a:pt x="1891" y="51"/>
                  <a:pt x="1957" y="51"/>
                  <a:pt x="2022" y="51"/>
                </a:cubicBezTo>
                <a:cubicBezTo>
                  <a:pt x="2036" y="51"/>
                  <a:pt x="2051" y="51"/>
                  <a:pt x="2065" y="51"/>
                </a:cubicBezTo>
                <a:cubicBezTo>
                  <a:pt x="2072" y="51"/>
                  <a:pt x="2079" y="51"/>
                  <a:pt x="2087" y="51"/>
                </a:cubicBezTo>
                <a:cubicBezTo>
                  <a:pt x="2092" y="51"/>
                  <a:pt x="2098" y="52"/>
                  <a:pt x="2103" y="51"/>
                </a:cubicBezTo>
                <a:cubicBezTo>
                  <a:pt x="2108" y="50"/>
                  <a:pt x="2108" y="51"/>
                  <a:pt x="2112" y="51"/>
                </a:cubicBezTo>
                <a:cubicBezTo>
                  <a:pt x="2113" y="51"/>
                  <a:pt x="2122" y="52"/>
                  <a:pt x="2123" y="51"/>
                </a:cubicBezTo>
                <a:cubicBezTo>
                  <a:pt x="2124" y="51"/>
                  <a:pt x="2129" y="51"/>
                  <a:pt x="2130" y="51"/>
                </a:cubicBezTo>
                <a:cubicBezTo>
                  <a:pt x="2137" y="51"/>
                  <a:pt x="2143" y="51"/>
                  <a:pt x="2149" y="51"/>
                </a:cubicBezTo>
                <a:cubicBezTo>
                  <a:pt x="2163" y="51"/>
                  <a:pt x="2177" y="51"/>
                  <a:pt x="2191" y="51"/>
                </a:cubicBezTo>
                <a:cubicBezTo>
                  <a:pt x="2192" y="51"/>
                  <a:pt x="2193" y="51"/>
                  <a:pt x="2195" y="51"/>
                </a:cubicBezTo>
                <a:cubicBezTo>
                  <a:pt x="2196" y="51"/>
                  <a:pt x="2197" y="51"/>
                  <a:pt x="2198" y="50"/>
                </a:cubicBezTo>
                <a:cubicBezTo>
                  <a:pt x="2202" y="49"/>
                  <a:pt x="2210" y="49"/>
                  <a:pt x="2215" y="49"/>
                </a:cubicBezTo>
                <a:cubicBezTo>
                  <a:pt x="2217" y="49"/>
                  <a:pt x="2221" y="49"/>
                  <a:pt x="2221" y="49"/>
                </a:cubicBezTo>
                <a:cubicBezTo>
                  <a:pt x="2222" y="50"/>
                  <a:pt x="2216" y="51"/>
                  <a:pt x="2223" y="51"/>
                </a:cubicBezTo>
                <a:cubicBezTo>
                  <a:pt x="2225" y="51"/>
                  <a:pt x="2227" y="51"/>
                  <a:pt x="2229" y="50"/>
                </a:cubicBezTo>
                <a:cubicBezTo>
                  <a:pt x="2231" y="50"/>
                  <a:pt x="2234" y="50"/>
                  <a:pt x="2235" y="51"/>
                </a:cubicBezTo>
                <a:cubicBezTo>
                  <a:pt x="2235" y="51"/>
                  <a:pt x="2236" y="51"/>
                  <a:pt x="2237" y="51"/>
                </a:cubicBezTo>
                <a:cubicBezTo>
                  <a:pt x="2246" y="51"/>
                  <a:pt x="2254" y="51"/>
                  <a:pt x="2263" y="51"/>
                </a:cubicBezTo>
                <a:cubicBezTo>
                  <a:pt x="2270" y="51"/>
                  <a:pt x="2282" y="51"/>
                  <a:pt x="2289" y="50"/>
                </a:cubicBezTo>
                <a:cubicBezTo>
                  <a:pt x="2291" y="50"/>
                  <a:pt x="2292" y="50"/>
                  <a:pt x="2294" y="50"/>
                </a:cubicBezTo>
                <a:cubicBezTo>
                  <a:pt x="2297" y="49"/>
                  <a:pt x="2302" y="49"/>
                  <a:pt x="2305" y="49"/>
                </a:cubicBezTo>
                <a:cubicBezTo>
                  <a:pt x="2311" y="50"/>
                  <a:pt x="2317" y="50"/>
                  <a:pt x="2322" y="50"/>
                </a:cubicBezTo>
                <a:cubicBezTo>
                  <a:pt x="2328" y="51"/>
                  <a:pt x="2334" y="51"/>
                  <a:pt x="2339" y="50"/>
                </a:cubicBezTo>
                <a:cubicBezTo>
                  <a:pt x="2340" y="50"/>
                  <a:pt x="2341" y="50"/>
                  <a:pt x="2342" y="50"/>
                </a:cubicBezTo>
                <a:cubicBezTo>
                  <a:pt x="2342" y="50"/>
                  <a:pt x="2343" y="50"/>
                  <a:pt x="2344" y="50"/>
                </a:cubicBezTo>
                <a:cubicBezTo>
                  <a:pt x="2346" y="50"/>
                  <a:pt x="2348" y="50"/>
                  <a:pt x="2351" y="50"/>
                </a:cubicBezTo>
                <a:cubicBezTo>
                  <a:pt x="2352" y="51"/>
                  <a:pt x="2369" y="51"/>
                  <a:pt x="2372" y="51"/>
                </a:cubicBezTo>
                <a:cubicBezTo>
                  <a:pt x="2380" y="51"/>
                  <a:pt x="2389" y="51"/>
                  <a:pt x="2398" y="51"/>
                </a:cubicBezTo>
                <a:cubicBezTo>
                  <a:pt x="2420" y="51"/>
                  <a:pt x="2443" y="52"/>
                  <a:pt x="2465" y="52"/>
                </a:cubicBezTo>
                <a:cubicBezTo>
                  <a:pt x="2474" y="52"/>
                  <a:pt x="2483" y="51"/>
                  <a:pt x="2492" y="51"/>
                </a:cubicBezTo>
                <a:cubicBezTo>
                  <a:pt x="2496" y="51"/>
                  <a:pt x="2501" y="52"/>
                  <a:pt x="2506" y="51"/>
                </a:cubicBezTo>
                <a:cubicBezTo>
                  <a:pt x="2509" y="51"/>
                  <a:pt x="2512" y="51"/>
                  <a:pt x="2516" y="51"/>
                </a:cubicBezTo>
                <a:cubicBezTo>
                  <a:pt x="2520" y="51"/>
                  <a:pt x="2525" y="51"/>
                  <a:pt x="2529" y="51"/>
                </a:cubicBezTo>
                <a:cubicBezTo>
                  <a:pt x="2531" y="51"/>
                  <a:pt x="2533" y="51"/>
                  <a:pt x="2535" y="51"/>
                </a:cubicBezTo>
                <a:cubicBezTo>
                  <a:pt x="2537" y="51"/>
                  <a:pt x="2539" y="50"/>
                  <a:pt x="2542" y="50"/>
                </a:cubicBezTo>
                <a:cubicBezTo>
                  <a:pt x="2545" y="50"/>
                  <a:pt x="2548" y="51"/>
                  <a:pt x="2551" y="51"/>
                </a:cubicBezTo>
                <a:cubicBezTo>
                  <a:pt x="2560" y="52"/>
                  <a:pt x="2568" y="51"/>
                  <a:pt x="2578" y="52"/>
                </a:cubicBezTo>
                <a:cubicBezTo>
                  <a:pt x="2590" y="52"/>
                  <a:pt x="2603" y="52"/>
                  <a:pt x="2606" y="52"/>
                </a:cubicBezTo>
                <a:cubicBezTo>
                  <a:pt x="2609" y="52"/>
                  <a:pt x="2628" y="52"/>
                  <a:pt x="2649" y="52"/>
                </a:cubicBezTo>
                <a:cubicBezTo>
                  <a:pt x="2656" y="52"/>
                  <a:pt x="2663" y="52"/>
                  <a:pt x="2671" y="52"/>
                </a:cubicBezTo>
                <a:cubicBezTo>
                  <a:pt x="2674" y="52"/>
                  <a:pt x="2677" y="52"/>
                  <a:pt x="2680" y="52"/>
                </a:cubicBezTo>
                <a:cubicBezTo>
                  <a:pt x="2683" y="52"/>
                  <a:pt x="2686" y="52"/>
                  <a:pt x="2688" y="52"/>
                </a:cubicBezTo>
                <a:cubicBezTo>
                  <a:pt x="2689" y="51"/>
                  <a:pt x="2690" y="51"/>
                  <a:pt x="2691" y="51"/>
                </a:cubicBezTo>
                <a:cubicBezTo>
                  <a:pt x="2692" y="51"/>
                  <a:pt x="2692" y="51"/>
                  <a:pt x="2692" y="52"/>
                </a:cubicBezTo>
                <a:cubicBezTo>
                  <a:pt x="2694" y="52"/>
                  <a:pt x="2699" y="52"/>
                  <a:pt x="2702" y="51"/>
                </a:cubicBezTo>
                <a:cubicBezTo>
                  <a:pt x="2708" y="51"/>
                  <a:pt x="2714" y="52"/>
                  <a:pt x="2720" y="52"/>
                </a:cubicBezTo>
                <a:cubicBezTo>
                  <a:pt x="2743" y="52"/>
                  <a:pt x="2754" y="52"/>
                  <a:pt x="2770" y="53"/>
                </a:cubicBezTo>
                <a:cubicBezTo>
                  <a:pt x="2783" y="54"/>
                  <a:pt x="2834" y="54"/>
                  <a:pt x="2863" y="53"/>
                </a:cubicBezTo>
                <a:cubicBezTo>
                  <a:pt x="2871" y="53"/>
                  <a:pt x="2885" y="53"/>
                  <a:pt x="2891" y="52"/>
                </a:cubicBezTo>
                <a:cubicBezTo>
                  <a:pt x="2893" y="51"/>
                  <a:pt x="2895" y="51"/>
                  <a:pt x="2897" y="51"/>
                </a:cubicBezTo>
                <a:cubicBezTo>
                  <a:pt x="2899" y="52"/>
                  <a:pt x="2898" y="52"/>
                  <a:pt x="2902" y="53"/>
                </a:cubicBezTo>
                <a:cubicBezTo>
                  <a:pt x="2903" y="53"/>
                  <a:pt x="2910" y="53"/>
                  <a:pt x="2912" y="53"/>
                </a:cubicBezTo>
                <a:cubicBezTo>
                  <a:pt x="2916" y="53"/>
                  <a:pt x="2926" y="53"/>
                  <a:pt x="2927" y="52"/>
                </a:cubicBezTo>
                <a:cubicBezTo>
                  <a:pt x="2928" y="52"/>
                  <a:pt x="2928" y="51"/>
                  <a:pt x="2930" y="51"/>
                </a:cubicBezTo>
                <a:cubicBezTo>
                  <a:pt x="2931" y="51"/>
                  <a:pt x="2932" y="51"/>
                  <a:pt x="2932" y="51"/>
                </a:cubicBezTo>
                <a:cubicBezTo>
                  <a:pt x="2935" y="51"/>
                  <a:pt x="2938" y="51"/>
                  <a:pt x="2942" y="51"/>
                </a:cubicBezTo>
                <a:cubicBezTo>
                  <a:pt x="2943" y="51"/>
                  <a:pt x="2943" y="51"/>
                  <a:pt x="2942" y="52"/>
                </a:cubicBezTo>
                <a:cubicBezTo>
                  <a:pt x="2941" y="52"/>
                  <a:pt x="2939" y="52"/>
                  <a:pt x="2940" y="52"/>
                </a:cubicBezTo>
                <a:cubicBezTo>
                  <a:pt x="2940" y="53"/>
                  <a:pt x="2942" y="53"/>
                  <a:pt x="2944" y="53"/>
                </a:cubicBezTo>
                <a:cubicBezTo>
                  <a:pt x="2945" y="53"/>
                  <a:pt x="2947" y="53"/>
                  <a:pt x="2948" y="52"/>
                </a:cubicBezTo>
                <a:cubicBezTo>
                  <a:pt x="2952" y="52"/>
                  <a:pt x="2957" y="51"/>
                  <a:pt x="2961" y="51"/>
                </a:cubicBezTo>
                <a:cubicBezTo>
                  <a:pt x="2965" y="51"/>
                  <a:pt x="2969" y="51"/>
                  <a:pt x="2974" y="51"/>
                </a:cubicBezTo>
                <a:cubicBezTo>
                  <a:pt x="2978" y="51"/>
                  <a:pt x="2983" y="50"/>
                  <a:pt x="2985" y="52"/>
                </a:cubicBezTo>
                <a:cubicBezTo>
                  <a:pt x="2988" y="53"/>
                  <a:pt x="2986" y="53"/>
                  <a:pt x="2991" y="53"/>
                </a:cubicBezTo>
                <a:cubicBezTo>
                  <a:pt x="2994" y="53"/>
                  <a:pt x="2994" y="52"/>
                  <a:pt x="2997" y="52"/>
                </a:cubicBezTo>
                <a:cubicBezTo>
                  <a:pt x="3004" y="53"/>
                  <a:pt x="3011" y="53"/>
                  <a:pt x="3019" y="53"/>
                </a:cubicBezTo>
                <a:cubicBezTo>
                  <a:pt x="3026" y="53"/>
                  <a:pt x="3037" y="54"/>
                  <a:pt x="3043" y="52"/>
                </a:cubicBezTo>
                <a:cubicBezTo>
                  <a:pt x="3045" y="52"/>
                  <a:pt x="3046" y="52"/>
                  <a:pt x="3047" y="51"/>
                </a:cubicBezTo>
                <a:cubicBezTo>
                  <a:pt x="3051" y="50"/>
                  <a:pt x="3063" y="50"/>
                  <a:pt x="3066" y="52"/>
                </a:cubicBezTo>
                <a:cubicBezTo>
                  <a:pt x="3066" y="52"/>
                  <a:pt x="3066" y="52"/>
                  <a:pt x="3067" y="52"/>
                </a:cubicBezTo>
                <a:cubicBezTo>
                  <a:pt x="3067" y="53"/>
                  <a:pt x="3070" y="53"/>
                  <a:pt x="3074" y="54"/>
                </a:cubicBezTo>
                <a:cubicBezTo>
                  <a:pt x="3075" y="54"/>
                  <a:pt x="3076" y="54"/>
                  <a:pt x="3076" y="53"/>
                </a:cubicBezTo>
                <a:cubicBezTo>
                  <a:pt x="3077" y="53"/>
                  <a:pt x="3079" y="52"/>
                  <a:pt x="3081" y="53"/>
                </a:cubicBezTo>
                <a:cubicBezTo>
                  <a:pt x="3081" y="53"/>
                  <a:pt x="3083" y="53"/>
                  <a:pt x="3085" y="53"/>
                </a:cubicBezTo>
                <a:cubicBezTo>
                  <a:pt x="3085" y="54"/>
                  <a:pt x="3086" y="54"/>
                  <a:pt x="3087" y="54"/>
                </a:cubicBezTo>
                <a:cubicBezTo>
                  <a:pt x="3118" y="54"/>
                  <a:pt x="3149" y="53"/>
                  <a:pt x="3180" y="54"/>
                </a:cubicBezTo>
                <a:cubicBezTo>
                  <a:pt x="3183" y="54"/>
                  <a:pt x="3191" y="54"/>
                  <a:pt x="3198" y="54"/>
                </a:cubicBezTo>
                <a:cubicBezTo>
                  <a:pt x="3205" y="54"/>
                  <a:pt x="3217" y="54"/>
                  <a:pt x="3225" y="55"/>
                </a:cubicBezTo>
                <a:cubicBezTo>
                  <a:pt x="3233" y="55"/>
                  <a:pt x="3247" y="55"/>
                  <a:pt x="3256" y="55"/>
                </a:cubicBezTo>
                <a:cubicBezTo>
                  <a:pt x="3262" y="56"/>
                  <a:pt x="3268" y="56"/>
                  <a:pt x="3274" y="56"/>
                </a:cubicBezTo>
                <a:cubicBezTo>
                  <a:pt x="3279" y="56"/>
                  <a:pt x="3284" y="57"/>
                  <a:pt x="3289" y="56"/>
                </a:cubicBezTo>
                <a:cubicBezTo>
                  <a:pt x="3295" y="56"/>
                  <a:pt x="3298" y="55"/>
                  <a:pt x="3305" y="55"/>
                </a:cubicBezTo>
                <a:cubicBezTo>
                  <a:pt x="3313" y="55"/>
                  <a:pt x="3322" y="55"/>
                  <a:pt x="3330" y="55"/>
                </a:cubicBezTo>
                <a:cubicBezTo>
                  <a:pt x="3342" y="55"/>
                  <a:pt x="3354" y="55"/>
                  <a:pt x="3367" y="55"/>
                </a:cubicBezTo>
                <a:cubicBezTo>
                  <a:pt x="3378" y="55"/>
                  <a:pt x="3390" y="55"/>
                  <a:pt x="3401" y="55"/>
                </a:cubicBezTo>
                <a:cubicBezTo>
                  <a:pt x="3401" y="54"/>
                  <a:pt x="3403" y="54"/>
                  <a:pt x="3405" y="53"/>
                </a:cubicBezTo>
                <a:cubicBezTo>
                  <a:pt x="3407" y="53"/>
                  <a:pt x="3409" y="53"/>
                  <a:pt x="3411" y="53"/>
                </a:cubicBezTo>
                <a:cubicBezTo>
                  <a:pt x="3411" y="55"/>
                  <a:pt x="3424" y="54"/>
                  <a:pt x="3428" y="54"/>
                </a:cubicBezTo>
                <a:cubicBezTo>
                  <a:pt x="3432" y="54"/>
                  <a:pt x="3440" y="54"/>
                  <a:pt x="3443" y="54"/>
                </a:cubicBezTo>
                <a:cubicBezTo>
                  <a:pt x="3445" y="54"/>
                  <a:pt x="3449" y="52"/>
                  <a:pt x="3451" y="53"/>
                </a:cubicBezTo>
                <a:cubicBezTo>
                  <a:pt x="3449" y="53"/>
                  <a:pt x="3450" y="54"/>
                  <a:pt x="3452" y="54"/>
                </a:cubicBezTo>
                <a:cubicBezTo>
                  <a:pt x="3453" y="54"/>
                  <a:pt x="3455" y="54"/>
                  <a:pt x="3457" y="54"/>
                </a:cubicBezTo>
                <a:cubicBezTo>
                  <a:pt x="3461" y="54"/>
                  <a:pt x="3468" y="54"/>
                  <a:pt x="3472" y="55"/>
                </a:cubicBezTo>
                <a:cubicBezTo>
                  <a:pt x="3475" y="55"/>
                  <a:pt x="3474" y="58"/>
                  <a:pt x="3481" y="57"/>
                </a:cubicBezTo>
                <a:cubicBezTo>
                  <a:pt x="3483" y="56"/>
                  <a:pt x="3484" y="56"/>
                  <a:pt x="3486" y="55"/>
                </a:cubicBezTo>
                <a:cubicBezTo>
                  <a:pt x="3490" y="54"/>
                  <a:pt x="3497" y="54"/>
                  <a:pt x="3503" y="54"/>
                </a:cubicBezTo>
                <a:cubicBezTo>
                  <a:pt x="3512" y="54"/>
                  <a:pt x="3522" y="54"/>
                  <a:pt x="3531" y="54"/>
                </a:cubicBezTo>
                <a:cubicBezTo>
                  <a:pt x="3549" y="54"/>
                  <a:pt x="3567" y="54"/>
                  <a:pt x="3585" y="54"/>
                </a:cubicBezTo>
                <a:cubicBezTo>
                  <a:pt x="3638" y="54"/>
                  <a:pt x="3690" y="55"/>
                  <a:pt x="3701" y="55"/>
                </a:cubicBezTo>
                <a:cubicBezTo>
                  <a:pt x="3712" y="55"/>
                  <a:pt x="3754" y="54"/>
                  <a:pt x="3795" y="54"/>
                </a:cubicBezTo>
                <a:cubicBezTo>
                  <a:pt x="3835" y="54"/>
                  <a:pt x="3903" y="54"/>
                  <a:pt x="3945" y="54"/>
                </a:cubicBezTo>
                <a:cubicBezTo>
                  <a:pt x="3986" y="54"/>
                  <a:pt x="4095" y="54"/>
                  <a:pt x="4186" y="55"/>
                </a:cubicBezTo>
                <a:cubicBezTo>
                  <a:pt x="4215" y="55"/>
                  <a:pt x="4243" y="55"/>
                  <a:pt x="4272" y="55"/>
                </a:cubicBezTo>
                <a:cubicBezTo>
                  <a:pt x="4286" y="55"/>
                  <a:pt x="4300" y="55"/>
                  <a:pt x="4315" y="55"/>
                </a:cubicBezTo>
                <a:cubicBezTo>
                  <a:pt x="4327" y="55"/>
                  <a:pt x="4343" y="55"/>
                  <a:pt x="4355" y="54"/>
                </a:cubicBezTo>
                <a:cubicBezTo>
                  <a:pt x="4356" y="54"/>
                  <a:pt x="4356" y="54"/>
                  <a:pt x="4357" y="54"/>
                </a:cubicBezTo>
                <a:cubicBezTo>
                  <a:pt x="4362" y="54"/>
                  <a:pt x="4367" y="55"/>
                  <a:pt x="4372" y="54"/>
                </a:cubicBezTo>
                <a:cubicBezTo>
                  <a:pt x="4379" y="54"/>
                  <a:pt x="4387" y="54"/>
                  <a:pt x="4394" y="54"/>
                </a:cubicBezTo>
                <a:cubicBezTo>
                  <a:pt x="4409" y="54"/>
                  <a:pt x="4423" y="54"/>
                  <a:pt x="4438" y="54"/>
                </a:cubicBezTo>
                <a:cubicBezTo>
                  <a:pt x="4451" y="54"/>
                  <a:pt x="4464" y="54"/>
                  <a:pt x="4477" y="54"/>
                </a:cubicBezTo>
                <a:cubicBezTo>
                  <a:pt x="4484" y="54"/>
                  <a:pt x="4490" y="54"/>
                  <a:pt x="4497" y="54"/>
                </a:cubicBezTo>
                <a:cubicBezTo>
                  <a:pt x="4502" y="54"/>
                  <a:pt x="4509" y="54"/>
                  <a:pt x="4514" y="54"/>
                </a:cubicBezTo>
                <a:cubicBezTo>
                  <a:pt x="4515" y="54"/>
                  <a:pt x="4518" y="54"/>
                  <a:pt x="4520" y="54"/>
                </a:cubicBezTo>
                <a:cubicBezTo>
                  <a:pt x="4524" y="54"/>
                  <a:pt x="4528" y="54"/>
                  <a:pt x="4532" y="54"/>
                </a:cubicBezTo>
                <a:cubicBezTo>
                  <a:pt x="4537" y="54"/>
                  <a:pt x="4542" y="54"/>
                  <a:pt x="4547" y="54"/>
                </a:cubicBezTo>
                <a:cubicBezTo>
                  <a:pt x="4563" y="54"/>
                  <a:pt x="4602" y="54"/>
                  <a:pt x="4635" y="54"/>
                </a:cubicBezTo>
                <a:cubicBezTo>
                  <a:pt x="4645" y="54"/>
                  <a:pt x="4654" y="54"/>
                  <a:pt x="4664" y="54"/>
                </a:cubicBezTo>
                <a:cubicBezTo>
                  <a:pt x="4672" y="54"/>
                  <a:pt x="4683" y="53"/>
                  <a:pt x="4691" y="54"/>
                </a:cubicBezTo>
                <a:cubicBezTo>
                  <a:pt x="4691" y="54"/>
                  <a:pt x="4692" y="54"/>
                  <a:pt x="4692" y="54"/>
                </a:cubicBezTo>
                <a:cubicBezTo>
                  <a:pt x="4692" y="54"/>
                  <a:pt x="4692" y="54"/>
                  <a:pt x="4692" y="55"/>
                </a:cubicBezTo>
                <a:cubicBezTo>
                  <a:pt x="4693" y="55"/>
                  <a:pt x="4695" y="56"/>
                  <a:pt x="4697" y="56"/>
                </a:cubicBezTo>
                <a:cubicBezTo>
                  <a:pt x="4700" y="56"/>
                  <a:pt x="4702" y="56"/>
                  <a:pt x="4704" y="56"/>
                </a:cubicBezTo>
                <a:cubicBezTo>
                  <a:pt x="4710" y="55"/>
                  <a:pt x="4715" y="55"/>
                  <a:pt x="4720" y="55"/>
                </a:cubicBezTo>
                <a:cubicBezTo>
                  <a:pt x="4723" y="55"/>
                  <a:pt x="4725" y="55"/>
                  <a:pt x="4727" y="55"/>
                </a:cubicBezTo>
                <a:cubicBezTo>
                  <a:pt x="4729" y="55"/>
                  <a:pt x="4730" y="54"/>
                  <a:pt x="4731" y="54"/>
                </a:cubicBezTo>
                <a:cubicBezTo>
                  <a:pt x="4733" y="54"/>
                  <a:pt x="4734" y="55"/>
                  <a:pt x="4736" y="54"/>
                </a:cubicBezTo>
                <a:cubicBezTo>
                  <a:pt x="4736" y="54"/>
                  <a:pt x="4737" y="54"/>
                  <a:pt x="4737" y="54"/>
                </a:cubicBezTo>
                <a:cubicBezTo>
                  <a:pt x="4741" y="53"/>
                  <a:pt x="4750" y="54"/>
                  <a:pt x="4754" y="54"/>
                </a:cubicBezTo>
                <a:cubicBezTo>
                  <a:pt x="4759" y="54"/>
                  <a:pt x="4762" y="55"/>
                  <a:pt x="4769" y="54"/>
                </a:cubicBezTo>
                <a:cubicBezTo>
                  <a:pt x="4771" y="55"/>
                  <a:pt x="4782" y="54"/>
                  <a:pt x="4785" y="54"/>
                </a:cubicBezTo>
                <a:cubicBezTo>
                  <a:pt x="4791" y="54"/>
                  <a:pt x="4798" y="54"/>
                  <a:pt x="4804" y="54"/>
                </a:cubicBezTo>
                <a:cubicBezTo>
                  <a:pt x="4812" y="54"/>
                  <a:pt x="4819" y="54"/>
                  <a:pt x="4827" y="54"/>
                </a:cubicBezTo>
                <a:cubicBezTo>
                  <a:pt x="4831" y="54"/>
                  <a:pt x="4840" y="54"/>
                  <a:pt x="4843" y="55"/>
                </a:cubicBezTo>
                <a:cubicBezTo>
                  <a:pt x="4844" y="55"/>
                  <a:pt x="4844" y="55"/>
                  <a:pt x="4845" y="55"/>
                </a:cubicBezTo>
                <a:cubicBezTo>
                  <a:pt x="4847" y="56"/>
                  <a:pt x="4849" y="56"/>
                  <a:pt x="4851" y="56"/>
                </a:cubicBezTo>
                <a:cubicBezTo>
                  <a:pt x="4853" y="56"/>
                  <a:pt x="4855" y="55"/>
                  <a:pt x="4856" y="55"/>
                </a:cubicBezTo>
                <a:cubicBezTo>
                  <a:pt x="4863" y="54"/>
                  <a:pt x="4870" y="54"/>
                  <a:pt x="4877" y="54"/>
                </a:cubicBezTo>
                <a:cubicBezTo>
                  <a:pt x="4880" y="54"/>
                  <a:pt x="4883" y="54"/>
                  <a:pt x="4885" y="53"/>
                </a:cubicBezTo>
                <a:cubicBezTo>
                  <a:pt x="4895" y="54"/>
                  <a:pt x="4904" y="55"/>
                  <a:pt x="4914" y="55"/>
                </a:cubicBezTo>
                <a:cubicBezTo>
                  <a:pt x="4919" y="56"/>
                  <a:pt x="4924" y="56"/>
                  <a:pt x="4929" y="56"/>
                </a:cubicBezTo>
                <a:cubicBezTo>
                  <a:pt x="4932" y="57"/>
                  <a:pt x="4936" y="57"/>
                  <a:pt x="4940" y="57"/>
                </a:cubicBezTo>
                <a:cubicBezTo>
                  <a:pt x="4943" y="57"/>
                  <a:pt x="4945" y="56"/>
                  <a:pt x="4948" y="56"/>
                </a:cubicBezTo>
                <a:cubicBezTo>
                  <a:pt x="4950" y="55"/>
                  <a:pt x="4954" y="55"/>
                  <a:pt x="4958" y="55"/>
                </a:cubicBezTo>
                <a:cubicBezTo>
                  <a:pt x="4963" y="55"/>
                  <a:pt x="4962" y="56"/>
                  <a:pt x="4966" y="57"/>
                </a:cubicBezTo>
                <a:cubicBezTo>
                  <a:pt x="4969" y="57"/>
                  <a:pt x="4973" y="55"/>
                  <a:pt x="4977" y="56"/>
                </a:cubicBezTo>
                <a:cubicBezTo>
                  <a:pt x="4977" y="56"/>
                  <a:pt x="4978" y="56"/>
                  <a:pt x="4979" y="56"/>
                </a:cubicBezTo>
                <a:cubicBezTo>
                  <a:pt x="4981" y="56"/>
                  <a:pt x="4982" y="57"/>
                  <a:pt x="4984" y="57"/>
                </a:cubicBezTo>
                <a:cubicBezTo>
                  <a:pt x="4985" y="57"/>
                  <a:pt x="4985" y="57"/>
                  <a:pt x="4986" y="57"/>
                </a:cubicBezTo>
                <a:cubicBezTo>
                  <a:pt x="4987" y="58"/>
                  <a:pt x="4987" y="58"/>
                  <a:pt x="4988" y="58"/>
                </a:cubicBezTo>
                <a:cubicBezTo>
                  <a:pt x="4990" y="58"/>
                  <a:pt x="4992" y="58"/>
                  <a:pt x="4994" y="58"/>
                </a:cubicBezTo>
                <a:cubicBezTo>
                  <a:pt x="4997" y="58"/>
                  <a:pt x="5001" y="57"/>
                  <a:pt x="5005" y="57"/>
                </a:cubicBezTo>
                <a:cubicBezTo>
                  <a:pt x="5009" y="57"/>
                  <a:pt x="5014" y="57"/>
                  <a:pt x="5018" y="57"/>
                </a:cubicBezTo>
                <a:cubicBezTo>
                  <a:pt x="5027" y="57"/>
                  <a:pt x="5040" y="58"/>
                  <a:pt x="5048" y="57"/>
                </a:cubicBezTo>
                <a:cubicBezTo>
                  <a:pt x="5054" y="56"/>
                  <a:pt x="5049" y="55"/>
                  <a:pt x="5049" y="54"/>
                </a:cubicBezTo>
                <a:cubicBezTo>
                  <a:pt x="5049" y="53"/>
                  <a:pt x="5051" y="53"/>
                  <a:pt x="5052" y="53"/>
                </a:cubicBezTo>
                <a:cubicBezTo>
                  <a:pt x="5054" y="53"/>
                  <a:pt x="5057" y="54"/>
                  <a:pt x="5059" y="54"/>
                </a:cubicBezTo>
                <a:cubicBezTo>
                  <a:pt x="5062" y="54"/>
                  <a:pt x="5065" y="54"/>
                  <a:pt x="5068" y="54"/>
                </a:cubicBezTo>
                <a:cubicBezTo>
                  <a:pt x="5076" y="54"/>
                  <a:pt x="5084" y="54"/>
                  <a:pt x="5092" y="54"/>
                </a:cubicBezTo>
                <a:cubicBezTo>
                  <a:pt x="5097" y="54"/>
                  <a:pt x="5113" y="56"/>
                  <a:pt x="5116" y="54"/>
                </a:cubicBezTo>
                <a:cubicBezTo>
                  <a:pt x="5116" y="54"/>
                  <a:pt x="5116" y="53"/>
                  <a:pt x="5116" y="53"/>
                </a:cubicBezTo>
                <a:cubicBezTo>
                  <a:pt x="5118" y="52"/>
                  <a:pt x="5128" y="53"/>
                  <a:pt x="5130" y="53"/>
                </a:cubicBezTo>
                <a:cubicBezTo>
                  <a:pt x="5165" y="55"/>
                  <a:pt x="5190" y="55"/>
                  <a:pt x="5228" y="55"/>
                </a:cubicBezTo>
                <a:cubicBezTo>
                  <a:pt x="5237" y="55"/>
                  <a:pt x="5247" y="54"/>
                  <a:pt x="5255" y="54"/>
                </a:cubicBezTo>
                <a:cubicBezTo>
                  <a:pt x="5259" y="54"/>
                  <a:pt x="5260" y="55"/>
                  <a:pt x="5263" y="55"/>
                </a:cubicBezTo>
                <a:cubicBezTo>
                  <a:pt x="5266" y="56"/>
                  <a:pt x="5270" y="56"/>
                  <a:pt x="5274" y="56"/>
                </a:cubicBezTo>
                <a:cubicBezTo>
                  <a:pt x="5279" y="56"/>
                  <a:pt x="5284" y="55"/>
                  <a:pt x="5289" y="56"/>
                </a:cubicBezTo>
                <a:cubicBezTo>
                  <a:pt x="5292" y="56"/>
                  <a:pt x="5294" y="57"/>
                  <a:pt x="5298" y="57"/>
                </a:cubicBezTo>
                <a:cubicBezTo>
                  <a:pt x="5302" y="58"/>
                  <a:pt x="5306" y="57"/>
                  <a:pt x="5309" y="56"/>
                </a:cubicBezTo>
                <a:cubicBezTo>
                  <a:pt x="5314" y="54"/>
                  <a:pt x="5316" y="54"/>
                  <a:pt x="5322" y="55"/>
                </a:cubicBezTo>
                <a:cubicBezTo>
                  <a:pt x="5329" y="55"/>
                  <a:pt x="5337" y="54"/>
                  <a:pt x="5343" y="54"/>
                </a:cubicBezTo>
                <a:cubicBezTo>
                  <a:pt x="5363" y="54"/>
                  <a:pt x="5382" y="54"/>
                  <a:pt x="5386" y="54"/>
                </a:cubicBezTo>
                <a:cubicBezTo>
                  <a:pt x="5389" y="54"/>
                  <a:pt x="5393" y="54"/>
                  <a:pt x="5396" y="54"/>
                </a:cubicBezTo>
                <a:cubicBezTo>
                  <a:pt x="5399" y="54"/>
                  <a:pt x="5401" y="55"/>
                  <a:pt x="5403" y="56"/>
                </a:cubicBezTo>
                <a:cubicBezTo>
                  <a:pt x="5405" y="56"/>
                  <a:pt x="5409" y="56"/>
                  <a:pt x="5412" y="57"/>
                </a:cubicBezTo>
                <a:cubicBezTo>
                  <a:pt x="5417" y="57"/>
                  <a:pt x="5423" y="57"/>
                  <a:pt x="5429" y="57"/>
                </a:cubicBezTo>
                <a:cubicBezTo>
                  <a:pt x="5431" y="57"/>
                  <a:pt x="5432" y="57"/>
                  <a:pt x="5434" y="57"/>
                </a:cubicBezTo>
                <a:cubicBezTo>
                  <a:pt x="5436" y="57"/>
                  <a:pt x="5437" y="56"/>
                  <a:pt x="5439" y="56"/>
                </a:cubicBezTo>
                <a:cubicBezTo>
                  <a:pt x="5447" y="54"/>
                  <a:pt x="5460" y="54"/>
                  <a:pt x="5471" y="55"/>
                </a:cubicBezTo>
                <a:cubicBezTo>
                  <a:pt x="5477" y="56"/>
                  <a:pt x="5485" y="56"/>
                  <a:pt x="5492" y="56"/>
                </a:cubicBezTo>
                <a:cubicBezTo>
                  <a:pt x="5494" y="56"/>
                  <a:pt x="5497" y="55"/>
                  <a:pt x="5499" y="55"/>
                </a:cubicBezTo>
                <a:cubicBezTo>
                  <a:pt x="5500" y="55"/>
                  <a:pt x="5501" y="54"/>
                  <a:pt x="5502" y="54"/>
                </a:cubicBezTo>
                <a:cubicBezTo>
                  <a:pt x="5505" y="53"/>
                  <a:pt x="5510" y="53"/>
                  <a:pt x="5515" y="53"/>
                </a:cubicBezTo>
                <a:cubicBezTo>
                  <a:pt x="5519" y="53"/>
                  <a:pt x="5523" y="54"/>
                  <a:pt x="5528" y="54"/>
                </a:cubicBezTo>
                <a:cubicBezTo>
                  <a:pt x="5535" y="54"/>
                  <a:pt x="5542" y="54"/>
                  <a:pt x="5549" y="54"/>
                </a:cubicBezTo>
                <a:cubicBezTo>
                  <a:pt x="5557" y="53"/>
                  <a:pt x="5565" y="53"/>
                  <a:pt x="5573" y="53"/>
                </a:cubicBezTo>
                <a:cubicBezTo>
                  <a:pt x="5598" y="53"/>
                  <a:pt x="5625" y="52"/>
                  <a:pt x="5633" y="52"/>
                </a:cubicBezTo>
                <a:cubicBezTo>
                  <a:pt x="5639" y="52"/>
                  <a:pt x="5648" y="53"/>
                  <a:pt x="5653" y="52"/>
                </a:cubicBezTo>
                <a:cubicBezTo>
                  <a:pt x="5654" y="52"/>
                  <a:pt x="5655" y="51"/>
                  <a:pt x="5655" y="51"/>
                </a:cubicBezTo>
                <a:cubicBezTo>
                  <a:pt x="5661" y="51"/>
                  <a:pt x="5667" y="52"/>
                  <a:pt x="5672" y="52"/>
                </a:cubicBezTo>
                <a:cubicBezTo>
                  <a:pt x="5677" y="53"/>
                  <a:pt x="5682" y="53"/>
                  <a:pt x="5687" y="53"/>
                </a:cubicBezTo>
                <a:cubicBezTo>
                  <a:pt x="5701" y="53"/>
                  <a:pt x="5715" y="53"/>
                  <a:pt x="5729" y="52"/>
                </a:cubicBezTo>
                <a:cubicBezTo>
                  <a:pt x="5740" y="52"/>
                  <a:pt x="5752" y="53"/>
                  <a:pt x="5763" y="53"/>
                </a:cubicBezTo>
                <a:cubicBezTo>
                  <a:pt x="5772" y="53"/>
                  <a:pt x="5788" y="54"/>
                  <a:pt x="5796" y="53"/>
                </a:cubicBezTo>
                <a:cubicBezTo>
                  <a:pt x="5797" y="52"/>
                  <a:pt x="5799" y="52"/>
                  <a:pt x="5801" y="52"/>
                </a:cubicBezTo>
                <a:cubicBezTo>
                  <a:pt x="5801" y="52"/>
                  <a:pt x="5802" y="52"/>
                  <a:pt x="5803" y="52"/>
                </a:cubicBezTo>
                <a:cubicBezTo>
                  <a:pt x="5808" y="52"/>
                  <a:pt x="5811" y="52"/>
                  <a:pt x="5815" y="53"/>
                </a:cubicBezTo>
                <a:cubicBezTo>
                  <a:pt x="5819" y="53"/>
                  <a:pt x="5823" y="53"/>
                  <a:pt x="5828" y="54"/>
                </a:cubicBezTo>
                <a:cubicBezTo>
                  <a:pt x="5837" y="54"/>
                  <a:pt x="5846" y="53"/>
                  <a:pt x="5855" y="53"/>
                </a:cubicBezTo>
                <a:cubicBezTo>
                  <a:pt x="5863" y="53"/>
                  <a:pt x="5870" y="53"/>
                  <a:pt x="5878" y="53"/>
                </a:cubicBezTo>
                <a:cubicBezTo>
                  <a:pt x="5881" y="53"/>
                  <a:pt x="5884" y="53"/>
                  <a:pt x="5887" y="52"/>
                </a:cubicBezTo>
                <a:cubicBezTo>
                  <a:pt x="5890" y="52"/>
                  <a:pt x="5891" y="51"/>
                  <a:pt x="5894" y="51"/>
                </a:cubicBezTo>
                <a:cubicBezTo>
                  <a:pt x="5896" y="50"/>
                  <a:pt x="5899" y="50"/>
                  <a:pt x="5902" y="50"/>
                </a:cubicBezTo>
                <a:cubicBezTo>
                  <a:pt x="5914" y="50"/>
                  <a:pt x="5927" y="51"/>
                  <a:pt x="5939" y="50"/>
                </a:cubicBezTo>
                <a:cubicBezTo>
                  <a:pt x="5951" y="50"/>
                  <a:pt x="5962" y="51"/>
                  <a:pt x="5974" y="51"/>
                </a:cubicBezTo>
                <a:cubicBezTo>
                  <a:pt x="5988" y="51"/>
                  <a:pt x="6001" y="51"/>
                  <a:pt x="6015" y="51"/>
                </a:cubicBezTo>
                <a:cubicBezTo>
                  <a:pt x="6027" y="51"/>
                  <a:pt x="6037" y="53"/>
                  <a:pt x="6049" y="53"/>
                </a:cubicBezTo>
                <a:cubicBezTo>
                  <a:pt x="6060" y="53"/>
                  <a:pt x="6071" y="53"/>
                  <a:pt x="6082" y="53"/>
                </a:cubicBezTo>
                <a:cubicBezTo>
                  <a:pt x="6088" y="53"/>
                  <a:pt x="6093" y="53"/>
                  <a:pt x="6099" y="53"/>
                </a:cubicBezTo>
                <a:cubicBezTo>
                  <a:pt x="6103" y="53"/>
                  <a:pt x="6107" y="52"/>
                  <a:pt x="6112" y="53"/>
                </a:cubicBezTo>
                <a:cubicBezTo>
                  <a:pt x="6114" y="53"/>
                  <a:pt x="6116" y="53"/>
                  <a:pt x="6118" y="53"/>
                </a:cubicBezTo>
                <a:cubicBezTo>
                  <a:pt x="6126" y="53"/>
                  <a:pt x="6135" y="54"/>
                  <a:pt x="6143" y="54"/>
                </a:cubicBezTo>
                <a:cubicBezTo>
                  <a:pt x="6154" y="54"/>
                  <a:pt x="6165" y="55"/>
                  <a:pt x="6177" y="55"/>
                </a:cubicBezTo>
                <a:cubicBezTo>
                  <a:pt x="6183" y="55"/>
                  <a:pt x="6190" y="55"/>
                  <a:pt x="6196" y="54"/>
                </a:cubicBezTo>
                <a:cubicBezTo>
                  <a:pt x="6203" y="54"/>
                  <a:pt x="6207" y="53"/>
                  <a:pt x="6214" y="53"/>
                </a:cubicBezTo>
                <a:cubicBezTo>
                  <a:pt x="6215" y="53"/>
                  <a:pt x="6217" y="53"/>
                  <a:pt x="6218" y="53"/>
                </a:cubicBezTo>
                <a:cubicBezTo>
                  <a:pt x="6220" y="54"/>
                  <a:pt x="6222" y="54"/>
                  <a:pt x="6224" y="53"/>
                </a:cubicBezTo>
                <a:cubicBezTo>
                  <a:pt x="6231" y="53"/>
                  <a:pt x="6237" y="53"/>
                  <a:pt x="6243" y="53"/>
                </a:cubicBezTo>
                <a:cubicBezTo>
                  <a:pt x="6245" y="52"/>
                  <a:pt x="6246" y="52"/>
                  <a:pt x="6248" y="52"/>
                </a:cubicBezTo>
                <a:cubicBezTo>
                  <a:pt x="6249" y="52"/>
                  <a:pt x="6251" y="52"/>
                  <a:pt x="6252" y="52"/>
                </a:cubicBezTo>
                <a:cubicBezTo>
                  <a:pt x="6260" y="52"/>
                  <a:pt x="6268" y="52"/>
                  <a:pt x="6275" y="52"/>
                </a:cubicBezTo>
                <a:cubicBezTo>
                  <a:pt x="6284" y="53"/>
                  <a:pt x="6293" y="53"/>
                  <a:pt x="6301" y="54"/>
                </a:cubicBezTo>
                <a:cubicBezTo>
                  <a:pt x="6311" y="54"/>
                  <a:pt x="6320" y="55"/>
                  <a:pt x="6329" y="55"/>
                </a:cubicBezTo>
                <a:cubicBezTo>
                  <a:pt x="6338" y="55"/>
                  <a:pt x="6345" y="55"/>
                  <a:pt x="6354" y="55"/>
                </a:cubicBezTo>
                <a:cubicBezTo>
                  <a:pt x="6355" y="55"/>
                  <a:pt x="6356" y="55"/>
                  <a:pt x="6357" y="55"/>
                </a:cubicBezTo>
                <a:cubicBezTo>
                  <a:pt x="6358" y="55"/>
                  <a:pt x="6359" y="55"/>
                  <a:pt x="6360" y="55"/>
                </a:cubicBezTo>
                <a:cubicBezTo>
                  <a:pt x="6361" y="55"/>
                  <a:pt x="6362" y="55"/>
                  <a:pt x="6364" y="55"/>
                </a:cubicBezTo>
                <a:cubicBezTo>
                  <a:pt x="6370" y="55"/>
                  <a:pt x="6377" y="56"/>
                  <a:pt x="6383" y="56"/>
                </a:cubicBezTo>
                <a:cubicBezTo>
                  <a:pt x="6388" y="56"/>
                  <a:pt x="6391" y="56"/>
                  <a:pt x="6395" y="56"/>
                </a:cubicBezTo>
                <a:cubicBezTo>
                  <a:pt x="6399" y="56"/>
                  <a:pt x="6404" y="56"/>
                  <a:pt x="6407" y="56"/>
                </a:cubicBezTo>
                <a:cubicBezTo>
                  <a:pt x="6410" y="55"/>
                  <a:pt x="6402" y="54"/>
                  <a:pt x="6405" y="53"/>
                </a:cubicBezTo>
                <a:cubicBezTo>
                  <a:pt x="6407" y="52"/>
                  <a:pt x="6416" y="52"/>
                  <a:pt x="6420" y="52"/>
                </a:cubicBezTo>
                <a:cubicBezTo>
                  <a:pt x="6427" y="52"/>
                  <a:pt x="6434" y="52"/>
                  <a:pt x="6441" y="52"/>
                </a:cubicBezTo>
                <a:cubicBezTo>
                  <a:pt x="6448" y="53"/>
                  <a:pt x="6455" y="53"/>
                  <a:pt x="6463" y="53"/>
                </a:cubicBezTo>
                <a:cubicBezTo>
                  <a:pt x="6470" y="53"/>
                  <a:pt x="6474" y="52"/>
                  <a:pt x="6475" y="54"/>
                </a:cubicBezTo>
                <a:cubicBezTo>
                  <a:pt x="6475" y="55"/>
                  <a:pt x="6478" y="56"/>
                  <a:pt x="6482" y="56"/>
                </a:cubicBezTo>
                <a:cubicBezTo>
                  <a:pt x="6483" y="56"/>
                  <a:pt x="6484" y="56"/>
                  <a:pt x="6485" y="56"/>
                </a:cubicBezTo>
                <a:cubicBezTo>
                  <a:pt x="6486" y="56"/>
                  <a:pt x="6487" y="56"/>
                  <a:pt x="6488" y="56"/>
                </a:cubicBezTo>
                <a:cubicBezTo>
                  <a:pt x="6489" y="56"/>
                  <a:pt x="6490" y="56"/>
                  <a:pt x="6491" y="56"/>
                </a:cubicBezTo>
                <a:cubicBezTo>
                  <a:pt x="6494" y="57"/>
                  <a:pt x="6498" y="57"/>
                  <a:pt x="6501" y="56"/>
                </a:cubicBezTo>
                <a:cubicBezTo>
                  <a:pt x="6502" y="56"/>
                  <a:pt x="6503" y="56"/>
                  <a:pt x="6504" y="56"/>
                </a:cubicBezTo>
                <a:cubicBezTo>
                  <a:pt x="6505" y="56"/>
                  <a:pt x="6506" y="57"/>
                  <a:pt x="6507" y="57"/>
                </a:cubicBezTo>
                <a:cubicBezTo>
                  <a:pt x="6511" y="57"/>
                  <a:pt x="6516" y="56"/>
                  <a:pt x="6521" y="56"/>
                </a:cubicBezTo>
                <a:cubicBezTo>
                  <a:pt x="6528" y="57"/>
                  <a:pt x="6534" y="56"/>
                  <a:pt x="6541" y="56"/>
                </a:cubicBezTo>
                <a:cubicBezTo>
                  <a:pt x="6547" y="56"/>
                  <a:pt x="6554" y="57"/>
                  <a:pt x="6560" y="57"/>
                </a:cubicBezTo>
                <a:cubicBezTo>
                  <a:pt x="6564" y="57"/>
                  <a:pt x="6567" y="57"/>
                  <a:pt x="6570" y="57"/>
                </a:cubicBezTo>
                <a:cubicBezTo>
                  <a:pt x="6572" y="57"/>
                  <a:pt x="6574" y="57"/>
                  <a:pt x="6576" y="57"/>
                </a:cubicBezTo>
                <a:cubicBezTo>
                  <a:pt x="6583" y="56"/>
                  <a:pt x="6591" y="56"/>
                  <a:pt x="6598" y="56"/>
                </a:cubicBezTo>
                <a:cubicBezTo>
                  <a:pt x="6605" y="56"/>
                  <a:pt x="6611" y="56"/>
                  <a:pt x="6617" y="55"/>
                </a:cubicBezTo>
                <a:cubicBezTo>
                  <a:pt x="6624" y="55"/>
                  <a:pt x="6629" y="55"/>
                  <a:pt x="6636" y="55"/>
                </a:cubicBezTo>
                <a:cubicBezTo>
                  <a:pt x="6643" y="55"/>
                  <a:pt x="6650" y="55"/>
                  <a:pt x="6657" y="56"/>
                </a:cubicBezTo>
                <a:cubicBezTo>
                  <a:pt x="6660" y="56"/>
                  <a:pt x="6664" y="56"/>
                  <a:pt x="6668" y="56"/>
                </a:cubicBezTo>
                <a:cubicBezTo>
                  <a:pt x="6671" y="56"/>
                  <a:pt x="6676" y="55"/>
                  <a:pt x="6679" y="56"/>
                </a:cubicBezTo>
                <a:cubicBezTo>
                  <a:pt x="6680" y="56"/>
                  <a:pt x="6679" y="56"/>
                  <a:pt x="6678" y="56"/>
                </a:cubicBezTo>
                <a:cubicBezTo>
                  <a:pt x="6677" y="56"/>
                  <a:pt x="6678" y="57"/>
                  <a:pt x="6679" y="57"/>
                </a:cubicBezTo>
                <a:cubicBezTo>
                  <a:pt x="6679" y="57"/>
                  <a:pt x="6680" y="58"/>
                  <a:pt x="6681" y="58"/>
                </a:cubicBezTo>
                <a:cubicBezTo>
                  <a:pt x="6682" y="58"/>
                  <a:pt x="6684" y="58"/>
                  <a:pt x="6685" y="58"/>
                </a:cubicBezTo>
                <a:cubicBezTo>
                  <a:pt x="6686" y="57"/>
                  <a:pt x="6687" y="57"/>
                  <a:pt x="6688" y="57"/>
                </a:cubicBezTo>
                <a:cubicBezTo>
                  <a:pt x="6689" y="57"/>
                  <a:pt x="6689" y="57"/>
                  <a:pt x="6690" y="57"/>
                </a:cubicBezTo>
                <a:cubicBezTo>
                  <a:pt x="6691" y="57"/>
                  <a:pt x="6691" y="57"/>
                  <a:pt x="6691" y="57"/>
                </a:cubicBezTo>
                <a:cubicBezTo>
                  <a:pt x="6692" y="57"/>
                  <a:pt x="6693" y="58"/>
                  <a:pt x="6694" y="58"/>
                </a:cubicBezTo>
                <a:cubicBezTo>
                  <a:pt x="6695" y="58"/>
                  <a:pt x="6696" y="57"/>
                  <a:pt x="6696" y="57"/>
                </a:cubicBezTo>
                <a:cubicBezTo>
                  <a:pt x="6699" y="57"/>
                  <a:pt x="6703" y="57"/>
                  <a:pt x="6706" y="57"/>
                </a:cubicBezTo>
                <a:cubicBezTo>
                  <a:pt x="6711" y="57"/>
                  <a:pt x="6719" y="57"/>
                  <a:pt x="6723" y="57"/>
                </a:cubicBezTo>
                <a:cubicBezTo>
                  <a:pt x="6736" y="58"/>
                  <a:pt x="6749" y="58"/>
                  <a:pt x="6762" y="57"/>
                </a:cubicBezTo>
                <a:cubicBezTo>
                  <a:pt x="6769" y="57"/>
                  <a:pt x="6776" y="57"/>
                  <a:pt x="6783" y="57"/>
                </a:cubicBezTo>
                <a:cubicBezTo>
                  <a:pt x="6785" y="56"/>
                  <a:pt x="6788" y="56"/>
                  <a:pt x="6791" y="56"/>
                </a:cubicBezTo>
                <a:cubicBezTo>
                  <a:pt x="6794" y="56"/>
                  <a:pt x="6796" y="55"/>
                  <a:pt x="6801" y="55"/>
                </a:cubicBezTo>
                <a:cubicBezTo>
                  <a:pt x="6802" y="55"/>
                  <a:pt x="6802" y="55"/>
                  <a:pt x="6803" y="55"/>
                </a:cubicBezTo>
                <a:cubicBezTo>
                  <a:pt x="6803" y="55"/>
                  <a:pt x="6804" y="56"/>
                  <a:pt x="6804" y="56"/>
                </a:cubicBezTo>
                <a:cubicBezTo>
                  <a:pt x="6806" y="56"/>
                  <a:pt x="6809" y="57"/>
                  <a:pt x="6812" y="57"/>
                </a:cubicBezTo>
                <a:cubicBezTo>
                  <a:pt x="6813" y="57"/>
                  <a:pt x="6814" y="57"/>
                  <a:pt x="6815" y="57"/>
                </a:cubicBezTo>
                <a:cubicBezTo>
                  <a:pt x="6818" y="57"/>
                  <a:pt x="6818" y="56"/>
                  <a:pt x="6819" y="56"/>
                </a:cubicBezTo>
                <a:cubicBezTo>
                  <a:pt x="6821" y="55"/>
                  <a:pt x="6823" y="55"/>
                  <a:pt x="6826" y="55"/>
                </a:cubicBezTo>
                <a:cubicBezTo>
                  <a:pt x="6828" y="54"/>
                  <a:pt x="6830" y="54"/>
                  <a:pt x="6833" y="54"/>
                </a:cubicBezTo>
                <a:cubicBezTo>
                  <a:pt x="6836" y="54"/>
                  <a:pt x="6839" y="55"/>
                  <a:pt x="6843" y="55"/>
                </a:cubicBezTo>
                <a:cubicBezTo>
                  <a:pt x="6848" y="54"/>
                  <a:pt x="6848" y="54"/>
                  <a:pt x="6851" y="53"/>
                </a:cubicBezTo>
                <a:cubicBezTo>
                  <a:pt x="6854" y="53"/>
                  <a:pt x="6862" y="53"/>
                  <a:pt x="6866" y="53"/>
                </a:cubicBezTo>
                <a:cubicBezTo>
                  <a:pt x="6873" y="53"/>
                  <a:pt x="6880" y="53"/>
                  <a:pt x="6887" y="54"/>
                </a:cubicBezTo>
                <a:cubicBezTo>
                  <a:pt x="6889" y="54"/>
                  <a:pt x="6893" y="54"/>
                  <a:pt x="6896" y="54"/>
                </a:cubicBezTo>
                <a:cubicBezTo>
                  <a:pt x="6898" y="54"/>
                  <a:pt x="6900" y="55"/>
                  <a:pt x="6903" y="56"/>
                </a:cubicBezTo>
                <a:cubicBezTo>
                  <a:pt x="6905" y="56"/>
                  <a:pt x="6908" y="56"/>
                  <a:pt x="6910" y="55"/>
                </a:cubicBezTo>
                <a:cubicBezTo>
                  <a:pt x="6911" y="55"/>
                  <a:pt x="6911" y="55"/>
                  <a:pt x="6912" y="54"/>
                </a:cubicBezTo>
                <a:cubicBezTo>
                  <a:pt x="6913" y="54"/>
                  <a:pt x="6915" y="54"/>
                  <a:pt x="6916" y="55"/>
                </a:cubicBezTo>
                <a:cubicBezTo>
                  <a:pt x="6916" y="55"/>
                  <a:pt x="6917" y="55"/>
                  <a:pt x="6918" y="56"/>
                </a:cubicBezTo>
                <a:cubicBezTo>
                  <a:pt x="6919" y="56"/>
                  <a:pt x="6921" y="56"/>
                  <a:pt x="6922" y="55"/>
                </a:cubicBezTo>
                <a:cubicBezTo>
                  <a:pt x="6924" y="55"/>
                  <a:pt x="6924" y="54"/>
                  <a:pt x="6927" y="54"/>
                </a:cubicBezTo>
                <a:cubicBezTo>
                  <a:pt x="6929" y="53"/>
                  <a:pt x="6932" y="54"/>
                  <a:pt x="6935" y="54"/>
                </a:cubicBezTo>
                <a:cubicBezTo>
                  <a:pt x="6936" y="54"/>
                  <a:pt x="6936" y="54"/>
                  <a:pt x="6936" y="54"/>
                </a:cubicBezTo>
                <a:cubicBezTo>
                  <a:pt x="6938" y="55"/>
                  <a:pt x="6943" y="54"/>
                  <a:pt x="6946" y="55"/>
                </a:cubicBezTo>
                <a:cubicBezTo>
                  <a:pt x="6948" y="55"/>
                  <a:pt x="6949" y="56"/>
                  <a:pt x="6952" y="56"/>
                </a:cubicBezTo>
                <a:cubicBezTo>
                  <a:pt x="6955" y="56"/>
                  <a:pt x="6957" y="56"/>
                  <a:pt x="6960" y="56"/>
                </a:cubicBezTo>
                <a:cubicBezTo>
                  <a:pt x="6961" y="56"/>
                  <a:pt x="6963" y="56"/>
                  <a:pt x="6964" y="56"/>
                </a:cubicBezTo>
                <a:cubicBezTo>
                  <a:pt x="6965" y="56"/>
                  <a:pt x="6966" y="55"/>
                  <a:pt x="6968" y="55"/>
                </a:cubicBezTo>
                <a:cubicBezTo>
                  <a:pt x="6969" y="55"/>
                  <a:pt x="6969" y="55"/>
                  <a:pt x="6970" y="55"/>
                </a:cubicBezTo>
                <a:cubicBezTo>
                  <a:pt x="6970" y="54"/>
                  <a:pt x="6970" y="54"/>
                  <a:pt x="6971" y="54"/>
                </a:cubicBezTo>
                <a:cubicBezTo>
                  <a:pt x="6972" y="53"/>
                  <a:pt x="6974" y="54"/>
                  <a:pt x="6975" y="54"/>
                </a:cubicBezTo>
                <a:cubicBezTo>
                  <a:pt x="6978" y="54"/>
                  <a:pt x="6980" y="53"/>
                  <a:pt x="6982" y="53"/>
                </a:cubicBezTo>
                <a:cubicBezTo>
                  <a:pt x="6985" y="53"/>
                  <a:pt x="6989" y="53"/>
                  <a:pt x="6992" y="53"/>
                </a:cubicBezTo>
                <a:cubicBezTo>
                  <a:pt x="6999" y="54"/>
                  <a:pt x="7006" y="54"/>
                  <a:pt x="7013" y="54"/>
                </a:cubicBezTo>
                <a:cubicBezTo>
                  <a:pt x="7017" y="54"/>
                  <a:pt x="7032" y="55"/>
                  <a:pt x="7035" y="56"/>
                </a:cubicBezTo>
                <a:cubicBezTo>
                  <a:pt x="7035" y="56"/>
                  <a:pt x="7040" y="56"/>
                  <a:pt x="7046" y="56"/>
                </a:cubicBezTo>
                <a:cubicBezTo>
                  <a:pt x="7049" y="56"/>
                  <a:pt x="7053" y="56"/>
                  <a:pt x="7056" y="56"/>
                </a:cubicBezTo>
                <a:cubicBezTo>
                  <a:pt x="7061" y="56"/>
                  <a:pt x="7063" y="53"/>
                  <a:pt x="7068" y="53"/>
                </a:cubicBezTo>
                <a:cubicBezTo>
                  <a:pt x="7071" y="53"/>
                  <a:pt x="7076" y="54"/>
                  <a:pt x="7079" y="54"/>
                </a:cubicBezTo>
                <a:cubicBezTo>
                  <a:pt x="7084" y="55"/>
                  <a:pt x="7090" y="55"/>
                  <a:pt x="7095" y="56"/>
                </a:cubicBezTo>
                <a:cubicBezTo>
                  <a:pt x="7098" y="56"/>
                  <a:pt x="7103" y="57"/>
                  <a:pt x="7106" y="56"/>
                </a:cubicBezTo>
                <a:cubicBezTo>
                  <a:pt x="7107" y="56"/>
                  <a:pt x="7107" y="55"/>
                  <a:pt x="7107" y="55"/>
                </a:cubicBezTo>
                <a:cubicBezTo>
                  <a:pt x="7108" y="55"/>
                  <a:pt x="7111" y="54"/>
                  <a:pt x="7113" y="54"/>
                </a:cubicBezTo>
                <a:cubicBezTo>
                  <a:pt x="7116" y="54"/>
                  <a:pt x="7120" y="54"/>
                  <a:pt x="7123" y="54"/>
                </a:cubicBezTo>
                <a:cubicBezTo>
                  <a:pt x="7127" y="54"/>
                  <a:pt x="7137" y="54"/>
                  <a:pt x="7140" y="53"/>
                </a:cubicBezTo>
                <a:cubicBezTo>
                  <a:pt x="7140" y="53"/>
                  <a:pt x="7141" y="53"/>
                  <a:pt x="7141" y="53"/>
                </a:cubicBezTo>
                <a:cubicBezTo>
                  <a:pt x="7144" y="53"/>
                  <a:pt x="7146" y="53"/>
                  <a:pt x="7148" y="53"/>
                </a:cubicBezTo>
                <a:cubicBezTo>
                  <a:pt x="7149" y="53"/>
                  <a:pt x="7149" y="53"/>
                  <a:pt x="7150" y="53"/>
                </a:cubicBezTo>
                <a:cubicBezTo>
                  <a:pt x="7152" y="53"/>
                  <a:pt x="7154" y="53"/>
                  <a:pt x="7156" y="53"/>
                </a:cubicBezTo>
                <a:cubicBezTo>
                  <a:pt x="7157" y="53"/>
                  <a:pt x="7157" y="53"/>
                  <a:pt x="7158" y="53"/>
                </a:cubicBezTo>
                <a:cubicBezTo>
                  <a:pt x="7162" y="54"/>
                  <a:pt x="7168" y="54"/>
                  <a:pt x="7172" y="54"/>
                </a:cubicBezTo>
                <a:cubicBezTo>
                  <a:pt x="7178" y="54"/>
                  <a:pt x="7184" y="54"/>
                  <a:pt x="7190" y="54"/>
                </a:cubicBezTo>
                <a:cubicBezTo>
                  <a:pt x="7196" y="54"/>
                  <a:pt x="7202" y="54"/>
                  <a:pt x="7207" y="54"/>
                </a:cubicBezTo>
                <a:cubicBezTo>
                  <a:pt x="7211" y="54"/>
                  <a:pt x="7213" y="53"/>
                  <a:pt x="7216" y="53"/>
                </a:cubicBezTo>
                <a:cubicBezTo>
                  <a:pt x="7218" y="53"/>
                  <a:pt x="7220" y="53"/>
                  <a:pt x="7222" y="53"/>
                </a:cubicBezTo>
                <a:cubicBezTo>
                  <a:pt x="7224" y="53"/>
                  <a:pt x="7226" y="52"/>
                  <a:pt x="7228" y="52"/>
                </a:cubicBezTo>
                <a:cubicBezTo>
                  <a:pt x="7229" y="52"/>
                  <a:pt x="7229" y="52"/>
                  <a:pt x="7230" y="52"/>
                </a:cubicBezTo>
                <a:cubicBezTo>
                  <a:pt x="7230" y="52"/>
                  <a:pt x="7231" y="52"/>
                  <a:pt x="7231" y="52"/>
                </a:cubicBezTo>
                <a:cubicBezTo>
                  <a:pt x="7233" y="52"/>
                  <a:pt x="7234" y="53"/>
                  <a:pt x="7235" y="53"/>
                </a:cubicBezTo>
                <a:cubicBezTo>
                  <a:pt x="7240" y="53"/>
                  <a:pt x="7248" y="53"/>
                  <a:pt x="7253" y="52"/>
                </a:cubicBezTo>
                <a:cubicBezTo>
                  <a:pt x="7260" y="52"/>
                  <a:pt x="7266" y="52"/>
                  <a:pt x="7273" y="52"/>
                </a:cubicBezTo>
                <a:cubicBezTo>
                  <a:pt x="7289" y="52"/>
                  <a:pt x="7304" y="52"/>
                  <a:pt x="7320" y="52"/>
                </a:cubicBezTo>
                <a:cubicBezTo>
                  <a:pt x="7328" y="52"/>
                  <a:pt x="7335" y="52"/>
                  <a:pt x="7343" y="53"/>
                </a:cubicBezTo>
                <a:cubicBezTo>
                  <a:pt x="7345" y="54"/>
                  <a:pt x="7347" y="54"/>
                  <a:pt x="7350" y="54"/>
                </a:cubicBezTo>
                <a:cubicBezTo>
                  <a:pt x="7353" y="53"/>
                  <a:pt x="7354" y="53"/>
                  <a:pt x="7356" y="52"/>
                </a:cubicBezTo>
                <a:cubicBezTo>
                  <a:pt x="7361" y="52"/>
                  <a:pt x="7367" y="53"/>
                  <a:pt x="7371" y="53"/>
                </a:cubicBezTo>
                <a:cubicBezTo>
                  <a:pt x="7381" y="53"/>
                  <a:pt x="7390" y="52"/>
                  <a:pt x="7400" y="53"/>
                </a:cubicBezTo>
                <a:cubicBezTo>
                  <a:pt x="7400" y="53"/>
                  <a:pt x="7401" y="53"/>
                  <a:pt x="7402" y="54"/>
                </a:cubicBezTo>
                <a:cubicBezTo>
                  <a:pt x="7405" y="54"/>
                  <a:pt x="7409" y="54"/>
                  <a:pt x="7413" y="54"/>
                </a:cubicBezTo>
                <a:cubicBezTo>
                  <a:pt x="7415" y="54"/>
                  <a:pt x="7418" y="54"/>
                  <a:pt x="7420" y="53"/>
                </a:cubicBezTo>
                <a:cubicBezTo>
                  <a:pt x="7421" y="53"/>
                  <a:pt x="7418" y="52"/>
                  <a:pt x="7419" y="52"/>
                </a:cubicBezTo>
                <a:cubicBezTo>
                  <a:pt x="7421" y="51"/>
                  <a:pt x="7423" y="52"/>
                  <a:pt x="7425" y="52"/>
                </a:cubicBezTo>
                <a:cubicBezTo>
                  <a:pt x="7428" y="52"/>
                  <a:pt x="7429" y="52"/>
                  <a:pt x="7433" y="52"/>
                </a:cubicBezTo>
                <a:cubicBezTo>
                  <a:pt x="7438" y="52"/>
                  <a:pt x="7441" y="54"/>
                  <a:pt x="7446" y="54"/>
                </a:cubicBezTo>
                <a:cubicBezTo>
                  <a:pt x="7449" y="54"/>
                  <a:pt x="7451" y="53"/>
                  <a:pt x="7454" y="53"/>
                </a:cubicBezTo>
                <a:cubicBezTo>
                  <a:pt x="7456" y="53"/>
                  <a:pt x="7458" y="53"/>
                  <a:pt x="7461" y="53"/>
                </a:cubicBezTo>
                <a:cubicBezTo>
                  <a:pt x="7464" y="53"/>
                  <a:pt x="7466" y="52"/>
                  <a:pt x="7469" y="52"/>
                </a:cubicBezTo>
                <a:cubicBezTo>
                  <a:pt x="7470" y="52"/>
                  <a:pt x="7472" y="52"/>
                  <a:pt x="7475" y="52"/>
                </a:cubicBezTo>
                <a:cubicBezTo>
                  <a:pt x="7476" y="52"/>
                  <a:pt x="7477" y="52"/>
                  <a:pt x="7478" y="52"/>
                </a:cubicBezTo>
                <a:cubicBezTo>
                  <a:pt x="7484" y="53"/>
                  <a:pt x="7491" y="52"/>
                  <a:pt x="7497" y="52"/>
                </a:cubicBezTo>
                <a:cubicBezTo>
                  <a:pt x="7557" y="52"/>
                  <a:pt x="7584" y="52"/>
                  <a:pt x="7586" y="51"/>
                </a:cubicBezTo>
                <a:cubicBezTo>
                  <a:pt x="7587" y="51"/>
                  <a:pt x="7619" y="51"/>
                  <a:pt x="7626" y="52"/>
                </a:cubicBezTo>
                <a:cubicBezTo>
                  <a:pt x="7633" y="52"/>
                  <a:pt x="7640" y="53"/>
                  <a:pt x="7647" y="53"/>
                </a:cubicBezTo>
                <a:cubicBezTo>
                  <a:pt x="7649" y="54"/>
                  <a:pt x="7655" y="53"/>
                  <a:pt x="7656" y="53"/>
                </a:cubicBezTo>
                <a:cubicBezTo>
                  <a:pt x="7659" y="54"/>
                  <a:pt x="7654" y="55"/>
                  <a:pt x="7653" y="55"/>
                </a:cubicBezTo>
                <a:cubicBezTo>
                  <a:pt x="7653" y="56"/>
                  <a:pt x="7653" y="56"/>
                  <a:pt x="7655" y="56"/>
                </a:cubicBezTo>
                <a:cubicBezTo>
                  <a:pt x="7657" y="56"/>
                  <a:pt x="7660" y="56"/>
                  <a:pt x="7662" y="56"/>
                </a:cubicBezTo>
                <a:cubicBezTo>
                  <a:pt x="7665" y="55"/>
                  <a:pt x="7668" y="55"/>
                  <a:pt x="7671" y="55"/>
                </a:cubicBezTo>
                <a:cubicBezTo>
                  <a:pt x="7677" y="54"/>
                  <a:pt x="7682" y="54"/>
                  <a:pt x="7688" y="54"/>
                </a:cubicBezTo>
                <a:cubicBezTo>
                  <a:pt x="7689" y="54"/>
                  <a:pt x="7691" y="54"/>
                  <a:pt x="7692" y="54"/>
                </a:cubicBezTo>
                <a:cubicBezTo>
                  <a:pt x="7694" y="55"/>
                  <a:pt x="7694" y="55"/>
                  <a:pt x="7696" y="55"/>
                </a:cubicBezTo>
                <a:cubicBezTo>
                  <a:pt x="7697" y="56"/>
                  <a:pt x="7699" y="56"/>
                  <a:pt x="7701" y="56"/>
                </a:cubicBezTo>
                <a:cubicBezTo>
                  <a:pt x="7702" y="56"/>
                  <a:pt x="7702" y="56"/>
                  <a:pt x="7703" y="55"/>
                </a:cubicBezTo>
                <a:cubicBezTo>
                  <a:pt x="7707" y="53"/>
                  <a:pt x="7723" y="53"/>
                  <a:pt x="7732" y="53"/>
                </a:cubicBezTo>
                <a:cubicBezTo>
                  <a:pt x="7749" y="53"/>
                  <a:pt x="7767" y="53"/>
                  <a:pt x="7773" y="53"/>
                </a:cubicBezTo>
                <a:cubicBezTo>
                  <a:pt x="7783" y="53"/>
                  <a:pt x="7791" y="53"/>
                  <a:pt x="7801" y="51"/>
                </a:cubicBezTo>
                <a:cubicBezTo>
                  <a:pt x="7805" y="51"/>
                  <a:pt x="7811" y="51"/>
                  <a:pt x="7816" y="51"/>
                </a:cubicBezTo>
                <a:cubicBezTo>
                  <a:pt x="7820" y="52"/>
                  <a:pt x="7825" y="52"/>
                  <a:pt x="7830" y="52"/>
                </a:cubicBezTo>
                <a:cubicBezTo>
                  <a:pt x="7833" y="53"/>
                  <a:pt x="7837" y="53"/>
                  <a:pt x="7840" y="52"/>
                </a:cubicBezTo>
                <a:cubicBezTo>
                  <a:pt x="7855" y="52"/>
                  <a:pt x="7870" y="52"/>
                  <a:pt x="7885" y="52"/>
                </a:cubicBezTo>
                <a:cubicBezTo>
                  <a:pt x="7902" y="52"/>
                  <a:pt x="7918" y="52"/>
                  <a:pt x="7935" y="52"/>
                </a:cubicBezTo>
                <a:cubicBezTo>
                  <a:pt x="7990" y="52"/>
                  <a:pt x="8047" y="51"/>
                  <a:pt x="8063" y="51"/>
                </a:cubicBezTo>
                <a:cubicBezTo>
                  <a:pt x="8069" y="51"/>
                  <a:pt x="8075" y="51"/>
                  <a:pt x="8081" y="51"/>
                </a:cubicBezTo>
                <a:cubicBezTo>
                  <a:pt x="8086" y="51"/>
                  <a:pt x="8092" y="52"/>
                  <a:pt x="8095" y="51"/>
                </a:cubicBezTo>
                <a:cubicBezTo>
                  <a:pt x="8096" y="51"/>
                  <a:pt x="8096" y="51"/>
                  <a:pt x="8096" y="51"/>
                </a:cubicBezTo>
                <a:cubicBezTo>
                  <a:pt x="8096" y="52"/>
                  <a:pt x="8098" y="52"/>
                  <a:pt x="8100" y="52"/>
                </a:cubicBezTo>
                <a:cubicBezTo>
                  <a:pt x="8101" y="52"/>
                  <a:pt x="8103" y="52"/>
                  <a:pt x="8104" y="51"/>
                </a:cubicBezTo>
                <a:cubicBezTo>
                  <a:pt x="8105" y="51"/>
                  <a:pt x="8106" y="51"/>
                  <a:pt x="8107" y="50"/>
                </a:cubicBezTo>
                <a:cubicBezTo>
                  <a:pt x="8112" y="50"/>
                  <a:pt x="8124" y="50"/>
                  <a:pt x="8130" y="51"/>
                </a:cubicBezTo>
                <a:cubicBezTo>
                  <a:pt x="8134" y="51"/>
                  <a:pt x="8143" y="51"/>
                  <a:pt x="8147" y="51"/>
                </a:cubicBezTo>
                <a:cubicBezTo>
                  <a:pt x="8147" y="51"/>
                  <a:pt x="8148" y="51"/>
                  <a:pt x="8149" y="50"/>
                </a:cubicBezTo>
                <a:cubicBezTo>
                  <a:pt x="8150" y="50"/>
                  <a:pt x="8152" y="50"/>
                  <a:pt x="8153" y="50"/>
                </a:cubicBezTo>
                <a:cubicBezTo>
                  <a:pt x="8155" y="50"/>
                  <a:pt x="8155" y="49"/>
                  <a:pt x="8157" y="49"/>
                </a:cubicBezTo>
                <a:cubicBezTo>
                  <a:pt x="8160" y="49"/>
                  <a:pt x="8165" y="50"/>
                  <a:pt x="8164" y="51"/>
                </a:cubicBezTo>
                <a:cubicBezTo>
                  <a:pt x="8163" y="51"/>
                  <a:pt x="8162" y="51"/>
                  <a:pt x="8162" y="52"/>
                </a:cubicBezTo>
                <a:cubicBezTo>
                  <a:pt x="8162" y="52"/>
                  <a:pt x="8164" y="52"/>
                  <a:pt x="8165" y="52"/>
                </a:cubicBezTo>
                <a:cubicBezTo>
                  <a:pt x="8166" y="52"/>
                  <a:pt x="8167" y="52"/>
                  <a:pt x="8168" y="52"/>
                </a:cubicBezTo>
                <a:cubicBezTo>
                  <a:pt x="8173" y="51"/>
                  <a:pt x="8181" y="51"/>
                  <a:pt x="8187" y="51"/>
                </a:cubicBezTo>
                <a:cubicBezTo>
                  <a:pt x="8192" y="51"/>
                  <a:pt x="8204" y="50"/>
                  <a:pt x="8209" y="51"/>
                </a:cubicBezTo>
                <a:cubicBezTo>
                  <a:pt x="8210" y="51"/>
                  <a:pt x="8210" y="51"/>
                  <a:pt x="8211" y="51"/>
                </a:cubicBezTo>
                <a:cubicBezTo>
                  <a:pt x="8213" y="51"/>
                  <a:pt x="8214" y="51"/>
                  <a:pt x="8216" y="51"/>
                </a:cubicBezTo>
                <a:cubicBezTo>
                  <a:pt x="8221" y="51"/>
                  <a:pt x="8226" y="52"/>
                  <a:pt x="8231" y="51"/>
                </a:cubicBezTo>
                <a:cubicBezTo>
                  <a:pt x="8236" y="51"/>
                  <a:pt x="8256" y="51"/>
                  <a:pt x="8274" y="51"/>
                </a:cubicBezTo>
                <a:cubicBezTo>
                  <a:pt x="8281" y="51"/>
                  <a:pt x="8288" y="51"/>
                  <a:pt x="8295" y="51"/>
                </a:cubicBezTo>
                <a:cubicBezTo>
                  <a:pt x="8299" y="51"/>
                  <a:pt x="8303" y="51"/>
                  <a:pt x="8307" y="51"/>
                </a:cubicBezTo>
                <a:cubicBezTo>
                  <a:pt x="8309" y="50"/>
                  <a:pt x="8310" y="50"/>
                  <a:pt x="8312" y="50"/>
                </a:cubicBezTo>
                <a:cubicBezTo>
                  <a:pt x="8315" y="49"/>
                  <a:pt x="8318" y="49"/>
                  <a:pt x="8321" y="49"/>
                </a:cubicBezTo>
                <a:cubicBezTo>
                  <a:pt x="8320" y="49"/>
                  <a:pt x="8323" y="50"/>
                  <a:pt x="8324" y="51"/>
                </a:cubicBezTo>
                <a:cubicBezTo>
                  <a:pt x="8326" y="51"/>
                  <a:pt x="8328" y="51"/>
                  <a:pt x="8329" y="51"/>
                </a:cubicBezTo>
                <a:cubicBezTo>
                  <a:pt x="8335" y="51"/>
                  <a:pt x="8340" y="51"/>
                  <a:pt x="8346" y="51"/>
                </a:cubicBezTo>
                <a:cubicBezTo>
                  <a:pt x="8358" y="51"/>
                  <a:pt x="8370" y="51"/>
                  <a:pt x="8382" y="51"/>
                </a:cubicBezTo>
                <a:cubicBezTo>
                  <a:pt x="8393" y="51"/>
                  <a:pt x="8404" y="51"/>
                  <a:pt x="8416" y="51"/>
                </a:cubicBezTo>
                <a:cubicBezTo>
                  <a:pt x="8425" y="51"/>
                  <a:pt x="8437" y="52"/>
                  <a:pt x="8445" y="50"/>
                </a:cubicBezTo>
                <a:cubicBezTo>
                  <a:pt x="8446" y="50"/>
                  <a:pt x="8447" y="50"/>
                  <a:pt x="8448" y="50"/>
                </a:cubicBezTo>
                <a:cubicBezTo>
                  <a:pt x="8449" y="50"/>
                  <a:pt x="8451" y="50"/>
                  <a:pt x="8452" y="50"/>
                </a:cubicBezTo>
                <a:cubicBezTo>
                  <a:pt x="8453" y="50"/>
                  <a:pt x="8454" y="50"/>
                  <a:pt x="8455" y="50"/>
                </a:cubicBezTo>
                <a:cubicBezTo>
                  <a:pt x="8457" y="50"/>
                  <a:pt x="8458" y="50"/>
                  <a:pt x="8460" y="50"/>
                </a:cubicBezTo>
                <a:cubicBezTo>
                  <a:pt x="8468" y="50"/>
                  <a:pt x="8476" y="50"/>
                  <a:pt x="8484" y="50"/>
                </a:cubicBezTo>
                <a:cubicBezTo>
                  <a:pt x="8492" y="50"/>
                  <a:pt x="8501" y="50"/>
                  <a:pt x="8509" y="51"/>
                </a:cubicBezTo>
                <a:cubicBezTo>
                  <a:pt x="8527" y="51"/>
                  <a:pt x="8545" y="50"/>
                  <a:pt x="8563" y="50"/>
                </a:cubicBezTo>
                <a:cubicBezTo>
                  <a:pt x="8595" y="50"/>
                  <a:pt x="8626" y="50"/>
                  <a:pt x="8659" y="49"/>
                </a:cubicBezTo>
                <a:cubicBezTo>
                  <a:pt x="8659" y="49"/>
                  <a:pt x="8659" y="50"/>
                  <a:pt x="8659" y="50"/>
                </a:cubicBezTo>
                <a:cubicBezTo>
                  <a:pt x="8659" y="50"/>
                  <a:pt x="8660" y="50"/>
                  <a:pt x="8660" y="50"/>
                </a:cubicBezTo>
                <a:cubicBezTo>
                  <a:pt x="8661" y="50"/>
                  <a:pt x="8662" y="50"/>
                  <a:pt x="8663" y="50"/>
                </a:cubicBezTo>
                <a:cubicBezTo>
                  <a:pt x="8667" y="50"/>
                  <a:pt x="8670" y="51"/>
                  <a:pt x="8674" y="51"/>
                </a:cubicBezTo>
                <a:cubicBezTo>
                  <a:pt x="8678" y="51"/>
                  <a:pt x="8682" y="51"/>
                  <a:pt x="8686" y="51"/>
                </a:cubicBezTo>
                <a:cubicBezTo>
                  <a:pt x="8688" y="51"/>
                  <a:pt x="8690" y="52"/>
                  <a:pt x="8693" y="52"/>
                </a:cubicBezTo>
                <a:cubicBezTo>
                  <a:pt x="8696" y="51"/>
                  <a:pt x="8698" y="50"/>
                  <a:pt x="8700" y="50"/>
                </a:cubicBezTo>
                <a:cubicBezTo>
                  <a:pt x="8703" y="50"/>
                  <a:pt x="8708" y="50"/>
                  <a:pt x="8711" y="50"/>
                </a:cubicBezTo>
                <a:cubicBezTo>
                  <a:pt x="8720" y="50"/>
                  <a:pt x="8736" y="51"/>
                  <a:pt x="8746" y="50"/>
                </a:cubicBezTo>
                <a:cubicBezTo>
                  <a:pt x="8761" y="50"/>
                  <a:pt x="8803" y="50"/>
                  <a:pt x="8826" y="50"/>
                </a:cubicBezTo>
                <a:cubicBezTo>
                  <a:pt x="8831" y="51"/>
                  <a:pt x="8842" y="50"/>
                  <a:pt x="8852" y="50"/>
                </a:cubicBezTo>
                <a:cubicBezTo>
                  <a:pt x="8858" y="50"/>
                  <a:pt x="8863" y="50"/>
                  <a:pt x="8869" y="50"/>
                </a:cubicBezTo>
                <a:cubicBezTo>
                  <a:pt x="8869" y="51"/>
                  <a:pt x="8870" y="51"/>
                  <a:pt x="8872" y="51"/>
                </a:cubicBezTo>
                <a:cubicBezTo>
                  <a:pt x="8873" y="51"/>
                  <a:pt x="8875" y="51"/>
                  <a:pt x="8876" y="51"/>
                </a:cubicBezTo>
                <a:cubicBezTo>
                  <a:pt x="8879" y="52"/>
                  <a:pt x="8882" y="52"/>
                  <a:pt x="8884" y="52"/>
                </a:cubicBezTo>
                <a:cubicBezTo>
                  <a:pt x="8886" y="51"/>
                  <a:pt x="8887" y="51"/>
                  <a:pt x="8888" y="51"/>
                </a:cubicBezTo>
                <a:cubicBezTo>
                  <a:pt x="8893" y="51"/>
                  <a:pt x="8901" y="50"/>
                  <a:pt x="8906" y="51"/>
                </a:cubicBezTo>
                <a:cubicBezTo>
                  <a:pt x="8912" y="51"/>
                  <a:pt x="8915" y="53"/>
                  <a:pt x="8918" y="54"/>
                </a:cubicBezTo>
                <a:cubicBezTo>
                  <a:pt x="8920" y="54"/>
                  <a:pt x="8922" y="55"/>
                  <a:pt x="8924" y="54"/>
                </a:cubicBezTo>
                <a:cubicBezTo>
                  <a:pt x="8927" y="53"/>
                  <a:pt x="8931" y="53"/>
                  <a:pt x="8934" y="52"/>
                </a:cubicBezTo>
                <a:cubicBezTo>
                  <a:pt x="8934" y="51"/>
                  <a:pt x="8935" y="51"/>
                  <a:pt x="8935" y="51"/>
                </a:cubicBezTo>
                <a:cubicBezTo>
                  <a:pt x="8936" y="51"/>
                  <a:pt x="8938" y="51"/>
                  <a:pt x="8939" y="51"/>
                </a:cubicBezTo>
                <a:cubicBezTo>
                  <a:pt x="8940" y="51"/>
                  <a:pt x="8940" y="51"/>
                  <a:pt x="8941" y="51"/>
                </a:cubicBezTo>
                <a:cubicBezTo>
                  <a:pt x="8945" y="50"/>
                  <a:pt x="8955" y="51"/>
                  <a:pt x="8959" y="51"/>
                </a:cubicBezTo>
                <a:cubicBezTo>
                  <a:pt x="8969" y="51"/>
                  <a:pt x="8978" y="51"/>
                  <a:pt x="8987" y="51"/>
                </a:cubicBezTo>
                <a:cubicBezTo>
                  <a:pt x="9005" y="51"/>
                  <a:pt x="9024" y="51"/>
                  <a:pt x="9042" y="51"/>
                </a:cubicBezTo>
                <a:cubicBezTo>
                  <a:pt x="9044" y="51"/>
                  <a:pt x="9046" y="51"/>
                  <a:pt x="9048" y="51"/>
                </a:cubicBezTo>
                <a:cubicBezTo>
                  <a:pt x="9048" y="50"/>
                  <a:pt x="9049" y="50"/>
                  <a:pt x="9049" y="50"/>
                </a:cubicBezTo>
                <a:cubicBezTo>
                  <a:pt x="9050" y="50"/>
                  <a:pt x="9051" y="50"/>
                  <a:pt x="9052" y="50"/>
                </a:cubicBezTo>
                <a:cubicBezTo>
                  <a:pt x="9052" y="50"/>
                  <a:pt x="9053" y="50"/>
                  <a:pt x="9053" y="50"/>
                </a:cubicBezTo>
                <a:cubicBezTo>
                  <a:pt x="9055" y="50"/>
                  <a:pt x="9063" y="50"/>
                  <a:pt x="9065" y="50"/>
                </a:cubicBezTo>
                <a:cubicBezTo>
                  <a:pt x="9068" y="50"/>
                  <a:pt x="9072" y="50"/>
                  <a:pt x="9077" y="51"/>
                </a:cubicBezTo>
                <a:cubicBezTo>
                  <a:pt x="9082" y="51"/>
                  <a:pt x="9087" y="51"/>
                  <a:pt x="9092" y="51"/>
                </a:cubicBezTo>
                <a:cubicBezTo>
                  <a:pt x="9092" y="51"/>
                  <a:pt x="9093" y="51"/>
                  <a:pt x="9093" y="51"/>
                </a:cubicBezTo>
                <a:cubicBezTo>
                  <a:pt x="9094" y="51"/>
                  <a:pt x="9095" y="51"/>
                  <a:pt x="9095" y="51"/>
                </a:cubicBezTo>
                <a:cubicBezTo>
                  <a:pt x="9097" y="50"/>
                  <a:pt x="9100" y="50"/>
                  <a:pt x="9102" y="50"/>
                </a:cubicBezTo>
                <a:cubicBezTo>
                  <a:pt x="9102" y="51"/>
                  <a:pt x="9103" y="51"/>
                  <a:pt x="9104" y="51"/>
                </a:cubicBezTo>
                <a:cubicBezTo>
                  <a:pt x="9108" y="51"/>
                  <a:pt x="9112" y="51"/>
                  <a:pt x="9116" y="51"/>
                </a:cubicBezTo>
                <a:cubicBezTo>
                  <a:pt x="9119" y="51"/>
                  <a:pt x="9124" y="51"/>
                  <a:pt x="9128" y="52"/>
                </a:cubicBezTo>
                <a:cubicBezTo>
                  <a:pt x="9130" y="52"/>
                  <a:pt x="9132" y="53"/>
                  <a:pt x="9135" y="53"/>
                </a:cubicBezTo>
                <a:cubicBezTo>
                  <a:pt x="9139" y="53"/>
                  <a:pt x="9146" y="50"/>
                  <a:pt x="9150" y="51"/>
                </a:cubicBezTo>
                <a:cubicBezTo>
                  <a:pt x="9151" y="51"/>
                  <a:pt x="9150" y="52"/>
                  <a:pt x="9150" y="52"/>
                </a:cubicBezTo>
                <a:cubicBezTo>
                  <a:pt x="9150" y="52"/>
                  <a:pt x="9149" y="52"/>
                  <a:pt x="9149" y="53"/>
                </a:cubicBezTo>
                <a:cubicBezTo>
                  <a:pt x="9150" y="53"/>
                  <a:pt x="9150" y="53"/>
                  <a:pt x="9151" y="53"/>
                </a:cubicBezTo>
                <a:cubicBezTo>
                  <a:pt x="9154" y="53"/>
                  <a:pt x="9157" y="53"/>
                  <a:pt x="9159" y="52"/>
                </a:cubicBezTo>
                <a:cubicBezTo>
                  <a:pt x="9159" y="52"/>
                  <a:pt x="9160" y="52"/>
                  <a:pt x="9161" y="52"/>
                </a:cubicBezTo>
                <a:cubicBezTo>
                  <a:pt x="9169" y="51"/>
                  <a:pt x="9180" y="51"/>
                  <a:pt x="9189" y="51"/>
                </a:cubicBezTo>
                <a:cubicBezTo>
                  <a:pt x="9198" y="51"/>
                  <a:pt x="9206" y="51"/>
                  <a:pt x="9214" y="51"/>
                </a:cubicBezTo>
                <a:cubicBezTo>
                  <a:pt x="9218" y="51"/>
                  <a:pt x="9223" y="51"/>
                  <a:pt x="9227" y="52"/>
                </a:cubicBezTo>
                <a:cubicBezTo>
                  <a:pt x="9232" y="52"/>
                  <a:pt x="9230" y="52"/>
                  <a:pt x="9233" y="53"/>
                </a:cubicBezTo>
                <a:cubicBezTo>
                  <a:pt x="9234" y="54"/>
                  <a:pt x="9235" y="54"/>
                  <a:pt x="9235" y="55"/>
                </a:cubicBezTo>
                <a:cubicBezTo>
                  <a:pt x="9237" y="55"/>
                  <a:pt x="9238" y="55"/>
                  <a:pt x="9239" y="55"/>
                </a:cubicBezTo>
                <a:cubicBezTo>
                  <a:pt x="9241" y="55"/>
                  <a:pt x="9243" y="54"/>
                  <a:pt x="9243" y="54"/>
                </a:cubicBezTo>
                <a:cubicBezTo>
                  <a:pt x="9244" y="53"/>
                  <a:pt x="9245" y="53"/>
                  <a:pt x="9248" y="52"/>
                </a:cubicBezTo>
                <a:cubicBezTo>
                  <a:pt x="9252" y="52"/>
                  <a:pt x="9257" y="52"/>
                  <a:pt x="9261" y="52"/>
                </a:cubicBezTo>
                <a:cubicBezTo>
                  <a:pt x="9267" y="52"/>
                  <a:pt x="9272" y="53"/>
                  <a:pt x="9278" y="53"/>
                </a:cubicBezTo>
                <a:cubicBezTo>
                  <a:pt x="9286" y="53"/>
                  <a:pt x="9294" y="53"/>
                  <a:pt x="9302" y="53"/>
                </a:cubicBezTo>
                <a:cubicBezTo>
                  <a:pt x="9306" y="52"/>
                  <a:pt x="9310" y="52"/>
                  <a:pt x="9314" y="52"/>
                </a:cubicBezTo>
                <a:cubicBezTo>
                  <a:pt x="9316" y="52"/>
                  <a:pt x="9318" y="52"/>
                  <a:pt x="9319" y="52"/>
                </a:cubicBezTo>
                <a:cubicBezTo>
                  <a:pt x="9322" y="52"/>
                  <a:pt x="9321" y="53"/>
                  <a:pt x="9323" y="53"/>
                </a:cubicBezTo>
                <a:cubicBezTo>
                  <a:pt x="9325" y="53"/>
                  <a:pt x="9326" y="53"/>
                  <a:pt x="9328" y="54"/>
                </a:cubicBezTo>
                <a:cubicBezTo>
                  <a:pt x="9328" y="54"/>
                  <a:pt x="9329" y="54"/>
                  <a:pt x="9329" y="54"/>
                </a:cubicBezTo>
                <a:cubicBezTo>
                  <a:pt x="9330" y="54"/>
                  <a:pt x="9330" y="53"/>
                  <a:pt x="9331" y="53"/>
                </a:cubicBezTo>
                <a:cubicBezTo>
                  <a:pt x="9332" y="53"/>
                  <a:pt x="9335" y="53"/>
                  <a:pt x="9338" y="52"/>
                </a:cubicBezTo>
                <a:cubicBezTo>
                  <a:pt x="9340" y="52"/>
                  <a:pt x="9342" y="51"/>
                  <a:pt x="9346" y="51"/>
                </a:cubicBezTo>
                <a:cubicBezTo>
                  <a:pt x="9348" y="51"/>
                  <a:pt x="9349" y="51"/>
                  <a:pt x="9351" y="51"/>
                </a:cubicBezTo>
                <a:cubicBezTo>
                  <a:pt x="9361" y="51"/>
                  <a:pt x="9372" y="51"/>
                  <a:pt x="9382" y="51"/>
                </a:cubicBezTo>
                <a:cubicBezTo>
                  <a:pt x="9390" y="51"/>
                  <a:pt x="9394" y="52"/>
                  <a:pt x="9400" y="53"/>
                </a:cubicBezTo>
                <a:cubicBezTo>
                  <a:pt x="9401" y="54"/>
                  <a:pt x="9402" y="54"/>
                  <a:pt x="9403" y="54"/>
                </a:cubicBezTo>
                <a:cubicBezTo>
                  <a:pt x="9406" y="54"/>
                  <a:pt x="9408" y="52"/>
                  <a:pt x="9411" y="52"/>
                </a:cubicBezTo>
                <a:cubicBezTo>
                  <a:pt x="9413" y="52"/>
                  <a:pt x="9415" y="52"/>
                  <a:pt x="9417" y="53"/>
                </a:cubicBezTo>
                <a:cubicBezTo>
                  <a:pt x="9425" y="54"/>
                  <a:pt x="9432" y="53"/>
                  <a:pt x="9439" y="52"/>
                </a:cubicBezTo>
                <a:cubicBezTo>
                  <a:pt x="9443" y="52"/>
                  <a:pt x="9446" y="51"/>
                  <a:pt x="9449" y="51"/>
                </a:cubicBezTo>
                <a:cubicBezTo>
                  <a:pt x="9456" y="51"/>
                  <a:pt x="9463" y="51"/>
                  <a:pt x="9471" y="51"/>
                </a:cubicBezTo>
                <a:cubicBezTo>
                  <a:pt x="9472" y="51"/>
                  <a:pt x="9474" y="51"/>
                  <a:pt x="9476" y="51"/>
                </a:cubicBezTo>
                <a:cubicBezTo>
                  <a:pt x="9483" y="52"/>
                  <a:pt x="9490" y="52"/>
                  <a:pt x="9498" y="52"/>
                </a:cubicBezTo>
                <a:cubicBezTo>
                  <a:pt x="9503" y="52"/>
                  <a:pt x="9509" y="52"/>
                  <a:pt x="9515" y="53"/>
                </a:cubicBezTo>
                <a:cubicBezTo>
                  <a:pt x="9520" y="53"/>
                  <a:pt x="9525" y="54"/>
                  <a:pt x="9530" y="55"/>
                </a:cubicBezTo>
                <a:cubicBezTo>
                  <a:pt x="9530" y="55"/>
                  <a:pt x="9531" y="55"/>
                  <a:pt x="9533" y="55"/>
                </a:cubicBezTo>
                <a:cubicBezTo>
                  <a:pt x="9534" y="55"/>
                  <a:pt x="9535" y="55"/>
                  <a:pt x="9535" y="55"/>
                </a:cubicBezTo>
                <a:cubicBezTo>
                  <a:pt x="9536" y="55"/>
                  <a:pt x="9536" y="54"/>
                  <a:pt x="9536" y="54"/>
                </a:cubicBezTo>
                <a:cubicBezTo>
                  <a:pt x="9536" y="54"/>
                  <a:pt x="9537" y="54"/>
                  <a:pt x="9538" y="54"/>
                </a:cubicBezTo>
                <a:cubicBezTo>
                  <a:pt x="9539" y="54"/>
                  <a:pt x="9538" y="55"/>
                  <a:pt x="9540" y="55"/>
                </a:cubicBezTo>
                <a:cubicBezTo>
                  <a:pt x="9541" y="54"/>
                  <a:pt x="9542" y="54"/>
                  <a:pt x="9543" y="54"/>
                </a:cubicBezTo>
                <a:cubicBezTo>
                  <a:pt x="9544" y="54"/>
                  <a:pt x="9544" y="54"/>
                  <a:pt x="9545" y="54"/>
                </a:cubicBezTo>
                <a:cubicBezTo>
                  <a:pt x="9546" y="53"/>
                  <a:pt x="9547" y="54"/>
                  <a:pt x="9548" y="54"/>
                </a:cubicBezTo>
                <a:cubicBezTo>
                  <a:pt x="9550" y="55"/>
                  <a:pt x="9553" y="54"/>
                  <a:pt x="9555" y="54"/>
                </a:cubicBezTo>
                <a:cubicBezTo>
                  <a:pt x="9563" y="51"/>
                  <a:pt x="9583" y="52"/>
                  <a:pt x="9595" y="52"/>
                </a:cubicBezTo>
                <a:cubicBezTo>
                  <a:pt x="9601" y="52"/>
                  <a:pt x="9609" y="51"/>
                  <a:pt x="9615" y="52"/>
                </a:cubicBezTo>
                <a:cubicBezTo>
                  <a:pt x="9616" y="52"/>
                  <a:pt x="9617" y="52"/>
                  <a:pt x="9618" y="52"/>
                </a:cubicBezTo>
                <a:cubicBezTo>
                  <a:pt x="9620" y="53"/>
                  <a:pt x="9623" y="53"/>
                  <a:pt x="9624" y="53"/>
                </a:cubicBezTo>
                <a:cubicBezTo>
                  <a:pt x="9625" y="53"/>
                  <a:pt x="9626" y="54"/>
                  <a:pt x="9627" y="54"/>
                </a:cubicBezTo>
                <a:cubicBezTo>
                  <a:pt x="9630" y="55"/>
                  <a:pt x="9637" y="55"/>
                  <a:pt x="9642" y="55"/>
                </a:cubicBezTo>
                <a:cubicBezTo>
                  <a:pt x="9646" y="55"/>
                  <a:pt x="9653" y="56"/>
                  <a:pt x="9657" y="55"/>
                </a:cubicBezTo>
                <a:cubicBezTo>
                  <a:pt x="9659" y="54"/>
                  <a:pt x="9666" y="55"/>
                  <a:pt x="9669" y="55"/>
                </a:cubicBezTo>
                <a:cubicBezTo>
                  <a:pt x="9675" y="55"/>
                  <a:pt x="9681" y="55"/>
                  <a:pt x="9688" y="55"/>
                </a:cubicBezTo>
                <a:cubicBezTo>
                  <a:pt x="9690" y="55"/>
                  <a:pt x="9694" y="55"/>
                  <a:pt x="9697" y="55"/>
                </a:cubicBezTo>
                <a:cubicBezTo>
                  <a:pt x="9700" y="55"/>
                  <a:pt x="9701" y="54"/>
                  <a:pt x="9705" y="54"/>
                </a:cubicBezTo>
                <a:cubicBezTo>
                  <a:pt x="9707" y="53"/>
                  <a:pt x="9710" y="54"/>
                  <a:pt x="9710" y="54"/>
                </a:cubicBezTo>
                <a:cubicBezTo>
                  <a:pt x="9710" y="55"/>
                  <a:pt x="9709" y="55"/>
                  <a:pt x="9710" y="55"/>
                </a:cubicBezTo>
                <a:cubicBezTo>
                  <a:pt x="9711" y="56"/>
                  <a:pt x="9721" y="55"/>
                  <a:pt x="9723" y="55"/>
                </a:cubicBezTo>
                <a:cubicBezTo>
                  <a:pt x="9726" y="55"/>
                  <a:pt x="9737" y="56"/>
                  <a:pt x="9738" y="55"/>
                </a:cubicBezTo>
                <a:cubicBezTo>
                  <a:pt x="9738" y="54"/>
                  <a:pt x="9738" y="54"/>
                  <a:pt x="9738" y="54"/>
                </a:cubicBezTo>
                <a:cubicBezTo>
                  <a:pt x="9740" y="53"/>
                  <a:pt x="9746" y="53"/>
                  <a:pt x="9748" y="53"/>
                </a:cubicBezTo>
                <a:cubicBezTo>
                  <a:pt x="9752" y="53"/>
                  <a:pt x="9756" y="54"/>
                  <a:pt x="9760" y="54"/>
                </a:cubicBezTo>
                <a:cubicBezTo>
                  <a:pt x="9774" y="54"/>
                  <a:pt x="9805" y="55"/>
                  <a:pt x="9830" y="55"/>
                </a:cubicBezTo>
                <a:cubicBezTo>
                  <a:pt x="9838" y="55"/>
                  <a:pt x="9846" y="55"/>
                  <a:pt x="9855" y="55"/>
                </a:cubicBezTo>
                <a:cubicBezTo>
                  <a:pt x="9861" y="55"/>
                  <a:pt x="9872" y="54"/>
                  <a:pt x="9878" y="55"/>
                </a:cubicBezTo>
                <a:cubicBezTo>
                  <a:pt x="9879" y="55"/>
                  <a:pt x="9880" y="55"/>
                  <a:pt x="9881" y="56"/>
                </a:cubicBezTo>
                <a:cubicBezTo>
                  <a:pt x="9883" y="56"/>
                  <a:pt x="9886" y="56"/>
                  <a:pt x="9889" y="56"/>
                </a:cubicBezTo>
                <a:cubicBezTo>
                  <a:pt x="9892" y="55"/>
                  <a:pt x="9895" y="55"/>
                  <a:pt x="9897" y="55"/>
                </a:cubicBezTo>
                <a:cubicBezTo>
                  <a:pt x="9898" y="54"/>
                  <a:pt x="9898" y="54"/>
                  <a:pt x="9899" y="54"/>
                </a:cubicBezTo>
                <a:cubicBezTo>
                  <a:pt x="9901" y="54"/>
                  <a:pt x="9903" y="55"/>
                  <a:pt x="9905" y="55"/>
                </a:cubicBezTo>
                <a:cubicBezTo>
                  <a:pt x="9916" y="55"/>
                  <a:pt x="9930" y="56"/>
                  <a:pt x="9941" y="56"/>
                </a:cubicBezTo>
                <a:cubicBezTo>
                  <a:pt x="9942" y="56"/>
                  <a:pt x="9943" y="56"/>
                  <a:pt x="9943" y="55"/>
                </a:cubicBezTo>
                <a:cubicBezTo>
                  <a:pt x="9944" y="53"/>
                  <a:pt x="9958" y="54"/>
                  <a:pt x="9962" y="55"/>
                </a:cubicBezTo>
                <a:cubicBezTo>
                  <a:pt x="9973" y="55"/>
                  <a:pt x="9987" y="55"/>
                  <a:pt x="9994" y="55"/>
                </a:cubicBezTo>
                <a:cubicBezTo>
                  <a:pt x="10001" y="55"/>
                  <a:pt x="10019" y="55"/>
                  <a:pt x="10033" y="55"/>
                </a:cubicBezTo>
                <a:cubicBezTo>
                  <a:pt x="10047" y="55"/>
                  <a:pt x="10083" y="55"/>
                  <a:pt x="10113" y="55"/>
                </a:cubicBezTo>
                <a:cubicBezTo>
                  <a:pt x="10123" y="55"/>
                  <a:pt x="10132" y="55"/>
                  <a:pt x="10142" y="55"/>
                </a:cubicBezTo>
                <a:cubicBezTo>
                  <a:pt x="10145" y="55"/>
                  <a:pt x="10165" y="54"/>
                  <a:pt x="10165" y="55"/>
                </a:cubicBezTo>
                <a:cubicBezTo>
                  <a:pt x="10165" y="56"/>
                  <a:pt x="10164" y="56"/>
                  <a:pt x="10164" y="56"/>
                </a:cubicBezTo>
                <a:cubicBezTo>
                  <a:pt x="10163" y="56"/>
                  <a:pt x="10165" y="57"/>
                  <a:pt x="10166" y="57"/>
                </a:cubicBezTo>
                <a:cubicBezTo>
                  <a:pt x="10169" y="57"/>
                  <a:pt x="10171" y="57"/>
                  <a:pt x="10174" y="57"/>
                </a:cubicBezTo>
                <a:cubicBezTo>
                  <a:pt x="10177" y="57"/>
                  <a:pt x="10181" y="57"/>
                  <a:pt x="10185" y="57"/>
                </a:cubicBezTo>
                <a:cubicBezTo>
                  <a:pt x="10189" y="57"/>
                  <a:pt x="10194" y="57"/>
                  <a:pt x="10199" y="57"/>
                </a:cubicBezTo>
                <a:cubicBezTo>
                  <a:pt x="10202" y="57"/>
                  <a:pt x="10205" y="58"/>
                  <a:pt x="10209" y="57"/>
                </a:cubicBezTo>
                <a:cubicBezTo>
                  <a:pt x="10212" y="57"/>
                  <a:pt x="10214" y="56"/>
                  <a:pt x="10216" y="56"/>
                </a:cubicBezTo>
                <a:cubicBezTo>
                  <a:pt x="10219" y="55"/>
                  <a:pt x="10221" y="55"/>
                  <a:pt x="10225" y="55"/>
                </a:cubicBezTo>
                <a:cubicBezTo>
                  <a:pt x="10229" y="55"/>
                  <a:pt x="10240" y="55"/>
                  <a:pt x="10249" y="55"/>
                </a:cubicBezTo>
                <a:cubicBezTo>
                  <a:pt x="10254" y="55"/>
                  <a:pt x="10261" y="54"/>
                  <a:pt x="10266" y="55"/>
                </a:cubicBezTo>
                <a:cubicBezTo>
                  <a:pt x="10270" y="55"/>
                  <a:pt x="10274" y="55"/>
                  <a:pt x="10279" y="55"/>
                </a:cubicBezTo>
                <a:cubicBezTo>
                  <a:pt x="10284" y="55"/>
                  <a:pt x="10289" y="55"/>
                  <a:pt x="10293" y="55"/>
                </a:cubicBezTo>
                <a:cubicBezTo>
                  <a:pt x="10297" y="56"/>
                  <a:pt x="10299" y="56"/>
                  <a:pt x="10303" y="57"/>
                </a:cubicBezTo>
                <a:cubicBezTo>
                  <a:pt x="10308" y="57"/>
                  <a:pt x="10315" y="56"/>
                  <a:pt x="10320" y="56"/>
                </a:cubicBezTo>
                <a:cubicBezTo>
                  <a:pt x="10329" y="56"/>
                  <a:pt x="10335" y="55"/>
                  <a:pt x="10343" y="54"/>
                </a:cubicBezTo>
                <a:cubicBezTo>
                  <a:pt x="10348" y="54"/>
                  <a:pt x="10353" y="54"/>
                  <a:pt x="10357" y="54"/>
                </a:cubicBezTo>
                <a:cubicBezTo>
                  <a:pt x="10363" y="54"/>
                  <a:pt x="10370" y="55"/>
                  <a:pt x="10376" y="55"/>
                </a:cubicBezTo>
                <a:cubicBezTo>
                  <a:pt x="10381" y="55"/>
                  <a:pt x="10384" y="56"/>
                  <a:pt x="10392" y="56"/>
                </a:cubicBezTo>
                <a:cubicBezTo>
                  <a:pt x="10392" y="56"/>
                  <a:pt x="10392" y="56"/>
                  <a:pt x="10392" y="55"/>
                </a:cubicBezTo>
                <a:cubicBezTo>
                  <a:pt x="10394" y="54"/>
                  <a:pt x="10399" y="54"/>
                  <a:pt x="10402" y="55"/>
                </a:cubicBezTo>
                <a:cubicBezTo>
                  <a:pt x="10404" y="55"/>
                  <a:pt x="10413" y="55"/>
                  <a:pt x="10409" y="56"/>
                </a:cubicBezTo>
                <a:cubicBezTo>
                  <a:pt x="10409" y="56"/>
                  <a:pt x="10410" y="56"/>
                  <a:pt x="10411" y="57"/>
                </a:cubicBezTo>
                <a:cubicBezTo>
                  <a:pt x="10412" y="57"/>
                  <a:pt x="10413" y="57"/>
                  <a:pt x="10413" y="58"/>
                </a:cubicBezTo>
                <a:cubicBezTo>
                  <a:pt x="10414" y="58"/>
                  <a:pt x="10415" y="58"/>
                  <a:pt x="10417" y="58"/>
                </a:cubicBezTo>
                <a:cubicBezTo>
                  <a:pt x="10418" y="58"/>
                  <a:pt x="10418" y="58"/>
                  <a:pt x="10420" y="58"/>
                </a:cubicBezTo>
                <a:cubicBezTo>
                  <a:pt x="10422" y="58"/>
                  <a:pt x="10423" y="58"/>
                  <a:pt x="10425" y="59"/>
                </a:cubicBezTo>
                <a:cubicBezTo>
                  <a:pt x="10426" y="59"/>
                  <a:pt x="10429" y="59"/>
                  <a:pt x="10431" y="59"/>
                </a:cubicBezTo>
                <a:cubicBezTo>
                  <a:pt x="10432" y="59"/>
                  <a:pt x="10434" y="58"/>
                  <a:pt x="10433" y="57"/>
                </a:cubicBezTo>
                <a:cubicBezTo>
                  <a:pt x="10432" y="57"/>
                  <a:pt x="10432" y="57"/>
                  <a:pt x="10432" y="57"/>
                </a:cubicBezTo>
                <a:cubicBezTo>
                  <a:pt x="10432" y="56"/>
                  <a:pt x="10434" y="56"/>
                  <a:pt x="10437" y="56"/>
                </a:cubicBezTo>
                <a:cubicBezTo>
                  <a:pt x="10438" y="56"/>
                  <a:pt x="10439" y="56"/>
                  <a:pt x="10439" y="56"/>
                </a:cubicBezTo>
                <a:cubicBezTo>
                  <a:pt x="10440" y="57"/>
                  <a:pt x="10439" y="57"/>
                  <a:pt x="10441" y="57"/>
                </a:cubicBezTo>
                <a:cubicBezTo>
                  <a:pt x="10446" y="57"/>
                  <a:pt x="10451" y="58"/>
                  <a:pt x="10457" y="58"/>
                </a:cubicBezTo>
                <a:cubicBezTo>
                  <a:pt x="10462" y="58"/>
                  <a:pt x="10467" y="58"/>
                  <a:pt x="10473" y="58"/>
                </a:cubicBezTo>
                <a:cubicBezTo>
                  <a:pt x="10476" y="58"/>
                  <a:pt x="10480" y="58"/>
                  <a:pt x="10483" y="58"/>
                </a:cubicBezTo>
                <a:cubicBezTo>
                  <a:pt x="10487" y="58"/>
                  <a:pt x="10491" y="58"/>
                  <a:pt x="10495" y="58"/>
                </a:cubicBezTo>
                <a:cubicBezTo>
                  <a:pt x="10498" y="58"/>
                  <a:pt x="10501" y="58"/>
                  <a:pt x="10505" y="58"/>
                </a:cubicBezTo>
                <a:cubicBezTo>
                  <a:pt x="10507" y="58"/>
                  <a:pt x="10506" y="57"/>
                  <a:pt x="10508" y="57"/>
                </a:cubicBezTo>
                <a:cubicBezTo>
                  <a:pt x="10509" y="57"/>
                  <a:pt x="10513" y="57"/>
                  <a:pt x="10515" y="57"/>
                </a:cubicBezTo>
                <a:cubicBezTo>
                  <a:pt x="10520" y="57"/>
                  <a:pt x="10525" y="56"/>
                  <a:pt x="10531" y="56"/>
                </a:cubicBezTo>
                <a:cubicBezTo>
                  <a:pt x="10532" y="56"/>
                  <a:pt x="10533" y="56"/>
                  <a:pt x="10534" y="56"/>
                </a:cubicBezTo>
                <a:cubicBezTo>
                  <a:pt x="10535" y="56"/>
                  <a:pt x="10536" y="57"/>
                  <a:pt x="10536" y="57"/>
                </a:cubicBezTo>
                <a:cubicBezTo>
                  <a:pt x="10536" y="57"/>
                  <a:pt x="10535" y="57"/>
                  <a:pt x="10535" y="58"/>
                </a:cubicBezTo>
                <a:cubicBezTo>
                  <a:pt x="10535" y="58"/>
                  <a:pt x="10536" y="59"/>
                  <a:pt x="10538" y="59"/>
                </a:cubicBezTo>
                <a:cubicBezTo>
                  <a:pt x="10539" y="59"/>
                  <a:pt x="10541" y="59"/>
                  <a:pt x="10543" y="59"/>
                </a:cubicBezTo>
                <a:cubicBezTo>
                  <a:pt x="10545" y="60"/>
                  <a:pt x="10552" y="59"/>
                  <a:pt x="10555" y="59"/>
                </a:cubicBezTo>
                <a:cubicBezTo>
                  <a:pt x="10560" y="58"/>
                  <a:pt x="10566" y="59"/>
                  <a:pt x="10572" y="58"/>
                </a:cubicBezTo>
                <a:cubicBezTo>
                  <a:pt x="10573" y="58"/>
                  <a:pt x="10575" y="57"/>
                  <a:pt x="10576" y="57"/>
                </a:cubicBezTo>
                <a:cubicBezTo>
                  <a:pt x="10577" y="57"/>
                  <a:pt x="10578" y="57"/>
                  <a:pt x="10580" y="57"/>
                </a:cubicBezTo>
                <a:cubicBezTo>
                  <a:pt x="10581" y="57"/>
                  <a:pt x="10583" y="56"/>
                  <a:pt x="10584" y="57"/>
                </a:cubicBezTo>
                <a:cubicBezTo>
                  <a:pt x="10588" y="59"/>
                  <a:pt x="10599" y="58"/>
                  <a:pt x="10604" y="57"/>
                </a:cubicBezTo>
                <a:cubicBezTo>
                  <a:pt x="10613" y="57"/>
                  <a:pt x="10621" y="57"/>
                  <a:pt x="10623" y="57"/>
                </a:cubicBezTo>
                <a:cubicBezTo>
                  <a:pt x="10624" y="57"/>
                  <a:pt x="10636" y="57"/>
                  <a:pt x="10651" y="57"/>
                </a:cubicBezTo>
                <a:cubicBezTo>
                  <a:pt x="10656" y="57"/>
                  <a:pt x="10661" y="57"/>
                  <a:pt x="10666" y="58"/>
                </a:cubicBezTo>
                <a:cubicBezTo>
                  <a:pt x="10669" y="58"/>
                  <a:pt x="10673" y="58"/>
                  <a:pt x="10677" y="57"/>
                </a:cubicBezTo>
                <a:cubicBezTo>
                  <a:pt x="10678" y="57"/>
                  <a:pt x="10680" y="57"/>
                  <a:pt x="10681" y="56"/>
                </a:cubicBezTo>
                <a:cubicBezTo>
                  <a:pt x="10683" y="56"/>
                  <a:pt x="10684" y="56"/>
                  <a:pt x="10686" y="56"/>
                </a:cubicBezTo>
                <a:cubicBezTo>
                  <a:pt x="10689" y="55"/>
                  <a:pt x="10690" y="55"/>
                  <a:pt x="10693" y="56"/>
                </a:cubicBezTo>
                <a:cubicBezTo>
                  <a:pt x="10697" y="56"/>
                  <a:pt x="10702" y="57"/>
                  <a:pt x="10703" y="57"/>
                </a:cubicBezTo>
                <a:cubicBezTo>
                  <a:pt x="10706" y="58"/>
                  <a:pt x="10730" y="58"/>
                  <a:pt x="10738" y="56"/>
                </a:cubicBezTo>
                <a:cubicBezTo>
                  <a:pt x="10742" y="56"/>
                  <a:pt x="10751" y="54"/>
                  <a:pt x="10755" y="56"/>
                </a:cubicBezTo>
                <a:cubicBezTo>
                  <a:pt x="10756" y="56"/>
                  <a:pt x="10756" y="56"/>
                  <a:pt x="10756" y="56"/>
                </a:cubicBezTo>
                <a:cubicBezTo>
                  <a:pt x="10757" y="56"/>
                  <a:pt x="10759" y="56"/>
                  <a:pt x="10760" y="57"/>
                </a:cubicBezTo>
                <a:cubicBezTo>
                  <a:pt x="10766" y="57"/>
                  <a:pt x="10772" y="57"/>
                  <a:pt x="10778" y="57"/>
                </a:cubicBezTo>
                <a:cubicBezTo>
                  <a:pt x="10787" y="57"/>
                  <a:pt x="10797" y="58"/>
                  <a:pt x="10801" y="58"/>
                </a:cubicBezTo>
                <a:cubicBezTo>
                  <a:pt x="10805" y="58"/>
                  <a:pt x="10819" y="58"/>
                  <a:pt x="10833" y="58"/>
                </a:cubicBezTo>
                <a:cubicBezTo>
                  <a:pt x="10842" y="58"/>
                  <a:pt x="10859" y="59"/>
                  <a:pt x="10864" y="56"/>
                </a:cubicBezTo>
                <a:cubicBezTo>
                  <a:pt x="10864" y="56"/>
                  <a:pt x="10864" y="56"/>
                  <a:pt x="10865" y="56"/>
                </a:cubicBezTo>
                <a:cubicBezTo>
                  <a:pt x="10866" y="56"/>
                  <a:pt x="10867" y="56"/>
                  <a:pt x="10868" y="56"/>
                </a:cubicBezTo>
                <a:cubicBezTo>
                  <a:pt x="10872" y="56"/>
                  <a:pt x="10875" y="55"/>
                  <a:pt x="10879" y="55"/>
                </a:cubicBezTo>
                <a:cubicBezTo>
                  <a:pt x="10884" y="55"/>
                  <a:pt x="10889" y="55"/>
                  <a:pt x="10894" y="56"/>
                </a:cubicBezTo>
                <a:cubicBezTo>
                  <a:pt x="10900" y="56"/>
                  <a:pt x="10907" y="56"/>
                  <a:pt x="10914" y="56"/>
                </a:cubicBezTo>
                <a:cubicBezTo>
                  <a:pt x="10917" y="56"/>
                  <a:pt x="10927" y="56"/>
                  <a:pt x="10930" y="56"/>
                </a:cubicBezTo>
                <a:cubicBezTo>
                  <a:pt x="10930" y="56"/>
                  <a:pt x="10930" y="56"/>
                  <a:pt x="10931" y="56"/>
                </a:cubicBezTo>
                <a:cubicBezTo>
                  <a:pt x="10934" y="57"/>
                  <a:pt x="10940" y="57"/>
                  <a:pt x="10944" y="57"/>
                </a:cubicBezTo>
                <a:cubicBezTo>
                  <a:pt x="10951" y="57"/>
                  <a:pt x="10961" y="58"/>
                  <a:pt x="10967" y="58"/>
                </a:cubicBezTo>
                <a:cubicBezTo>
                  <a:pt x="10972" y="58"/>
                  <a:pt x="10976" y="58"/>
                  <a:pt x="10981" y="57"/>
                </a:cubicBezTo>
                <a:cubicBezTo>
                  <a:pt x="10984" y="56"/>
                  <a:pt x="10986" y="56"/>
                  <a:pt x="10991" y="56"/>
                </a:cubicBezTo>
                <a:cubicBezTo>
                  <a:pt x="10997" y="55"/>
                  <a:pt x="11003" y="56"/>
                  <a:pt x="11009" y="55"/>
                </a:cubicBezTo>
                <a:cubicBezTo>
                  <a:pt x="11016" y="55"/>
                  <a:pt x="11023" y="55"/>
                  <a:pt x="11030" y="55"/>
                </a:cubicBezTo>
                <a:cubicBezTo>
                  <a:pt x="11030" y="56"/>
                  <a:pt x="11030" y="56"/>
                  <a:pt x="11030" y="56"/>
                </a:cubicBezTo>
                <a:cubicBezTo>
                  <a:pt x="11030" y="57"/>
                  <a:pt x="11031" y="57"/>
                  <a:pt x="11032" y="57"/>
                </a:cubicBezTo>
                <a:cubicBezTo>
                  <a:pt x="11033" y="57"/>
                  <a:pt x="11033" y="57"/>
                  <a:pt x="11034" y="57"/>
                </a:cubicBezTo>
                <a:cubicBezTo>
                  <a:pt x="11038" y="56"/>
                  <a:pt x="11046" y="54"/>
                  <a:pt x="11050" y="56"/>
                </a:cubicBezTo>
                <a:cubicBezTo>
                  <a:pt x="11051" y="56"/>
                  <a:pt x="11051" y="57"/>
                  <a:pt x="11050" y="57"/>
                </a:cubicBezTo>
                <a:cubicBezTo>
                  <a:pt x="11050" y="57"/>
                  <a:pt x="11049" y="57"/>
                  <a:pt x="11049" y="58"/>
                </a:cubicBezTo>
                <a:cubicBezTo>
                  <a:pt x="11049" y="58"/>
                  <a:pt x="11051" y="59"/>
                  <a:pt x="11053" y="59"/>
                </a:cubicBezTo>
                <a:cubicBezTo>
                  <a:pt x="11055" y="59"/>
                  <a:pt x="11057" y="59"/>
                  <a:pt x="11059" y="59"/>
                </a:cubicBezTo>
                <a:cubicBezTo>
                  <a:pt x="11061" y="59"/>
                  <a:pt x="11062" y="58"/>
                  <a:pt x="11065" y="57"/>
                </a:cubicBezTo>
                <a:cubicBezTo>
                  <a:pt x="11066" y="57"/>
                  <a:pt x="11066" y="58"/>
                  <a:pt x="11066" y="58"/>
                </a:cubicBezTo>
                <a:cubicBezTo>
                  <a:pt x="11066" y="58"/>
                  <a:pt x="11066" y="58"/>
                  <a:pt x="11065" y="58"/>
                </a:cubicBezTo>
                <a:cubicBezTo>
                  <a:pt x="11065" y="60"/>
                  <a:pt x="11081" y="59"/>
                  <a:pt x="11084" y="59"/>
                </a:cubicBezTo>
                <a:cubicBezTo>
                  <a:pt x="11093" y="59"/>
                  <a:pt x="11103" y="59"/>
                  <a:pt x="11113" y="59"/>
                </a:cubicBezTo>
                <a:cubicBezTo>
                  <a:pt x="11122" y="59"/>
                  <a:pt x="11131" y="59"/>
                  <a:pt x="11140" y="59"/>
                </a:cubicBezTo>
                <a:cubicBezTo>
                  <a:pt x="11145" y="59"/>
                  <a:pt x="11155" y="60"/>
                  <a:pt x="11160" y="59"/>
                </a:cubicBezTo>
                <a:cubicBezTo>
                  <a:pt x="11161" y="58"/>
                  <a:pt x="11161" y="58"/>
                  <a:pt x="11163" y="57"/>
                </a:cubicBezTo>
                <a:cubicBezTo>
                  <a:pt x="11164" y="57"/>
                  <a:pt x="11166" y="57"/>
                  <a:pt x="11168" y="57"/>
                </a:cubicBezTo>
                <a:cubicBezTo>
                  <a:pt x="11171" y="56"/>
                  <a:pt x="11175" y="56"/>
                  <a:pt x="11178" y="55"/>
                </a:cubicBezTo>
                <a:cubicBezTo>
                  <a:pt x="11181" y="55"/>
                  <a:pt x="11182" y="54"/>
                  <a:pt x="11185" y="54"/>
                </a:cubicBezTo>
                <a:cubicBezTo>
                  <a:pt x="11189" y="54"/>
                  <a:pt x="11193" y="54"/>
                  <a:pt x="11196" y="54"/>
                </a:cubicBezTo>
                <a:cubicBezTo>
                  <a:pt x="11199" y="54"/>
                  <a:pt x="11212" y="54"/>
                  <a:pt x="11214" y="55"/>
                </a:cubicBezTo>
                <a:cubicBezTo>
                  <a:pt x="11214" y="55"/>
                  <a:pt x="11214" y="55"/>
                  <a:pt x="11214" y="55"/>
                </a:cubicBezTo>
                <a:cubicBezTo>
                  <a:pt x="11214" y="56"/>
                  <a:pt x="11216" y="56"/>
                  <a:pt x="11219" y="56"/>
                </a:cubicBezTo>
                <a:cubicBezTo>
                  <a:pt x="11220" y="56"/>
                  <a:pt x="11221" y="56"/>
                  <a:pt x="11221" y="55"/>
                </a:cubicBezTo>
                <a:cubicBezTo>
                  <a:pt x="11221" y="55"/>
                  <a:pt x="11221" y="54"/>
                  <a:pt x="11223" y="54"/>
                </a:cubicBezTo>
                <a:cubicBezTo>
                  <a:pt x="11229" y="54"/>
                  <a:pt x="11237" y="54"/>
                  <a:pt x="11243" y="54"/>
                </a:cubicBezTo>
                <a:cubicBezTo>
                  <a:pt x="11244" y="54"/>
                  <a:pt x="11244" y="54"/>
                  <a:pt x="11245" y="54"/>
                </a:cubicBezTo>
                <a:cubicBezTo>
                  <a:pt x="11246" y="54"/>
                  <a:pt x="11245" y="55"/>
                  <a:pt x="11245" y="55"/>
                </a:cubicBezTo>
                <a:cubicBezTo>
                  <a:pt x="11245" y="56"/>
                  <a:pt x="11252" y="59"/>
                  <a:pt x="11257" y="57"/>
                </a:cubicBezTo>
                <a:cubicBezTo>
                  <a:pt x="11259" y="57"/>
                  <a:pt x="11257" y="56"/>
                  <a:pt x="11257" y="56"/>
                </a:cubicBezTo>
                <a:cubicBezTo>
                  <a:pt x="11258" y="55"/>
                  <a:pt x="11258" y="55"/>
                  <a:pt x="11259" y="55"/>
                </a:cubicBezTo>
                <a:cubicBezTo>
                  <a:pt x="11259" y="55"/>
                  <a:pt x="11259" y="54"/>
                  <a:pt x="11259" y="54"/>
                </a:cubicBezTo>
                <a:cubicBezTo>
                  <a:pt x="11261" y="53"/>
                  <a:pt x="11267" y="54"/>
                  <a:pt x="11269" y="54"/>
                </a:cubicBezTo>
                <a:cubicBezTo>
                  <a:pt x="11272" y="54"/>
                  <a:pt x="11271" y="55"/>
                  <a:pt x="11273" y="56"/>
                </a:cubicBezTo>
                <a:cubicBezTo>
                  <a:pt x="11275" y="56"/>
                  <a:pt x="11280" y="55"/>
                  <a:pt x="11282" y="55"/>
                </a:cubicBezTo>
                <a:cubicBezTo>
                  <a:pt x="11286" y="55"/>
                  <a:pt x="11292" y="56"/>
                  <a:pt x="11296" y="55"/>
                </a:cubicBezTo>
                <a:cubicBezTo>
                  <a:pt x="11300" y="55"/>
                  <a:pt x="11301" y="54"/>
                  <a:pt x="11305" y="54"/>
                </a:cubicBezTo>
                <a:cubicBezTo>
                  <a:pt x="11314" y="53"/>
                  <a:pt x="11327" y="53"/>
                  <a:pt x="11337" y="53"/>
                </a:cubicBezTo>
                <a:cubicBezTo>
                  <a:pt x="11342" y="53"/>
                  <a:pt x="11373" y="52"/>
                  <a:pt x="11374" y="54"/>
                </a:cubicBezTo>
                <a:cubicBezTo>
                  <a:pt x="11375" y="54"/>
                  <a:pt x="11374" y="54"/>
                  <a:pt x="11375" y="54"/>
                </a:cubicBezTo>
                <a:cubicBezTo>
                  <a:pt x="11375" y="55"/>
                  <a:pt x="11376" y="55"/>
                  <a:pt x="11377" y="55"/>
                </a:cubicBezTo>
                <a:cubicBezTo>
                  <a:pt x="11379" y="55"/>
                  <a:pt x="11392" y="54"/>
                  <a:pt x="11386" y="56"/>
                </a:cubicBezTo>
                <a:cubicBezTo>
                  <a:pt x="11385" y="56"/>
                  <a:pt x="11384" y="56"/>
                  <a:pt x="11384" y="57"/>
                </a:cubicBezTo>
                <a:cubicBezTo>
                  <a:pt x="11385" y="57"/>
                  <a:pt x="11387" y="57"/>
                  <a:pt x="11389" y="57"/>
                </a:cubicBezTo>
                <a:cubicBezTo>
                  <a:pt x="11390" y="56"/>
                  <a:pt x="11392" y="56"/>
                  <a:pt x="11393" y="56"/>
                </a:cubicBezTo>
                <a:cubicBezTo>
                  <a:pt x="11396" y="56"/>
                  <a:pt x="11398" y="56"/>
                  <a:pt x="11401" y="56"/>
                </a:cubicBezTo>
                <a:cubicBezTo>
                  <a:pt x="11403" y="56"/>
                  <a:pt x="11406" y="56"/>
                  <a:pt x="11408" y="56"/>
                </a:cubicBezTo>
                <a:cubicBezTo>
                  <a:pt x="11416" y="56"/>
                  <a:pt x="11424" y="56"/>
                  <a:pt x="11432" y="55"/>
                </a:cubicBezTo>
                <a:cubicBezTo>
                  <a:pt x="11435" y="55"/>
                  <a:pt x="11438" y="55"/>
                  <a:pt x="11441" y="55"/>
                </a:cubicBezTo>
                <a:cubicBezTo>
                  <a:pt x="11444" y="55"/>
                  <a:pt x="11447" y="56"/>
                  <a:pt x="11450" y="56"/>
                </a:cubicBezTo>
                <a:cubicBezTo>
                  <a:pt x="11451" y="55"/>
                  <a:pt x="11454" y="55"/>
                  <a:pt x="11456" y="55"/>
                </a:cubicBezTo>
                <a:cubicBezTo>
                  <a:pt x="11457" y="55"/>
                  <a:pt x="11459" y="54"/>
                  <a:pt x="11460" y="54"/>
                </a:cubicBezTo>
                <a:cubicBezTo>
                  <a:pt x="11463" y="53"/>
                  <a:pt x="11467" y="53"/>
                  <a:pt x="11468" y="52"/>
                </a:cubicBezTo>
                <a:cubicBezTo>
                  <a:pt x="11468" y="52"/>
                  <a:pt x="11468" y="52"/>
                  <a:pt x="11468" y="52"/>
                </a:cubicBezTo>
                <a:cubicBezTo>
                  <a:pt x="11469" y="52"/>
                  <a:pt x="11470" y="51"/>
                  <a:pt x="11471" y="51"/>
                </a:cubicBezTo>
                <a:cubicBezTo>
                  <a:pt x="11474" y="51"/>
                  <a:pt x="11477" y="51"/>
                  <a:pt x="11479" y="51"/>
                </a:cubicBezTo>
                <a:cubicBezTo>
                  <a:pt x="11482" y="51"/>
                  <a:pt x="11486" y="51"/>
                  <a:pt x="11487" y="52"/>
                </a:cubicBezTo>
                <a:cubicBezTo>
                  <a:pt x="11487" y="53"/>
                  <a:pt x="11487" y="53"/>
                  <a:pt x="11488" y="54"/>
                </a:cubicBezTo>
                <a:cubicBezTo>
                  <a:pt x="11490" y="54"/>
                  <a:pt x="11497" y="53"/>
                  <a:pt x="11500" y="53"/>
                </a:cubicBezTo>
                <a:cubicBezTo>
                  <a:pt x="11505" y="53"/>
                  <a:pt x="11508" y="55"/>
                  <a:pt x="11513" y="56"/>
                </a:cubicBezTo>
                <a:cubicBezTo>
                  <a:pt x="11518" y="57"/>
                  <a:pt x="11526" y="56"/>
                  <a:pt x="11532" y="56"/>
                </a:cubicBezTo>
                <a:cubicBezTo>
                  <a:pt x="11535" y="56"/>
                  <a:pt x="11539" y="56"/>
                  <a:pt x="11541" y="55"/>
                </a:cubicBezTo>
                <a:cubicBezTo>
                  <a:pt x="11543" y="55"/>
                  <a:pt x="11545" y="55"/>
                  <a:pt x="11547" y="54"/>
                </a:cubicBezTo>
                <a:cubicBezTo>
                  <a:pt x="11553" y="54"/>
                  <a:pt x="11561" y="54"/>
                  <a:pt x="11567" y="54"/>
                </a:cubicBezTo>
                <a:cubicBezTo>
                  <a:pt x="11575" y="54"/>
                  <a:pt x="11583" y="54"/>
                  <a:pt x="11591" y="54"/>
                </a:cubicBezTo>
                <a:cubicBezTo>
                  <a:pt x="11596" y="54"/>
                  <a:pt x="11602" y="54"/>
                  <a:pt x="11607" y="54"/>
                </a:cubicBezTo>
                <a:cubicBezTo>
                  <a:pt x="11614" y="54"/>
                  <a:pt x="11620" y="54"/>
                  <a:pt x="11627" y="54"/>
                </a:cubicBezTo>
                <a:lnTo>
                  <a:pt x="11627" y="56"/>
                </a:lnTo>
                <a:cubicBezTo>
                  <a:pt x="11630" y="56"/>
                  <a:pt x="11634" y="56"/>
                  <a:pt x="11638" y="56"/>
                </a:cubicBezTo>
                <a:cubicBezTo>
                  <a:pt x="11640" y="55"/>
                  <a:pt x="11643" y="55"/>
                  <a:pt x="11645" y="55"/>
                </a:cubicBezTo>
                <a:cubicBezTo>
                  <a:pt x="11646" y="55"/>
                  <a:pt x="11646" y="56"/>
                  <a:pt x="11647" y="56"/>
                </a:cubicBezTo>
                <a:cubicBezTo>
                  <a:pt x="11648" y="57"/>
                  <a:pt x="11649" y="57"/>
                  <a:pt x="11650" y="57"/>
                </a:cubicBezTo>
                <a:cubicBezTo>
                  <a:pt x="11651" y="57"/>
                  <a:pt x="11653" y="56"/>
                  <a:pt x="11654" y="57"/>
                </a:cubicBezTo>
                <a:cubicBezTo>
                  <a:pt x="11655" y="57"/>
                  <a:pt x="11656" y="58"/>
                  <a:pt x="11656" y="58"/>
                </a:cubicBezTo>
                <a:cubicBezTo>
                  <a:pt x="11658" y="59"/>
                  <a:pt x="11659" y="58"/>
                  <a:pt x="11659" y="57"/>
                </a:cubicBezTo>
                <a:cubicBezTo>
                  <a:pt x="11661" y="55"/>
                  <a:pt x="11661" y="55"/>
                  <a:pt x="11663" y="55"/>
                </a:cubicBezTo>
                <a:cubicBezTo>
                  <a:pt x="11665" y="56"/>
                  <a:pt x="11666" y="55"/>
                  <a:pt x="11668" y="55"/>
                </a:cubicBezTo>
                <a:cubicBezTo>
                  <a:pt x="11673" y="56"/>
                  <a:pt x="11678" y="56"/>
                  <a:pt x="11684" y="56"/>
                </a:cubicBezTo>
                <a:cubicBezTo>
                  <a:pt x="11684" y="56"/>
                  <a:pt x="11684" y="56"/>
                  <a:pt x="11684" y="57"/>
                </a:cubicBezTo>
                <a:cubicBezTo>
                  <a:pt x="11685" y="57"/>
                  <a:pt x="11686" y="57"/>
                  <a:pt x="11687" y="57"/>
                </a:cubicBezTo>
                <a:cubicBezTo>
                  <a:pt x="11688" y="58"/>
                  <a:pt x="11690" y="58"/>
                  <a:pt x="11691" y="58"/>
                </a:cubicBezTo>
                <a:cubicBezTo>
                  <a:pt x="11692" y="58"/>
                  <a:pt x="11692" y="58"/>
                  <a:pt x="11693" y="58"/>
                </a:cubicBezTo>
                <a:cubicBezTo>
                  <a:pt x="11693" y="58"/>
                  <a:pt x="11693" y="57"/>
                  <a:pt x="11694" y="57"/>
                </a:cubicBezTo>
                <a:cubicBezTo>
                  <a:pt x="11694" y="57"/>
                  <a:pt x="11695" y="57"/>
                  <a:pt x="11695" y="56"/>
                </a:cubicBezTo>
                <a:cubicBezTo>
                  <a:pt x="11718" y="57"/>
                  <a:pt x="11741" y="58"/>
                  <a:pt x="11765" y="58"/>
                </a:cubicBezTo>
                <a:cubicBezTo>
                  <a:pt x="11776" y="57"/>
                  <a:pt x="11786" y="57"/>
                  <a:pt x="11797" y="56"/>
                </a:cubicBezTo>
                <a:cubicBezTo>
                  <a:pt x="11802" y="56"/>
                  <a:pt x="11807" y="57"/>
                  <a:pt x="11812" y="56"/>
                </a:cubicBezTo>
                <a:cubicBezTo>
                  <a:pt x="11816" y="56"/>
                  <a:pt x="11820" y="55"/>
                  <a:pt x="11824" y="54"/>
                </a:cubicBezTo>
                <a:cubicBezTo>
                  <a:pt x="11825" y="53"/>
                  <a:pt x="11827" y="52"/>
                  <a:pt x="11828" y="51"/>
                </a:cubicBezTo>
                <a:cubicBezTo>
                  <a:pt x="11829" y="50"/>
                  <a:pt x="11829" y="49"/>
                  <a:pt x="11829" y="48"/>
                </a:cubicBezTo>
                <a:cubicBezTo>
                  <a:pt x="11828" y="47"/>
                  <a:pt x="11828" y="47"/>
                  <a:pt x="11828" y="47"/>
                </a:cubicBez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196845934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 Column">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66370DB-D8BA-987C-5976-9F9A695233D7}"/>
              </a:ext>
            </a:extLst>
          </p:cNvPr>
          <p:cNvSpPr>
            <a:spLocks noGrp="1"/>
          </p:cNvSpPr>
          <p:nvPr>
            <p:ph idx="1"/>
          </p:nvPr>
        </p:nvSpPr>
        <p:spPr>
          <a:xfrm>
            <a:off x="457199" y="1484312"/>
            <a:ext cx="7442201" cy="4548188"/>
          </a:xfrm>
        </p:spPr>
        <p:txBody>
          <a:bodyPr/>
          <a:lstStyle>
            <a:lvl1pPr>
              <a:defRPr sz="1800"/>
            </a:lvl1pPr>
            <a:lvl2pPr>
              <a:defRPr sz="1800"/>
            </a:lvl2pPr>
            <a:lvl3pPr>
              <a:defRPr sz="1800"/>
            </a:lvl3pPr>
            <a:lvl4pPr>
              <a:defRPr sz="1800"/>
            </a:lvl4pPr>
            <a:lvl5pPr>
              <a:defRPr sz="18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0F414784-DF0B-C117-2497-A8A415ABF3CE}"/>
              </a:ext>
            </a:extLst>
          </p:cNvPr>
          <p:cNvSpPr>
            <a:spLocks noGrp="1"/>
          </p:cNvSpPr>
          <p:nvPr>
            <p:ph type="dt" sz="half" idx="10"/>
          </p:nvPr>
        </p:nvSpPr>
        <p:spPr/>
        <p:txBody>
          <a:bodyPr/>
          <a:lstStyle/>
          <a:p>
            <a:r>
              <a:rPr lang="en-US"/>
              <a:t>25 March 2026</a:t>
            </a:r>
            <a:endParaRPr lang="en-GB"/>
          </a:p>
        </p:txBody>
      </p:sp>
      <p:sp>
        <p:nvSpPr>
          <p:cNvPr id="5" name="Footer Placeholder 4">
            <a:extLst>
              <a:ext uri="{FF2B5EF4-FFF2-40B4-BE49-F238E27FC236}">
                <a16:creationId xmlns:a16="http://schemas.microsoft.com/office/drawing/2014/main" id="{746C971E-9D30-B3A7-DEE4-B7BB3F23D10F}"/>
              </a:ext>
            </a:extLst>
          </p:cNvPr>
          <p:cNvSpPr>
            <a:spLocks noGrp="1"/>
          </p:cNvSpPr>
          <p:nvPr>
            <p:ph type="ftr" sz="quarter" idx="11"/>
          </p:nvPr>
        </p:nvSpPr>
        <p:spPr/>
        <p:txBody>
          <a:bodyPr/>
          <a:lstStyle/>
          <a:p>
            <a:r>
              <a:rPr lang="en-GB"/>
              <a:t>Q member event</a:t>
            </a:r>
          </a:p>
        </p:txBody>
      </p:sp>
      <p:sp>
        <p:nvSpPr>
          <p:cNvPr id="6" name="Slide Number Placeholder 5">
            <a:extLst>
              <a:ext uri="{FF2B5EF4-FFF2-40B4-BE49-F238E27FC236}">
                <a16:creationId xmlns:a16="http://schemas.microsoft.com/office/drawing/2014/main" id="{F736F856-1147-9EF5-CC3C-F2CDFD6CB6DE}"/>
              </a:ext>
            </a:extLst>
          </p:cNvPr>
          <p:cNvSpPr>
            <a:spLocks noGrp="1"/>
          </p:cNvSpPr>
          <p:nvPr>
            <p:ph type="sldNum" sz="quarter" idx="12"/>
          </p:nvPr>
        </p:nvSpPr>
        <p:spPr/>
        <p:txBody>
          <a:bodyPr/>
          <a:lstStyle/>
          <a:p>
            <a:fld id="{C790EBD1-482B-4C6F-AFC1-9F7ACF0A1A11}" type="slidenum">
              <a:rPr lang="en-GB" smtClean="0"/>
              <a:t>‹#›</a:t>
            </a:fld>
            <a:endParaRPr lang="en-GB"/>
          </a:p>
        </p:txBody>
      </p:sp>
      <p:sp>
        <p:nvSpPr>
          <p:cNvPr id="7" name="Title 1">
            <a:extLst>
              <a:ext uri="{FF2B5EF4-FFF2-40B4-BE49-F238E27FC236}">
                <a16:creationId xmlns:a16="http://schemas.microsoft.com/office/drawing/2014/main" id="{933B1F17-3651-D49B-299B-1A6AB01D5E86}"/>
              </a:ext>
            </a:extLst>
          </p:cNvPr>
          <p:cNvSpPr>
            <a:spLocks noGrp="1"/>
          </p:cNvSpPr>
          <p:nvPr>
            <p:ph type="title"/>
          </p:nvPr>
        </p:nvSpPr>
        <p:spPr>
          <a:xfrm>
            <a:off x="442914" y="404813"/>
            <a:ext cx="11306174" cy="382284"/>
          </a:xfrm>
        </p:spPr>
        <p:txBody>
          <a:bodyPr/>
          <a:lstStyle/>
          <a:p>
            <a:r>
              <a:rPr lang="en-GB"/>
              <a:t>Click to edit Master title style</a:t>
            </a:r>
          </a:p>
        </p:txBody>
      </p:sp>
      <p:sp>
        <p:nvSpPr>
          <p:cNvPr id="2" name="Freeform 5">
            <a:extLst>
              <a:ext uri="{FF2B5EF4-FFF2-40B4-BE49-F238E27FC236}">
                <a16:creationId xmlns:a16="http://schemas.microsoft.com/office/drawing/2014/main" id="{71564D75-E45C-7F41-3635-B8CF38246BC4}"/>
              </a:ext>
            </a:extLst>
          </p:cNvPr>
          <p:cNvSpPr>
            <a:spLocks/>
          </p:cNvSpPr>
          <p:nvPr userDrawn="1"/>
        </p:nvSpPr>
        <p:spPr bwMode="auto">
          <a:xfrm>
            <a:off x="457200" y="6184803"/>
            <a:ext cx="11293312" cy="57600"/>
          </a:xfrm>
          <a:custGeom>
            <a:avLst/>
            <a:gdLst>
              <a:gd name="T0" fmla="*/ 11754 w 11830"/>
              <a:gd name="T1" fmla="*/ 5 h 60"/>
              <a:gd name="T2" fmla="*/ 11665 w 11830"/>
              <a:gd name="T3" fmla="*/ 3 h 60"/>
              <a:gd name="T4" fmla="*/ 10458 w 11830"/>
              <a:gd name="T5" fmla="*/ 8 h 60"/>
              <a:gd name="T6" fmla="*/ 9631 w 11830"/>
              <a:gd name="T7" fmla="*/ 9 h 60"/>
              <a:gd name="T8" fmla="*/ 9276 w 11830"/>
              <a:gd name="T9" fmla="*/ 7 h 60"/>
              <a:gd name="T10" fmla="*/ 8873 w 11830"/>
              <a:gd name="T11" fmla="*/ 7 h 60"/>
              <a:gd name="T12" fmla="*/ 8453 w 11830"/>
              <a:gd name="T13" fmla="*/ 4 h 60"/>
              <a:gd name="T14" fmla="*/ 7526 w 11830"/>
              <a:gd name="T15" fmla="*/ 4 h 60"/>
              <a:gd name="T16" fmla="*/ 7003 w 11830"/>
              <a:gd name="T17" fmla="*/ 2 h 60"/>
              <a:gd name="T18" fmla="*/ 6547 w 11830"/>
              <a:gd name="T19" fmla="*/ 3 h 60"/>
              <a:gd name="T20" fmla="*/ 6086 w 11830"/>
              <a:gd name="T21" fmla="*/ 5 h 60"/>
              <a:gd name="T22" fmla="*/ 5731 w 11830"/>
              <a:gd name="T23" fmla="*/ 6 h 60"/>
              <a:gd name="T24" fmla="*/ 5501 w 11830"/>
              <a:gd name="T25" fmla="*/ 3 h 60"/>
              <a:gd name="T26" fmla="*/ 5358 w 11830"/>
              <a:gd name="T27" fmla="*/ 3 h 60"/>
              <a:gd name="T28" fmla="*/ 5047 w 11830"/>
              <a:gd name="T29" fmla="*/ 3 h 60"/>
              <a:gd name="T30" fmla="*/ 4870 w 11830"/>
              <a:gd name="T31" fmla="*/ 5 h 60"/>
              <a:gd name="T32" fmla="*/ 4531 w 11830"/>
              <a:gd name="T33" fmla="*/ 6 h 60"/>
              <a:gd name="T34" fmla="*/ 4227 w 11830"/>
              <a:gd name="T35" fmla="*/ 7 h 60"/>
              <a:gd name="T36" fmla="*/ 3756 w 11830"/>
              <a:gd name="T37" fmla="*/ 8 h 60"/>
              <a:gd name="T38" fmla="*/ 3345 w 11830"/>
              <a:gd name="T39" fmla="*/ 8 h 60"/>
              <a:gd name="T40" fmla="*/ 2866 w 11830"/>
              <a:gd name="T41" fmla="*/ 7 h 60"/>
              <a:gd name="T42" fmla="*/ 2614 w 11830"/>
              <a:gd name="T43" fmla="*/ 5 h 60"/>
              <a:gd name="T44" fmla="*/ 2388 w 11830"/>
              <a:gd name="T45" fmla="*/ 8 h 60"/>
              <a:gd name="T46" fmla="*/ 2137 w 11830"/>
              <a:gd name="T47" fmla="*/ 3 h 60"/>
              <a:gd name="T48" fmla="*/ 1820 w 11830"/>
              <a:gd name="T49" fmla="*/ 4 h 60"/>
              <a:gd name="T50" fmla="*/ 1474 w 11830"/>
              <a:gd name="T51" fmla="*/ 3 h 60"/>
              <a:gd name="T52" fmla="*/ 1351 w 11830"/>
              <a:gd name="T53" fmla="*/ 2 h 60"/>
              <a:gd name="T54" fmla="*/ 1145 w 11830"/>
              <a:gd name="T55" fmla="*/ 2 h 60"/>
              <a:gd name="T56" fmla="*/ 871 w 11830"/>
              <a:gd name="T57" fmla="*/ 3 h 60"/>
              <a:gd name="T58" fmla="*/ 639 w 11830"/>
              <a:gd name="T59" fmla="*/ 4 h 60"/>
              <a:gd name="T60" fmla="*/ 457 w 11830"/>
              <a:gd name="T61" fmla="*/ 3 h 60"/>
              <a:gd name="T62" fmla="*/ 157 w 11830"/>
              <a:gd name="T63" fmla="*/ 3 h 60"/>
              <a:gd name="T64" fmla="*/ 83 w 11830"/>
              <a:gd name="T65" fmla="*/ 54 h 60"/>
              <a:gd name="T66" fmla="*/ 1390 w 11830"/>
              <a:gd name="T67" fmla="*/ 50 h 60"/>
              <a:gd name="T68" fmla="*/ 2221 w 11830"/>
              <a:gd name="T69" fmla="*/ 49 h 60"/>
              <a:gd name="T70" fmla="*/ 2606 w 11830"/>
              <a:gd name="T71" fmla="*/ 52 h 60"/>
              <a:gd name="T72" fmla="*/ 2985 w 11830"/>
              <a:gd name="T73" fmla="*/ 52 h 60"/>
              <a:gd name="T74" fmla="*/ 3428 w 11830"/>
              <a:gd name="T75" fmla="*/ 54 h 60"/>
              <a:gd name="T76" fmla="*/ 4520 w 11830"/>
              <a:gd name="T77" fmla="*/ 54 h 60"/>
              <a:gd name="T78" fmla="*/ 4885 w 11830"/>
              <a:gd name="T79" fmla="*/ 53 h 60"/>
              <a:gd name="T80" fmla="*/ 5255 w 11830"/>
              <a:gd name="T81" fmla="*/ 54 h 60"/>
              <a:gd name="T82" fmla="*/ 5655 w 11830"/>
              <a:gd name="T83" fmla="*/ 51 h 60"/>
              <a:gd name="T84" fmla="*/ 6196 w 11830"/>
              <a:gd name="T85" fmla="*/ 54 h 60"/>
              <a:gd name="T86" fmla="*/ 6491 w 11830"/>
              <a:gd name="T87" fmla="*/ 56 h 60"/>
              <a:gd name="T88" fmla="*/ 6723 w 11830"/>
              <a:gd name="T89" fmla="*/ 57 h 60"/>
              <a:gd name="T90" fmla="*/ 6936 w 11830"/>
              <a:gd name="T91" fmla="*/ 54 h 60"/>
              <a:gd name="T92" fmla="*/ 7150 w 11830"/>
              <a:gd name="T93" fmla="*/ 53 h 60"/>
              <a:gd name="T94" fmla="*/ 7433 w 11830"/>
              <a:gd name="T95" fmla="*/ 52 h 60"/>
              <a:gd name="T96" fmla="*/ 7830 w 11830"/>
              <a:gd name="T97" fmla="*/ 52 h 60"/>
              <a:gd name="T98" fmla="*/ 8274 w 11830"/>
              <a:gd name="T99" fmla="*/ 51 h 60"/>
              <a:gd name="T100" fmla="*/ 8700 w 11830"/>
              <a:gd name="T101" fmla="*/ 50 h 60"/>
              <a:gd name="T102" fmla="*/ 9077 w 11830"/>
              <a:gd name="T103" fmla="*/ 51 h 60"/>
              <a:gd name="T104" fmla="*/ 9302 w 11830"/>
              <a:gd name="T105" fmla="*/ 53 h 60"/>
              <a:gd name="T106" fmla="*/ 9538 w 11830"/>
              <a:gd name="T107" fmla="*/ 54 h 60"/>
              <a:gd name="T108" fmla="*/ 9855 w 11830"/>
              <a:gd name="T109" fmla="*/ 55 h 60"/>
              <a:gd name="T110" fmla="*/ 10279 w 11830"/>
              <a:gd name="T111" fmla="*/ 55 h 60"/>
              <a:gd name="T112" fmla="*/ 10495 w 11830"/>
              <a:gd name="T113" fmla="*/ 58 h 60"/>
              <a:gd name="T114" fmla="*/ 10755 w 11830"/>
              <a:gd name="T115" fmla="*/ 56 h 60"/>
              <a:gd name="T116" fmla="*/ 11049 w 11830"/>
              <a:gd name="T117" fmla="*/ 58 h 60"/>
              <a:gd name="T118" fmla="*/ 11259 w 11830"/>
              <a:gd name="T119" fmla="*/ 55 h 60"/>
              <a:gd name="T120" fmla="*/ 11479 w 11830"/>
              <a:gd name="T121" fmla="*/ 51 h 60"/>
              <a:gd name="T122" fmla="*/ 11691 w 11830"/>
              <a:gd name="T123" fmla="*/ 5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830" h="60">
                <a:moveTo>
                  <a:pt x="11828" y="47"/>
                </a:moveTo>
                <a:lnTo>
                  <a:pt x="11828" y="47"/>
                </a:lnTo>
                <a:cubicBezTo>
                  <a:pt x="11828" y="46"/>
                  <a:pt x="11828" y="46"/>
                  <a:pt x="11829" y="45"/>
                </a:cubicBezTo>
                <a:cubicBezTo>
                  <a:pt x="11829" y="45"/>
                  <a:pt x="11828" y="44"/>
                  <a:pt x="11828" y="43"/>
                </a:cubicBezTo>
                <a:cubicBezTo>
                  <a:pt x="11828" y="43"/>
                  <a:pt x="11828" y="43"/>
                  <a:pt x="11828" y="43"/>
                </a:cubicBezTo>
                <a:cubicBezTo>
                  <a:pt x="11828" y="42"/>
                  <a:pt x="11829" y="42"/>
                  <a:pt x="11829" y="42"/>
                </a:cubicBezTo>
                <a:cubicBezTo>
                  <a:pt x="11829" y="42"/>
                  <a:pt x="11829" y="41"/>
                  <a:pt x="11829" y="41"/>
                </a:cubicBezTo>
                <a:cubicBezTo>
                  <a:pt x="11830" y="40"/>
                  <a:pt x="11829" y="39"/>
                  <a:pt x="11829" y="38"/>
                </a:cubicBezTo>
                <a:cubicBezTo>
                  <a:pt x="11829" y="38"/>
                  <a:pt x="11829" y="37"/>
                  <a:pt x="11829" y="37"/>
                </a:cubicBezTo>
                <a:cubicBezTo>
                  <a:pt x="11829" y="36"/>
                  <a:pt x="11829" y="35"/>
                  <a:pt x="11829" y="34"/>
                </a:cubicBezTo>
                <a:cubicBezTo>
                  <a:pt x="11829" y="32"/>
                  <a:pt x="11829" y="31"/>
                  <a:pt x="11829" y="30"/>
                </a:cubicBezTo>
                <a:cubicBezTo>
                  <a:pt x="11829" y="27"/>
                  <a:pt x="11828" y="25"/>
                  <a:pt x="11827" y="22"/>
                </a:cubicBezTo>
                <a:cubicBezTo>
                  <a:pt x="11826" y="21"/>
                  <a:pt x="11826" y="20"/>
                  <a:pt x="11825" y="19"/>
                </a:cubicBezTo>
                <a:cubicBezTo>
                  <a:pt x="11825" y="19"/>
                  <a:pt x="11825" y="18"/>
                  <a:pt x="11825" y="18"/>
                </a:cubicBezTo>
                <a:cubicBezTo>
                  <a:pt x="11824" y="17"/>
                  <a:pt x="11824" y="17"/>
                  <a:pt x="11824" y="16"/>
                </a:cubicBezTo>
                <a:cubicBezTo>
                  <a:pt x="11823" y="15"/>
                  <a:pt x="11824" y="13"/>
                  <a:pt x="11824" y="11"/>
                </a:cubicBezTo>
                <a:cubicBezTo>
                  <a:pt x="11823" y="9"/>
                  <a:pt x="11823" y="8"/>
                  <a:pt x="11822" y="6"/>
                </a:cubicBezTo>
                <a:cubicBezTo>
                  <a:pt x="11822" y="6"/>
                  <a:pt x="11821" y="6"/>
                  <a:pt x="11821" y="6"/>
                </a:cubicBezTo>
                <a:cubicBezTo>
                  <a:pt x="11821" y="5"/>
                  <a:pt x="11818" y="4"/>
                  <a:pt x="11817" y="4"/>
                </a:cubicBezTo>
                <a:cubicBezTo>
                  <a:pt x="11808" y="3"/>
                  <a:pt x="11807" y="5"/>
                  <a:pt x="11799" y="4"/>
                </a:cubicBezTo>
                <a:cubicBezTo>
                  <a:pt x="11794" y="3"/>
                  <a:pt x="11790" y="4"/>
                  <a:pt x="11784" y="4"/>
                </a:cubicBezTo>
                <a:cubicBezTo>
                  <a:pt x="11782" y="4"/>
                  <a:pt x="11775" y="4"/>
                  <a:pt x="11772" y="4"/>
                </a:cubicBezTo>
                <a:cubicBezTo>
                  <a:pt x="11770" y="4"/>
                  <a:pt x="11761" y="5"/>
                  <a:pt x="11760" y="5"/>
                </a:cubicBezTo>
                <a:cubicBezTo>
                  <a:pt x="11759" y="5"/>
                  <a:pt x="11759" y="5"/>
                  <a:pt x="11759" y="5"/>
                </a:cubicBezTo>
                <a:cubicBezTo>
                  <a:pt x="11757" y="5"/>
                  <a:pt x="11756" y="5"/>
                  <a:pt x="11754" y="5"/>
                </a:cubicBezTo>
                <a:cubicBezTo>
                  <a:pt x="11754" y="5"/>
                  <a:pt x="11754" y="5"/>
                  <a:pt x="11753" y="5"/>
                </a:cubicBezTo>
                <a:cubicBezTo>
                  <a:pt x="11751" y="5"/>
                  <a:pt x="11749" y="5"/>
                  <a:pt x="11747" y="5"/>
                </a:cubicBezTo>
                <a:cubicBezTo>
                  <a:pt x="11747" y="4"/>
                  <a:pt x="11747" y="4"/>
                  <a:pt x="11747" y="4"/>
                </a:cubicBezTo>
                <a:cubicBezTo>
                  <a:pt x="11746" y="4"/>
                  <a:pt x="11744" y="3"/>
                  <a:pt x="11743" y="4"/>
                </a:cubicBezTo>
                <a:cubicBezTo>
                  <a:pt x="11743" y="4"/>
                  <a:pt x="11743" y="4"/>
                  <a:pt x="11744" y="4"/>
                </a:cubicBezTo>
                <a:cubicBezTo>
                  <a:pt x="11744" y="4"/>
                  <a:pt x="11744" y="4"/>
                  <a:pt x="11744" y="4"/>
                </a:cubicBezTo>
                <a:cubicBezTo>
                  <a:pt x="11738" y="4"/>
                  <a:pt x="11732" y="4"/>
                  <a:pt x="11726" y="4"/>
                </a:cubicBezTo>
                <a:cubicBezTo>
                  <a:pt x="11724" y="4"/>
                  <a:pt x="11723" y="4"/>
                  <a:pt x="11722" y="4"/>
                </a:cubicBezTo>
                <a:cubicBezTo>
                  <a:pt x="11720" y="4"/>
                  <a:pt x="11719" y="4"/>
                  <a:pt x="11717" y="4"/>
                </a:cubicBezTo>
                <a:cubicBezTo>
                  <a:pt x="11716" y="4"/>
                  <a:pt x="11714" y="4"/>
                  <a:pt x="11713" y="4"/>
                </a:cubicBezTo>
                <a:cubicBezTo>
                  <a:pt x="11712" y="4"/>
                  <a:pt x="11710" y="4"/>
                  <a:pt x="11710" y="4"/>
                </a:cubicBezTo>
                <a:cubicBezTo>
                  <a:pt x="11710" y="4"/>
                  <a:pt x="11710" y="4"/>
                  <a:pt x="11710" y="4"/>
                </a:cubicBezTo>
                <a:cubicBezTo>
                  <a:pt x="11708" y="4"/>
                  <a:pt x="11707" y="4"/>
                  <a:pt x="11706" y="4"/>
                </a:cubicBezTo>
                <a:cubicBezTo>
                  <a:pt x="11705" y="4"/>
                  <a:pt x="11704" y="4"/>
                  <a:pt x="11704" y="4"/>
                </a:cubicBezTo>
                <a:cubicBezTo>
                  <a:pt x="11703" y="4"/>
                  <a:pt x="11702" y="4"/>
                  <a:pt x="11701" y="4"/>
                </a:cubicBezTo>
                <a:cubicBezTo>
                  <a:pt x="11701" y="4"/>
                  <a:pt x="11701" y="4"/>
                  <a:pt x="11701" y="4"/>
                </a:cubicBezTo>
                <a:cubicBezTo>
                  <a:pt x="11700" y="4"/>
                  <a:pt x="11700" y="4"/>
                  <a:pt x="11699" y="4"/>
                </a:cubicBezTo>
                <a:cubicBezTo>
                  <a:pt x="11699" y="4"/>
                  <a:pt x="11698" y="4"/>
                  <a:pt x="11698" y="4"/>
                </a:cubicBezTo>
                <a:cubicBezTo>
                  <a:pt x="11698" y="4"/>
                  <a:pt x="11698" y="4"/>
                  <a:pt x="11698" y="4"/>
                </a:cubicBezTo>
                <a:cubicBezTo>
                  <a:pt x="11691" y="4"/>
                  <a:pt x="11683" y="4"/>
                  <a:pt x="11676" y="4"/>
                </a:cubicBezTo>
                <a:cubicBezTo>
                  <a:pt x="11676" y="3"/>
                  <a:pt x="11676" y="3"/>
                  <a:pt x="11675" y="3"/>
                </a:cubicBezTo>
                <a:cubicBezTo>
                  <a:pt x="11675" y="3"/>
                  <a:pt x="11675" y="3"/>
                  <a:pt x="11675" y="4"/>
                </a:cubicBezTo>
                <a:cubicBezTo>
                  <a:pt x="11674" y="4"/>
                  <a:pt x="11673" y="4"/>
                  <a:pt x="11672" y="4"/>
                </a:cubicBezTo>
                <a:cubicBezTo>
                  <a:pt x="11671" y="3"/>
                  <a:pt x="11671" y="3"/>
                  <a:pt x="11670" y="3"/>
                </a:cubicBezTo>
                <a:cubicBezTo>
                  <a:pt x="11668" y="3"/>
                  <a:pt x="11667" y="3"/>
                  <a:pt x="11665" y="3"/>
                </a:cubicBezTo>
                <a:cubicBezTo>
                  <a:pt x="11662" y="3"/>
                  <a:pt x="11659" y="3"/>
                  <a:pt x="11658" y="3"/>
                </a:cubicBezTo>
                <a:cubicBezTo>
                  <a:pt x="11657" y="4"/>
                  <a:pt x="11655" y="3"/>
                  <a:pt x="11653" y="3"/>
                </a:cubicBezTo>
                <a:cubicBezTo>
                  <a:pt x="11653" y="3"/>
                  <a:pt x="11653" y="3"/>
                  <a:pt x="11652" y="3"/>
                </a:cubicBezTo>
                <a:cubicBezTo>
                  <a:pt x="11652" y="3"/>
                  <a:pt x="11652" y="3"/>
                  <a:pt x="11652" y="3"/>
                </a:cubicBezTo>
                <a:cubicBezTo>
                  <a:pt x="11651" y="3"/>
                  <a:pt x="11649" y="3"/>
                  <a:pt x="11648" y="3"/>
                </a:cubicBezTo>
                <a:cubicBezTo>
                  <a:pt x="11648" y="3"/>
                  <a:pt x="11647" y="3"/>
                  <a:pt x="11647" y="3"/>
                </a:cubicBezTo>
                <a:cubicBezTo>
                  <a:pt x="11646" y="3"/>
                  <a:pt x="11645" y="3"/>
                  <a:pt x="11644" y="3"/>
                </a:cubicBezTo>
                <a:cubicBezTo>
                  <a:pt x="11643" y="3"/>
                  <a:pt x="11643" y="3"/>
                  <a:pt x="11642" y="3"/>
                </a:cubicBezTo>
                <a:cubicBezTo>
                  <a:pt x="11632" y="3"/>
                  <a:pt x="11623" y="3"/>
                  <a:pt x="11613" y="3"/>
                </a:cubicBezTo>
                <a:cubicBezTo>
                  <a:pt x="11604" y="3"/>
                  <a:pt x="11595" y="4"/>
                  <a:pt x="11586" y="4"/>
                </a:cubicBezTo>
                <a:cubicBezTo>
                  <a:pt x="11579" y="4"/>
                  <a:pt x="11572" y="4"/>
                  <a:pt x="11565" y="4"/>
                </a:cubicBezTo>
                <a:cubicBezTo>
                  <a:pt x="11554" y="4"/>
                  <a:pt x="11542" y="3"/>
                  <a:pt x="11531" y="5"/>
                </a:cubicBezTo>
                <a:cubicBezTo>
                  <a:pt x="11526" y="5"/>
                  <a:pt x="11523" y="6"/>
                  <a:pt x="11517" y="6"/>
                </a:cubicBezTo>
                <a:cubicBezTo>
                  <a:pt x="11512" y="6"/>
                  <a:pt x="11507" y="6"/>
                  <a:pt x="11501" y="6"/>
                </a:cubicBezTo>
                <a:cubicBezTo>
                  <a:pt x="11363" y="5"/>
                  <a:pt x="11024" y="4"/>
                  <a:pt x="10959" y="5"/>
                </a:cubicBezTo>
                <a:cubicBezTo>
                  <a:pt x="10945" y="5"/>
                  <a:pt x="10915" y="5"/>
                  <a:pt x="10892" y="5"/>
                </a:cubicBezTo>
                <a:cubicBezTo>
                  <a:pt x="10868" y="5"/>
                  <a:pt x="10833" y="6"/>
                  <a:pt x="10813" y="6"/>
                </a:cubicBezTo>
                <a:cubicBezTo>
                  <a:pt x="10702" y="7"/>
                  <a:pt x="10658" y="7"/>
                  <a:pt x="10548" y="7"/>
                </a:cubicBezTo>
                <a:cubicBezTo>
                  <a:pt x="10538" y="7"/>
                  <a:pt x="10528" y="7"/>
                  <a:pt x="10518" y="7"/>
                </a:cubicBezTo>
                <a:cubicBezTo>
                  <a:pt x="10515" y="7"/>
                  <a:pt x="10511" y="7"/>
                  <a:pt x="10507" y="7"/>
                </a:cubicBezTo>
                <a:cubicBezTo>
                  <a:pt x="10504" y="7"/>
                  <a:pt x="10501" y="8"/>
                  <a:pt x="10499" y="8"/>
                </a:cubicBezTo>
                <a:cubicBezTo>
                  <a:pt x="10494" y="9"/>
                  <a:pt x="10493" y="9"/>
                  <a:pt x="10488" y="8"/>
                </a:cubicBezTo>
                <a:cubicBezTo>
                  <a:pt x="10485" y="7"/>
                  <a:pt x="10481" y="6"/>
                  <a:pt x="10477" y="7"/>
                </a:cubicBezTo>
                <a:cubicBezTo>
                  <a:pt x="10476" y="7"/>
                  <a:pt x="10476" y="8"/>
                  <a:pt x="10475" y="8"/>
                </a:cubicBezTo>
                <a:cubicBezTo>
                  <a:pt x="10471" y="9"/>
                  <a:pt x="10463" y="8"/>
                  <a:pt x="10458" y="8"/>
                </a:cubicBezTo>
                <a:cubicBezTo>
                  <a:pt x="10452" y="8"/>
                  <a:pt x="10445" y="8"/>
                  <a:pt x="10439" y="8"/>
                </a:cubicBezTo>
                <a:cubicBezTo>
                  <a:pt x="10426" y="8"/>
                  <a:pt x="10413" y="8"/>
                  <a:pt x="10400" y="8"/>
                </a:cubicBezTo>
                <a:cubicBezTo>
                  <a:pt x="10360" y="8"/>
                  <a:pt x="10325" y="8"/>
                  <a:pt x="10322" y="8"/>
                </a:cubicBezTo>
                <a:cubicBezTo>
                  <a:pt x="10320" y="8"/>
                  <a:pt x="10318" y="9"/>
                  <a:pt x="10316" y="9"/>
                </a:cubicBezTo>
                <a:cubicBezTo>
                  <a:pt x="10314" y="8"/>
                  <a:pt x="10311" y="7"/>
                  <a:pt x="10306" y="8"/>
                </a:cubicBezTo>
                <a:cubicBezTo>
                  <a:pt x="10301" y="8"/>
                  <a:pt x="10296" y="8"/>
                  <a:pt x="10289" y="8"/>
                </a:cubicBezTo>
                <a:cubicBezTo>
                  <a:pt x="10282" y="8"/>
                  <a:pt x="10275" y="8"/>
                  <a:pt x="10267" y="8"/>
                </a:cubicBezTo>
                <a:cubicBezTo>
                  <a:pt x="10253" y="8"/>
                  <a:pt x="10238" y="8"/>
                  <a:pt x="10223" y="8"/>
                </a:cubicBezTo>
                <a:cubicBezTo>
                  <a:pt x="10158" y="8"/>
                  <a:pt x="10092" y="8"/>
                  <a:pt x="10027" y="7"/>
                </a:cubicBezTo>
                <a:cubicBezTo>
                  <a:pt x="9998" y="7"/>
                  <a:pt x="9969" y="7"/>
                  <a:pt x="9941" y="7"/>
                </a:cubicBezTo>
                <a:cubicBezTo>
                  <a:pt x="9920" y="7"/>
                  <a:pt x="9898" y="7"/>
                  <a:pt x="9877" y="7"/>
                </a:cubicBezTo>
                <a:cubicBezTo>
                  <a:pt x="9857" y="7"/>
                  <a:pt x="9836" y="7"/>
                  <a:pt x="9815" y="7"/>
                </a:cubicBezTo>
                <a:cubicBezTo>
                  <a:pt x="9806" y="7"/>
                  <a:pt x="9797" y="7"/>
                  <a:pt x="9788" y="7"/>
                </a:cubicBezTo>
                <a:lnTo>
                  <a:pt x="9776" y="7"/>
                </a:lnTo>
                <a:cubicBezTo>
                  <a:pt x="9773" y="7"/>
                  <a:pt x="9766" y="7"/>
                  <a:pt x="9764" y="7"/>
                </a:cubicBezTo>
                <a:cubicBezTo>
                  <a:pt x="9762" y="7"/>
                  <a:pt x="9761" y="7"/>
                  <a:pt x="9759" y="7"/>
                </a:cubicBezTo>
                <a:cubicBezTo>
                  <a:pt x="9759" y="7"/>
                  <a:pt x="9758" y="7"/>
                  <a:pt x="9757" y="7"/>
                </a:cubicBezTo>
                <a:cubicBezTo>
                  <a:pt x="9753" y="7"/>
                  <a:pt x="9751" y="9"/>
                  <a:pt x="9747" y="9"/>
                </a:cubicBezTo>
                <a:cubicBezTo>
                  <a:pt x="9744" y="9"/>
                  <a:pt x="9740" y="8"/>
                  <a:pt x="9737" y="7"/>
                </a:cubicBezTo>
                <a:cubicBezTo>
                  <a:pt x="9732" y="7"/>
                  <a:pt x="9725" y="7"/>
                  <a:pt x="9720" y="7"/>
                </a:cubicBezTo>
                <a:cubicBezTo>
                  <a:pt x="9711" y="7"/>
                  <a:pt x="9703" y="7"/>
                  <a:pt x="9694" y="7"/>
                </a:cubicBezTo>
                <a:cubicBezTo>
                  <a:pt x="9689" y="7"/>
                  <a:pt x="9664" y="6"/>
                  <a:pt x="9662" y="8"/>
                </a:cubicBezTo>
                <a:cubicBezTo>
                  <a:pt x="9662" y="9"/>
                  <a:pt x="9662" y="9"/>
                  <a:pt x="9662" y="9"/>
                </a:cubicBezTo>
                <a:cubicBezTo>
                  <a:pt x="9661" y="10"/>
                  <a:pt x="9650" y="10"/>
                  <a:pt x="9648" y="10"/>
                </a:cubicBezTo>
                <a:cubicBezTo>
                  <a:pt x="9645" y="10"/>
                  <a:pt x="9632" y="10"/>
                  <a:pt x="9631" y="9"/>
                </a:cubicBezTo>
                <a:cubicBezTo>
                  <a:pt x="9631" y="8"/>
                  <a:pt x="9628" y="8"/>
                  <a:pt x="9627" y="9"/>
                </a:cubicBezTo>
                <a:cubicBezTo>
                  <a:pt x="9623" y="9"/>
                  <a:pt x="9625" y="10"/>
                  <a:pt x="9620" y="10"/>
                </a:cubicBezTo>
                <a:cubicBezTo>
                  <a:pt x="9618" y="10"/>
                  <a:pt x="9615" y="10"/>
                  <a:pt x="9613" y="10"/>
                </a:cubicBezTo>
                <a:cubicBezTo>
                  <a:pt x="9610" y="10"/>
                  <a:pt x="9610" y="8"/>
                  <a:pt x="9607" y="8"/>
                </a:cubicBezTo>
                <a:cubicBezTo>
                  <a:pt x="9600" y="7"/>
                  <a:pt x="9590" y="7"/>
                  <a:pt x="9582" y="7"/>
                </a:cubicBezTo>
                <a:cubicBezTo>
                  <a:pt x="9575" y="7"/>
                  <a:pt x="9567" y="7"/>
                  <a:pt x="9562" y="9"/>
                </a:cubicBezTo>
                <a:cubicBezTo>
                  <a:pt x="9558" y="10"/>
                  <a:pt x="9555" y="9"/>
                  <a:pt x="9550" y="9"/>
                </a:cubicBezTo>
                <a:cubicBezTo>
                  <a:pt x="9544" y="8"/>
                  <a:pt x="9538" y="8"/>
                  <a:pt x="9532" y="8"/>
                </a:cubicBezTo>
                <a:cubicBezTo>
                  <a:pt x="9525" y="8"/>
                  <a:pt x="9521" y="8"/>
                  <a:pt x="9515" y="9"/>
                </a:cubicBezTo>
                <a:cubicBezTo>
                  <a:pt x="9512" y="9"/>
                  <a:pt x="9508" y="10"/>
                  <a:pt x="9506" y="10"/>
                </a:cubicBezTo>
                <a:cubicBezTo>
                  <a:pt x="9503" y="10"/>
                  <a:pt x="9500" y="9"/>
                  <a:pt x="9498" y="9"/>
                </a:cubicBezTo>
                <a:cubicBezTo>
                  <a:pt x="9496" y="9"/>
                  <a:pt x="9494" y="8"/>
                  <a:pt x="9492" y="8"/>
                </a:cubicBezTo>
                <a:cubicBezTo>
                  <a:pt x="9487" y="7"/>
                  <a:pt x="9481" y="7"/>
                  <a:pt x="9476" y="7"/>
                </a:cubicBezTo>
                <a:cubicBezTo>
                  <a:pt x="9469" y="7"/>
                  <a:pt x="9462" y="7"/>
                  <a:pt x="9455" y="7"/>
                </a:cubicBezTo>
                <a:cubicBezTo>
                  <a:pt x="9434" y="7"/>
                  <a:pt x="9413" y="7"/>
                  <a:pt x="9392" y="7"/>
                </a:cubicBezTo>
                <a:cubicBezTo>
                  <a:pt x="9382" y="7"/>
                  <a:pt x="9373" y="7"/>
                  <a:pt x="9364" y="7"/>
                </a:cubicBezTo>
                <a:cubicBezTo>
                  <a:pt x="9358" y="7"/>
                  <a:pt x="9351" y="7"/>
                  <a:pt x="9345" y="8"/>
                </a:cubicBezTo>
                <a:cubicBezTo>
                  <a:pt x="9340" y="8"/>
                  <a:pt x="9337" y="9"/>
                  <a:pt x="9333" y="10"/>
                </a:cubicBezTo>
                <a:cubicBezTo>
                  <a:pt x="9330" y="10"/>
                  <a:pt x="9326" y="10"/>
                  <a:pt x="9323" y="9"/>
                </a:cubicBezTo>
                <a:cubicBezTo>
                  <a:pt x="9321" y="9"/>
                  <a:pt x="9314" y="9"/>
                  <a:pt x="9306" y="9"/>
                </a:cubicBezTo>
                <a:cubicBezTo>
                  <a:pt x="9303" y="9"/>
                  <a:pt x="9299" y="10"/>
                  <a:pt x="9296" y="9"/>
                </a:cubicBezTo>
                <a:cubicBezTo>
                  <a:pt x="9294" y="9"/>
                  <a:pt x="9293" y="9"/>
                  <a:pt x="9293" y="8"/>
                </a:cubicBezTo>
                <a:cubicBezTo>
                  <a:pt x="9293" y="8"/>
                  <a:pt x="9294" y="8"/>
                  <a:pt x="9294" y="8"/>
                </a:cubicBezTo>
                <a:cubicBezTo>
                  <a:pt x="9294" y="7"/>
                  <a:pt x="9292" y="7"/>
                  <a:pt x="9290" y="7"/>
                </a:cubicBezTo>
                <a:cubicBezTo>
                  <a:pt x="9286" y="7"/>
                  <a:pt x="9281" y="7"/>
                  <a:pt x="9276" y="7"/>
                </a:cubicBezTo>
                <a:cubicBezTo>
                  <a:pt x="9263" y="7"/>
                  <a:pt x="9250" y="6"/>
                  <a:pt x="9247" y="6"/>
                </a:cubicBezTo>
                <a:cubicBezTo>
                  <a:pt x="9245" y="6"/>
                  <a:pt x="9225" y="6"/>
                  <a:pt x="9204" y="6"/>
                </a:cubicBezTo>
                <a:cubicBezTo>
                  <a:pt x="9197" y="6"/>
                  <a:pt x="9190" y="7"/>
                  <a:pt x="9183" y="7"/>
                </a:cubicBezTo>
                <a:cubicBezTo>
                  <a:pt x="9180" y="7"/>
                  <a:pt x="9171" y="6"/>
                  <a:pt x="9169" y="7"/>
                </a:cubicBezTo>
                <a:cubicBezTo>
                  <a:pt x="9167" y="8"/>
                  <a:pt x="9167" y="8"/>
                  <a:pt x="9164" y="9"/>
                </a:cubicBezTo>
                <a:cubicBezTo>
                  <a:pt x="9162" y="9"/>
                  <a:pt x="9158" y="8"/>
                  <a:pt x="9157" y="8"/>
                </a:cubicBezTo>
                <a:cubicBezTo>
                  <a:pt x="9157" y="8"/>
                  <a:pt x="9157" y="8"/>
                  <a:pt x="9157" y="7"/>
                </a:cubicBezTo>
                <a:cubicBezTo>
                  <a:pt x="9155" y="6"/>
                  <a:pt x="9138" y="7"/>
                  <a:pt x="9134" y="7"/>
                </a:cubicBezTo>
                <a:cubicBezTo>
                  <a:pt x="9111" y="7"/>
                  <a:pt x="9099" y="6"/>
                  <a:pt x="9083" y="5"/>
                </a:cubicBezTo>
                <a:cubicBezTo>
                  <a:pt x="9070" y="4"/>
                  <a:pt x="9019" y="4"/>
                  <a:pt x="8990" y="5"/>
                </a:cubicBezTo>
                <a:cubicBezTo>
                  <a:pt x="8986" y="5"/>
                  <a:pt x="8982" y="5"/>
                  <a:pt x="8978" y="6"/>
                </a:cubicBezTo>
                <a:cubicBezTo>
                  <a:pt x="8976" y="6"/>
                  <a:pt x="8973" y="6"/>
                  <a:pt x="8971" y="6"/>
                </a:cubicBezTo>
                <a:cubicBezTo>
                  <a:pt x="8970" y="6"/>
                  <a:pt x="8969" y="6"/>
                  <a:pt x="8968" y="6"/>
                </a:cubicBezTo>
                <a:cubicBezTo>
                  <a:pt x="8966" y="6"/>
                  <a:pt x="8965" y="6"/>
                  <a:pt x="8964" y="6"/>
                </a:cubicBezTo>
                <a:cubicBezTo>
                  <a:pt x="8963" y="6"/>
                  <a:pt x="8961" y="6"/>
                  <a:pt x="8959" y="6"/>
                </a:cubicBezTo>
                <a:cubicBezTo>
                  <a:pt x="8956" y="6"/>
                  <a:pt x="8954" y="6"/>
                  <a:pt x="8951" y="6"/>
                </a:cubicBezTo>
                <a:cubicBezTo>
                  <a:pt x="8948" y="5"/>
                  <a:pt x="8944" y="6"/>
                  <a:pt x="8941" y="6"/>
                </a:cubicBezTo>
                <a:cubicBezTo>
                  <a:pt x="8935" y="6"/>
                  <a:pt x="8931" y="5"/>
                  <a:pt x="8926" y="6"/>
                </a:cubicBezTo>
                <a:cubicBezTo>
                  <a:pt x="8923" y="7"/>
                  <a:pt x="8920" y="8"/>
                  <a:pt x="8915" y="7"/>
                </a:cubicBezTo>
                <a:cubicBezTo>
                  <a:pt x="8912" y="7"/>
                  <a:pt x="8909" y="6"/>
                  <a:pt x="8906" y="6"/>
                </a:cubicBezTo>
                <a:cubicBezTo>
                  <a:pt x="8905" y="6"/>
                  <a:pt x="8904" y="6"/>
                  <a:pt x="8903" y="6"/>
                </a:cubicBezTo>
                <a:cubicBezTo>
                  <a:pt x="8902" y="6"/>
                  <a:pt x="8902" y="6"/>
                  <a:pt x="8901" y="6"/>
                </a:cubicBezTo>
                <a:cubicBezTo>
                  <a:pt x="8900" y="6"/>
                  <a:pt x="8900" y="6"/>
                  <a:pt x="8900" y="6"/>
                </a:cubicBezTo>
                <a:cubicBezTo>
                  <a:pt x="8895" y="8"/>
                  <a:pt x="8887" y="8"/>
                  <a:pt x="8880" y="8"/>
                </a:cubicBezTo>
                <a:cubicBezTo>
                  <a:pt x="8877" y="8"/>
                  <a:pt x="8874" y="8"/>
                  <a:pt x="8873" y="7"/>
                </a:cubicBezTo>
                <a:cubicBezTo>
                  <a:pt x="8871" y="7"/>
                  <a:pt x="8871" y="6"/>
                  <a:pt x="8869" y="6"/>
                </a:cubicBezTo>
                <a:cubicBezTo>
                  <a:pt x="8867" y="5"/>
                  <a:pt x="8865" y="6"/>
                  <a:pt x="8864" y="6"/>
                </a:cubicBezTo>
                <a:cubicBezTo>
                  <a:pt x="8859" y="7"/>
                  <a:pt x="8855" y="5"/>
                  <a:pt x="8849" y="5"/>
                </a:cubicBezTo>
                <a:cubicBezTo>
                  <a:pt x="8844" y="5"/>
                  <a:pt x="8839" y="5"/>
                  <a:pt x="8834" y="5"/>
                </a:cubicBezTo>
                <a:cubicBezTo>
                  <a:pt x="8830" y="5"/>
                  <a:pt x="8811" y="4"/>
                  <a:pt x="8809" y="6"/>
                </a:cubicBezTo>
                <a:cubicBezTo>
                  <a:pt x="8808" y="6"/>
                  <a:pt x="8809" y="6"/>
                  <a:pt x="8809" y="6"/>
                </a:cubicBezTo>
                <a:cubicBezTo>
                  <a:pt x="8808" y="8"/>
                  <a:pt x="8800" y="7"/>
                  <a:pt x="8797" y="7"/>
                </a:cubicBezTo>
                <a:cubicBezTo>
                  <a:pt x="8791" y="7"/>
                  <a:pt x="8789" y="7"/>
                  <a:pt x="8784" y="6"/>
                </a:cubicBezTo>
                <a:cubicBezTo>
                  <a:pt x="8782" y="6"/>
                  <a:pt x="8780" y="6"/>
                  <a:pt x="8778" y="5"/>
                </a:cubicBezTo>
                <a:cubicBezTo>
                  <a:pt x="8776" y="5"/>
                  <a:pt x="8773" y="6"/>
                  <a:pt x="8773" y="6"/>
                </a:cubicBezTo>
                <a:cubicBezTo>
                  <a:pt x="8772" y="6"/>
                  <a:pt x="8772" y="7"/>
                  <a:pt x="8772" y="7"/>
                </a:cubicBezTo>
                <a:cubicBezTo>
                  <a:pt x="8772" y="7"/>
                  <a:pt x="8771" y="7"/>
                  <a:pt x="8770" y="7"/>
                </a:cubicBezTo>
                <a:cubicBezTo>
                  <a:pt x="8768" y="7"/>
                  <a:pt x="8765" y="7"/>
                  <a:pt x="8763" y="7"/>
                </a:cubicBezTo>
                <a:cubicBezTo>
                  <a:pt x="8760" y="7"/>
                  <a:pt x="8758" y="6"/>
                  <a:pt x="8757" y="6"/>
                </a:cubicBezTo>
                <a:cubicBezTo>
                  <a:pt x="8757" y="5"/>
                  <a:pt x="8757" y="5"/>
                  <a:pt x="8755" y="5"/>
                </a:cubicBezTo>
                <a:cubicBezTo>
                  <a:pt x="8752" y="5"/>
                  <a:pt x="8750" y="5"/>
                  <a:pt x="8747" y="5"/>
                </a:cubicBezTo>
                <a:cubicBezTo>
                  <a:pt x="8728" y="5"/>
                  <a:pt x="8684" y="4"/>
                  <a:pt x="8673" y="4"/>
                </a:cubicBezTo>
                <a:cubicBezTo>
                  <a:pt x="8670" y="4"/>
                  <a:pt x="8662" y="4"/>
                  <a:pt x="8655" y="4"/>
                </a:cubicBezTo>
                <a:cubicBezTo>
                  <a:pt x="8648" y="4"/>
                  <a:pt x="8636" y="4"/>
                  <a:pt x="8628" y="4"/>
                </a:cubicBezTo>
                <a:cubicBezTo>
                  <a:pt x="8620" y="3"/>
                  <a:pt x="8606" y="3"/>
                  <a:pt x="8597" y="3"/>
                </a:cubicBezTo>
                <a:cubicBezTo>
                  <a:pt x="8584" y="3"/>
                  <a:pt x="8569" y="2"/>
                  <a:pt x="8557" y="3"/>
                </a:cubicBezTo>
                <a:cubicBezTo>
                  <a:pt x="8554" y="3"/>
                  <a:pt x="8552" y="3"/>
                  <a:pt x="8548" y="3"/>
                </a:cubicBezTo>
                <a:cubicBezTo>
                  <a:pt x="8540" y="3"/>
                  <a:pt x="8531" y="3"/>
                  <a:pt x="8523" y="3"/>
                </a:cubicBezTo>
                <a:cubicBezTo>
                  <a:pt x="8505" y="3"/>
                  <a:pt x="8482" y="4"/>
                  <a:pt x="8471" y="4"/>
                </a:cubicBezTo>
                <a:cubicBezTo>
                  <a:pt x="8465" y="4"/>
                  <a:pt x="8459" y="4"/>
                  <a:pt x="8453" y="4"/>
                </a:cubicBezTo>
                <a:cubicBezTo>
                  <a:pt x="8451" y="4"/>
                  <a:pt x="8449" y="4"/>
                  <a:pt x="8449" y="5"/>
                </a:cubicBezTo>
                <a:cubicBezTo>
                  <a:pt x="8449" y="5"/>
                  <a:pt x="8452" y="6"/>
                  <a:pt x="8452" y="6"/>
                </a:cubicBezTo>
                <a:cubicBezTo>
                  <a:pt x="8449" y="6"/>
                  <a:pt x="8446" y="6"/>
                  <a:pt x="8444" y="6"/>
                </a:cubicBezTo>
                <a:cubicBezTo>
                  <a:pt x="8442" y="6"/>
                  <a:pt x="8441" y="6"/>
                  <a:pt x="8441" y="6"/>
                </a:cubicBezTo>
                <a:cubicBezTo>
                  <a:pt x="8441" y="5"/>
                  <a:pt x="8441" y="5"/>
                  <a:pt x="8441" y="5"/>
                </a:cubicBezTo>
                <a:cubicBezTo>
                  <a:pt x="8441" y="5"/>
                  <a:pt x="8441" y="5"/>
                  <a:pt x="8440" y="5"/>
                </a:cubicBezTo>
                <a:cubicBezTo>
                  <a:pt x="8436" y="4"/>
                  <a:pt x="8429" y="4"/>
                  <a:pt x="8425" y="4"/>
                </a:cubicBezTo>
                <a:cubicBezTo>
                  <a:pt x="8422" y="4"/>
                  <a:pt x="8415" y="5"/>
                  <a:pt x="8413" y="5"/>
                </a:cubicBezTo>
                <a:cubicBezTo>
                  <a:pt x="8410" y="4"/>
                  <a:pt x="8407" y="5"/>
                  <a:pt x="8407" y="5"/>
                </a:cubicBezTo>
                <a:cubicBezTo>
                  <a:pt x="8405" y="7"/>
                  <a:pt x="8404" y="7"/>
                  <a:pt x="8400" y="6"/>
                </a:cubicBezTo>
                <a:cubicBezTo>
                  <a:pt x="8399" y="6"/>
                  <a:pt x="8397" y="6"/>
                  <a:pt x="8397" y="5"/>
                </a:cubicBezTo>
                <a:cubicBezTo>
                  <a:pt x="8396" y="5"/>
                  <a:pt x="8394" y="4"/>
                  <a:pt x="8393" y="4"/>
                </a:cubicBezTo>
                <a:cubicBezTo>
                  <a:pt x="8390" y="4"/>
                  <a:pt x="8381" y="4"/>
                  <a:pt x="8379" y="3"/>
                </a:cubicBezTo>
                <a:cubicBezTo>
                  <a:pt x="8379" y="3"/>
                  <a:pt x="8379" y="3"/>
                  <a:pt x="8378" y="3"/>
                </a:cubicBezTo>
                <a:cubicBezTo>
                  <a:pt x="8378" y="3"/>
                  <a:pt x="8376" y="3"/>
                  <a:pt x="8374" y="3"/>
                </a:cubicBezTo>
                <a:cubicBezTo>
                  <a:pt x="8371" y="3"/>
                  <a:pt x="8368" y="3"/>
                  <a:pt x="8364" y="4"/>
                </a:cubicBezTo>
                <a:cubicBezTo>
                  <a:pt x="8361" y="4"/>
                  <a:pt x="8357" y="4"/>
                  <a:pt x="8353" y="4"/>
                </a:cubicBezTo>
                <a:cubicBezTo>
                  <a:pt x="8343" y="4"/>
                  <a:pt x="8334" y="4"/>
                  <a:pt x="8325" y="4"/>
                </a:cubicBezTo>
                <a:cubicBezTo>
                  <a:pt x="8306" y="4"/>
                  <a:pt x="8287" y="4"/>
                  <a:pt x="8268" y="4"/>
                </a:cubicBezTo>
                <a:cubicBezTo>
                  <a:pt x="8215" y="4"/>
                  <a:pt x="8163" y="4"/>
                  <a:pt x="8152" y="4"/>
                </a:cubicBezTo>
                <a:cubicBezTo>
                  <a:pt x="8142" y="4"/>
                  <a:pt x="8100" y="4"/>
                  <a:pt x="8059" y="4"/>
                </a:cubicBezTo>
                <a:cubicBezTo>
                  <a:pt x="8018" y="4"/>
                  <a:pt x="7950" y="4"/>
                  <a:pt x="7909" y="4"/>
                </a:cubicBezTo>
                <a:cubicBezTo>
                  <a:pt x="7867" y="4"/>
                  <a:pt x="7758" y="4"/>
                  <a:pt x="7667" y="4"/>
                </a:cubicBezTo>
                <a:cubicBezTo>
                  <a:pt x="7636" y="4"/>
                  <a:pt x="7604" y="4"/>
                  <a:pt x="7573" y="4"/>
                </a:cubicBezTo>
                <a:cubicBezTo>
                  <a:pt x="7557" y="4"/>
                  <a:pt x="7542" y="4"/>
                  <a:pt x="7526" y="4"/>
                </a:cubicBezTo>
                <a:cubicBezTo>
                  <a:pt x="7519" y="4"/>
                  <a:pt x="7511" y="3"/>
                  <a:pt x="7504" y="4"/>
                </a:cubicBezTo>
                <a:cubicBezTo>
                  <a:pt x="7498" y="4"/>
                  <a:pt x="7497" y="5"/>
                  <a:pt x="7492" y="4"/>
                </a:cubicBezTo>
                <a:cubicBezTo>
                  <a:pt x="7487" y="3"/>
                  <a:pt x="7480" y="4"/>
                  <a:pt x="7475" y="4"/>
                </a:cubicBezTo>
                <a:cubicBezTo>
                  <a:pt x="7468" y="4"/>
                  <a:pt x="7462" y="4"/>
                  <a:pt x="7455" y="4"/>
                </a:cubicBezTo>
                <a:cubicBezTo>
                  <a:pt x="7442" y="4"/>
                  <a:pt x="7428" y="4"/>
                  <a:pt x="7415" y="4"/>
                </a:cubicBezTo>
                <a:cubicBezTo>
                  <a:pt x="7401" y="4"/>
                  <a:pt x="7387" y="4"/>
                  <a:pt x="7373" y="4"/>
                </a:cubicBezTo>
                <a:cubicBezTo>
                  <a:pt x="7363" y="4"/>
                  <a:pt x="7348" y="4"/>
                  <a:pt x="7340" y="5"/>
                </a:cubicBezTo>
                <a:cubicBezTo>
                  <a:pt x="7338" y="5"/>
                  <a:pt x="7335" y="5"/>
                  <a:pt x="7332" y="5"/>
                </a:cubicBezTo>
                <a:cubicBezTo>
                  <a:pt x="7324" y="4"/>
                  <a:pt x="7314" y="4"/>
                  <a:pt x="7306" y="4"/>
                </a:cubicBezTo>
                <a:cubicBezTo>
                  <a:pt x="7290" y="4"/>
                  <a:pt x="7251" y="4"/>
                  <a:pt x="7218" y="4"/>
                </a:cubicBezTo>
                <a:cubicBezTo>
                  <a:pt x="7200" y="4"/>
                  <a:pt x="7181" y="5"/>
                  <a:pt x="7163" y="4"/>
                </a:cubicBezTo>
                <a:cubicBezTo>
                  <a:pt x="7160" y="4"/>
                  <a:pt x="7158" y="4"/>
                  <a:pt x="7156" y="4"/>
                </a:cubicBezTo>
                <a:cubicBezTo>
                  <a:pt x="7155" y="4"/>
                  <a:pt x="7154" y="3"/>
                  <a:pt x="7153" y="3"/>
                </a:cubicBezTo>
                <a:cubicBezTo>
                  <a:pt x="7149" y="3"/>
                  <a:pt x="7141" y="3"/>
                  <a:pt x="7136" y="3"/>
                </a:cubicBezTo>
                <a:cubicBezTo>
                  <a:pt x="7132" y="3"/>
                  <a:pt x="7127" y="4"/>
                  <a:pt x="7122" y="4"/>
                </a:cubicBezTo>
                <a:cubicBezTo>
                  <a:pt x="7118" y="4"/>
                  <a:pt x="7114" y="4"/>
                  <a:pt x="7111" y="4"/>
                </a:cubicBezTo>
                <a:cubicBezTo>
                  <a:pt x="7108" y="5"/>
                  <a:pt x="7107" y="5"/>
                  <a:pt x="7104" y="5"/>
                </a:cubicBezTo>
                <a:cubicBezTo>
                  <a:pt x="7100" y="5"/>
                  <a:pt x="7096" y="4"/>
                  <a:pt x="7092" y="4"/>
                </a:cubicBezTo>
                <a:cubicBezTo>
                  <a:pt x="7087" y="4"/>
                  <a:pt x="7084" y="5"/>
                  <a:pt x="7080" y="5"/>
                </a:cubicBezTo>
                <a:cubicBezTo>
                  <a:pt x="7078" y="5"/>
                  <a:pt x="7077" y="5"/>
                  <a:pt x="7075" y="5"/>
                </a:cubicBezTo>
                <a:cubicBezTo>
                  <a:pt x="7068" y="4"/>
                  <a:pt x="7057" y="4"/>
                  <a:pt x="7049" y="4"/>
                </a:cubicBezTo>
                <a:cubicBezTo>
                  <a:pt x="7041" y="4"/>
                  <a:pt x="7033" y="4"/>
                  <a:pt x="7025" y="4"/>
                </a:cubicBezTo>
                <a:cubicBezTo>
                  <a:pt x="7021" y="4"/>
                  <a:pt x="7012" y="5"/>
                  <a:pt x="7009" y="4"/>
                </a:cubicBezTo>
                <a:cubicBezTo>
                  <a:pt x="7006" y="3"/>
                  <a:pt x="7007" y="3"/>
                  <a:pt x="7006" y="3"/>
                </a:cubicBezTo>
                <a:cubicBezTo>
                  <a:pt x="7005" y="2"/>
                  <a:pt x="7004" y="2"/>
                  <a:pt x="7003" y="2"/>
                </a:cubicBezTo>
                <a:cubicBezTo>
                  <a:pt x="6999" y="2"/>
                  <a:pt x="6995" y="1"/>
                  <a:pt x="6991" y="2"/>
                </a:cubicBezTo>
                <a:cubicBezTo>
                  <a:pt x="6990" y="2"/>
                  <a:pt x="6988" y="2"/>
                  <a:pt x="6988" y="2"/>
                </a:cubicBezTo>
                <a:cubicBezTo>
                  <a:pt x="6987" y="3"/>
                  <a:pt x="6989" y="3"/>
                  <a:pt x="6989" y="3"/>
                </a:cubicBezTo>
                <a:cubicBezTo>
                  <a:pt x="6989" y="3"/>
                  <a:pt x="6988" y="4"/>
                  <a:pt x="6986" y="4"/>
                </a:cubicBezTo>
                <a:cubicBezTo>
                  <a:pt x="6980" y="5"/>
                  <a:pt x="6972" y="5"/>
                  <a:pt x="6965" y="5"/>
                </a:cubicBezTo>
                <a:cubicBezTo>
                  <a:pt x="6956" y="4"/>
                  <a:pt x="6948" y="3"/>
                  <a:pt x="6940" y="3"/>
                </a:cubicBezTo>
                <a:cubicBezTo>
                  <a:pt x="6931" y="3"/>
                  <a:pt x="6921" y="2"/>
                  <a:pt x="6912" y="3"/>
                </a:cubicBezTo>
                <a:cubicBezTo>
                  <a:pt x="6905" y="3"/>
                  <a:pt x="6900" y="4"/>
                  <a:pt x="6892" y="3"/>
                </a:cubicBezTo>
                <a:cubicBezTo>
                  <a:pt x="6888" y="3"/>
                  <a:pt x="6884" y="3"/>
                  <a:pt x="6880" y="3"/>
                </a:cubicBezTo>
                <a:cubicBezTo>
                  <a:pt x="6876" y="3"/>
                  <a:pt x="6873" y="3"/>
                  <a:pt x="6869" y="3"/>
                </a:cubicBezTo>
                <a:cubicBezTo>
                  <a:pt x="6865" y="2"/>
                  <a:pt x="6860" y="2"/>
                  <a:pt x="6856" y="2"/>
                </a:cubicBezTo>
                <a:cubicBezTo>
                  <a:pt x="6849" y="2"/>
                  <a:pt x="6842" y="2"/>
                  <a:pt x="6835" y="2"/>
                </a:cubicBezTo>
                <a:cubicBezTo>
                  <a:pt x="6827" y="2"/>
                  <a:pt x="6816" y="1"/>
                  <a:pt x="6808" y="2"/>
                </a:cubicBezTo>
                <a:cubicBezTo>
                  <a:pt x="6803" y="3"/>
                  <a:pt x="6807" y="4"/>
                  <a:pt x="6802" y="4"/>
                </a:cubicBezTo>
                <a:cubicBezTo>
                  <a:pt x="6797" y="5"/>
                  <a:pt x="6790" y="5"/>
                  <a:pt x="6785" y="5"/>
                </a:cubicBezTo>
                <a:cubicBezTo>
                  <a:pt x="6780" y="5"/>
                  <a:pt x="6748" y="3"/>
                  <a:pt x="6747" y="5"/>
                </a:cubicBezTo>
                <a:cubicBezTo>
                  <a:pt x="6747" y="5"/>
                  <a:pt x="6747" y="5"/>
                  <a:pt x="6746" y="5"/>
                </a:cubicBezTo>
                <a:cubicBezTo>
                  <a:pt x="6738" y="5"/>
                  <a:pt x="6731" y="5"/>
                  <a:pt x="6723" y="5"/>
                </a:cubicBezTo>
                <a:cubicBezTo>
                  <a:pt x="6688" y="4"/>
                  <a:pt x="6663" y="3"/>
                  <a:pt x="6625" y="4"/>
                </a:cubicBezTo>
                <a:cubicBezTo>
                  <a:pt x="6612" y="4"/>
                  <a:pt x="6598" y="4"/>
                  <a:pt x="6584" y="4"/>
                </a:cubicBezTo>
                <a:cubicBezTo>
                  <a:pt x="6584" y="4"/>
                  <a:pt x="6584" y="4"/>
                  <a:pt x="6584" y="3"/>
                </a:cubicBezTo>
                <a:cubicBezTo>
                  <a:pt x="6583" y="3"/>
                  <a:pt x="6583" y="3"/>
                  <a:pt x="6582" y="3"/>
                </a:cubicBezTo>
                <a:cubicBezTo>
                  <a:pt x="6580" y="3"/>
                  <a:pt x="6578" y="3"/>
                  <a:pt x="6576" y="3"/>
                </a:cubicBezTo>
                <a:cubicBezTo>
                  <a:pt x="6570" y="4"/>
                  <a:pt x="6567" y="3"/>
                  <a:pt x="6561" y="3"/>
                </a:cubicBezTo>
                <a:cubicBezTo>
                  <a:pt x="6556" y="2"/>
                  <a:pt x="6550" y="2"/>
                  <a:pt x="6547" y="3"/>
                </a:cubicBezTo>
                <a:cubicBezTo>
                  <a:pt x="6546" y="3"/>
                  <a:pt x="6546" y="3"/>
                  <a:pt x="6546" y="3"/>
                </a:cubicBezTo>
                <a:cubicBezTo>
                  <a:pt x="6543" y="4"/>
                  <a:pt x="6532" y="4"/>
                  <a:pt x="6528" y="4"/>
                </a:cubicBezTo>
                <a:cubicBezTo>
                  <a:pt x="6522" y="4"/>
                  <a:pt x="6516" y="4"/>
                  <a:pt x="6510" y="4"/>
                </a:cubicBezTo>
                <a:cubicBezTo>
                  <a:pt x="6490" y="4"/>
                  <a:pt x="6471" y="4"/>
                  <a:pt x="6467" y="4"/>
                </a:cubicBezTo>
                <a:cubicBezTo>
                  <a:pt x="6459" y="4"/>
                  <a:pt x="6452" y="4"/>
                  <a:pt x="6444" y="4"/>
                </a:cubicBezTo>
                <a:cubicBezTo>
                  <a:pt x="6443" y="3"/>
                  <a:pt x="6441" y="3"/>
                  <a:pt x="6441" y="3"/>
                </a:cubicBezTo>
                <a:cubicBezTo>
                  <a:pt x="6439" y="3"/>
                  <a:pt x="6438" y="3"/>
                  <a:pt x="6433" y="3"/>
                </a:cubicBezTo>
                <a:cubicBezTo>
                  <a:pt x="6429" y="3"/>
                  <a:pt x="6424" y="3"/>
                  <a:pt x="6420" y="3"/>
                </a:cubicBezTo>
                <a:cubicBezTo>
                  <a:pt x="6418" y="3"/>
                  <a:pt x="6417" y="3"/>
                  <a:pt x="6416" y="3"/>
                </a:cubicBezTo>
                <a:cubicBezTo>
                  <a:pt x="6414" y="3"/>
                  <a:pt x="6415" y="3"/>
                  <a:pt x="6414" y="3"/>
                </a:cubicBezTo>
                <a:cubicBezTo>
                  <a:pt x="6411" y="4"/>
                  <a:pt x="6405" y="3"/>
                  <a:pt x="6401" y="4"/>
                </a:cubicBezTo>
                <a:cubicBezTo>
                  <a:pt x="6393" y="4"/>
                  <a:pt x="6385" y="4"/>
                  <a:pt x="6377" y="3"/>
                </a:cubicBezTo>
                <a:cubicBezTo>
                  <a:pt x="6369" y="3"/>
                  <a:pt x="6362" y="3"/>
                  <a:pt x="6355" y="4"/>
                </a:cubicBezTo>
                <a:cubicBezTo>
                  <a:pt x="6351" y="4"/>
                  <a:pt x="6348" y="5"/>
                  <a:pt x="6344" y="5"/>
                </a:cubicBezTo>
                <a:cubicBezTo>
                  <a:pt x="6338" y="6"/>
                  <a:pt x="6333" y="5"/>
                  <a:pt x="6328" y="5"/>
                </a:cubicBezTo>
                <a:cubicBezTo>
                  <a:pt x="6313" y="4"/>
                  <a:pt x="6295" y="5"/>
                  <a:pt x="6280" y="5"/>
                </a:cubicBezTo>
                <a:cubicBezTo>
                  <a:pt x="6255" y="5"/>
                  <a:pt x="6229" y="6"/>
                  <a:pt x="6221" y="6"/>
                </a:cubicBezTo>
                <a:cubicBezTo>
                  <a:pt x="6215" y="6"/>
                  <a:pt x="6206" y="6"/>
                  <a:pt x="6202" y="7"/>
                </a:cubicBezTo>
                <a:cubicBezTo>
                  <a:pt x="6201" y="7"/>
                  <a:pt x="6201" y="7"/>
                  <a:pt x="6200" y="7"/>
                </a:cubicBezTo>
                <a:cubicBezTo>
                  <a:pt x="6200" y="7"/>
                  <a:pt x="6199" y="7"/>
                  <a:pt x="6199" y="7"/>
                </a:cubicBezTo>
                <a:cubicBezTo>
                  <a:pt x="6197" y="7"/>
                  <a:pt x="6195" y="7"/>
                  <a:pt x="6193" y="7"/>
                </a:cubicBezTo>
                <a:cubicBezTo>
                  <a:pt x="6192" y="7"/>
                  <a:pt x="6191" y="7"/>
                  <a:pt x="6189" y="6"/>
                </a:cubicBezTo>
                <a:cubicBezTo>
                  <a:pt x="6181" y="5"/>
                  <a:pt x="6168" y="6"/>
                  <a:pt x="6158" y="6"/>
                </a:cubicBezTo>
                <a:cubicBezTo>
                  <a:pt x="6147" y="6"/>
                  <a:pt x="6136" y="6"/>
                  <a:pt x="6124" y="6"/>
                </a:cubicBezTo>
                <a:cubicBezTo>
                  <a:pt x="6111" y="6"/>
                  <a:pt x="6099" y="6"/>
                  <a:pt x="6086" y="5"/>
                </a:cubicBezTo>
                <a:cubicBezTo>
                  <a:pt x="6079" y="5"/>
                  <a:pt x="6073" y="5"/>
                  <a:pt x="6066" y="5"/>
                </a:cubicBezTo>
                <a:cubicBezTo>
                  <a:pt x="6062" y="5"/>
                  <a:pt x="6059" y="6"/>
                  <a:pt x="6055" y="6"/>
                </a:cubicBezTo>
                <a:cubicBezTo>
                  <a:pt x="6054" y="6"/>
                  <a:pt x="6053" y="6"/>
                  <a:pt x="6051" y="6"/>
                </a:cubicBezTo>
                <a:cubicBezTo>
                  <a:pt x="6050" y="6"/>
                  <a:pt x="6049" y="7"/>
                  <a:pt x="6047" y="7"/>
                </a:cubicBezTo>
                <a:cubicBezTo>
                  <a:pt x="6039" y="6"/>
                  <a:pt x="6032" y="5"/>
                  <a:pt x="6024" y="5"/>
                </a:cubicBezTo>
                <a:cubicBezTo>
                  <a:pt x="6015" y="5"/>
                  <a:pt x="6007" y="5"/>
                  <a:pt x="5998" y="5"/>
                </a:cubicBezTo>
                <a:cubicBezTo>
                  <a:pt x="5991" y="5"/>
                  <a:pt x="5984" y="6"/>
                  <a:pt x="5977" y="6"/>
                </a:cubicBezTo>
                <a:cubicBezTo>
                  <a:pt x="5971" y="6"/>
                  <a:pt x="5966" y="6"/>
                  <a:pt x="5962" y="7"/>
                </a:cubicBezTo>
                <a:cubicBezTo>
                  <a:pt x="5960" y="8"/>
                  <a:pt x="5957" y="8"/>
                  <a:pt x="5954" y="8"/>
                </a:cubicBezTo>
                <a:cubicBezTo>
                  <a:pt x="5949" y="8"/>
                  <a:pt x="5943" y="8"/>
                  <a:pt x="5937" y="8"/>
                </a:cubicBezTo>
                <a:cubicBezTo>
                  <a:pt x="5932" y="8"/>
                  <a:pt x="5926" y="8"/>
                  <a:pt x="5920" y="8"/>
                </a:cubicBezTo>
                <a:cubicBezTo>
                  <a:pt x="5918" y="8"/>
                  <a:pt x="5916" y="8"/>
                  <a:pt x="5914" y="8"/>
                </a:cubicBezTo>
                <a:cubicBezTo>
                  <a:pt x="5913" y="9"/>
                  <a:pt x="5913" y="9"/>
                  <a:pt x="5913" y="9"/>
                </a:cubicBezTo>
                <a:cubicBezTo>
                  <a:pt x="5912" y="9"/>
                  <a:pt x="5912" y="9"/>
                  <a:pt x="5911" y="9"/>
                </a:cubicBezTo>
                <a:cubicBezTo>
                  <a:pt x="5909" y="9"/>
                  <a:pt x="5906" y="9"/>
                  <a:pt x="5904" y="8"/>
                </a:cubicBezTo>
                <a:cubicBezTo>
                  <a:pt x="5900" y="8"/>
                  <a:pt x="5895" y="8"/>
                  <a:pt x="5890" y="8"/>
                </a:cubicBezTo>
                <a:cubicBezTo>
                  <a:pt x="5885" y="7"/>
                  <a:pt x="5880" y="7"/>
                  <a:pt x="5876" y="7"/>
                </a:cubicBezTo>
                <a:cubicBezTo>
                  <a:pt x="5875" y="7"/>
                  <a:pt x="5873" y="7"/>
                  <a:pt x="5872" y="7"/>
                </a:cubicBezTo>
                <a:cubicBezTo>
                  <a:pt x="5864" y="7"/>
                  <a:pt x="5855" y="7"/>
                  <a:pt x="5848" y="7"/>
                </a:cubicBezTo>
                <a:cubicBezTo>
                  <a:pt x="5843" y="7"/>
                  <a:pt x="5839" y="7"/>
                  <a:pt x="5834" y="7"/>
                </a:cubicBezTo>
                <a:cubicBezTo>
                  <a:pt x="5829" y="7"/>
                  <a:pt x="5825" y="7"/>
                  <a:pt x="5820" y="6"/>
                </a:cubicBezTo>
                <a:cubicBezTo>
                  <a:pt x="5817" y="6"/>
                  <a:pt x="5815" y="5"/>
                  <a:pt x="5811" y="5"/>
                </a:cubicBezTo>
                <a:cubicBezTo>
                  <a:pt x="5804" y="5"/>
                  <a:pt x="5797" y="5"/>
                  <a:pt x="5790" y="5"/>
                </a:cubicBezTo>
                <a:cubicBezTo>
                  <a:pt x="5771" y="5"/>
                  <a:pt x="5753" y="6"/>
                  <a:pt x="5734" y="6"/>
                </a:cubicBezTo>
                <a:cubicBezTo>
                  <a:pt x="5733" y="6"/>
                  <a:pt x="5732" y="6"/>
                  <a:pt x="5731" y="6"/>
                </a:cubicBezTo>
                <a:cubicBezTo>
                  <a:pt x="5729" y="6"/>
                  <a:pt x="5727" y="5"/>
                  <a:pt x="5726" y="5"/>
                </a:cubicBezTo>
                <a:cubicBezTo>
                  <a:pt x="5723" y="5"/>
                  <a:pt x="5720" y="4"/>
                  <a:pt x="5716" y="4"/>
                </a:cubicBezTo>
                <a:cubicBezTo>
                  <a:pt x="5714" y="4"/>
                  <a:pt x="5710" y="4"/>
                  <a:pt x="5707" y="4"/>
                </a:cubicBezTo>
                <a:cubicBezTo>
                  <a:pt x="5700" y="4"/>
                  <a:pt x="5694" y="4"/>
                  <a:pt x="5687" y="4"/>
                </a:cubicBezTo>
                <a:cubicBezTo>
                  <a:pt x="5680" y="4"/>
                  <a:pt x="5674" y="4"/>
                  <a:pt x="5668" y="4"/>
                </a:cubicBezTo>
                <a:cubicBezTo>
                  <a:pt x="5665" y="4"/>
                  <a:pt x="5663" y="4"/>
                  <a:pt x="5660" y="4"/>
                </a:cubicBezTo>
                <a:cubicBezTo>
                  <a:pt x="5658" y="4"/>
                  <a:pt x="5655" y="4"/>
                  <a:pt x="5653" y="4"/>
                </a:cubicBezTo>
                <a:cubicBezTo>
                  <a:pt x="5650" y="4"/>
                  <a:pt x="5643" y="7"/>
                  <a:pt x="5638" y="6"/>
                </a:cubicBezTo>
                <a:cubicBezTo>
                  <a:pt x="5635" y="5"/>
                  <a:pt x="5640" y="4"/>
                  <a:pt x="5638" y="3"/>
                </a:cubicBezTo>
                <a:cubicBezTo>
                  <a:pt x="5636" y="3"/>
                  <a:pt x="5627" y="3"/>
                  <a:pt x="5625" y="3"/>
                </a:cubicBezTo>
                <a:cubicBezTo>
                  <a:pt x="5624" y="3"/>
                  <a:pt x="5625" y="3"/>
                  <a:pt x="5627" y="3"/>
                </a:cubicBezTo>
                <a:cubicBezTo>
                  <a:pt x="5629" y="3"/>
                  <a:pt x="5631" y="4"/>
                  <a:pt x="5631" y="4"/>
                </a:cubicBezTo>
                <a:cubicBezTo>
                  <a:pt x="5631" y="5"/>
                  <a:pt x="5630" y="5"/>
                  <a:pt x="5630" y="5"/>
                </a:cubicBezTo>
                <a:cubicBezTo>
                  <a:pt x="5626" y="5"/>
                  <a:pt x="5621" y="5"/>
                  <a:pt x="5617" y="5"/>
                </a:cubicBezTo>
                <a:cubicBezTo>
                  <a:pt x="5614" y="5"/>
                  <a:pt x="5612" y="5"/>
                  <a:pt x="5609" y="5"/>
                </a:cubicBezTo>
                <a:cubicBezTo>
                  <a:pt x="5608" y="5"/>
                  <a:pt x="5606" y="5"/>
                  <a:pt x="5603" y="5"/>
                </a:cubicBezTo>
                <a:cubicBezTo>
                  <a:pt x="5603" y="4"/>
                  <a:pt x="5602" y="4"/>
                  <a:pt x="5600" y="4"/>
                </a:cubicBezTo>
                <a:cubicBezTo>
                  <a:pt x="5599" y="4"/>
                  <a:pt x="5598" y="5"/>
                  <a:pt x="5598" y="5"/>
                </a:cubicBezTo>
                <a:cubicBezTo>
                  <a:pt x="5598" y="5"/>
                  <a:pt x="5598" y="5"/>
                  <a:pt x="5598" y="5"/>
                </a:cubicBezTo>
                <a:cubicBezTo>
                  <a:pt x="5600" y="7"/>
                  <a:pt x="5590" y="6"/>
                  <a:pt x="5586" y="6"/>
                </a:cubicBezTo>
                <a:cubicBezTo>
                  <a:pt x="5579" y="6"/>
                  <a:pt x="5570" y="5"/>
                  <a:pt x="5566" y="4"/>
                </a:cubicBezTo>
                <a:cubicBezTo>
                  <a:pt x="5559" y="3"/>
                  <a:pt x="5552" y="3"/>
                  <a:pt x="5545" y="3"/>
                </a:cubicBezTo>
                <a:cubicBezTo>
                  <a:pt x="5539" y="3"/>
                  <a:pt x="5533" y="3"/>
                  <a:pt x="5528" y="3"/>
                </a:cubicBezTo>
                <a:cubicBezTo>
                  <a:pt x="5522" y="3"/>
                  <a:pt x="5517" y="3"/>
                  <a:pt x="5511" y="3"/>
                </a:cubicBezTo>
                <a:cubicBezTo>
                  <a:pt x="5509" y="3"/>
                  <a:pt x="5501" y="3"/>
                  <a:pt x="5501" y="3"/>
                </a:cubicBezTo>
                <a:cubicBezTo>
                  <a:pt x="5500" y="3"/>
                  <a:pt x="5498" y="3"/>
                  <a:pt x="5497" y="3"/>
                </a:cubicBezTo>
                <a:cubicBezTo>
                  <a:pt x="5497" y="4"/>
                  <a:pt x="5497" y="4"/>
                  <a:pt x="5497" y="4"/>
                </a:cubicBezTo>
                <a:cubicBezTo>
                  <a:pt x="5497" y="4"/>
                  <a:pt x="5498" y="4"/>
                  <a:pt x="5498" y="5"/>
                </a:cubicBezTo>
                <a:cubicBezTo>
                  <a:pt x="5497" y="5"/>
                  <a:pt x="5489" y="5"/>
                  <a:pt x="5489" y="5"/>
                </a:cubicBezTo>
                <a:cubicBezTo>
                  <a:pt x="5489" y="4"/>
                  <a:pt x="5491" y="4"/>
                  <a:pt x="5491" y="4"/>
                </a:cubicBezTo>
                <a:cubicBezTo>
                  <a:pt x="5491" y="3"/>
                  <a:pt x="5480" y="3"/>
                  <a:pt x="5478" y="3"/>
                </a:cubicBezTo>
                <a:cubicBezTo>
                  <a:pt x="5474" y="3"/>
                  <a:pt x="5471" y="3"/>
                  <a:pt x="5467" y="3"/>
                </a:cubicBezTo>
                <a:cubicBezTo>
                  <a:pt x="5466" y="3"/>
                  <a:pt x="5465" y="3"/>
                  <a:pt x="5464" y="3"/>
                </a:cubicBezTo>
                <a:cubicBezTo>
                  <a:pt x="5463" y="3"/>
                  <a:pt x="5461" y="3"/>
                  <a:pt x="5460" y="3"/>
                </a:cubicBezTo>
                <a:cubicBezTo>
                  <a:pt x="5458" y="3"/>
                  <a:pt x="5456" y="3"/>
                  <a:pt x="5455" y="3"/>
                </a:cubicBezTo>
                <a:cubicBezTo>
                  <a:pt x="5454" y="3"/>
                  <a:pt x="5453" y="3"/>
                  <a:pt x="5453" y="3"/>
                </a:cubicBezTo>
                <a:cubicBezTo>
                  <a:pt x="5449" y="4"/>
                  <a:pt x="5461" y="5"/>
                  <a:pt x="5463" y="5"/>
                </a:cubicBezTo>
                <a:cubicBezTo>
                  <a:pt x="5465" y="4"/>
                  <a:pt x="5469" y="4"/>
                  <a:pt x="5469" y="5"/>
                </a:cubicBezTo>
                <a:cubicBezTo>
                  <a:pt x="5469" y="6"/>
                  <a:pt x="5468" y="6"/>
                  <a:pt x="5464" y="6"/>
                </a:cubicBezTo>
                <a:cubicBezTo>
                  <a:pt x="5459" y="6"/>
                  <a:pt x="5455" y="6"/>
                  <a:pt x="5450" y="6"/>
                </a:cubicBezTo>
                <a:cubicBezTo>
                  <a:pt x="5441" y="6"/>
                  <a:pt x="5432" y="6"/>
                  <a:pt x="5423" y="6"/>
                </a:cubicBezTo>
                <a:cubicBezTo>
                  <a:pt x="5412" y="6"/>
                  <a:pt x="5402" y="6"/>
                  <a:pt x="5391" y="5"/>
                </a:cubicBezTo>
                <a:cubicBezTo>
                  <a:pt x="5387" y="5"/>
                  <a:pt x="5383" y="5"/>
                  <a:pt x="5379" y="5"/>
                </a:cubicBezTo>
                <a:cubicBezTo>
                  <a:pt x="5376" y="5"/>
                  <a:pt x="5373" y="5"/>
                  <a:pt x="5370" y="5"/>
                </a:cubicBezTo>
                <a:cubicBezTo>
                  <a:pt x="5371" y="5"/>
                  <a:pt x="5371" y="5"/>
                  <a:pt x="5371" y="5"/>
                </a:cubicBezTo>
                <a:cubicBezTo>
                  <a:pt x="5369" y="5"/>
                  <a:pt x="5368" y="5"/>
                  <a:pt x="5366" y="5"/>
                </a:cubicBezTo>
                <a:cubicBezTo>
                  <a:pt x="5364" y="4"/>
                  <a:pt x="5372" y="4"/>
                  <a:pt x="5373" y="3"/>
                </a:cubicBezTo>
                <a:cubicBezTo>
                  <a:pt x="5375" y="3"/>
                  <a:pt x="5371" y="3"/>
                  <a:pt x="5368" y="3"/>
                </a:cubicBezTo>
                <a:cubicBezTo>
                  <a:pt x="5366" y="3"/>
                  <a:pt x="5366" y="4"/>
                  <a:pt x="5363" y="4"/>
                </a:cubicBezTo>
                <a:cubicBezTo>
                  <a:pt x="5360" y="4"/>
                  <a:pt x="5359" y="3"/>
                  <a:pt x="5358" y="3"/>
                </a:cubicBezTo>
                <a:cubicBezTo>
                  <a:pt x="5355" y="3"/>
                  <a:pt x="5352" y="3"/>
                  <a:pt x="5349" y="3"/>
                </a:cubicBezTo>
                <a:cubicBezTo>
                  <a:pt x="5343" y="3"/>
                  <a:pt x="5337" y="3"/>
                  <a:pt x="5331" y="3"/>
                </a:cubicBezTo>
                <a:cubicBezTo>
                  <a:pt x="5318" y="3"/>
                  <a:pt x="5307" y="3"/>
                  <a:pt x="5305" y="3"/>
                </a:cubicBezTo>
                <a:cubicBezTo>
                  <a:pt x="5300" y="3"/>
                  <a:pt x="5291" y="3"/>
                  <a:pt x="5287" y="2"/>
                </a:cubicBezTo>
                <a:cubicBezTo>
                  <a:pt x="5285" y="2"/>
                  <a:pt x="5283" y="2"/>
                  <a:pt x="5281" y="3"/>
                </a:cubicBezTo>
                <a:cubicBezTo>
                  <a:pt x="5281" y="3"/>
                  <a:pt x="5281" y="3"/>
                  <a:pt x="5281" y="3"/>
                </a:cubicBezTo>
                <a:cubicBezTo>
                  <a:pt x="5281" y="4"/>
                  <a:pt x="5281" y="4"/>
                  <a:pt x="5279" y="4"/>
                </a:cubicBezTo>
                <a:cubicBezTo>
                  <a:pt x="5276" y="4"/>
                  <a:pt x="5273" y="3"/>
                  <a:pt x="5271" y="3"/>
                </a:cubicBezTo>
                <a:cubicBezTo>
                  <a:pt x="5268" y="3"/>
                  <a:pt x="5265" y="3"/>
                  <a:pt x="5262" y="3"/>
                </a:cubicBezTo>
                <a:cubicBezTo>
                  <a:pt x="5256" y="3"/>
                  <a:pt x="5250" y="3"/>
                  <a:pt x="5243" y="3"/>
                </a:cubicBezTo>
                <a:cubicBezTo>
                  <a:pt x="5241" y="3"/>
                  <a:pt x="5239" y="3"/>
                  <a:pt x="5236" y="3"/>
                </a:cubicBezTo>
                <a:cubicBezTo>
                  <a:pt x="5236" y="3"/>
                  <a:pt x="5236" y="3"/>
                  <a:pt x="5236" y="4"/>
                </a:cubicBezTo>
                <a:cubicBezTo>
                  <a:pt x="5223" y="4"/>
                  <a:pt x="5211" y="3"/>
                  <a:pt x="5199" y="3"/>
                </a:cubicBezTo>
                <a:cubicBezTo>
                  <a:pt x="5191" y="3"/>
                  <a:pt x="5184" y="3"/>
                  <a:pt x="5177" y="3"/>
                </a:cubicBezTo>
                <a:cubicBezTo>
                  <a:pt x="5175" y="3"/>
                  <a:pt x="5173" y="3"/>
                  <a:pt x="5170" y="3"/>
                </a:cubicBezTo>
                <a:cubicBezTo>
                  <a:pt x="5169" y="3"/>
                  <a:pt x="5162" y="4"/>
                  <a:pt x="5164" y="3"/>
                </a:cubicBezTo>
                <a:cubicBezTo>
                  <a:pt x="5165" y="3"/>
                  <a:pt x="5173" y="3"/>
                  <a:pt x="5172" y="2"/>
                </a:cubicBezTo>
                <a:cubicBezTo>
                  <a:pt x="5172" y="1"/>
                  <a:pt x="5166" y="2"/>
                  <a:pt x="5165" y="2"/>
                </a:cubicBezTo>
                <a:cubicBezTo>
                  <a:pt x="5163" y="3"/>
                  <a:pt x="5159" y="3"/>
                  <a:pt x="5157" y="3"/>
                </a:cubicBezTo>
                <a:cubicBezTo>
                  <a:pt x="5155" y="3"/>
                  <a:pt x="5153" y="3"/>
                  <a:pt x="5153" y="3"/>
                </a:cubicBezTo>
                <a:cubicBezTo>
                  <a:pt x="5153" y="3"/>
                  <a:pt x="5153" y="3"/>
                  <a:pt x="5152" y="3"/>
                </a:cubicBezTo>
                <a:cubicBezTo>
                  <a:pt x="5145" y="2"/>
                  <a:pt x="5136" y="2"/>
                  <a:pt x="5129" y="2"/>
                </a:cubicBezTo>
                <a:cubicBezTo>
                  <a:pt x="5115" y="1"/>
                  <a:pt x="5101" y="2"/>
                  <a:pt x="5087" y="2"/>
                </a:cubicBezTo>
                <a:cubicBezTo>
                  <a:pt x="5080" y="2"/>
                  <a:pt x="5073" y="3"/>
                  <a:pt x="5066" y="3"/>
                </a:cubicBezTo>
                <a:cubicBezTo>
                  <a:pt x="5060" y="3"/>
                  <a:pt x="5053" y="3"/>
                  <a:pt x="5047" y="3"/>
                </a:cubicBezTo>
                <a:cubicBezTo>
                  <a:pt x="5046" y="3"/>
                  <a:pt x="5046" y="3"/>
                  <a:pt x="5045" y="3"/>
                </a:cubicBezTo>
                <a:cubicBezTo>
                  <a:pt x="5045" y="3"/>
                  <a:pt x="5044" y="3"/>
                  <a:pt x="5044" y="3"/>
                </a:cubicBezTo>
                <a:cubicBezTo>
                  <a:pt x="5041" y="3"/>
                  <a:pt x="5038" y="3"/>
                  <a:pt x="5035" y="3"/>
                </a:cubicBezTo>
                <a:cubicBezTo>
                  <a:pt x="5034" y="3"/>
                  <a:pt x="5031" y="3"/>
                  <a:pt x="5031" y="3"/>
                </a:cubicBezTo>
                <a:cubicBezTo>
                  <a:pt x="5030" y="4"/>
                  <a:pt x="5031" y="4"/>
                  <a:pt x="5028" y="4"/>
                </a:cubicBezTo>
                <a:cubicBezTo>
                  <a:pt x="5025" y="5"/>
                  <a:pt x="5021" y="4"/>
                  <a:pt x="5019" y="4"/>
                </a:cubicBezTo>
                <a:cubicBezTo>
                  <a:pt x="5016" y="4"/>
                  <a:pt x="5012" y="3"/>
                  <a:pt x="5007" y="4"/>
                </a:cubicBezTo>
                <a:cubicBezTo>
                  <a:pt x="5005" y="4"/>
                  <a:pt x="5002" y="5"/>
                  <a:pt x="4998" y="5"/>
                </a:cubicBezTo>
                <a:cubicBezTo>
                  <a:pt x="4995" y="5"/>
                  <a:pt x="4990" y="5"/>
                  <a:pt x="4987" y="5"/>
                </a:cubicBezTo>
                <a:cubicBezTo>
                  <a:pt x="4978" y="5"/>
                  <a:pt x="4964" y="5"/>
                  <a:pt x="4956" y="4"/>
                </a:cubicBezTo>
                <a:cubicBezTo>
                  <a:pt x="4953" y="4"/>
                  <a:pt x="4950" y="4"/>
                  <a:pt x="4946" y="3"/>
                </a:cubicBezTo>
                <a:cubicBezTo>
                  <a:pt x="4944" y="3"/>
                  <a:pt x="4942" y="3"/>
                  <a:pt x="4938" y="4"/>
                </a:cubicBezTo>
                <a:cubicBezTo>
                  <a:pt x="4937" y="4"/>
                  <a:pt x="4936" y="4"/>
                  <a:pt x="4935" y="3"/>
                </a:cubicBezTo>
                <a:cubicBezTo>
                  <a:pt x="4929" y="3"/>
                  <a:pt x="4925" y="4"/>
                  <a:pt x="4922" y="5"/>
                </a:cubicBezTo>
                <a:cubicBezTo>
                  <a:pt x="4921" y="5"/>
                  <a:pt x="4917" y="5"/>
                  <a:pt x="4916" y="5"/>
                </a:cubicBezTo>
                <a:cubicBezTo>
                  <a:pt x="4914" y="5"/>
                  <a:pt x="4913" y="4"/>
                  <a:pt x="4911" y="4"/>
                </a:cubicBezTo>
                <a:cubicBezTo>
                  <a:pt x="4908" y="3"/>
                  <a:pt x="4905" y="3"/>
                  <a:pt x="4901" y="3"/>
                </a:cubicBezTo>
                <a:cubicBezTo>
                  <a:pt x="4900" y="3"/>
                  <a:pt x="4899" y="3"/>
                  <a:pt x="4897" y="3"/>
                </a:cubicBezTo>
                <a:cubicBezTo>
                  <a:pt x="4895" y="3"/>
                  <a:pt x="4896" y="3"/>
                  <a:pt x="4894" y="3"/>
                </a:cubicBezTo>
                <a:cubicBezTo>
                  <a:pt x="4893" y="3"/>
                  <a:pt x="4892" y="3"/>
                  <a:pt x="4891" y="3"/>
                </a:cubicBezTo>
                <a:cubicBezTo>
                  <a:pt x="4891" y="3"/>
                  <a:pt x="4890" y="3"/>
                  <a:pt x="4888" y="3"/>
                </a:cubicBezTo>
                <a:cubicBezTo>
                  <a:pt x="4886" y="3"/>
                  <a:pt x="4885" y="3"/>
                  <a:pt x="4884" y="4"/>
                </a:cubicBezTo>
                <a:cubicBezTo>
                  <a:pt x="4883" y="4"/>
                  <a:pt x="4883" y="5"/>
                  <a:pt x="4884" y="5"/>
                </a:cubicBezTo>
                <a:cubicBezTo>
                  <a:pt x="4882" y="5"/>
                  <a:pt x="4880" y="5"/>
                  <a:pt x="4878" y="5"/>
                </a:cubicBezTo>
                <a:cubicBezTo>
                  <a:pt x="4875" y="5"/>
                  <a:pt x="4872" y="5"/>
                  <a:pt x="4870" y="5"/>
                </a:cubicBezTo>
                <a:cubicBezTo>
                  <a:pt x="4860" y="5"/>
                  <a:pt x="4850" y="4"/>
                  <a:pt x="4840" y="4"/>
                </a:cubicBezTo>
                <a:cubicBezTo>
                  <a:pt x="4836" y="4"/>
                  <a:pt x="4832" y="4"/>
                  <a:pt x="4828" y="3"/>
                </a:cubicBezTo>
                <a:cubicBezTo>
                  <a:pt x="4825" y="3"/>
                  <a:pt x="4821" y="3"/>
                  <a:pt x="4819" y="3"/>
                </a:cubicBezTo>
                <a:cubicBezTo>
                  <a:pt x="4815" y="3"/>
                  <a:pt x="4812" y="3"/>
                  <a:pt x="4807" y="3"/>
                </a:cubicBezTo>
                <a:cubicBezTo>
                  <a:pt x="4803" y="3"/>
                  <a:pt x="4798" y="3"/>
                  <a:pt x="4795" y="3"/>
                </a:cubicBezTo>
                <a:cubicBezTo>
                  <a:pt x="4793" y="3"/>
                  <a:pt x="4792" y="3"/>
                  <a:pt x="4791" y="4"/>
                </a:cubicBezTo>
                <a:cubicBezTo>
                  <a:pt x="4790" y="4"/>
                  <a:pt x="4790" y="4"/>
                  <a:pt x="4789" y="4"/>
                </a:cubicBezTo>
                <a:cubicBezTo>
                  <a:pt x="4788" y="5"/>
                  <a:pt x="4786" y="5"/>
                  <a:pt x="4784" y="5"/>
                </a:cubicBezTo>
                <a:cubicBezTo>
                  <a:pt x="4772" y="5"/>
                  <a:pt x="4761" y="2"/>
                  <a:pt x="4749" y="3"/>
                </a:cubicBezTo>
                <a:cubicBezTo>
                  <a:pt x="4748" y="3"/>
                  <a:pt x="4747" y="3"/>
                  <a:pt x="4745" y="3"/>
                </a:cubicBezTo>
                <a:cubicBezTo>
                  <a:pt x="4741" y="4"/>
                  <a:pt x="4736" y="4"/>
                  <a:pt x="4730" y="4"/>
                </a:cubicBezTo>
                <a:cubicBezTo>
                  <a:pt x="4727" y="4"/>
                  <a:pt x="4724" y="4"/>
                  <a:pt x="4720" y="4"/>
                </a:cubicBezTo>
                <a:cubicBezTo>
                  <a:pt x="4718" y="4"/>
                  <a:pt x="4717" y="5"/>
                  <a:pt x="4715" y="5"/>
                </a:cubicBezTo>
                <a:cubicBezTo>
                  <a:pt x="4713" y="5"/>
                  <a:pt x="4712" y="6"/>
                  <a:pt x="4709" y="6"/>
                </a:cubicBezTo>
                <a:cubicBezTo>
                  <a:pt x="4705" y="6"/>
                  <a:pt x="4701" y="6"/>
                  <a:pt x="4697" y="6"/>
                </a:cubicBezTo>
                <a:cubicBezTo>
                  <a:pt x="4695" y="5"/>
                  <a:pt x="4693" y="5"/>
                  <a:pt x="4690" y="5"/>
                </a:cubicBezTo>
                <a:cubicBezTo>
                  <a:pt x="4687" y="4"/>
                  <a:pt x="4681" y="4"/>
                  <a:pt x="4677" y="4"/>
                </a:cubicBezTo>
                <a:cubicBezTo>
                  <a:pt x="4672" y="4"/>
                  <a:pt x="4668" y="4"/>
                  <a:pt x="4663" y="4"/>
                </a:cubicBezTo>
                <a:cubicBezTo>
                  <a:pt x="4658" y="4"/>
                  <a:pt x="4653" y="4"/>
                  <a:pt x="4648" y="4"/>
                </a:cubicBezTo>
                <a:cubicBezTo>
                  <a:pt x="4645" y="4"/>
                  <a:pt x="4641" y="4"/>
                  <a:pt x="4638" y="4"/>
                </a:cubicBezTo>
                <a:cubicBezTo>
                  <a:pt x="4634" y="5"/>
                  <a:pt x="4635" y="7"/>
                  <a:pt x="4630" y="7"/>
                </a:cubicBezTo>
                <a:cubicBezTo>
                  <a:pt x="4625" y="7"/>
                  <a:pt x="4620" y="6"/>
                  <a:pt x="4616" y="6"/>
                </a:cubicBezTo>
                <a:cubicBezTo>
                  <a:pt x="4611" y="6"/>
                  <a:pt x="4605" y="6"/>
                  <a:pt x="4600" y="6"/>
                </a:cubicBezTo>
                <a:cubicBezTo>
                  <a:pt x="4593" y="6"/>
                  <a:pt x="4586" y="6"/>
                  <a:pt x="4579" y="6"/>
                </a:cubicBezTo>
                <a:cubicBezTo>
                  <a:pt x="4563" y="6"/>
                  <a:pt x="4547" y="6"/>
                  <a:pt x="4531" y="6"/>
                </a:cubicBezTo>
                <a:cubicBezTo>
                  <a:pt x="4527" y="6"/>
                  <a:pt x="4522" y="6"/>
                  <a:pt x="4518" y="6"/>
                </a:cubicBezTo>
                <a:cubicBezTo>
                  <a:pt x="4514" y="6"/>
                  <a:pt x="4511" y="5"/>
                  <a:pt x="4507" y="5"/>
                </a:cubicBezTo>
                <a:cubicBezTo>
                  <a:pt x="4506" y="5"/>
                  <a:pt x="4505" y="5"/>
                  <a:pt x="4504" y="5"/>
                </a:cubicBezTo>
                <a:cubicBezTo>
                  <a:pt x="4503" y="5"/>
                  <a:pt x="4503" y="5"/>
                  <a:pt x="4503" y="5"/>
                </a:cubicBezTo>
                <a:cubicBezTo>
                  <a:pt x="4500" y="6"/>
                  <a:pt x="4496" y="6"/>
                  <a:pt x="4493" y="6"/>
                </a:cubicBezTo>
                <a:cubicBezTo>
                  <a:pt x="4490" y="6"/>
                  <a:pt x="4486" y="6"/>
                  <a:pt x="4482" y="6"/>
                </a:cubicBezTo>
                <a:cubicBezTo>
                  <a:pt x="4476" y="6"/>
                  <a:pt x="4469" y="6"/>
                  <a:pt x="4463" y="6"/>
                </a:cubicBezTo>
                <a:cubicBezTo>
                  <a:pt x="4460" y="6"/>
                  <a:pt x="4453" y="7"/>
                  <a:pt x="4450" y="6"/>
                </a:cubicBezTo>
                <a:cubicBezTo>
                  <a:pt x="4449" y="6"/>
                  <a:pt x="4449" y="5"/>
                  <a:pt x="4448" y="5"/>
                </a:cubicBezTo>
                <a:cubicBezTo>
                  <a:pt x="4446" y="5"/>
                  <a:pt x="4445" y="5"/>
                  <a:pt x="4443" y="5"/>
                </a:cubicBezTo>
                <a:cubicBezTo>
                  <a:pt x="4443" y="5"/>
                  <a:pt x="4444" y="6"/>
                  <a:pt x="4444" y="6"/>
                </a:cubicBezTo>
                <a:cubicBezTo>
                  <a:pt x="4449" y="7"/>
                  <a:pt x="4438" y="9"/>
                  <a:pt x="4434" y="8"/>
                </a:cubicBezTo>
                <a:cubicBezTo>
                  <a:pt x="4431" y="8"/>
                  <a:pt x="4432" y="7"/>
                  <a:pt x="4430" y="6"/>
                </a:cubicBezTo>
                <a:cubicBezTo>
                  <a:pt x="4428" y="6"/>
                  <a:pt x="4426" y="6"/>
                  <a:pt x="4424" y="6"/>
                </a:cubicBezTo>
                <a:cubicBezTo>
                  <a:pt x="4420" y="6"/>
                  <a:pt x="4417" y="6"/>
                  <a:pt x="4414" y="6"/>
                </a:cubicBezTo>
                <a:cubicBezTo>
                  <a:pt x="4411" y="6"/>
                  <a:pt x="4406" y="5"/>
                  <a:pt x="4403" y="5"/>
                </a:cubicBezTo>
                <a:cubicBezTo>
                  <a:pt x="4402" y="5"/>
                  <a:pt x="4402" y="6"/>
                  <a:pt x="4401" y="6"/>
                </a:cubicBezTo>
                <a:cubicBezTo>
                  <a:pt x="4397" y="7"/>
                  <a:pt x="4396" y="6"/>
                  <a:pt x="4393" y="6"/>
                </a:cubicBezTo>
                <a:cubicBezTo>
                  <a:pt x="4390" y="5"/>
                  <a:pt x="4386" y="6"/>
                  <a:pt x="4384" y="7"/>
                </a:cubicBezTo>
                <a:cubicBezTo>
                  <a:pt x="4381" y="7"/>
                  <a:pt x="4380" y="7"/>
                  <a:pt x="4377" y="7"/>
                </a:cubicBezTo>
                <a:cubicBezTo>
                  <a:pt x="4377" y="7"/>
                  <a:pt x="4376" y="7"/>
                  <a:pt x="4375" y="7"/>
                </a:cubicBezTo>
                <a:cubicBezTo>
                  <a:pt x="4374" y="7"/>
                  <a:pt x="4373" y="7"/>
                  <a:pt x="4372" y="6"/>
                </a:cubicBezTo>
                <a:cubicBezTo>
                  <a:pt x="4368" y="6"/>
                  <a:pt x="4360" y="6"/>
                  <a:pt x="4356" y="6"/>
                </a:cubicBezTo>
                <a:cubicBezTo>
                  <a:pt x="4296" y="6"/>
                  <a:pt x="4270" y="7"/>
                  <a:pt x="4267" y="7"/>
                </a:cubicBezTo>
                <a:cubicBezTo>
                  <a:pt x="4266" y="7"/>
                  <a:pt x="4234" y="7"/>
                  <a:pt x="4227" y="7"/>
                </a:cubicBezTo>
                <a:cubicBezTo>
                  <a:pt x="4224" y="7"/>
                  <a:pt x="4219" y="6"/>
                  <a:pt x="4216" y="6"/>
                </a:cubicBezTo>
                <a:cubicBezTo>
                  <a:pt x="4213" y="5"/>
                  <a:pt x="4211" y="5"/>
                  <a:pt x="4208" y="5"/>
                </a:cubicBezTo>
                <a:cubicBezTo>
                  <a:pt x="4205" y="5"/>
                  <a:pt x="4203" y="5"/>
                  <a:pt x="4200" y="5"/>
                </a:cubicBezTo>
                <a:cubicBezTo>
                  <a:pt x="4199" y="5"/>
                  <a:pt x="4197" y="5"/>
                  <a:pt x="4196" y="5"/>
                </a:cubicBezTo>
                <a:cubicBezTo>
                  <a:pt x="4195" y="4"/>
                  <a:pt x="4197" y="4"/>
                  <a:pt x="4195" y="4"/>
                </a:cubicBezTo>
                <a:cubicBezTo>
                  <a:pt x="4194" y="3"/>
                  <a:pt x="4190" y="3"/>
                  <a:pt x="4187" y="3"/>
                </a:cubicBezTo>
                <a:cubicBezTo>
                  <a:pt x="4184" y="3"/>
                  <a:pt x="4179" y="4"/>
                  <a:pt x="4176" y="4"/>
                </a:cubicBezTo>
                <a:cubicBezTo>
                  <a:pt x="4171" y="4"/>
                  <a:pt x="4165" y="5"/>
                  <a:pt x="4158" y="4"/>
                </a:cubicBezTo>
                <a:cubicBezTo>
                  <a:pt x="4158" y="4"/>
                  <a:pt x="4157" y="3"/>
                  <a:pt x="4156" y="3"/>
                </a:cubicBezTo>
                <a:cubicBezTo>
                  <a:pt x="4152" y="3"/>
                  <a:pt x="4151" y="4"/>
                  <a:pt x="4149" y="4"/>
                </a:cubicBezTo>
                <a:cubicBezTo>
                  <a:pt x="4147" y="5"/>
                  <a:pt x="4143" y="5"/>
                  <a:pt x="4140" y="5"/>
                </a:cubicBezTo>
                <a:cubicBezTo>
                  <a:pt x="4134" y="5"/>
                  <a:pt x="4128" y="5"/>
                  <a:pt x="4122" y="5"/>
                </a:cubicBezTo>
                <a:cubicBezTo>
                  <a:pt x="4104" y="5"/>
                  <a:pt x="4086" y="5"/>
                  <a:pt x="4080" y="5"/>
                </a:cubicBezTo>
                <a:cubicBezTo>
                  <a:pt x="4075" y="5"/>
                  <a:pt x="4068" y="5"/>
                  <a:pt x="4064" y="6"/>
                </a:cubicBezTo>
                <a:cubicBezTo>
                  <a:pt x="4061" y="6"/>
                  <a:pt x="4058" y="6"/>
                  <a:pt x="4056" y="6"/>
                </a:cubicBezTo>
                <a:cubicBezTo>
                  <a:pt x="4054" y="7"/>
                  <a:pt x="4053" y="7"/>
                  <a:pt x="4051" y="7"/>
                </a:cubicBezTo>
                <a:cubicBezTo>
                  <a:pt x="4046" y="8"/>
                  <a:pt x="4039" y="7"/>
                  <a:pt x="4034" y="7"/>
                </a:cubicBezTo>
                <a:cubicBezTo>
                  <a:pt x="4031" y="7"/>
                  <a:pt x="4027" y="6"/>
                  <a:pt x="4023" y="6"/>
                </a:cubicBezTo>
                <a:cubicBezTo>
                  <a:pt x="4020" y="6"/>
                  <a:pt x="4018" y="6"/>
                  <a:pt x="4015" y="6"/>
                </a:cubicBezTo>
                <a:cubicBezTo>
                  <a:pt x="4006" y="6"/>
                  <a:pt x="3998" y="6"/>
                  <a:pt x="3989" y="6"/>
                </a:cubicBezTo>
                <a:cubicBezTo>
                  <a:pt x="3971" y="7"/>
                  <a:pt x="3946" y="7"/>
                  <a:pt x="3918" y="7"/>
                </a:cubicBezTo>
                <a:cubicBezTo>
                  <a:pt x="3864" y="7"/>
                  <a:pt x="3806" y="7"/>
                  <a:pt x="3791" y="7"/>
                </a:cubicBezTo>
                <a:cubicBezTo>
                  <a:pt x="3785" y="7"/>
                  <a:pt x="3779" y="7"/>
                  <a:pt x="3773" y="7"/>
                </a:cubicBezTo>
                <a:cubicBezTo>
                  <a:pt x="3769" y="7"/>
                  <a:pt x="3763" y="7"/>
                  <a:pt x="3760" y="8"/>
                </a:cubicBezTo>
                <a:cubicBezTo>
                  <a:pt x="3758" y="8"/>
                  <a:pt x="3757" y="8"/>
                  <a:pt x="3756" y="8"/>
                </a:cubicBezTo>
                <a:cubicBezTo>
                  <a:pt x="3755" y="8"/>
                  <a:pt x="3754" y="8"/>
                  <a:pt x="3752" y="8"/>
                </a:cubicBezTo>
                <a:cubicBezTo>
                  <a:pt x="3752" y="8"/>
                  <a:pt x="3751" y="8"/>
                  <a:pt x="3751" y="8"/>
                </a:cubicBezTo>
                <a:cubicBezTo>
                  <a:pt x="3746" y="8"/>
                  <a:pt x="3741" y="8"/>
                  <a:pt x="3737" y="8"/>
                </a:cubicBezTo>
                <a:cubicBezTo>
                  <a:pt x="3732" y="8"/>
                  <a:pt x="3728" y="8"/>
                  <a:pt x="3723" y="8"/>
                </a:cubicBezTo>
                <a:cubicBezTo>
                  <a:pt x="3718" y="8"/>
                  <a:pt x="3713" y="7"/>
                  <a:pt x="3708" y="8"/>
                </a:cubicBezTo>
                <a:cubicBezTo>
                  <a:pt x="3708" y="8"/>
                  <a:pt x="3707" y="8"/>
                  <a:pt x="3706" y="8"/>
                </a:cubicBezTo>
                <a:cubicBezTo>
                  <a:pt x="3700" y="9"/>
                  <a:pt x="3695" y="9"/>
                  <a:pt x="3687" y="9"/>
                </a:cubicBezTo>
                <a:cubicBezTo>
                  <a:pt x="3687" y="9"/>
                  <a:pt x="3686" y="9"/>
                  <a:pt x="3686" y="9"/>
                </a:cubicBezTo>
                <a:cubicBezTo>
                  <a:pt x="3684" y="8"/>
                  <a:pt x="3685" y="8"/>
                  <a:pt x="3685" y="7"/>
                </a:cubicBezTo>
                <a:cubicBezTo>
                  <a:pt x="3680" y="6"/>
                  <a:pt x="3672" y="7"/>
                  <a:pt x="3666" y="7"/>
                </a:cubicBezTo>
                <a:cubicBezTo>
                  <a:pt x="3659" y="7"/>
                  <a:pt x="3652" y="8"/>
                  <a:pt x="3644" y="8"/>
                </a:cubicBezTo>
                <a:cubicBezTo>
                  <a:pt x="3637" y="7"/>
                  <a:pt x="3630" y="7"/>
                  <a:pt x="3622" y="7"/>
                </a:cubicBezTo>
                <a:cubicBezTo>
                  <a:pt x="3617" y="7"/>
                  <a:pt x="3598" y="7"/>
                  <a:pt x="3579" y="7"/>
                </a:cubicBezTo>
                <a:cubicBezTo>
                  <a:pt x="3573" y="7"/>
                  <a:pt x="3566" y="7"/>
                  <a:pt x="3560" y="7"/>
                </a:cubicBezTo>
                <a:cubicBezTo>
                  <a:pt x="3555" y="8"/>
                  <a:pt x="3549" y="8"/>
                  <a:pt x="3545" y="8"/>
                </a:cubicBezTo>
                <a:cubicBezTo>
                  <a:pt x="3543" y="8"/>
                  <a:pt x="3541" y="9"/>
                  <a:pt x="3539" y="9"/>
                </a:cubicBezTo>
                <a:cubicBezTo>
                  <a:pt x="3536" y="9"/>
                  <a:pt x="3532" y="8"/>
                  <a:pt x="3529" y="8"/>
                </a:cubicBezTo>
                <a:cubicBezTo>
                  <a:pt x="3520" y="7"/>
                  <a:pt x="3510" y="8"/>
                  <a:pt x="3501" y="7"/>
                </a:cubicBezTo>
                <a:cubicBezTo>
                  <a:pt x="3491" y="7"/>
                  <a:pt x="3481" y="7"/>
                  <a:pt x="3471" y="7"/>
                </a:cubicBezTo>
                <a:cubicBezTo>
                  <a:pt x="3460" y="7"/>
                  <a:pt x="3449" y="7"/>
                  <a:pt x="3438" y="7"/>
                </a:cubicBezTo>
                <a:cubicBezTo>
                  <a:pt x="3433" y="7"/>
                  <a:pt x="3429" y="7"/>
                  <a:pt x="3424" y="7"/>
                </a:cubicBezTo>
                <a:cubicBezTo>
                  <a:pt x="3419" y="8"/>
                  <a:pt x="3415" y="7"/>
                  <a:pt x="3410" y="8"/>
                </a:cubicBezTo>
                <a:cubicBezTo>
                  <a:pt x="3404" y="8"/>
                  <a:pt x="3399" y="9"/>
                  <a:pt x="3393" y="9"/>
                </a:cubicBezTo>
                <a:cubicBezTo>
                  <a:pt x="3385" y="9"/>
                  <a:pt x="3377" y="9"/>
                  <a:pt x="3369" y="8"/>
                </a:cubicBezTo>
                <a:cubicBezTo>
                  <a:pt x="3361" y="8"/>
                  <a:pt x="3353" y="8"/>
                  <a:pt x="3345" y="8"/>
                </a:cubicBezTo>
                <a:cubicBezTo>
                  <a:pt x="3326" y="8"/>
                  <a:pt x="3308" y="8"/>
                  <a:pt x="3290" y="8"/>
                </a:cubicBezTo>
                <a:cubicBezTo>
                  <a:pt x="3276" y="8"/>
                  <a:pt x="3263" y="8"/>
                  <a:pt x="3250" y="8"/>
                </a:cubicBezTo>
                <a:cubicBezTo>
                  <a:pt x="3238" y="8"/>
                  <a:pt x="3227" y="8"/>
                  <a:pt x="3216" y="8"/>
                </a:cubicBezTo>
                <a:cubicBezTo>
                  <a:pt x="3213" y="9"/>
                  <a:pt x="3209" y="9"/>
                  <a:pt x="3206" y="9"/>
                </a:cubicBezTo>
                <a:cubicBezTo>
                  <a:pt x="3205" y="9"/>
                  <a:pt x="3204" y="9"/>
                  <a:pt x="3202" y="9"/>
                </a:cubicBezTo>
                <a:cubicBezTo>
                  <a:pt x="3200" y="9"/>
                  <a:pt x="3198" y="9"/>
                  <a:pt x="3196" y="9"/>
                </a:cubicBezTo>
                <a:cubicBezTo>
                  <a:pt x="3195" y="10"/>
                  <a:pt x="3193" y="9"/>
                  <a:pt x="3193" y="9"/>
                </a:cubicBezTo>
                <a:cubicBezTo>
                  <a:pt x="3191" y="8"/>
                  <a:pt x="3180" y="8"/>
                  <a:pt x="3176" y="8"/>
                </a:cubicBezTo>
                <a:cubicBezTo>
                  <a:pt x="3173" y="7"/>
                  <a:pt x="3163" y="7"/>
                  <a:pt x="3160" y="7"/>
                </a:cubicBezTo>
                <a:cubicBezTo>
                  <a:pt x="3160" y="8"/>
                  <a:pt x="3160" y="8"/>
                  <a:pt x="3159" y="8"/>
                </a:cubicBezTo>
                <a:cubicBezTo>
                  <a:pt x="3159" y="8"/>
                  <a:pt x="3158" y="8"/>
                  <a:pt x="3157" y="8"/>
                </a:cubicBezTo>
                <a:cubicBezTo>
                  <a:pt x="3152" y="8"/>
                  <a:pt x="3147" y="8"/>
                  <a:pt x="3142" y="8"/>
                </a:cubicBezTo>
                <a:cubicBezTo>
                  <a:pt x="3133" y="8"/>
                  <a:pt x="3117" y="8"/>
                  <a:pt x="3108" y="8"/>
                </a:cubicBezTo>
                <a:cubicBezTo>
                  <a:pt x="3092" y="8"/>
                  <a:pt x="3051" y="8"/>
                  <a:pt x="3027" y="8"/>
                </a:cubicBezTo>
                <a:cubicBezTo>
                  <a:pt x="3022" y="8"/>
                  <a:pt x="3011" y="8"/>
                  <a:pt x="3001" y="8"/>
                </a:cubicBezTo>
                <a:cubicBezTo>
                  <a:pt x="2994" y="8"/>
                  <a:pt x="2987" y="9"/>
                  <a:pt x="2980" y="8"/>
                </a:cubicBezTo>
                <a:cubicBezTo>
                  <a:pt x="2977" y="7"/>
                  <a:pt x="2976" y="7"/>
                  <a:pt x="2973" y="7"/>
                </a:cubicBezTo>
                <a:cubicBezTo>
                  <a:pt x="2969" y="7"/>
                  <a:pt x="2965" y="7"/>
                  <a:pt x="2962" y="7"/>
                </a:cubicBezTo>
                <a:cubicBezTo>
                  <a:pt x="2955" y="8"/>
                  <a:pt x="2944" y="8"/>
                  <a:pt x="2938" y="7"/>
                </a:cubicBezTo>
                <a:cubicBezTo>
                  <a:pt x="2934" y="7"/>
                  <a:pt x="2931" y="7"/>
                  <a:pt x="2928" y="7"/>
                </a:cubicBezTo>
                <a:cubicBezTo>
                  <a:pt x="2927" y="6"/>
                  <a:pt x="2925" y="6"/>
                  <a:pt x="2924" y="7"/>
                </a:cubicBezTo>
                <a:cubicBezTo>
                  <a:pt x="2923" y="7"/>
                  <a:pt x="2923" y="7"/>
                  <a:pt x="2922" y="7"/>
                </a:cubicBezTo>
                <a:cubicBezTo>
                  <a:pt x="2919" y="8"/>
                  <a:pt x="2915" y="7"/>
                  <a:pt x="2911" y="7"/>
                </a:cubicBezTo>
                <a:cubicBezTo>
                  <a:pt x="2906" y="7"/>
                  <a:pt x="2901" y="7"/>
                  <a:pt x="2896" y="7"/>
                </a:cubicBezTo>
                <a:cubicBezTo>
                  <a:pt x="2886" y="7"/>
                  <a:pt x="2876" y="7"/>
                  <a:pt x="2866" y="7"/>
                </a:cubicBezTo>
                <a:cubicBezTo>
                  <a:pt x="2848" y="7"/>
                  <a:pt x="2830" y="7"/>
                  <a:pt x="2813" y="7"/>
                </a:cubicBezTo>
                <a:cubicBezTo>
                  <a:pt x="2810" y="8"/>
                  <a:pt x="2807" y="8"/>
                  <a:pt x="2804" y="8"/>
                </a:cubicBezTo>
                <a:cubicBezTo>
                  <a:pt x="2803" y="9"/>
                  <a:pt x="2801" y="9"/>
                  <a:pt x="2799" y="9"/>
                </a:cubicBezTo>
                <a:cubicBezTo>
                  <a:pt x="2798" y="9"/>
                  <a:pt x="2797" y="9"/>
                  <a:pt x="2797" y="9"/>
                </a:cubicBezTo>
                <a:cubicBezTo>
                  <a:pt x="2793" y="9"/>
                  <a:pt x="2791" y="9"/>
                  <a:pt x="2788" y="8"/>
                </a:cubicBezTo>
                <a:cubicBezTo>
                  <a:pt x="2784" y="8"/>
                  <a:pt x="2780" y="8"/>
                  <a:pt x="2776" y="8"/>
                </a:cubicBezTo>
                <a:cubicBezTo>
                  <a:pt x="2772" y="7"/>
                  <a:pt x="2763" y="7"/>
                  <a:pt x="2761" y="8"/>
                </a:cubicBezTo>
                <a:cubicBezTo>
                  <a:pt x="2760" y="8"/>
                  <a:pt x="2760" y="9"/>
                  <a:pt x="2759" y="9"/>
                </a:cubicBezTo>
                <a:cubicBezTo>
                  <a:pt x="2759" y="9"/>
                  <a:pt x="2757" y="9"/>
                  <a:pt x="2756" y="9"/>
                </a:cubicBezTo>
                <a:cubicBezTo>
                  <a:pt x="2755" y="9"/>
                  <a:pt x="2754" y="9"/>
                  <a:pt x="2751" y="8"/>
                </a:cubicBezTo>
                <a:cubicBezTo>
                  <a:pt x="2750" y="7"/>
                  <a:pt x="2742" y="7"/>
                  <a:pt x="2738" y="7"/>
                </a:cubicBezTo>
                <a:cubicBezTo>
                  <a:pt x="2732" y="7"/>
                  <a:pt x="2726" y="7"/>
                  <a:pt x="2720" y="6"/>
                </a:cubicBezTo>
                <a:cubicBezTo>
                  <a:pt x="2720" y="6"/>
                  <a:pt x="2719" y="6"/>
                  <a:pt x="2718" y="6"/>
                </a:cubicBezTo>
                <a:cubicBezTo>
                  <a:pt x="2716" y="6"/>
                  <a:pt x="2714" y="6"/>
                  <a:pt x="2713" y="6"/>
                </a:cubicBezTo>
                <a:cubicBezTo>
                  <a:pt x="2712" y="7"/>
                  <a:pt x="2710" y="7"/>
                  <a:pt x="2710" y="7"/>
                </a:cubicBezTo>
                <a:cubicBezTo>
                  <a:pt x="2709" y="7"/>
                  <a:pt x="2707" y="7"/>
                  <a:pt x="2706" y="7"/>
                </a:cubicBezTo>
                <a:cubicBezTo>
                  <a:pt x="2705" y="8"/>
                  <a:pt x="2703" y="7"/>
                  <a:pt x="2702" y="7"/>
                </a:cubicBezTo>
                <a:cubicBezTo>
                  <a:pt x="2702" y="7"/>
                  <a:pt x="2702" y="6"/>
                  <a:pt x="2702" y="6"/>
                </a:cubicBezTo>
                <a:cubicBezTo>
                  <a:pt x="2700" y="6"/>
                  <a:pt x="2699" y="5"/>
                  <a:pt x="2698" y="5"/>
                </a:cubicBezTo>
                <a:cubicBezTo>
                  <a:pt x="2693" y="5"/>
                  <a:pt x="2691" y="7"/>
                  <a:pt x="2687" y="7"/>
                </a:cubicBezTo>
                <a:cubicBezTo>
                  <a:pt x="2684" y="7"/>
                  <a:pt x="2682" y="7"/>
                  <a:pt x="2679" y="7"/>
                </a:cubicBezTo>
                <a:cubicBezTo>
                  <a:pt x="2674" y="7"/>
                  <a:pt x="2669" y="7"/>
                  <a:pt x="2664" y="7"/>
                </a:cubicBezTo>
                <a:cubicBezTo>
                  <a:pt x="2650" y="7"/>
                  <a:pt x="2633" y="7"/>
                  <a:pt x="2626" y="7"/>
                </a:cubicBezTo>
                <a:cubicBezTo>
                  <a:pt x="2623" y="6"/>
                  <a:pt x="2618" y="6"/>
                  <a:pt x="2615" y="6"/>
                </a:cubicBezTo>
                <a:cubicBezTo>
                  <a:pt x="2615" y="6"/>
                  <a:pt x="2614" y="6"/>
                  <a:pt x="2614" y="5"/>
                </a:cubicBezTo>
                <a:cubicBezTo>
                  <a:pt x="2613" y="5"/>
                  <a:pt x="2611" y="4"/>
                  <a:pt x="2608" y="5"/>
                </a:cubicBezTo>
                <a:cubicBezTo>
                  <a:pt x="2606" y="5"/>
                  <a:pt x="2609" y="6"/>
                  <a:pt x="2605" y="7"/>
                </a:cubicBezTo>
                <a:cubicBezTo>
                  <a:pt x="2601" y="7"/>
                  <a:pt x="2594" y="7"/>
                  <a:pt x="2590" y="6"/>
                </a:cubicBezTo>
                <a:cubicBezTo>
                  <a:pt x="2577" y="6"/>
                  <a:pt x="2564" y="6"/>
                  <a:pt x="2551" y="6"/>
                </a:cubicBezTo>
                <a:cubicBezTo>
                  <a:pt x="2546" y="6"/>
                  <a:pt x="2541" y="6"/>
                  <a:pt x="2536" y="6"/>
                </a:cubicBezTo>
                <a:cubicBezTo>
                  <a:pt x="2534" y="6"/>
                  <a:pt x="2531" y="6"/>
                  <a:pt x="2529" y="6"/>
                </a:cubicBezTo>
                <a:cubicBezTo>
                  <a:pt x="2528" y="6"/>
                  <a:pt x="2526" y="5"/>
                  <a:pt x="2525" y="5"/>
                </a:cubicBezTo>
                <a:cubicBezTo>
                  <a:pt x="2524" y="5"/>
                  <a:pt x="2522" y="5"/>
                  <a:pt x="2521" y="5"/>
                </a:cubicBezTo>
                <a:cubicBezTo>
                  <a:pt x="2520" y="5"/>
                  <a:pt x="2518" y="5"/>
                  <a:pt x="2517" y="5"/>
                </a:cubicBezTo>
                <a:cubicBezTo>
                  <a:pt x="2514" y="5"/>
                  <a:pt x="2515" y="6"/>
                  <a:pt x="2514" y="6"/>
                </a:cubicBezTo>
                <a:cubicBezTo>
                  <a:pt x="2513" y="7"/>
                  <a:pt x="2510" y="7"/>
                  <a:pt x="2508" y="7"/>
                </a:cubicBezTo>
                <a:cubicBezTo>
                  <a:pt x="2501" y="8"/>
                  <a:pt x="2493" y="8"/>
                  <a:pt x="2486" y="8"/>
                </a:cubicBezTo>
                <a:cubicBezTo>
                  <a:pt x="2481" y="8"/>
                  <a:pt x="2476" y="8"/>
                  <a:pt x="2471" y="8"/>
                </a:cubicBezTo>
                <a:cubicBezTo>
                  <a:pt x="2468" y="7"/>
                  <a:pt x="2464" y="7"/>
                  <a:pt x="2460" y="7"/>
                </a:cubicBezTo>
                <a:cubicBezTo>
                  <a:pt x="2458" y="6"/>
                  <a:pt x="2455" y="6"/>
                  <a:pt x="2454" y="6"/>
                </a:cubicBezTo>
                <a:cubicBezTo>
                  <a:pt x="2453" y="6"/>
                  <a:pt x="2453" y="6"/>
                  <a:pt x="2453" y="6"/>
                </a:cubicBezTo>
                <a:cubicBezTo>
                  <a:pt x="2451" y="5"/>
                  <a:pt x="2450" y="5"/>
                  <a:pt x="2449" y="6"/>
                </a:cubicBezTo>
                <a:cubicBezTo>
                  <a:pt x="2448" y="6"/>
                  <a:pt x="2447" y="6"/>
                  <a:pt x="2447" y="6"/>
                </a:cubicBezTo>
                <a:cubicBezTo>
                  <a:pt x="2447" y="6"/>
                  <a:pt x="2446" y="6"/>
                  <a:pt x="2445" y="6"/>
                </a:cubicBezTo>
                <a:cubicBezTo>
                  <a:pt x="2440" y="6"/>
                  <a:pt x="2434" y="5"/>
                  <a:pt x="2429" y="6"/>
                </a:cubicBezTo>
                <a:cubicBezTo>
                  <a:pt x="2428" y="6"/>
                  <a:pt x="2428" y="6"/>
                  <a:pt x="2426" y="6"/>
                </a:cubicBezTo>
                <a:cubicBezTo>
                  <a:pt x="2422" y="5"/>
                  <a:pt x="2417" y="6"/>
                  <a:pt x="2414" y="6"/>
                </a:cubicBezTo>
                <a:cubicBezTo>
                  <a:pt x="2411" y="7"/>
                  <a:pt x="2408" y="7"/>
                  <a:pt x="2405" y="7"/>
                </a:cubicBezTo>
                <a:cubicBezTo>
                  <a:pt x="2402" y="8"/>
                  <a:pt x="2400" y="8"/>
                  <a:pt x="2398" y="9"/>
                </a:cubicBezTo>
                <a:cubicBezTo>
                  <a:pt x="2394" y="9"/>
                  <a:pt x="2391" y="9"/>
                  <a:pt x="2388" y="8"/>
                </a:cubicBezTo>
                <a:cubicBezTo>
                  <a:pt x="2384" y="8"/>
                  <a:pt x="2381" y="7"/>
                  <a:pt x="2378" y="7"/>
                </a:cubicBezTo>
                <a:cubicBezTo>
                  <a:pt x="2370" y="7"/>
                  <a:pt x="2363" y="6"/>
                  <a:pt x="2356" y="6"/>
                </a:cubicBezTo>
                <a:cubicBezTo>
                  <a:pt x="2350" y="6"/>
                  <a:pt x="2344" y="6"/>
                  <a:pt x="2338" y="6"/>
                </a:cubicBezTo>
                <a:cubicBezTo>
                  <a:pt x="2334" y="5"/>
                  <a:pt x="2329" y="5"/>
                  <a:pt x="2326" y="5"/>
                </a:cubicBezTo>
                <a:cubicBezTo>
                  <a:pt x="2325" y="5"/>
                  <a:pt x="2324" y="4"/>
                  <a:pt x="2323" y="4"/>
                </a:cubicBezTo>
                <a:cubicBezTo>
                  <a:pt x="2322" y="4"/>
                  <a:pt x="2321" y="4"/>
                  <a:pt x="2321" y="5"/>
                </a:cubicBezTo>
                <a:cubicBezTo>
                  <a:pt x="2320" y="5"/>
                  <a:pt x="2319" y="5"/>
                  <a:pt x="2318" y="5"/>
                </a:cubicBezTo>
                <a:cubicBezTo>
                  <a:pt x="2318" y="5"/>
                  <a:pt x="2317" y="5"/>
                  <a:pt x="2317" y="5"/>
                </a:cubicBezTo>
                <a:cubicBezTo>
                  <a:pt x="2317" y="4"/>
                  <a:pt x="2315" y="5"/>
                  <a:pt x="2315" y="5"/>
                </a:cubicBezTo>
                <a:cubicBezTo>
                  <a:pt x="2314" y="5"/>
                  <a:pt x="2313" y="5"/>
                  <a:pt x="2312" y="5"/>
                </a:cubicBezTo>
                <a:cubicBezTo>
                  <a:pt x="2311" y="5"/>
                  <a:pt x="2310" y="5"/>
                  <a:pt x="2309" y="5"/>
                </a:cubicBezTo>
                <a:cubicBezTo>
                  <a:pt x="2308" y="5"/>
                  <a:pt x="2307" y="5"/>
                  <a:pt x="2302" y="5"/>
                </a:cubicBezTo>
                <a:cubicBezTo>
                  <a:pt x="2287" y="5"/>
                  <a:pt x="2273" y="6"/>
                  <a:pt x="2258" y="6"/>
                </a:cubicBezTo>
                <a:cubicBezTo>
                  <a:pt x="2252" y="6"/>
                  <a:pt x="2246" y="6"/>
                  <a:pt x="2240" y="6"/>
                </a:cubicBezTo>
                <a:cubicBezTo>
                  <a:pt x="2235" y="6"/>
                  <a:pt x="2233" y="6"/>
                  <a:pt x="2229" y="5"/>
                </a:cubicBezTo>
                <a:cubicBezTo>
                  <a:pt x="2227" y="5"/>
                  <a:pt x="2226" y="4"/>
                  <a:pt x="2224" y="4"/>
                </a:cubicBezTo>
                <a:lnTo>
                  <a:pt x="2212" y="3"/>
                </a:lnTo>
                <a:cubicBezTo>
                  <a:pt x="2209" y="3"/>
                  <a:pt x="2203" y="3"/>
                  <a:pt x="2200" y="3"/>
                </a:cubicBezTo>
                <a:cubicBezTo>
                  <a:pt x="2200" y="5"/>
                  <a:pt x="2191" y="4"/>
                  <a:pt x="2189" y="3"/>
                </a:cubicBezTo>
                <a:cubicBezTo>
                  <a:pt x="2182" y="3"/>
                  <a:pt x="2175" y="3"/>
                  <a:pt x="2168" y="3"/>
                </a:cubicBezTo>
                <a:cubicBezTo>
                  <a:pt x="2165" y="3"/>
                  <a:pt x="2162" y="3"/>
                  <a:pt x="2159" y="3"/>
                </a:cubicBezTo>
                <a:cubicBezTo>
                  <a:pt x="2156" y="3"/>
                  <a:pt x="2154" y="4"/>
                  <a:pt x="2152" y="4"/>
                </a:cubicBezTo>
                <a:cubicBezTo>
                  <a:pt x="2150" y="4"/>
                  <a:pt x="2147" y="5"/>
                  <a:pt x="2144" y="4"/>
                </a:cubicBezTo>
                <a:cubicBezTo>
                  <a:pt x="2144" y="4"/>
                  <a:pt x="2143" y="4"/>
                  <a:pt x="2142" y="4"/>
                </a:cubicBezTo>
                <a:cubicBezTo>
                  <a:pt x="2144" y="3"/>
                  <a:pt x="2139" y="3"/>
                  <a:pt x="2137" y="3"/>
                </a:cubicBezTo>
                <a:cubicBezTo>
                  <a:pt x="2135" y="3"/>
                  <a:pt x="2133" y="3"/>
                  <a:pt x="2131" y="3"/>
                </a:cubicBezTo>
                <a:cubicBezTo>
                  <a:pt x="2129" y="3"/>
                  <a:pt x="2123" y="3"/>
                  <a:pt x="2122" y="3"/>
                </a:cubicBezTo>
                <a:cubicBezTo>
                  <a:pt x="2121" y="3"/>
                  <a:pt x="2121" y="4"/>
                  <a:pt x="2121" y="4"/>
                </a:cubicBezTo>
                <a:cubicBezTo>
                  <a:pt x="2121" y="4"/>
                  <a:pt x="2120" y="4"/>
                  <a:pt x="2119" y="5"/>
                </a:cubicBezTo>
                <a:cubicBezTo>
                  <a:pt x="2116" y="5"/>
                  <a:pt x="2112" y="5"/>
                  <a:pt x="2108" y="5"/>
                </a:cubicBezTo>
                <a:cubicBezTo>
                  <a:pt x="2103" y="5"/>
                  <a:pt x="2098" y="5"/>
                  <a:pt x="2093" y="4"/>
                </a:cubicBezTo>
                <a:cubicBezTo>
                  <a:pt x="2080" y="4"/>
                  <a:pt x="2048" y="3"/>
                  <a:pt x="2024" y="3"/>
                </a:cubicBezTo>
                <a:cubicBezTo>
                  <a:pt x="2015" y="3"/>
                  <a:pt x="2007" y="3"/>
                  <a:pt x="1999" y="3"/>
                </a:cubicBezTo>
                <a:cubicBezTo>
                  <a:pt x="1992" y="3"/>
                  <a:pt x="1984" y="4"/>
                  <a:pt x="1977" y="3"/>
                </a:cubicBezTo>
                <a:cubicBezTo>
                  <a:pt x="1974" y="3"/>
                  <a:pt x="1972" y="3"/>
                  <a:pt x="1969" y="3"/>
                </a:cubicBezTo>
                <a:cubicBezTo>
                  <a:pt x="1968" y="3"/>
                  <a:pt x="1968" y="3"/>
                  <a:pt x="1967" y="3"/>
                </a:cubicBezTo>
                <a:cubicBezTo>
                  <a:pt x="1966" y="3"/>
                  <a:pt x="1964" y="3"/>
                  <a:pt x="1963" y="3"/>
                </a:cubicBezTo>
                <a:cubicBezTo>
                  <a:pt x="1962" y="3"/>
                  <a:pt x="1962" y="3"/>
                  <a:pt x="1961" y="4"/>
                </a:cubicBezTo>
                <a:cubicBezTo>
                  <a:pt x="1961" y="4"/>
                  <a:pt x="1961" y="4"/>
                  <a:pt x="1958" y="4"/>
                </a:cubicBezTo>
                <a:cubicBezTo>
                  <a:pt x="1955" y="4"/>
                  <a:pt x="1952" y="4"/>
                  <a:pt x="1949" y="4"/>
                </a:cubicBezTo>
                <a:cubicBezTo>
                  <a:pt x="1944" y="3"/>
                  <a:pt x="1934" y="3"/>
                  <a:pt x="1927" y="3"/>
                </a:cubicBezTo>
                <a:cubicBezTo>
                  <a:pt x="1924" y="3"/>
                  <a:pt x="1921" y="3"/>
                  <a:pt x="1918" y="3"/>
                </a:cubicBezTo>
                <a:cubicBezTo>
                  <a:pt x="1916" y="3"/>
                  <a:pt x="1913" y="3"/>
                  <a:pt x="1910" y="3"/>
                </a:cubicBezTo>
                <a:cubicBezTo>
                  <a:pt x="1910" y="3"/>
                  <a:pt x="1909" y="3"/>
                  <a:pt x="1908" y="3"/>
                </a:cubicBezTo>
                <a:cubicBezTo>
                  <a:pt x="1908" y="3"/>
                  <a:pt x="1908" y="3"/>
                  <a:pt x="1910" y="3"/>
                </a:cubicBezTo>
                <a:cubicBezTo>
                  <a:pt x="1910" y="3"/>
                  <a:pt x="1910" y="4"/>
                  <a:pt x="1909" y="4"/>
                </a:cubicBezTo>
                <a:cubicBezTo>
                  <a:pt x="1908" y="4"/>
                  <a:pt x="1907" y="4"/>
                  <a:pt x="1906" y="4"/>
                </a:cubicBezTo>
                <a:cubicBezTo>
                  <a:pt x="1901" y="4"/>
                  <a:pt x="1896" y="4"/>
                  <a:pt x="1891" y="4"/>
                </a:cubicBezTo>
                <a:cubicBezTo>
                  <a:pt x="1880" y="3"/>
                  <a:pt x="1866" y="3"/>
                  <a:pt x="1859" y="3"/>
                </a:cubicBezTo>
                <a:cubicBezTo>
                  <a:pt x="1852" y="4"/>
                  <a:pt x="1834" y="4"/>
                  <a:pt x="1820" y="4"/>
                </a:cubicBezTo>
                <a:cubicBezTo>
                  <a:pt x="1806" y="4"/>
                  <a:pt x="1770" y="4"/>
                  <a:pt x="1740" y="3"/>
                </a:cubicBezTo>
                <a:cubicBezTo>
                  <a:pt x="1730" y="3"/>
                  <a:pt x="1720" y="3"/>
                  <a:pt x="1711" y="3"/>
                </a:cubicBezTo>
                <a:cubicBezTo>
                  <a:pt x="1705" y="3"/>
                  <a:pt x="1700" y="3"/>
                  <a:pt x="1695" y="3"/>
                </a:cubicBezTo>
                <a:cubicBezTo>
                  <a:pt x="1693" y="3"/>
                  <a:pt x="1686" y="4"/>
                  <a:pt x="1685" y="3"/>
                </a:cubicBezTo>
                <a:cubicBezTo>
                  <a:pt x="1685" y="3"/>
                  <a:pt x="1684" y="3"/>
                  <a:pt x="1683" y="3"/>
                </a:cubicBezTo>
                <a:cubicBezTo>
                  <a:pt x="1681" y="2"/>
                  <a:pt x="1673" y="2"/>
                  <a:pt x="1669" y="3"/>
                </a:cubicBezTo>
                <a:cubicBezTo>
                  <a:pt x="1664" y="3"/>
                  <a:pt x="1660" y="3"/>
                  <a:pt x="1656" y="2"/>
                </a:cubicBezTo>
                <a:cubicBezTo>
                  <a:pt x="1655" y="2"/>
                  <a:pt x="1653" y="2"/>
                  <a:pt x="1652" y="2"/>
                </a:cubicBezTo>
                <a:cubicBezTo>
                  <a:pt x="1650" y="2"/>
                  <a:pt x="1650" y="2"/>
                  <a:pt x="1649" y="2"/>
                </a:cubicBezTo>
                <a:cubicBezTo>
                  <a:pt x="1648" y="2"/>
                  <a:pt x="1647" y="2"/>
                  <a:pt x="1646" y="2"/>
                </a:cubicBezTo>
                <a:cubicBezTo>
                  <a:pt x="1645" y="2"/>
                  <a:pt x="1645" y="2"/>
                  <a:pt x="1643" y="3"/>
                </a:cubicBezTo>
                <a:cubicBezTo>
                  <a:pt x="1641" y="3"/>
                  <a:pt x="1634" y="3"/>
                  <a:pt x="1629" y="3"/>
                </a:cubicBezTo>
                <a:cubicBezTo>
                  <a:pt x="1624" y="3"/>
                  <a:pt x="1613" y="3"/>
                  <a:pt x="1605" y="3"/>
                </a:cubicBezTo>
                <a:cubicBezTo>
                  <a:pt x="1602" y="4"/>
                  <a:pt x="1599" y="4"/>
                  <a:pt x="1597" y="4"/>
                </a:cubicBezTo>
                <a:cubicBezTo>
                  <a:pt x="1594" y="4"/>
                  <a:pt x="1593" y="4"/>
                  <a:pt x="1590" y="4"/>
                </a:cubicBezTo>
                <a:cubicBezTo>
                  <a:pt x="1588" y="4"/>
                  <a:pt x="1588" y="3"/>
                  <a:pt x="1587" y="3"/>
                </a:cubicBezTo>
                <a:cubicBezTo>
                  <a:pt x="1583" y="3"/>
                  <a:pt x="1578" y="3"/>
                  <a:pt x="1574" y="3"/>
                </a:cubicBezTo>
                <a:cubicBezTo>
                  <a:pt x="1571" y="3"/>
                  <a:pt x="1567" y="3"/>
                  <a:pt x="1564" y="3"/>
                </a:cubicBezTo>
                <a:cubicBezTo>
                  <a:pt x="1561" y="3"/>
                  <a:pt x="1558" y="3"/>
                  <a:pt x="1555" y="3"/>
                </a:cubicBezTo>
                <a:cubicBezTo>
                  <a:pt x="1553" y="3"/>
                  <a:pt x="1551" y="2"/>
                  <a:pt x="1548" y="2"/>
                </a:cubicBezTo>
                <a:cubicBezTo>
                  <a:pt x="1546" y="2"/>
                  <a:pt x="1545" y="3"/>
                  <a:pt x="1544" y="3"/>
                </a:cubicBezTo>
                <a:cubicBezTo>
                  <a:pt x="1540" y="3"/>
                  <a:pt x="1536" y="3"/>
                  <a:pt x="1533" y="3"/>
                </a:cubicBezTo>
                <a:cubicBezTo>
                  <a:pt x="1527" y="3"/>
                  <a:pt x="1519" y="3"/>
                  <a:pt x="1516" y="3"/>
                </a:cubicBezTo>
                <a:cubicBezTo>
                  <a:pt x="1509" y="4"/>
                  <a:pt x="1504" y="4"/>
                  <a:pt x="1496" y="4"/>
                </a:cubicBezTo>
                <a:cubicBezTo>
                  <a:pt x="1488" y="4"/>
                  <a:pt x="1481" y="3"/>
                  <a:pt x="1474" y="3"/>
                </a:cubicBezTo>
                <a:cubicBezTo>
                  <a:pt x="1471" y="3"/>
                  <a:pt x="1467" y="3"/>
                  <a:pt x="1464" y="3"/>
                </a:cubicBezTo>
                <a:cubicBezTo>
                  <a:pt x="1463" y="3"/>
                  <a:pt x="1461" y="3"/>
                  <a:pt x="1461" y="3"/>
                </a:cubicBezTo>
                <a:cubicBezTo>
                  <a:pt x="1459" y="3"/>
                  <a:pt x="1460" y="4"/>
                  <a:pt x="1458" y="4"/>
                </a:cubicBezTo>
                <a:cubicBezTo>
                  <a:pt x="1457" y="4"/>
                  <a:pt x="1455" y="4"/>
                  <a:pt x="1454" y="4"/>
                </a:cubicBezTo>
                <a:cubicBezTo>
                  <a:pt x="1452" y="4"/>
                  <a:pt x="1448" y="4"/>
                  <a:pt x="1446" y="4"/>
                </a:cubicBezTo>
                <a:cubicBezTo>
                  <a:pt x="1444" y="3"/>
                  <a:pt x="1444" y="3"/>
                  <a:pt x="1443" y="3"/>
                </a:cubicBezTo>
                <a:cubicBezTo>
                  <a:pt x="1442" y="3"/>
                  <a:pt x="1440" y="3"/>
                  <a:pt x="1439" y="2"/>
                </a:cubicBezTo>
                <a:cubicBezTo>
                  <a:pt x="1438" y="2"/>
                  <a:pt x="1436" y="1"/>
                  <a:pt x="1435" y="1"/>
                </a:cubicBezTo>
                <a:cubicBezTo>
                  <a:pt x="1432" y="1"/>
                  <a:pt x="1431" y="2"/>
                  <a:pt x="1428" y="2"/>
                </a:cubicBezTo>
                <a:cubicBezTo>
                  <a:pt x="1428" y="2"/>
                  <a:pt x="1428" y="2"/>
                  <a:pt x="1428" y="2"/>
                </a:cubicBezTo>
                <a:cubicBezTo>
                  <a:pt x="1428" y="2"/>
                  <a:pt x="1428" y="1"/>
                  <a:pt x="1428" y="1"/>
                </a:cubicBezTo>
                <a:cubicBezTo>
                  <a:pt x="1428" y="1"/>
                  <a:pt x="1427" y="1"/>
                  <a:pt x="1427" y="1"/>
                </a:cubicBezTo>
                <a:cubicBezTo>
                  <a:pt x="1425" y="0"/>
                  <a:pt x="1423" y="0"/>
                  <a:pt x="1422" y="1"/>
                </a:cubicBezTo>
                <a:cubicBezTo>
                  <a:pt x="1421" y="1"/>
                  <a:pt x="1421" y="1"/>
                  <a:pt x="1421" y="1"/>
                </a:cubicBezTo>
                <a:cubicBezTo>
                  <a:pt x="1421" y="2"/>
                  <a:pt x="1421" y="2"/>
                  <a:pt x="1421" y="2"/>
                </a:cubicBezTo>
                <a:cubicBezTo>
                  <a:pt x="1422" y="2"/>
                  <a:pt x="1423" y="3"/>
                  <a:pt x="1424" y="3"/>
                </a:cubicBezTo>
                <a:cubicBezTo>
                  <a:pt x="1425" y="3"/>
                  <a:pt x="1423" y="3"/>
                  <a:pt x="1421" y="4"/>
                </a:cubicBezTo>
                <a:cubicBezTo>
                  <a:pt x="1420" y="4"/>
                  <a:pt x="1419" y="4"/>
                  <a:pt x="1417" y="4"/>
                </a:cubicBezTo>
                <a:cubicBezTo>
                  <a:pt x="1416" y="4"/>
                  <a:pt x="1415" y="3"/>
                  <a:pt x="1413" y="3"/>
                </a:cubicBezTo>
                <a:cubicBezTo>
                  <a:pt x="1411" y="3"/>
                  <a:pt x="1410" y="2"/>
                  <a:pt x="1407" y="2"/>
                </a:cubicBezTo>
                <a:cubicBezTo>
                  <a:pt x="1405" y="2"/>
                  <a:pt x="1402" y="2"/>
                  <a:pt x="1400" y="2"/>
                </a:cubicBezTo>
                <a:cubicBezTo>
                  <a:pt x="1395" y="2"/>
                  <a:pt x="1382" y="1"/>
                  <a:pt x="1371" y="1"/>
                </a:cubicBezTo>
                <a:cubicBezTo>
                  <a:pt x="1367" y="1"/>
                  <a:pt x="1364" y="1"/>
                  <a:pt x="1360" y="1"/>
                </a:cubicBezTo>
                <a:cubicBezTo>
                  <a:pt x="1359" y="1"/>
                  <a:pt x="1354" y="1"/>
                  <a:pt x="1352" y="1"/>
                </a:cubicBezTo>
                <a:cubicBezTo>
                  <a:pt x="1351" y="1"/>
                  <a:pt x="1350" y="2"/>
                  <a:pt x="1351" y="2"/>
                </a:cubicBezTo>
                <a:cubicBezTo>
                  <a:pt x="1348" y="2"/>
                  <a:pt x="1345" y="2"/>
                  <a:pt x="1342" y="2"/>
                </a:cubicBezTo>
                <a:cubicBezTo>
                  <a:pt x="1339" y="3"/>
                  <a:pt x="1335" y="3"/>
                  <a:pt x="1332" y="3"/>
                </a:cubicBezTo>
                <a:cubicBezTo>
                  <a:pt x="1327" y="3"/>
                  <a:pt x="1320" y="3"/>
                  <a:pt x="1316" y="3"/>
                </a:cubicBezTo>
                <a:cubicBezTo>
                  <a:pt x="1315" y="3"/>
                  <a:pt x="1313" y="2"/>
                  <a:pt x="1312" y="2"/>
                </a:cubicBezTo>
                <a:cubicBezTo>
                  <a:pt x="1311" y="2"/>
                  <a:pt x="1309" y="1"/>
                  <a:pt x="1309" y="1"/>
                </a:cubicBezTo>
                <a:cubicBezTo>
                  <a:pt x="1310" y="1"/>
                  <a:pt x="1311" y="1"/>
                  <a:pt x="1309" y="0"/>
                </a:cubicBezTo>
                <a:cubicBezTo>
                  <a:pt x="1305" y="0"/>
                  <a:pt x="1301" y="0"/>
                  <a:pt x="1297" y="0"/>
                </a:cubicBezTo>
                <a:cubicBezTo>
                  <a:pt x="1295" y="0"/>
                  <a:pt x="1292" y="1"/>
                  <a:pt x="1289" y="1"/>
                </a:cubicBezTo>
                <a:cubicBezTo>
                  <a:pt x="1287" y="1"/>
                  <a:pt x="1285" y="1"/>
                  <a:pt x="1284" y="1"/>
                </a:cubicBezTo>
                <a:cubicBezTo>
                  <a:pt x="1283" y="1"/>
                  <a:pt x="1283" y="1"/>
                  <a:pt x="1282" y="1"/>
                </a:cubicBezTo>
                <a:cubicBezTo>
                  <a:pt x="1280" y="2"/>
                  <a:pt x="1277" y="2"/>
                  <a:pt x="1275" y="3"/>
                </a:cubicBezTo>
                <a:cubicBezTo>
                  <a:pt x="1274" y="3"/>
                  <a:pt x="1273" y="3"/>
                  <a:pt x="1272" y="3"/>
                </a:cubicBezTo>
                <a:cubicBezTo>
                  <a:pt x="1272" y="3"/>
                  <a:pt x="1269" y="3"/>
                  <a:pt x="1269" y="3"/>
                </a:cubicBezTo>
                <a:cubicBezTo>
                  <a:pt x="1268" y="3"/>
                  <a:pt x="1268" y="3"/>
                  <a:pt x="1266" y="2"/>
                </a:cubicBezTo>
                <a:cubicBezTo>
                  <a:pt x="1266" y="2"/>
                  <a:pt x="1264" y="2"/>
                  <a:pt x="1263" y="2"/>
                </a:cubicBezTo>
                <a:cubicBezTo>
                  <a:pt x="1256" y="2"/>
                  <a:pt x="1250" y="2"/>
                  <a:pt x="1243" y="2"/>
                </a:cubicBezTo>
                <a:cubicBezTo>
                  <a:pt x="1240" y="2"/>
                  <a:pt x="1233" y="3"/>
                  <a:pt x="1231" y="2"/>
                </a:cubicBezTo>
                <a:cubicBezTo>
                  <a:pt x="1229" y="2"/>
                  <a:pt x="1217" y="2"/>
                  <a:pt x="1202" y="2"/>
                </a:cubicBezTo>
                <a:cubicBezTo>
                  <a:pt x="1198" y="2"/>
                  <a:pt x="1193" y="2"/>
                  <a:pt x="1188" y="2"/>
                </a:cubicBezTo>
                <a:cubicBezTo>
                  <a:pt x="1184" y="2"/>
                  <a:pt x="1179" y="1"/>
                  <a:pt x="1176" y="2"/>
                </a:cubicBezTo>
                <a:cubicBezTo>
                  <a:pt x="1175" y="2"/>
                  <a:pt x="1173" y="2"/>
                  <a:pt x="1171" y="3"/>
                </a:cubicBezTo>
                <a:cubicBezTo>
                  <a:pt x="1169" y="3"/>
                  <a:pt x="1165" y="3"/>
                  <a:pt x="1161" y="3"/>
                </a:cubicBezTo>
                <a:cubicBezTo>
                  <a:pt x="1160" y="3"/>
                  <a:pt x="1157" y="3"/>
                  <a:pt x="1156" y="3"/>
                </a:cubicBezTo>
                <a:cubicBezTo>
                  <a:pt x="1155" y="3"/>
                  <a:pt x="1154" y="3"/>
                  <a:pt x="1152" y="2"/>
                </a:cubicBezTo>
                <a:cubicBezTo>
                  <a:pt x="1150" y="2"/>
                  <a:pt x="1147" y="2"/>
                  <a:pt x="1145" y="2"/>
                </a:cubicBezTo>
                <a:cubicBezTo>
                  <a:pt x="1142" y="2"/>
                  <a:pt x="1138" y="2"/>
                  <a:pt x="1135" y="2"/>
                </a:cubicBezTo>
                <a:cubicBezTo>
                  <a:pt x="1128" y="2"/>
                  <a:pt x="1120" y="2"/>
                  <a:pt x="1115" y="3"/>
                </a:cubicBezTo>
                <a:cubicBezTo>
                  <a:pt x="1112" y="3"/>
                  <a:pt x="1106" y="4"/>
                  <a:pt x="1102" y="3"/>
                </a:cubicBezTo>
                <a:cubicBezTo>
                  <a:pt x="1099" y="3"/>
                  <a:pt x="1095" y="3"/>
                  <a:pt x="1093" y="3"/>
                </a:cubicBezTo>
                <a:cubicBezTo>
                  <a:pt x="1092" y="3"/>
                  <a:pt x="1091" y="2"/>
                  <a:pt x="1088" y="2"/>
                </a:cubicBezTo>
                <a:cubicBezTo>
                  <a:pt x="1084" y="2"/>
                  <a:pt x="1079" y="2"/>
                  <a:pt x="1075" y="2"/>
                </a:cubicBezTo>
                <a:cubicBezTo>
                  <a:pt x="1067" y="2"/>
                  <a:pt x="1056" y="2"/>
                  <a:pt x="1052" y="1"/>
                </a:cubicBezTo>
                <a:cubicBezTo>
                  <a:pt x="1048" y="1"/>
                  <a:pt x="1034" y="1"/>
                  <a:pt x="1020" y="1"/>
                </a:cubicBezTo>
                <a:cubicBezTo>
                  <a:pt x="1013" y="1"/>
                  <a:pt x="1006" y="1"/>
                  <a:pt x="998" y="1"/>
                </a:cubicBezTo>
                <a:cubicBezTo>
                  <a:pt x="998" y="1"/>
                  <a:pt x="997" y="1"/>
                  <a:pt x="997" y="1"/>
                </a:cubicBezTo>
                <a:cubicBezTo>
                  <a:pt x="996" y="1"/>
                  <a:pt x="996" y="2"/>
                  <a:pt x="997" y="2"/>
                </a:cubicBezTo>
                <a:cubicBezTo>
                  <a:pt x="997" y="2"/>
                  <a:pt x="996" y="2"/>
                  <a:pt x="995" y="2"/>
                </a:cubicBezTo>
                <a:cubicBezTo>
                  <a:pt x="994" y="2"/>
                  <a:pt x="993" y="2"/>
                  <a:pt x="992" y="2"/>
                </a:cubicBezTo>
                <a:cubicBezTo>
                  <a:pt x="988" y="3"/>
                  <a:pt x="986" y="3"/>
                  <a:pt x="982" y="3"/>
                </a:cubicBezTo>
                <a:cubicBezTo>
                  <a:pt x="980" y="3"/>
                  <a:pt x="977" y="3"/>
                  <a:pt x="975" y="3"/>
                </a:cubicBezTo>
                <a:cubicBezTo>
                  <a:pt x="970" y="3"/>
                  <a:pt x="965" y="3"/>
                  <a:pt x="959" y="3"/>
                </a:cubicBezTo>
                <a:cubicBezTo>
                  <a:pt x="952" y="3"/>
                  <a:pt x="944" y="3"/>
                  <a:pt x="937" y="3"/>
                </a:cubicBezTo>
                <a:cubicBezTo>
                  <a:pt x="933" y="3"/>
                  <a:pt x="930" y="3"/>
                  <a:pt x="926" y="3"/>
                </a:cubicBezTo>
                <a:cubicBezTo>
                  <a:pt x="925" y="3"/>
                  <a:pt x="922" y="3"/>
                  <a:pt x="921" y="3"/>
                </a:cubicBezTo>
                <a:cubicBezTo>
                  <a:pt x="920" y="3"/>
                  <a:pt x="921" y="3"/>
                  <a:pt x="921" y="3"/>
                </a:cubicBezTo>
                <a:cubicBezTo>
                  <a:pt x="920" y="2"/>
                  <a:pt x="919" y="2"/>
                  <a:pt x="917" y="2"/>
                </a:cubicBezTo>
                <a:cubicBezTo>
                  <a:pt x="915" y="2"/>
                  <a:pt x="912" y="2"/>
                  <a:pt x="909" y="2"/>
                </a:cubicBezTo>
                <a:cubicBezTo>
                  <a:pt x="902" y="2"/>
                  <a:pt x="892" y="2"/>
                  <a:pt x="886" y="2"/>
                </a:cubicBezTo>
                <a:cubicBezTo>
                  <a:pt x="882" y="2"/>
                  <a:pt x="876" y="1"/>
                  <a:pt x="873" y="2"/>
                </a:cubicBezTo>
                <a:cubicBezTo>
                  <a:pt x="872" y="2"/>
                  <a:pt x="871" y="2"/>
                  <a:pt x="871" y="3"/>
                </a:cubicBezTo>
                <a:cubicBezTo>
                  <a:pt x="871" y="3"/>
                  <a:pt x="871" y="3"/>
                  <a:pt x="871" y="3"/>
                </a:cubicBezTo>
                <a:cubicBezTo>
                  <a:pt x="870" y="3"/>
                  <a:pt x="869" y="3"/>
                  <a:pt x="868" y="3"/>
                </a:cubicBezTo>
                <a:cubicBezTo>
                  <a:pt x="860" y="3"/>
                  <a:pt x="852" y="3"/>
                  <a:pt x="844" y="3"/>
                </a:cubicBezTo>
                <a:cubicBezTo>
                  <a:pt x="838" y="3"/>
                  <a:pt x="832" y="3"/>
                  <a:pt x="826" y="3"/>
                </a:cubicBezTo>
                <a:cubicBezTo>
                  <a:pt x="824" y="3"/>
                  <a:pt x="822" y="3"/>
                  <a:pt x="821" y="3"/>
                </a:cubicBezTo>
                <a:cubicBezTo>
                  <a:pt x="821" y="3"/>
                  <a:pt x="822" y="3"/>
                  <a:pt x="820" y="3"/>
                </a:cubicBezTo>
                <a:cubicBezTo>
                  <a:pt x="820" y="3"/>
                  <a:pt x="819" y="3"/>
                  <a:pt x="818" y="3"/>
                </a:cubicBezTo>
                <a:cubicBezTo>
                  <a:pt x="814" y="3"/>
                  <a:pt x="806" y="4"/>
                  <a:pt x="802" y="3"/>
                </a:cubicBezTo>
                <a:cubicBezTo>
                  <a:pt x="802" y="3"/>
                  <a:pt x="802" y="3"/>
                  <a:pt x="802" y="3"/>
                </a:cubicBezTo>
                <a:cubicBezTo>
                  <a:pt x="802" y="3"/>
                  <a:pt x="802" y="3"/>
                  <a:pt x="802" y="2"/>
                </a:cubicBezTo>
                <a:cubicBezTo>
                  <a:pt x="802" y="2"/>
                  <a:pt x="801" y="1"/>
                  <a:pt x="800" y="1"/>
                </a:cubicBezTo>
                <a:cubicBezTo>
                  <a:pt x="799" y="1"/>
                  <a:pt x="797" y="1"/>
                  <a:pt x="796" y="1"/>
                </a:cubicBezTo>
                <a:cubicBezTo>
                  <a:pt x="794" y="1"/>
                  <a:pt x="793" y="1"/>
                  <a:pt x="792" y="1"/>
                </a:cubicBezTo>
                <a:cubicBezTo>
                  <a:pt x="791" y="1"/>
                  <a:pt x="791" y="1"/>
                  <a:pt x="790" y="2"/>
                </a:cubicBezTo>
                <a:cubicBezTo>
                  <a:pt x="788" y="2"/>
                  <a:pt x="787" y="0"/>
                  <a:pt x="785" y="0"/>
                </a:cubicBezTo>
                <a:cubicBezTo>
                  <a:pt x="781" y="0"/>
                  <a:pt x="776" y="0"/>
                  <a:pt x="772" y="0"/>
                </a:cubicBezTo>
                <a:cubicBezTo>
                  <a:pt x="761" y="0"/>
                  <a:pt x="751" y="0"/>
                  <a:pt x="740" y="0"/>
                </a:cubicBezTo>
                <a:cubicBezTo>
                  <a:pt x="731" y="0"/>
                  <a:pt x="723" y="0"/>
                  <a:pt x="714" y="0"/>
                </a:cubicBezTo>
                <a:cubicBezTo>
                  <a:pt x="710" y="0"/>
                  <a:pt x="705" y="0"/>
                  <a:pt x="701" y="0"/>
                </a:cubicBezTo>
                <a:cubicBezTo>
                  <a:pt x="698" y="0"/>
                  <a:pt x="693" y="0"/>
                  <a:pt x="692" y="1"/>
                </a:cubicBezTo>
                <a:cubicBezTo>
                  <a:pt x="691" y="2"/>
                  <a:pt x="690" y="2"/>
                  <a:pt x="687" y="2"/>
                </a:cubicBezTo>
                <a:cubicBezTo>
                  <a:pt x="685" y="2"/>
                  <a:pt x="681" y="3"/>
                  <a:pt x="679" y="3"/>
                </a:cubicBezTo>
                <a:cubicBezTo>
                  <a:pt x="676" y="4"/>
                  <a:pt x="675" y="4"/>
                  <a:pt x="669" y="4"/>
                </a:cubicBezTo>
                <a:cubicBezTo>
                  <a:pt x="665" y="4"/>
                  <a:pt x="661" y="4"/>
                  <a:pt x="657" y="4"/>
                </a:cubicBezTo>
                <a:cubicBezTo>
                  <a:pt x="652" y="4"/>
                  <a:pt x="645" y="4"/>
                  <a:pt x="639" y="4"/>
                </a:cubicBezTo>
                <a:cubicBezTo>
                  <a:pt x="638" y="4"/>
                  <a:pt x="637" y="4"/>
                  <a:pt x="636" y="4"/>
                </a:cubicBezTo>
                <a:cubicBezTo>
                  <a:pt x="634" y="4"/>
                  <a:pt x="634" y="4"/>
                  <a:pt x="633" y="4"/>
                </a:cubicBezTo>
                <a:cubicBezTo>
                  <a:pt x="632" y="4"/>
                  <a:pt x="631" y="4"/>
                  <a:pt x="630" y="4"/>
                </a:cubicBezTo>
                <a:cubicBezTo>
                  <a:pt x="627" y="4"/>
                  <a:pt x="624" y="4"/>
                  <a:pt x="621" y="4"/>
                </a:cubicBezTo>
                <a:cubicBezTo>
                  <a:pt x="618" y="4"/>
                  <a:pt x="614" y="4"/>
                  <a:pt x="610" y="4"/>
                </a:cubicBezTo>
                <a:cubicBezTo>
                  <a:pt x="610" y="4"/>
                  <a:pt x="609" y="4"/>
                  <a:pt x="608" y="4"/>
                </a:cubicBezTo>
                <a:cubicBezTo>
                  <a:pt x="608" y="3"/>
                  <a:pt x="608" y="3"/>
                  <a:pt x="606" y="3"/>
                </a:cubicBezTo>
                <a:cubicBezTo>
                  <a:pt x="605" y="3"/>
                  <a:pt x="603" y="3"/>
                  <a:pt x="602" y="3"/>
                </a:cubicBezTo>
                <a:cubicBezTo>
                  <a:pt x="600" y="3"/>
                  <a:pt x="599" y="3"/>
                  <a:pt x="597" y="3"/>
                </a:cubicBezTo>
                <a:cubicBezTo>
                  <a:pt x="597" y="3"/>
                  <a:pt x="596" y="3"/>
                  <a:pt x="596" y="3"/>
                </a:cubicBezTo>
                <a:cubicBezTo>
                  <a:pt x="595" y="3"/>
                  <a:pt x="596" y="3"/>
                  <a:pt x="596" y="3"/>
                </a:cubicBezTo>
                <a:cubicBezTo>
                  <a:pt x="600" y="5"/>
                  <a:pt x="594" y="4"/>
                  <a:pt x="590" y="4"/>
                </a:cubicBezTo>
                <a:cubicBezTo>
                  <a:pt x="586" y="5"/>
                  <a:pt x="582" y="4"/>
                  <a:pt x="579" y="3"/>
                </a:cubicBezTo>
                <a:cubicBezTo>
                  <a:pt x="576" y="3"/>
                  <a:pt x="572" y="3"/>
                  <a:pt x="568" y="3"/>
                </a:cubicBezTo>
                <a:cubicBezTo>
                  <a:pt x="566" y="3"/>
                  <a:pt x="563" y="3"/>
                  <a:pt x="561" y="3"/>
                </a:cubicBezTo>
                <a:cubicBezTo>
                  <a:pt x="561" y="3"/>
                  <a:pt x="560" y="3"/>
                  <a:pt x="560" y="3"/>
                </a:cubicBezTo>
                <a:cubicBezTo>
                  <a:pt x="560" y="3"/>
                  <a:pt x="560" y="4"/>
                  <a:pt x="560" y="4"/>
                </a:cubicBezTo>
                <a:cubicBezTo>
                  <a:pt x="560" y="4"/>
                  <a:pt x="559" y="4"/>
                  <a:pt x="558" y="4"/>
                </a:cubicBezTo>
                <a:cubicBezTo>
                  <a:pt x="552" y="5"/>
                  <a:pt x="544" y="5"/>
                  <a:pt x="537" y="5"/>
                </a:cubicBezTo>
                <a:cubicBezTo>
                  <a:pt x="530" y="5"/>
                  <a:pt x="523" y="5"/>
                  <a:pt x="516" y="5"/>
                </a:cubicBezTo>
                <a:cubicBezTo>
                  <a:pt x="507" y="5"/>
                  <a:pt x="498" y="5"/>
                  <a:pt x="489" y="5"/>
                </a:cubicBezTo>
                <a:cubicBezTo>
                  <a:pt x="485" y="5"/>
                  <a:pt x="481" y="5"/>
                  <a:pt x="476" y="5"/>
                </a:cubicBezTo>
                <a:cubicBezTo>
                  <a:pt x="475" y="5"/>
                  <a:pt x="474" y="5"/>
                  <a:pt x="473" y="5"/>
                </a:cubicBezTo>
                <a:cubicBezTo>
                  <a:pt x="473" y="4"/>
                  <a:pt x="474" y="4"/>
                  <a:pt x="472" y="3"/>
                </a:cubicBezTo>
                <a:cubicBezTo>
                  <a:pt x="469" y="3"/>
                  <a:pt x="459" y="4"/>
                  <a:pt x="457" y="3"/>
                </a:cubicBezTo>
                <a:cubicBezTo>
                  <a:pt x="457" y="3"/>
                  <a:pt x="458" y="3"/>
                  <a:pt x="458" y="3"/>
                </a:cubicBezTo>
                <a:cubicBezTo>
                  <a:pt x="458" y="3"/>
                  <a:pt x="457" y="3"/>
                  <a:pt x="457" y="3"/>
                </a:cubicBezTo>
                <a:cubicBezTo>
                  <a:pt x="456" y="3"/>
                  <a:pt x="455" y="3"/>
                  <a:pt x="454" y="3"/>
                </a:cubicBezTo>
                <a:cubicBezTo>
                  <a:pt x="439" y="3"/>
                  <a:pt x="425" y="3"/>
                  <a:pt x="410" y="3"/>
                </a:cubicBezTo>
                <a:cubicBezTo>
                  <a:pt x="407" y="3"/>
                  <a:pt x="404" y="3"/>
                  <a:pt x="400" y="3"/>
                </a:cubicBezTo>
                <a:cubicBezTo>
                  <a:pt x="396" y="4"/>
                  <a:pt x="395" y="4"/>
                  <a:pt x="392" y="5"/>
                </a:cubicBezTo>
                <a:cubicBezTo>
                  <a:pt x="389" y="6"/>
                  <a:pt x="387" y="6"/>
                  <a:pt x="383" y="7"/>
                </a:cubicBezTo>
                <a:cubicBezTo>
                  <a:pt x="380" y="7"/>
                  <a:pt x="377" y="7"/>
                  <a:pt x="374" y="7"/>
                </a:cubicBezTo>
                <a:cubicBezTo>
                  <a:pt x="371" y="7"/>
                  <a:pt x="368" y="7"/>
                  <a:pt x="365" y="7"/>
                </a:cubicBezTo>
                <a:cubicBezTo>
                  <a:pt x="365" y="7"/>
                  <a:pt x="364" y="7"/>
                  <a:pt x="364" y="6"/>
                </a:cubicBezTo>
                <a:cubicBezTo>
                  <a:pt x="364" y="6"/>
                  <a:pt x="363" y="5"/>
                  <a:pt x="362" y="5"/>
                </a:cubicBezTo>
                <a:cubicBezTo>
                  <a:pt x="359" y="5"/>
                  <a:pt x="356" y="5"/>
                  <a:pt x="353" y="5"/>
                </a:cubicBezTo>
                <a:cubicBezTo>
                  <a:pt x="349" y="5"/>
                  <a:pt x="348" y="5"/>
                  <a:pt x="345" y="4"/>
                </a:cubicBezTo>
                <a:cubicBezTo>
                  <a:pt x="343" y="3"/>
                  <a:pt x="340" y="3"/>
                  <a:pt x="336" y="3"/>
                </a:cubicBezTo>
                <a:cubicBezTo>
                  <a:pt x="333" y="3"/>
                  <a:pt x="329" y="3"/>
                  <a:pt x="326" y="3"/>
                </a:cubicBezTo>
                <a:cubicBezTo>
                  <a:pt x="322" y="3"/>
                  <a:pt x="316" y="3"/>
                  <a:pt x="312" y="3"/>
                </a:cubicBezTo>
                <a:cubicBezTo>
                  <a:pt x="310" y="3"/>
                  <a:pt x="309" y="4"/>
                  <a:pt x="307" y="4"/>
                </a:cubicBezTo>
                <a:cubicBezTo>
                  <a:pt x="304" y="5"/>
                  <a:pt x="301" y="4"/>
                  <a:pt x="299" y="4"/>
                </a:cubicBezTo>
                <a:cubicBezTo>
                  <a:pt x="294" y="4"/>
                  <a:pt x="278" y="4"/>
                  <a:pt x="263" y="4"/>
                </a:cubicBezTo>
                <a:cubicBezTo>
                  <a:pt x="257" y="4"/>
                  <a:pt x="252" y="4"/>
                  <a:pt x="246" y="4"/>
                </a:cubicBezTo>
                <a:cubicBezTo>
                  <a:pt x="217" y="5"/>
                  <a:pt x="190" y="3"/>
                  <a:pt x="160" y="3"/>
                </a:cubicBezTo>
                <a:cubicBezTo>
                  <a:pt x="160" y="3"/>
                  <a:pt x="160" y="3"/>
                  <a:pt x="160" y="3"/>
                </a:cubicBezTo>
                <a:cubicBezTo>
                  <a:pt x="160" y="3"/>
                  <a:pt x="159" y="3"/>
                  <a:pt x="159" y="3"/>
                </a:cubicBezTo>
                <a:cubicBezTo>
                  <a:pt x="159" y="3"/>
                  <a:pt x="158" y="3"/>
                  <a:pt x="158" y="3"/>
                </a:cubicBezTo>
                <a:cubicBezTo>
                  <a:pt x="158" y="3"/>
                  <a:pt x="158" y="3"/>
                  <a:pt x="157" y="3"/>
                </a:cubicBezTo>
                <a:cubicBezTo>
                  <a:pt x="157" y="3"/>
                  <a:pt x="157" y="3"/>
                  <a:pt x="157" y="3"/>
                </a:cubicBezTo>
                <a:cubicBezTo>
                  <a:pt x="146" y="3"/>
                  <a:pt x="134" y="3"/>
                  <a:pt x="121" y="3"/>
                </a:cubicBezTo>
                <a:cubicBezTo>
                  <a:pt x="121" y="3"/>
                  <a:pt x="121" y="3"/>
                  <a:pt x="121" y="3"/>
                </a:cubicBezTo>
                <a:cubicBezTo>
                  <a:pt x="120" y="3"/>
                  <a:pt x="120" y="3"/>
                  <a:pt x="120" y="3"/>
                </a:cubicBezTo>
                <a:cubicBezTo>
                  <a:pt x="119" y="3"/>
                  <a:pt x="117" y="3"/>
                  <a:pt x="116" y="3"/>
                </a:cubicBezTo>
                <a:cubicBezTo>
                  <a:pt x="111" y="3"/>
                  <a:pt x="107" y="3"/>
                  <a:pt x="102" y="3"/>
                </a:cubicBezTo>
                <a:cubicBezTo>
                  <a:pt x="84" y="3"/>
                  <a:pt x="59" y="3"/>
                  <a:pt x="37" y="3"/>
                </a:cubicBezTo>
                <a:cubicBezTo>
                  <a:pt x="34" y="3"/>
                  <a:pt x="30" y="3"/>
                  <a:pt x="27" y="3"/>
                </a:cubicBezTo>
                <a:cubicBezTo>
                  <a:pt x="19" y="3"/>
                  <a:pt x="7" y="1"/>
                  <a:pt x="1" y="7"/>
                </a:cubicBezTo>
                <a:cubicBezTo>
                  <a:pt x="0" y="9"/>
                  <a:pt x="0" y="11"/>
                  <a:pt x="0" y="14"/>
                </a:cubicBezTo>
                <a:cubicBezTo>
                  <a:pt x="0" y="14"/>
                  <a:pt x="0" y="15"/>
                  <a:pt x="0" y="15"/>
                </a:cubicBezTo>
                <a:cubicBezTo>
                  <a:pt x="0" y="19"/>
                  <a:pt x="0" y="24"/>
                  <a:pt x="0" y="27"/>
                </a:cubicBezTo>
                <a:cubicBezTo>
                  <a:pt x="0" y="31"/>
                  <a:pt x="2" y="34"/>
                  <a:pt x="3" y="38"/>
                </a:cubicBezTo>
                <a:cubicBezTo>
                  <a:pt x="3" y="39"/>
                  <a:pt x="3" y="43"/>
                  <a:pt x="4" y="44"/>
                </a:cubicBezTo>
                <a:cubicBezTo>
                  <a:pt x="5" y="46"/>
                  <a:pt x="6" y="46"/>
                  <a:pt x="7" y="47"/>
                </a:cubicBezTo>
                <a:cubicBezTo>
                  <a:pt x="12" y="49"/>
                  <a:pt x="14" y="50"/>
                  <a:pt x="19" y="51"/>
                </a:cubicBezTo>
                <a:cubicBezTo>
                  <a:pt x="24" y="52"/>
                  <a:pt x="29" y="53"/>
                  <a:pt x="34" y="53"/>
                </a:cubicBezTo>
                <a:cubicBezTo>
                  <a:pt x="38" y="54"/>
                  <a:pt x="43" y="54"/>
                  <a:pt x="48" y="54"/>
                </a:cubicBezTo>
                <a:cubicBezTo>
                  <a:pt x="49" y="54"/>
                  <a:pt x="50" y="54"/>
                  <a:pt x="52" y="53"/>
                </a:cubicBezTo>
                <a:cubicBezTo>
                  <a:pt x="53" y="53"/>
                  <a:pt x="54" y="53"/>
                  <a:pt x="55" y="53"/>
                </a:cubicBezTo>
                <a:cubicBezTo>
                  <a:pt x="56" y="53"/>
                  <a:pt x="58" y="54"/>
                  <a:pt x="59" y="54"/>
                </a:cubicBezTo>
                <a:cubicBezTo>
                  <a:pt x="61" y="54"/>
                  <a:pt x="62" y="54"/>
                  <a:pt x="63" y="54"/>
                </a:cubicBezTo>
                <a:cubicBezTo>
                  <a:pt x="66" y="54"/>
                  <a:pt x="68" y="55"/>
                  <a:pt x="70" y="55"/>
                </a:cubicBezTo>
                <a:cubicBezTo>
                  <a:pt x="72" y="55"/>
                  <a:pt x="74" y="54"/>
                  <a:pt x="76" y="54"/>
                </a:cubicBezTo>
                <a:cubicBezTo>
                  <a:pt x="78" y="54"/>
                  <a:pt x="81" y="54"/>
                  <a:pt x="83" y="54"/>
                </a:cubicBezTo>
                <a:cubicBezTo>
                  <a:pt x="84" y="54"/>
                  <a:pt x="86" y="53"/>
                  <a:pt x="87" y="53"/>
                </a:cubicBezTo>
                <a:cubicBezTo>
                  <a:pt x="89" y="52"/>
                  <a:pt x="91" y="52"/>
                  <a:pt x="93" y="53"/>
                </a:cubicBezTo>
                <a:cubicBezTo>
                  <a:pt x="98" y="53"/>
                  <a:pt x="104" y="53"/>
                  <a:pt x="111" y="53"/>
                </a:cubicBezTo>
                <a:cubicBezTo>
                  <a:pt x="117" y="53"/>
                  <a:pt x="123" y="53"/>
                  <a:pt x="129" y="53"/>
                </a:cubicBezTo>
                <a:cubicBezTo>
                  <a:pt x="146" y="54"/>
                  <a:pt x="164" y="54"/>
                  <a:pt x="181" y="54"/>
                </a:cubicBezTo>
                <a:cubicBezTo>
                  <a:pt x="187" y="54"/>
                  <a:pt x="192" y="54"/>
                  <a:pt x="198" y="53"/>
                </a:cubicBezTo>
                <a:cubicBezTo>
                  <a:pt x="201" y="53"/>
                  <a:pt x="205" y="53"/>
                  <a:pt x="209" y="53"/>
                </a:cubicBezTo>
                <a:cubicBezTo>
                  <a:pt x="214" y="53"/>
                  <a:pt x="220" y="54"/>
                  <a:pt x="226" y="54"/>
                </a:cubicBezTo>
                <a:cubicBezTo>
                  <a:pt x="231" y="54"/>
                  <a:pt x="236" y="54"/>
                  <a:pt x="241" y="54"/>
                </a:cubicBezTo>
                <a:cubicBezTo>
                  <a:pt x="249" y="54"/>
                  <a:pt x="257" y="55"/>
                  <a:pt x="264" y="55"/>
                </a:cubicBezTo>
                <a:cubicBezTo>
                  <a:pt x="272" y="55"/>
                  <a:pt x="280" y="54"/>
                  <a:pt x="288" y="54"/>
                </a:cubicBezTo>
                <a:cubicBezTo>
                  <a:pt x="297" y="54"/>
                  <a:pt x="306" y="54"/>
                  <a:pt x="315" y="54"/>
                </a:cubicBezTo>
                <a:cubicBezTo>
                  <a:pt x="321" y="54"/>
                  <a:pt x="325" y="53"/>
                  <a:pt x="330" y="53"/>
                </a:cubicBezTo>
                <a:cubicBezTo>
                  <a:pt x="337" y="52"/>
                  <a:pt x="345" y="52"/>
                  <a:pt x="352" y="53"/>
                </a:cubicBezTo>
                <a:cubicBezTo>
                  <a:pt x="490" y="54"/>
                  <a:pt x="829" y="54"/>
                  <a:pt x="894" y="53"/>
                </a:cubicBezTo>
                <a:cubicBezTo>
                  <a:pt x="908" y="53"/>
                  <a:pt x="939" y="53"/>
                  <a:pt x="962" y="53"/>
                </a:cubicBezTo>
                <a:cubicBezTo>
                  <a:pt x="985" y="53"/>
                  <a:pt x="1020" y="53"/>
                  <a:pt x="1041" y="52"/>
                </a:cubicBezTo>
                <a:cubicBezTo>
                  <a:pt x="1151" y="52"/>
                  <a:pt x="1195" y="51"/>
                  <a:pt x="1306" y="51"/>
                </a:cubicBezTo>
                <a:cubicBezTo>
                  <a:pt x="1314" y="51"/>
                  <a:pt x="1323" y="51"/>
                  <a:pt x="1332" y="51"/>
                </a:cubicBezTo>
                <a:cubicBezTo>
                  <a:pt x="1339" y="51"/>
                  <a:pt x="1350" y="51"/>
                  <a:pt x="1356" y="51"/>
                </a:cubicBezTo>
                <a:cubicBezTo>
                  <a:pt x="1357" y="50"/>
                  <a:pt x="1357" y="50"/>
                  <a:pt x="1358" y="50"/>
                </a:cubicBezTo>
                <a:cubicBezTo>
                  <a:pt x="1361" y="50"/>
                  <a:pt x="1363" y="51"/>
                  <a:pt x="1366" y="51"/>
                </a:cubicBezTo>
                <a:cubicBezTo>
                  <a:pt x="1368" y="52"/>
                  <a:pt x="1371" y="52"/>
                  <a:pt x="1375" y="52"/>
                </a:cubicBezTo>
                <a:cubicBezTo>
                  <a:pt x="1376" y="52"/>
                  <a:pt x="1376" y="51"/>
                  <a:pt x="1377" y="51"/>
                </a:cubicBezTo>
                <a:cubicBezTo>
                  <a:pt x="1380" y="50"/>
                  <a:pt x="1385" y="50"/>
                  <a:pt x="1390" y="50"/>
                </a:cubicBezTo>
                <a:cubicBezTo>
                  <a:pt x="1396" y="50"/>
                  <a:pt x="1403" y="50"/>
                  <a:pt x="1410" y="50"/>
                </a:cubicBezTo>
                <a:cubicBezTo>
                  <a:pt x="1424" y="50"/>
                  <a:pt x="1439" y="50"/>
                  <a:pt x="1454" y="50"/>
                </a:cubicBezTo>
                <a:cubicBezTo>
                  <a:pt x="1468" y="50"/>
                  <a:pt x="1483" y="50"/>
                  <a:pt x="1497" y="50"/>
                </a:cubicBezTo>
                <a:cubicBezTo>
                  <a:pt x="1503" y="50"/>
                  <a:pt x="1509" y="50"/>
                  <a:pt x="1514" y="50"/>
                </a:cubicBezTo>
                <a:cubicBezTo>
                  <a:pt x="1520" y="50"/>
                  <a:pt x="1528" y="50"/>
                  <a:pt x="1533" y="51"/>
                </a:cubicBezTo>
                <a:cubicBezTo>
                  <a:pt x="1537" y="52"/>
                  <a:pt x="1541" y="53"/>
                  <a:pt x="1546" y="51"/>
                </a:cubicBezTo>
                <a:cubicBezTo>
                  <a:pt x="1547" y="51"/>
                  <a:pt x="1547" y="51"/>
                  <a:pt x="1548" y="51"/>
                </a:cubicBezTo>
                <a:cubicBezTo>
                  <a:pt x="1549" y="51"/>
                  <a:pt x="1550" y="51"/>
                  <a:pt x="1551" y="51"/>
                </a:cubicBezTo>
                <a:cubicBezTo>
                  <a:pt x="1565" y="50"/>
                  <a:pt x="1582" y="50"/>
                  <a:pt x="1596" y="50"/>
                </a:cubicBezTo>
                <a:cubicBezTo>
                  <a:pt x="1613" y="50"/>
                  <a:pt x="1629" y="50"/>
                  <a:pt x="1645" y="50"/>
                </a:cubicBezTo>
                <a:cubicBezTo>
                  <a:pt x="1678" y="50"/>
                  <a:pt x="1711" y="51"/>
                  <a:pt x="1744" y="51"/>
                </a:cubicBezTo>
                <a:cubicBezTo>
                  <a:pt x="1771" y="51"/>
                  <a:pt x="1799" y="51"/>
                  <a:pt x="1826" y="51"/>
                </a:cubicBezTo>
                <a:cubicBezTo>
                  <a:pt x="1891" y="51"/>
                  <a:pt x="1957" y="51"/>
                  <a:pt x="2022" y="51"/>
                </a:cubicBezTo>
                <a:cubicBezTo>
                  <a:pt x="2036" y="51"/>
                  <a:pt x="2051" y="51"/>
                  <a:pt x="2065" y="51"/>
                </a:cubicBezTo>
                <a:cubicBezTo>
                  <a:pt x="2072" y="51"/>
                  <a:pt x="2079" y="51"/>
                  <a:pt x="2087" y="51"/>
                </a:cubicBezTo>
                <a:cubicBezTo>
                  <a:pt x="2092" y="51"/>
                  <a:pt x="2098" y="52"/>
                  <a:pt x="2103" y="51"/>
                </a:cubicBezTo>
                <a:cubicBezTo>
                  <a:pt x="2108" y="50"/>
                  <a:pt x="2108" y="51"/>
                  <a:pt x="2112" y="51"/>
                </a:cubicBezTo>
                <a:cubicBezTo>
                  <a:pt x="2113" y="51"/>
                  <a:pt x="2122" y="52"/>
                  <a:pt x="2123" y="51"/>
                </a:cubicBezTo>
                <a:cubicBezTo>
                  <a:pt x="2124" y="51"/>
                  <a:pt x="2129" y="51"/>
                  <a:pt x="2130" y="51"/>
                </a:cubicBezTo>
                <a:cubicBezTo>
                  <a:pt x="2137" y="51"/>
                  <a:pt x="2143" y="51"/>
                  <a:pt x="2149" y="51"/>
                </a:cubicBezTo>
                <a:cubicBezTo>
                  <a:pt x="2163" y="51"/>
                  <a:pt x="2177" y="51"/>
                  <a:pt x="2191" y="51"/>
                </a:cubicBezTo>
                <a:cubicBezTo>
                  <a:pt x="2192" y="51"/>
                  <a:pt x="2193" y="51"/>
                  <a:pt x="2195" y="51"/>
                </a:cubicBezTo>
                <a:cubicBezTo>
                  <a:pt x="2196" y="51"/>
                  <a:pt x="2197" y="51"/>
                  <a:pt x="2198" y="50"/>
                </a:cubicBezTo>
                <a:cubicBezTo>
                  <a:pt x="2202" y="49"/>
                  <a:pt x="2210" y="49"/>
                  <a:pt x="2215" y="49"/>
                </a:cubicBezTo>
                <a:cubicBezTo>
                  <a:pt x="2217" y="49"/>
                  <a:pt x="2221" y="49"/>
                  <a:pt x="2221" y="49"/>
                </a:cubicBezTo>
                <a:cubicBezTo>
                  <a:pt x="2222" y="50"/>
                  <a:pt x="2216" y="51"/>
                  <a:pt x="2223" y="51"/>
                </a:cubicBezTo>
                <a:cubicBezTo>
                  <a:pt x="2225" y="51"/>
                  <a:pt x="2227" y="51"/>
                  <a:pt x="2229" y="50"/>
                </a:cubicBezTo>
                <a:cubicBezTo>
                  <a:pt x="2231" y="50"/>
                  <a:pt x="2234" y="50"/>
                  <a:pt x="2235" y="51"/>
                </a:cubicBezTo>
                <a:cubicBezTo>
                  <a:pt x="2235" y="51"/>
                  <a:pt x="2236" y="51"/>
                  <a:pt x="2237" y="51"/>
                </a:cubicBezTo>
                <a:cubicBezTo>
                  <a:pt x="2246" y="51"/>
                  <a:pt x="2254" y="51"/>
                  <a:pt x="2263" y="51"/>
                </a:cubicBezTo>
                <a:cubicBezTo>
                  <a:pt x="2270" y="51"/>
                  <a:pt x="2282" y="51"/>
                  <a:pt x="2289" y="50"/>
                </a:cubicBezTo>
                <a:cubicBezTo>
                  <a:pt x="2291" y="50"/>
                  <a:pt x="2292" y="50"/>
                  <a:pt x="2294" y="50"/>
                </a:cubicBezTo>
                <a:cubicBezTo>
                  <a:pt x="2297" y="49"/>
                  <a:pt x="2302" y="49"/>
                  <a:pt x="2305" y="49"/>
                </a:cubicBezTo>
                <a:cubicBezTo>
                  <a:pt x="2311" y="50"/>
                  <a:pt x="2317" y="50"/>
                  <a:pt x="2322" y="50"/>
                </a:cubicBezTo>
                <a:cubicBezTo>
                  <a:pt x="2328" y="51"/>
                  <a:pt x="2334" y="51"/>
                  <a:pt x="2339" y="50"/>
                </a:cubicBezTo>
                <a:cubicBezTo>
                  <a:pt x="2340" y="50"/>
                  <a:pt x="2341" y="50"/>
                  <a:pt x="2342" y="50"/>
                </a:cubicBezTo>
                <a:cubicBezTo>
                  <a:pt x="2342" y="50"/>
                  <a:pt x="2343" y="50"/>
                  <a:pt x="2344" y="50"/>
                </a:cubicBezTo>
                <a:cubicBezTo>
                  <a:pt x="2346" y="50"/>
                  <a:pt x="2348" y="50"/>
                  <a:pt x="2351" y="50"/>
                </a:cubicBezTo>
                <a:cubicBezTo>
                  <a:pt x="2352" y="51"/>
                  <a:pt x="2369" y="51"/>
                  <a:pt x="2372" y="51"/>
                </a:cubicBezTo>
                <a:cubicBezTo>
                  <a:pt x="2380" y="51"/>
                  <a:pt x="2389" y="51"/>
                  <a:pt x="2398" y="51"/>
                </a:cubicBezTo>
                <a:cubicBezTo>
                  <a:pt x="2420" y="51"/>
                  <a:pt x="2443" y="52"/>
                  <a:pt x="2465" y="52"/>
                </a:cubicBezTo>
                <a:cubicBezTo>
                  <a:pt x="2474" y="52"/>
                  <a:pt x="2483" y="51"/>
                  <a:pt x="2492" y="51"/>
                </a:cubicBezTo>
                <a:cubicBezTo>
                  <a:pt x="2496" y="51"/>
                  <a:pt x="2501" y="52"/>
                  <a:pt x="2506" y="51"/>
                </a:cubicBezTo>
                <a:cubicBezTo>
                  <a:pt x="2509" y="51"/>
                  <a:pt x="2512" y="51"/>
                  <a:pt x="2516" y="51"/>
                </a:cubicBezTo>
                <a:cubicBezTo>
                  <a:pt x="2520" y="51"/>
                  <a:pt x="2525" y="51"/>
                  <a:pt x="2529" y="51"/>
                </a:cubicBezTo>
                <a:cubicBezTo>
                  <a:pt x="2531" y="51"/>
                  <a:pt x="2533" y="51"/>
                  <a:pt x="2535" y="51"/>
                </a:cubicBezTo>
                <a:cubicBezTo>
                  <a:pt x="2537" y="51"/>
                  <a:pt x="2539" y="50"/>
                  <a:pt x="2542" y="50"/>
                </a:cubicBezTo>
                <a:cubicBezTo>
                  <a:pt x="2545" y="50"/>
                  <a:pt x="2548" y="51"/>
                  <a:pt x="2551" y="51"/>
                </a:cubicBezTo>
                <a:cubicBezTo>
                  <a:pt x="2560" y="52"/>
                  <a:pt x="2568" y="51"/>
                  <a:pt x="2578" y="52"/>
                </a:cubicBezTo>
                <a:cubicBezTo>
                  <a:pt x="2590" y="52"/>
                  <a:pt x="2603" y="52"/>
                  <a:pt x="2606" y="52"/>
                </a:cubicBezTo>
                <a:cubicBezTo>
                  <a:pt x="2609" y="52"/>
                  <a:pt x="2628" y="52"/>
                  <a:pt x="2649" y="52"/>
                </a:cubicBezTo>
                <a:cubicBezTo>
                  <a:pt x="2656" y="52"/>
                  <a:pt x="2663" y="52"/>
                  <a:pt x="2671" y="52"/>
                </a:cubicBezTo>
                <a:cubicBezTo>
                  <a:pt x="2674" y="52"/>
                  <a:pt x="2677" y="52"/>
                  <a:pt x="2680" y="52"/>
                </a:cubicBezTo>
                <a:cubicBezTo>
                  <a:pt x="2683" y="52"/>
                  <a:pt x="2686" y="52"/>
                  <a:pt x="2688" y="52"/>
                </a:cubicBezTo>
                <a:cubicBezTo>
                  <a:pt x="2689" y="51"/>
                  <a:pt x="2690" y="51"/>
                  <a:pt x="2691" y="51"/>
                </a:cubicBezTo>
                <a:cubicBezTo>
                  <a:pt x="2692" y="51"/>
                  <a:pt x="2692" y="51"/>
                  <a:pt x="2692" y="52"/>
                </a:cubicBezTo>
                <a:cubicBezTo>
                  <a:pt x="2694" y="52"/>
                  <a:pt x="2699" y="52"/>
                  <a:pt x="2702" y="51"/>
                </a:cubicBezTo>
                <a:cubicBezTo>
                  <a:pt x="2708" y="51"/>
                  <a:pt x="2714" y="52"/>
                  <a:pt x="2720" y="52"/>
                </a:cubicBezTo>
                <a:cubicBezTo>
                  <a:pt x="2743" y="52"/>
                  <a:pt x="2754" y="52"/>
                  <a:pt x="2770" y="53"/>
                </a:cubicBezTo>
                <a:cubicBezTo>
                  <a:pt x="2783" y="54"/>
                  <a:pt x="2834" y="54"/>
                  <a:pt x="2863" y="53"/>
                </a:cubicBezTo>
                <a:cubicBezTo>
                  <a:pt x="2871" y="53"/>
                  <a:pt x="2885" y="53"/>
                  <a:pt x="2891" y="52"/>
                </a:cubicBezTo>
                <a:cubicBezTo>
                  <a:pt x="2893" y="51"/>
                  <a:pt x="2895" y="51"/>
                  <a:pt x="2897" y="51"/>
                </a:cubicBezTo>
                <a:cubicBezTo>
                  <a:pt x="2899" y="52"/>
                  <a:pt x="2898" y="52"/>
                  <a:pt x="2902" y="53"/>
                </a:cubicBezTo>
                <a:cubicBezTo>
                  <a:pt x="2903" y="53"/>
                  <a:pt x="2910" y="53"/>
                  <a:pt x="2912" y="53"/>
                </a:cubicBezTo>
                <a:cubicBezTo>
                  <a:pt x="2916" y="53"/>
                  <a:pt x="2926" y="53"/>
                  <a:pt x="2927" y="52"/>
                </a:cubicBezTo>
                <a:cubicBezTo>
                  <a:pt x="2928" y="52"/>
                  <a:pt x="2928" y="51"/>
                  <a:pt x="2930" y="51"/>
                </a:cubicBezTo>
                <a:cubicBezTo>
                  <a:pt x="2931" y="51"/>
                  <a:pt x="2932" y="51"/>
                  <a:pt x="2932" y="51"/>
                </a:cubicBezTo>
                <a:cubicBezTo>
                  <a:pt x="2935" y="51"/>
                  <a:pt x="2938" y="51"/>
                  <a:pt x="2942" y="51"/>
                </a:cubicBezTo>
                <a:cubicBezTo>
                  <a:pt x="2943" y="51"/>
                  <a:pt x="2943" y="51"/>
                  <a:pt x="2942" y="52"/>
                </a:cubicBezTo>
                <a:cubicBezTo>
                  <a:pt x="2941" y="52"/>
                  <a:pt x="2939" y="52"/>
                  <a:pt x="2940" y="52"/>
                </a:cubicBezTo>
                <a:cubicBezTo>
                  <a:pt x="2940" y="53"/>
                  <a:pt x="2942" y="53"/>
                  <a:pt x="2944" y="53"/>
                </a:cubicBezTo>
                <a:cubicBezTo>
                  <a:pt x="2945" y="53"/>
                  <a:pt x="2947" y="53"/>
                  <a:pt x="2948" y="52"/>
                </a:cubicBezTo>
                <a:cubicBezTo>
                  <a:pt x="2952" y="52"/>
                  <a:pt x="2957" y="51"/>
                  <a:pt x="2961" y="51"/>
                </a:cubicBezTo>
                <a:cubicBezTo>
                  <a:pt x="2965" y="51"/>
                  <a:pt x="2969" y="51"/>
                  <a:pt x="2974" y="51"/>
                </a:cubicBezTo>
                <a:cubicBezTo>
                  <a:pt x="2978" y="51"/>
                  <a:pt x="2983" y="50"/>
                  <a:pt x="2985" y="52"/>
                </a:cubicBezTo>
                <a:cubicBezTo>
                  <a:pt x="2988" y="53"/>
                  <a:pt x="2986" y="53"/>
                  <a:pt x="2991" y="53"/>
                </a:cubicBezTo>
                <a:cubicBezTo>
                  <a:pt x="2994" y="53"/>
                  <a:pt x="2994" y="52"/>
                  <a:pt x="2997" y="52"/>
                </a:cubicBezTo>
                <a:cubicBezTo>
                  <a:pt x="3004" y="53"/>
                  <a:pt x="3011" y="53"/>
                  <a:pt x="3019" y="53"/>
                </a:cubicBezTo>
                <a:cubicBezTo>
                  <a:pt x="3026" y="53"/>
                  <a:pt x="3037" y="54"/>
                  <a:pt x="3043" y="52"/>
                </a:cubicBezTo>
                <a:cubicBezTo>
                  <a:pt x="3045" y="52"/>
                  <a:pt x="3046" y="52"/>
                  <a:pt x="3047" y="51"/>
                </a:cubicBezTo>
                <a:cubicBezTo>
                  <a:pt x="3051" y="50"/>
                  <a:pt x="3063" y="50"/>
                  <a:pt x="3066" y="52"/>
                </a:cubicBezTo>
                <a:cubicBezTo>
                  <a:pt x="3066" y="52"/>
                  <a:pt x="3066" y="52"/>
                  <a:pt x="3067" y="52"/>
                </a:cubicBezTo>
                <a:cubicBezTo>
                  <a:pt x="3067" y="53"/>
                  <a:pt x="3070" y="53"/>
                  <a:pt x="3074" y="54"/>
                </a:cubicBezTo>
                <a:cubicBezTo>
                  <a:pt x="3075" y="54"/>
                  <a:pt x="3076" y="54"/>
                  <a:pt x="3076" y="53"/>
                </a:cubicBezTo>
                <a:cubicBezTo>
                  <a:pt x="3077" y="53"/>
                  <a:pt x="3079" y="52"/>
                  <a:pt x="3081" y="53"/>
                </a:cubicBezTo>
                <a:cubicBezTo>
                  <a:pt x="3081" y="53"/>
                  <a:pt x="3083" y="53"/>
                  <a:pt x="3085" y="53"/>
                </a:cubicBezTo>
                <a:cubicBezTo>
                  <a:pt x="3085" y="54"/>
                  <a:pt x="3086" y="54"/>
                  <a:pt x="3087" y="54"/>
                </a:cubicBezTo>
                <a:cubicBezTo>
                  <a:pt x="3118" y="54"/>
                  <a:pt x="3149" y="53"/>
                  <a:pt x="3180" y="54"/>
                </a:cubicBezTo>
                <a:cubicBezTo>
                  <a:pt x="3183" y="54"/>
                  <a:pt x="3191" y="54"/>
                  <a:pt x="3198" y="54"/>
                </a:cubicBezTo>
                <a:cubicBezTo>
                  <a:pt x="3205" y="54"/>
                  <a:pt x="3217" y="54"/>
                  <a:pt x="3225" y="55"/>
                </a:cubicBezTo>
                <a:cubicBezTo>
                  <a:pt x="3233" y="55"/>
                  <a:pt x="3247" y="55"/>
                  <a:pt x="3256" y="55"/>
                </a:cubicBezTo>
                <a:cubicBezTo>
                  <a:pt x="3262" y="56"/>
                  <a:pt x="3268" y="56"/>
                  <a:pt x="3274" y="56"/>
                </a:cubicBezTo>
                <a:cubicBezTo>
                  <a:pt x="3279" y="56"/>
                  <a:pt x="3284" y="57"/>
                  <a:pt x="3289" y="56"/>
                </a:cubicBezTo>
                <a:cubicBezTo>
                  <a:pt x="3295" y="56"/>
                  <a:pt x="3298" y="55"/>
                  <a:pt x="3305" y="55"/>
                </a:cubicBezTo>
                <a:cubicBezTo>
                  <a:pt x="3313" y="55"/>
                  <a:pt x="3322" y="55"/>
                  <a:pt x="3330" y="55"/>
                </a:cubicBezTo>
                <a:cubicBezTo>
                  <a:pt x="3342" y="55"/>
                  <a:pt x="3354" y="55"/>
                  <a:pt x="3367" y="55"/>
                </a:cubicBezTo>
                <a:cubicBezTo>
                  <a:pt x="3378" y="55"/>
                  <a:pt x="3390" y="55"/>
                  <a:pt x="3401" y="55"/>
                </a:cubicBezTo>
                <a:cubicBezTo>
                  <a:pt x="3401" y="54"/>
                  <a:pt x="3403" y="54"/>
                  <a:pt x="3405" y="53"/>
                </a:cubicBezTo>
                <a:cubicBezTo>
                  <a:pt x="3407" y="53"/>
                  <a:pt x="3409" y="53"/>
                  <a:pt x="3411" y="53"/>
                </a:cubicBezTo>
                <a:cubicBezTo>
                  <a:pt x="3411" y="55"/>
                  <a:pt x="3424" y="54"/>
                  <a:pt x="3428" y="54"/>
                </a:cubicBezTo>
                <a:cubicBezTo>
                  <a:pt x="3432" y="54"/>
                  <a:pt x="3440" y="54"/>
                  <a:pt x="3443" y="54"/>
                </a:cubicBezTo>
                <a:cubicBezTo>
                  <a:pt x="3445" y="54"/>
                  <a:pt x="3449" y="52"/>
                  <a:pt x="3451" y="53"/>
                </a:cubicBezTo>
                <a:cubicBezTo>
                  <a:pt x="3449" y="53"/>
                  <a:pt x="3450" y="54"/>
                  <a:pt x="3452" y="54"/>
                </a:cubicBezTo>
                <a:cubicBezTo>
                  <a:pt x="3453" y="54"/>
                  <a:pt x="3455" y="54"/>
                  <a:pt x="3457" y="54"/>
                </a:cubicBezTo>
                <a:cubicBezTo>
                  <a:pt x="3461" y="54"/>
                  <a:pt x="3468" y="54"/>
                  <a:pt x="3472" y="55"/>
                </a:cubicBezTo>
                <a:cubicBezTo>
                  <a:pt x="3475" y="55"/>
                  <a:pt x="3474" y="58"/>
                  <a:pt x="3481" y="57"/>
                </a:cubicBezTo>
                <a:cubicBezTo>
                  <a:pt x="3483" y="56"/>
                  <a:pt x="3484" y="56"/>
                  <a:pt x="3486" y="55"/>
                </a:cubicBezTo>
                <a:cubicBezTo>
                  <a:pt x="3490" y="54"/>
                  <a:pt x="3497" y="54"/>
                  <a:pt x="3503" y="54"/>
                </a:cubicBezTo>
                <a:cubicBezTo>
                  <a:pt x="3512" y="54"/>
                  <a:pt x="3522" y="54"/>
                  <a:pt x="3531" y="54"/>
                </a:cubicBezTo>
                <a:cubicBezTo>
                  <a:pt x="3549" y="54"/>
                  <a:pt x="3567" y="54"/>
                  <a:pt x="3585" y="54"/>
                </a:cubicBezTo>
                <a:cubicBezTo>
                  <a:pt x="3638" y="54"/>
                  <a:pt x="3690" y="55"/>
                  <a:pt x="3701" y="55"/>
                </a:cubicBezTo>
                <a:cubicBezTo>
                  <a:pt x="3712" y="55"/>
                  <a:pt x="3754" y="54"/>
                  <a:pt x="3795" y="54"/>
                </a:cubicBezTo>
                <a:cubicBezTo>
                  <a:pt x="3835" y="54"/>
                  <a:pt x="3903" y="54"/>
                  <a:pt x="3945" y="54"/>
                </a:cubicBezTo>
                <a:cubicBezTo>
                  <a:pt x="3986" y="54"/>
                  <a:pt x="4095" y="54"/>
                  <a:pt x="4186" y="55"/>
                </a:cubicBezTo>
                <a:cubicBezTo>
                  <a:pt x="4215" y="55"/>
                  <a:pt x="4243" y="55"/>
                  <a:pt x="4272" y="55"/>
                </a:cubicBezTo>
                <a:cubicBezTo>
                  <a:pt x="4286" y="55"/>
                  <a:pt x="4300" y="55"/>
                  <a:pt x="4315" y="55"/>
                </a:cubicBezTo>
                <a:cubicBezTo>
                  <a:pt x="4327" y="55"/>
                  <a:pt x="4343" y="55"/>
                  <a:pt x="4355" y="54"/>
                </a:cubicBezTo>
                <a:cubicBezTo>
                  <a:pt x="4356" y="54"/>
                  <a:pt x="4356" y="54"/>
                  <a:pt x="4357" y="54"/>
                </a:cubicBezTo>
                <a:cubicBezTo>
                  <a:pt x="4362" y="54"/>
                  <a:pt x="4367" y="55"/>
                  <a:pt x="4372" y="54"/>
                </a:cubicBezTo>
                <a:cubicBezTo>
                  <a:pt x="4379" y="54"/>
                  <a:pt x="4387" y="54"/>
                  <a:pt x="4394" y="54"/>
                </a:cubicBezTo>
                <a:cubicBezTo>
                  <a:pt x="4409" y="54"/>
                  <a:pt x="4423" y="54"/>
                  <a:pt x="4438" y="54"/>
                </a:cubicBezTo>
                <a:cubicBezTo>
                  <a:pt x="4451" y="54"/>
                  <a:pt x="4464" y="54"/>
                  <a:pt x="4477" y="54"/>
                </a:cubicBezTo>
                <a:cubicBezTo>
                  <a:pt x="4484" y="54"/>
                  <a:pt x="4490" y="54"/>
                  <a:pt x="4497" y="54"/>
                </a:cubicBezTo>
                <a:cubicBezTo>
                  <a:pt x="4502" y="54"/>
                  <a:pt x="4509" y="54"/>
                  <a:pt x="4514" y="54"/>
                </a:cubicBezTo>
                <a:cubicBezTo>
                  <a:pt x="4515" y="54"/>
                  <a:pt x="4518" y="54"/>
                  <a:pt x="4520" y="54"/>
                </a:cubicBezTo>
                <a:cubicBezTo>
                  <a:pt x="4524" y="54"/>
                  <a:pt x="4528" y="54"/>
                  <a:pt x="4532" y="54"/>
                </a:cubicBezTo>
                <a:cubicBezTo>
                  <a:pt x="4537" y="54"/>
                  <a:pt x="4542" y="54"/>
                  <a:pt x="4547" y="54"/>
                </a:cubicBezTo>
                <a:cubicBezTo>
                  <a:pt x="4563" y="54"/>
                  <a:pt x="4602" y="54"/>
                  <a:pt x="4635" y="54"/>
                </a:cubicBezTo>
                <a:cubicBezTo>
                  <a:pt x="4645" y="54"/>
                  <a:pt x="4654" y="54"/>
                  <a:pt x="4664" y="54"/>
                </a:cubicBezTo>
                <a:cubicBezTo>
                  <a:pt x="4672" y="54"/>
                  <a:pt x="4683" y="53"/>
                  <a:pt x="4691" y="54"/>
                </a:cubicBezTo>
                <a:cubicBezTo>
                  <a:pt x="4691" y="54"/>
                  <a:pt x="4692" y="54"/>
                  <a:pt x="4692" y="54"/>
                </a:cubicBezTo>
                <a:cubicBezTo>
                  <a:pt x="4692" y="54"/>
                  <a:pt x="4692" y="54"/>
                  <a:pt x="4692" y="55"/>
                </a:cubicBezTo>
                <a:cubicBezTo>
                  <a:pt x="4693" y="55"/>
                  <a:pt x="4695" y="56"/>
                  <a:pt x="4697" y="56"/>
                </a:cubicBezTo>
                <a:cubicBezTo>
                  <a:pt x="4700" y="56"/>
                  <a:pt x="4702" y="56"/>
                  <a:pt x="4704" y="56"/>
                </a:cubicBezTo>
                <a:cubicBezTo>
                  <a:pt x="4710" y="55"/>
                  <a:pt x="4715" y="55"/>
                  <a:pt x="4720" y="55"/>
                </a:cubicBezTo>
                <a:cubicBezTo>
                  <a:pt x="4723" y="55"/>
                  <a:pt x="4725" y="55"/>
                  <a:pt x="4727" y="55"/>
                </a:cubicBezTo>
                <a:cubicBezTo>
                  <a:pt x="4729" y="55"/>
                  <a:pt x="4730" y="54"/>
                  <a:pt x="4731" y="54"/>
                </a:cubicBezTo>
                <a:cubicBezTo>
                  <a:pt x="4733" y="54"/>
                  <a:pt x="4734" y="55"/>
                  <a:pt x="4736" y="54"/>
                </a:cubicBezTo>
                <a:cubicBezTo>
                  <a:pt x="4736" y="54"/>
                  <a:pt x="4737" y="54"/>
                  <a:pt x="4737" y="54"/>
                </a:cubicBezTo>
                <a:cubicBezTo>
                  <a:pt x="4741" y="53"/>
                  <a:pt x="4750" y="54"/>
                  <a:pt x="4754" y="54"/>
                </a:cubicBezTo>
                <a:cubicBezTo>
                  <a:pt x="4759" y="54"/>
                  <a:pt x="4762" y="55"/>
                  <a:pt x="4769" y="54"/>
                </a:cubicBezTo>
                <a:cubicBezTo>
                  <a:pt x="4771" y="55"/>
                  <a:pt x="4782" y="54"/>
                  <a:pt x="4785" y="54"/>
                </a:cubicBezTo>
                <a:cubicBezTo>
                  <a:pt x="4791" y="54"/>
                  <a:pt x="4798" y="54"/>
                  <a:pt x="4804" y="54"/>
                </a:cubicBezTo>
                <a:cubicBezTo>
                  <a:pt x="4812" y="54"/>
                  <a:pt x="4819" y="54"/>
                  <a:pt x="4827" y="54"/>
                </a:cubicBezTo>
                <a:cubicBezTo>
                  <a:pt x="4831" y="54"/>
                  <a:pt x="4840" y="54"/>
                  <a:pt x="4843" y="55"/>
                </a:cubicBezTo>
                <a:cubicBezTo>
                  <a:pt x="4844" y="55"/>
                  <a:pt x="4844" y="55"/>
                  <a:pt x="4845" y="55"/>
                </a:cubicBezTo>
                <a:cubicBezTo>
                  <a:pt x="4847" y="56"/>
                  <a:pt x="4849" y="56"/>
                  <a:pt x="4851" y="56"/>
                </a:cubicBezTo>
                <a:cubicBezTo>
                  <a:pt x="4853" y="56"/>
                  <a:pt x="4855" y="55"/>
                  <a:pt x="4856" y="55"/>
                </a:cubicBezTo>
                <a:cubicBezTo>
                  <a:pt x="4863" y="54"/>
                  <a:pt x="4870" y="54"/>
                  <a:pt x="4877" y="54"/>
                </a:cubicBezTo>
                <a:cubicBezTo>
                  <a:pt x="4880" y="54"/>
                  <a:pt x="4883" y="54"/>
                  <a:pt x="4885" y="53"/>
                </a:cubicBezTo>
                <a:cubicBezTo>
                  <a:pt x="4895" y="54"/>
                  <a:pt x="4904" y="55"/>
                  <a:pt x="4914" y="55"/>
                </a:cubicBezTo>
                <a:cubicBezTo>
                  <a:pt x="4919" y="56"/>
                  <a:pt x="4924" y="56"/>
                  <a:pt x="4929" y="56"/>
                </a:cubicBezTo>
                <a:cubicBezTo>
                  <a:pt x="4932" y="57"/>
                  <a:pt x="4936" y="57"/>
                  <a:pt x="4940" y="57"/>
                </a:cubicBezTo>
                <a:cubicBezTo>
                  <a:pt x="4943" y="57"/>
                  <a:pt x="4945" y="56"/>
                  <a:pt x="4948" y="56"/>
                </a:cubicBezTo>
                <a:cubicBezTo>
                  <a:pt x="4950" y="55"/>
                  <a:pt x="4954" y="55"/>
                  <a:pt x="4958" y="55"/>
                </a:cubicBezTo>
                <a:cubicBezTo>
                  <a:pt x="4963" y="55"/>
                  <a:pt x="4962" y="56"/>
                  <a:pt x="4966" y="57"/>
                </a:cubicBezTo>
                <a:cubicBezTo>
                  <a:pt x="4969" y="57"/>
                  <a:pt x="4973" y="55"/>
                  <a:pt x="4977" y="56"/>
                </a:cubicBezTo>
                <a:cubicBezTo>
                  <a:pt x="4977" y="56"/>
                  <a:pt x="4978" y="56"/>
                  <a:pt x="4979" y="56"/>
                </a:cubicBezTo>
                <a:cubicBezTo>
                  <a:pt x="4981" y="56"/>
                  <a:pt x="4982" y="57"/>
                  <a:pt x="4984" y="57"/>
                </a:cubicBezTo>
                <a:cubicBezTo>
                  <a:pt x="4985" y="57"/>
                  <a:pt x="4985" y="57"/>
                  <a:pt x="4986" y="57"/>
                </a:cubicBezTo>
                <a:cubicBezTo>
                  <a:pt x="4987" y="58"/>
                  <a:pt x="4987" y="58"/>
                  <a:pt x="4988" y="58"/>
                </a:cubicBezTo>
                <a:cubicBezTo>
                  <a:pt x="4990" y="58"/>
                  <a:pt x="4992" y="58"/>
                  <a:pt x="4994" y="58"/>
                </a:cubicBezTo>
                <a:cubicBezTo>
                  <a:pt x="4997" y="58"/>
                  <a:pt x="5001" y="57"/>
                  <a:pt x="5005" y="57"/>
                </a:cubicBezTo>
                <a:cubicBezTo>
                  <a:pt x="5009" y="57"/>
                  <a:pt x="5014" y="57"/>
                  <a:pt x="5018" y="57"/>
                </a:cubicBezTo>
                <a:cubicBezTo>
                  <a:pt x="5027" y="57"/>
                  <a:pt x="5040" y="58"/>
                  <a:pt x="5048" y="57"/>
                </a:cubicBezTo>
                <a:cubicBezTo>
                  <a:pt x="5054" y="56"/>
                  <a:pt x="5049" y="55"/>
                  <a:pt x="5049" y="54"/>
                </a:cubicBezTo>
                <a:cubicBezTo>
                  <a:pt x="5049" y="53"/>
                  <a:pt x="5051" y="53"/>
                  <a:pt x="5052" y="53"/>
                </a:cubicBezTo>
                <a:cubicBezTo>
                  <a:pt x="5054" y="53"/>
                  <a:pt x="5057" y="54"/>
                  <a:pt x="5059" y="54"/>
                </a:cubicBezTo>
                <a:cubicBezTo>
                  <a:pt x="5062" y="54"/>
                  <a:pt x="5065" y="54"/>
                  <a:pt x="5068" y="54"/>
                </a:cubicBezTo>
                <a:cubicBezTo>
                  <a:pt x="5076" y="54"/>
                  <a:pt x="5084" y="54"/>
                  <a:pt x="5092" y="54"/>
                </a:cubicBezTo>
                <a:cubicBezTo>
                  <a:pt x="5097" y="54"/>
                  <a:pt x="5113" y="56"/>
                  <a:pt x="5116" y="54"/>
                </a:cubicBezTo>
                <a:cubicBezTo>
                  <a:pt x="5116" y="54"/>
                  <a:pt x="5116" y="53"/>
                  <a:pt x="5116" y="53"/>
                </a:cubicBezTo>
                <a:cubicBezTo>
                  <a:pt x="5118" y="52"/>
                  <a:pt x="5128" y="53"/>
                  <a:pt x="5130" y="53"/>
                </a:cubicBezTo>
                <a:cubicBezTo>
                  <a:pt x="5165" y="55"/>
                  <a:pt x="5190" y="55"/>
                  <a:pt x="5228" y="55"/>
                </a:cubicBezTo>
                <a:cubicBezTo>
                  <a:pt x="5237" y="55"/>
                  <a:pt x="5247" y="54"/>
                  <a:pt x="5255" y="54"/>
                </a:cubicBezTo>
                <a:cubicBezTo>
                  <a:pt x="5259" y="54"/>
                  <a:pt x="5260" y="55"/>
                  <a:pt x="5263" y="55"/>
                </a:cubicBezTo>
                <a:cubicBezTo>
                  <a:pt x="5266" y="56"/>
                  <a:pt x="5270" y="56"/>
                  <a:pt x="5274" y="56"/>
                </a:cubicBezTo>
                <a:cubicBezTo>
                  <a:pt x="5279" y="56"/>
                  <a:pt x="5284" y="55"/>
                  <a:pt x="5289" y="56"/>
                </a:cubicBezTo>
                <a:cubicBezTo>
                  <a:pt x="5292" y="56"/>
                  <a:pt x="5294" y="57"/>
                  <a:pt x="5298" y="57"/>
                </a:cubicBezTo>
                <a:cubicBezTo>
                  <a:pt x="5302" y="58"/>
                  <a:pt x="5306" y="57"/>
                  <a:pt x="5309" y="56"/>
                </a:cubicBezTo>
                <a:cubicBezTo>
                  <a:pt x="5314" y="54"/>
                  <a:pt x="5316" y="54"/>
                  <a:pt x="5322" y="55"/>
                </a:cubicBezTo>
                <a:cubicBezTo>
                  <a:pt x="5329" y="55"/>
                  <a:pt x="5337" y="54"/>
                  <a:pt x="5343" y="54"/>
                </a:cubicBezTo>
                <a:cubicBezTo>
                  <a:pt x="5363" y="54"/>
                  <a:pt x="5382" y="54"/>
                  <a:pt x="5386" y="54"/>
                </a:cubicBezTo>
                <a:cubicBezTo>
                  <a:pt x="5389" y="54"/>
                  <a:pt x="5393" y="54"/>
                  <a:pt x="5396" y="54"/>
                </a:cubicBezTo>
                <a:cubicBezTo>
                  <a:pt x="5399" y="54"/>
                  <a:pt x="5401" y="55"/>
                  <a:pt x="5403" y="56"/>
                </a:cubicBezTo>
                <a:cubicBezTo>
                  <a:pt x="5405" y="56"/>
                  <a:pt x="5409" y="56"/>
                  <a:pt x="5412" y="57"/>
                </a:cubicBezTo>
                <a:cubicBezTo>
                  <a:pt x="5417" y="57"/>
                  <a:pt x="5423" y="57"/>
                  <a:pt x="5429" y="57"/>
                </a:cubicBezTo>
                <a:cubicBezTo>
                  <a:pt x="5431" y="57"/>
                  <a:pt x="5432" y="57"/>
                  <a:pt x="5434" y="57"/>
                </a:cubicBezTo>
                <a:cubicBezTo>
                  <a:pt x="5436" y="57"/>
                  <a:pt x="5437" y="56"/>
                  <a:pt x="5439" y="56"/>
                </a:cubicBezTo>
                <a:cubicBezTo>
                  <a:pt x="5447" y="54"/>
                  <a:pt x="5460" y="54"/>
                  <a:pt x="5471" y="55"/>
                </a:cubicBezTo>
                <a:cubicBezTo>
                  <a:pt x="5477" y="56"/>
                  <a:pt x="5485" y="56"/>
                  <a:pt x="5492" y="56"/>
                </a:cubicBezTo>
                <a:cubicBezTo>
                  <a:pt x="5494" y="56"/>
                  <a:pt x="5497" y="55"/>
                  <a:pt x="5499" y="55"/>
                </a:cubicBezTo>
                <a:cubicBezTo>
                  <a:pt x="5500" y="55"/>
                  <a:pt x="5501" y="54"/>
                  <a:pt x="5502" y="54"/>
                </a:cubicBezTo>
                <a:cubicBezTo>
                  <a:pt x="5505" y="53"/>
                  <a:pt x="5510" y="53"/>
                  <a:pt x="5515" y="53"/>
                </a:cubicBezTo>
                <a:cubicBezTo>
                  <a:pt x="5519" y="53"/>
                  <a:pt x="5523" y="54"/>
                  <a:pt x="5528" y="54"/>
                </a:cubicBezTo>
                <a:cubicBezTo>
                  <a:pt x="5535" y="54"/>
                  <a:pt x="5542" y="54"/>
                  <a:pt x="5549" y="54"/>
                </a:cubicBezTo>
                <a:cubicBezTo>
                  <a:pt x="5557" y="53"/>
                  <a:pt x="5565" y="53"/>
                  <a:pt x="5573" y="53"/>
                </a:cubicBezTo>
                <a:cubicBezTo>
                  <a:pt x="5598" y="53"/>
                  <a:pt x="5625" y="52"/>
                  <a:pt x="5633" y="52"/>
                </a:cubicBezTo>
                <a:cubicBezTo>
                  <a:pt x="5639" y="52"/>
                  <a:pt x="5648" y="53"/>
                  <a:pt x="5653" y="52"/>
                </a:cubicBezTo>
                <a:cubicBezTo>
                  <a:pt x="5654" y="52"/>
                  <a:pt x="5655" y="51"/>
                  <a:pt x="5655" y="51"/>
                </a:cubicBezTo>
                <a:cubicBezTo>
                  <a:pt x="5661" y="51"/>
                  <a:pt x="5667" y="52"/>
                  <a:pt x="5672" y="52"/>
                </a:cubicBezTo>
                <a:cubicBezTo>
                  <a:pt x="5677" y="53"/>
                  <a:pt x="5682" y="53"/>
                  <a:pt x="5687" y="53"/>
                </a:cubicBezTo>
                <a:cubicBezTo>
                  <a:pt x="5701" y="53"/>
                  <a:pt x="5715" y="53"/>
                  <a:pt x="5729" y="52"/>
                </a:cubicBezTo>
                <a:cubicBezTo>
                  <a:pt x="5740" y="52"/>
                  <a:pt x="5752" y="53"/>
                  <a:pt x="5763" y="53"/>
                </a:cubicBezTo>
                <a:cubicBezTo>
                  <a:pt x="5772" y="53"/>
                  <a:pt x="5788" y="54"/>
                  <a:pt x="5796" y="53"/>
                </a:cubicBezTo>
                <a:cubicBezTo>
                  <a:pt x="5797" y="52"/>
                  <a:pt x="5799" y="52"/>
                  <a:pt x="5801" y="52"/>
                </a:cubicBezTo>
                <a:cubicBezTo>
                  <a:pt x="5801" y="52"/>
                  <a:pt x="5802" y="52"/>
                  <a:pt x="5803" y="52"/>
                </a:cubicBezTo>
                <a:cubicBezTo>
                  <a:pt x="5808" y="52"/>
                  <a:pt x="5811" y="52"/>
                  <a:pt x="5815" y="53"/>
                </a:cubicBezTo>
                <a:cubicBezTo>
                  <a:pt x="5819" y="53"/>
                  <a:pt x="5823" y="53"/>
                  <a:pt x="5828" y="54"/>
                </a:cubicBezTo>
                <a:cubicBezTo>
                  <a:pt x="5837" y="54"/>
                  <a:pt x="5846" y="53"/>
                  <a:pt x="5855" y="53"/>
                </a:cubicBezTo>
                <a:cubicBezTo>
                  <a:pt x="5863" y="53"/>
                  <a:pt x="5870" y="53"/>
                  <a:pt x="5878" y="53"/>
                </a:cubicBezTo>
                <a:cubicBezTo>
                  <a:pt x="5881" y="53"/>
                  <a:pt x="5884" y="53"/>
                  <a:pt x="5887" y="52"/>
                </a:cubicBezTo>
                <a:cubicBezTo>
                  <a:pt x="5890" y="52"/>
                  <a:pt x="5891" y="51"/>
                  <a:pt x="5894" y="51"/>
                </a:cubicBezTo>
                <a:cubicBezTo>
                  <a:pt x="5896" y="50"/>
                  <a:pt x="5899" y="50"/>
                  <a:pt x="5902" y="50"/>
                </a:cubicBezTo>
                <a:cubicBezTo>
                  <a:pt x="5914" y="50"/>
                  <a:pt x="5927" y="51"/>
                  <a:pt x="5939" y="50"/>
                </a:cubicBezTo>
                <a:cubicBezTo>
                  <a:pt x="5951" y="50"/>
                  <a:pt x="5962" y="51"/>
                  <a:pt x="5974" y="51"/>
                </a:cubicBezTo>
                <a:cubicBezTo>
                  <a:pt x="5988" y="51"/>
                  <a:pt x="6001" y="51"/>
                  <a:pt x="6015" y="51"/>
                </a:cubicBezTo>
                <a:cubicBezTo>
                  <a:pt x="6027" y="51"/>
                  <a:pt x="6037" y="53"/>
                  <a:pt x="6049" y="53"/>
                </a:cubicBezTo>
                <a:cubicBezTo>
                  <a:pt x="6060" y="53"/>
                  <a:pt x="6071" y="53"/>
                  <a:pt x="6082" y="53"/>
                </a:cubicBezTo>
                <a:cubicBezTo>
                  <a:pt x="6088" y="53"/>
                  <a:pt x="6093" y="53"/>
                  <a:pt x="6099" y="53"/>
                </a:cubicBezTo>
                <a:cubicBezTo>
                  <a:pt x="6103" y="53"/>
                  <a:pt x="6107" y="52"/>
                  <a:pt x="6112" y="53"/>
                </a:cubicBezTo>
                <a:cubicBezTo>
                  <a:pt x="6114" y="53"/>
                  <a:pt x="6116" y="53"/>
                  <a:pt x="6118" y="53"/>
                </a:cubicBezTo>
                <a:cubicBezTo>
                  <a:pt x="6126" y="53"/>
                  <a:pt x="6135" y="54"/>
                  <a:pt x="6143" y="54"/>
                </a:cubicBezTo>
                <a:cubicBezTo>
                  <a:pt x="6154" y="54"/>
                  <a:pt x="6165" y="55"/>
                  <a:pt x="6177" y="55"/>
                </a:cubicBezTo>
                <a:cubicBezTo>
                  <a:pt x="6183" y="55"/>
                  <a:pt x="6190" y="55"/>
                  <a:pt x="6196" y="54"/>
                </a:cubicBezTo>
                <a:cubicBezTo>
                  <a:pt x="6203" y="54"/>
                  <a:pt x="6207" y="53"/>
                  <a:pt x="6214" y="53"/>
                </a:cubicBezTo>
                <a:cubicBezTo>
                  <a:pt x="6215" y="53"/>
                  <a:pt x="6217" y="53"/>
                  <a:pt x="6218" y="53"/>
                </a:cubicBezTo>
                <a:cubicBezTo>
                  <a:pt x="6220" y="54"/>
                  <a:pt x="6222" y="54"/>
                  <a:pt x="6224" y="53"/>
                </a:cubicBezTo>
                <a:cubicBezTo>
                  <a:pt x="6231" y="53"/>
                  <a:pt x="6237" y="53"/>
                  <a:pt x="6243" y="53"/>
                </a:cubicBezTo>
                <a:cubicBezTo>
                  <a:pt x="6245" y="52"/>
                  <a:pt x="6246" y="52"/>
                  <a:pt x="6248" y="52"/>
                </a:cubicBezTo>
                <a:cubicBezTo>
                  <a:pt x="6249" y="52"/>
                  <a:pt x="6251" y="52"/>
                  <a:pt x="6252" y="52"/>
                </a:cubicBezTo>
                <a:cubicBezTo>
                  <a:pt x="6260" y="52"/>
                  <a:pt x="6268" y="52"/>
                  <a:pt x="6275" y="52"/>
                </a:cubicBezTo>
                <a:cubicBezTo>
                  <a:pt x="6284" y="53"/>
                  <a:pt x="6293" y="53"/>
                  <a:pt x="6301" y="54"/>
                </a:cubicBezTo>
                <a:cubicBezTo>
                  <a:pt x="6311" y="54"/>
                  <a:pt x="6320" y="55"/>
                  <a:pt x="6329" y="55"/>
                </a:cubicBezTo>
                <a:cubicBezTo>
                  <a:pt x="6338" y="55"/>
                  <a:pt x="6345" y="55"/>
                  <a:pt x="6354" y="55"/>
                </a:cubicBezTo>
                <a:cubicBezTo>
                  <a:pt x="6355" y="55"/>
                  <a:pt x="6356" y="55"/>
                  <a:pt x="6357" y="55"/>
                </a:cubicBezTo>
                <a:cubicBezTo>
                  <a:pt x="6358" y="55"/>
                  <a:pt x="6359" y="55"/>
                  <a:pt x="6360" y="55"/>
                </a:cubicBezTo>
                <a:cubicBezTo>
                  <a:pt x="6361" y="55"/>
                  <a:pt x="6362" y="55"/>
                  <a:pt x="6364" y="55"/>
                </a:cubicBezTo>
                <a:cubicBezTo>
                  <a:pt x="6370" y="55"/>
                  <a:pt x="6377" y="56"/>
                  <a:pt x="6383" y="56"/>
                </a:cubicBezTo>
                <a:cubicBezTo>
                  <a:pt x="6388" y="56"/>
                  <a:pt x="6391" y="56"/>
                  <a:pt x="6395" y="56"/>
                </a:cubicBezTo>
                <a:cubicBezTo>
                  <a:pt x="6399" y="56"/>
                  <a:pt x="6404" y="56"/>
                  <a:pt x="6407" y="56"/>
                </a:cubicBezTo>
                <a:cubicBezTo>
                  <a:pt x="6410" y="55"/>
                  <a:pt x="6402" y="54"/>
                  <a:pt x="6405" y="53"/>
                </a:cubicBezTo>
                <a:cubicBezTo>
                  <a:pt x="6407" y="52"/>
                  <a:pt x="6416" y="52"/>
                  <a:pt x="6420" y="52"/>
                </a:cubicBezTo>
                <a:cubicBezTo>
                  <a:pt x="6427" y="52"/>
                  <a:pt x="6434" y="52"/>
                  <a:pt x="6441" y="52"/>
                </a:cubicBezTo>
                <a:cubicBezTo>
                  <a:pt x="6448" y="53"/>
                  <a:pt x="6455" y="53"/>
                  <a:pt x="6463" y="53"/>
                </a:cubicBezTo>
                <a:cubicBezTo>
                  <a:pt x="6470" y="53"/>
                  <a:pt x="6474" y="52"/>
                  <a:pt x="6475" y="54"/>
                </a:cubicBezTo>
                <a:cubicBezTo>
                  <a:pt x="6475" y="55"/>
                  <a:pt x="6478" y="56"/>
                  <a:pt x="6482" y="56"/>
                </a:cubicBezTo>
                <a:cubicBezTo>
                  <a:pt x="6483" y="56"/>
                  <a:pt x="6484" y="56"/>
                  <a:pt x="6485" y="56"/>
                </a:cubicBezTo>
                <a:cubicBezTo>
                  <a:pt x="6486" y="56"/>
                  <a:pt x="6487" y="56"/>
                  <a:pt x="6488" y="56"/>
                </a:cubicBezTo>
                <a:cubicBezTo>
                  <a:pt x="6489" y="56"/>
                  <a:pt x="6490" y="56"/>
                  <a:pt x="6491" y="56"/>
                </a:cubicBezTo>
                <a:cubicBezTo>
                  <a:pt x="6494" y="57"/>
                  <a:pt x="6498" y="57"/>
                  <a:pt x="6501" y="56"/>
                </a:cubicBezTo>
                <a:cubicBezTo>
                  <a:pt x="6502" y="56"/>
                  <a:pt x="6503" y="56"/>
                  <a:pt x="6504" y="56"/>
                </a:cubicBezTo>
                <a:cubicBezTo>
                  <a:pt x="6505" y="56"/>
                  <a:pt x="6506" y="57"/>
                  <a:pt x="6507" y="57"/>
                </a:cubicBezTo>
                <a:cubicBezTo>
                  <a:pt x="6511" y="57"/>
                  <a:pt x="6516" y="56"/>
                  <a:pt x="6521" y="56"/>
                </a:cubicBezTo>
                <a:cubicBezTo>
                  <a:pt x="6528" y="57"/>
                  <a:pt x="6534" y="56"/>
                  <a:pt x="6541" y="56"/>
                </a:cubicBezTo>
                <a:cubicBezTo>
                  <a:pt x="6547" y="56"/>
                  <a:pt x="6554" y="57"/>
                  <a:pt x="6560" y="57"/>
                </a:cubicBezTo>
                <a:cubicBezTo>
                  <a:pt x="6564" y="57"/>
                  <a:pt x="6567" y="57"/>
                  <a:pt x="6570" y="57"/>
                </a:cubicBezTo>
                <a:cubicBezTo>
                  <a:pt x="6572" y="57"/>
                  <a:pt x="6574" y="57"/>
                  <a:pt x="6576" y="57"/>
                </a:cubicBezTo>
                <a:cubicBezTo>
                  <a:pt x="6583" y="56"/>
                  <a:pt x="6591" y="56"/>
                  <a:pt x="6598" y="56"/>
                </a:cubicBezTo>
                <a:cubicBezTo>
                  <a:pt x="6605" y="56"/>
                  <a:pt x="6611" y="56"/>
                  <a:pt x="6617" y="55"/>
                </a:cubicBezTo>
                <a:cubicBezTo>
                  <a:pt x="6624" y="55"/>
                  <a:pt x="6629" y="55"/>
                  <a:pt x="6636" y="55"/>
                </a:cubicBezTo>
                <a:cubicBezTo>
                  <a:pt x="6643" y="55"/>
                  <a:pt x="6650" y="55"/>
                  <a:pt x="6657" y="56"/>
                </a:cubicBezTo>
                <a:cubicBezTo>
                  <a:pt x="6660" y="56"/>
                  <a:pt x="6664" y="56"/>
                  <a:pt x="6668" y="56"/>
                </a:cubicBezTo>
                <a:cubicBezTo>
                  <a:pt x="6671" y="56"/>
                  <a:pt x="6676" y="55"/>
                  <a:pt x="6679" y="56"/>
                </a:cubicBezTo>
                <a:cubicBezTo>
                  <a:pt x="6680" y="56"/>
                  <a:pt x="6679" y="56"/>
                  <a:pt x="6678" y="56"/>
                </a:cubicBezTo>
                <a:cubicBezTo>
                  <a:pt x="6677" y="56"/>
                  <a:pt x="6678" y="57"/>
                  <a:pt x="6679" y="57"/>
                </a:cubicBezTo>
                <a:cubicBezTo>
                  <a:pt x="6679" y="57"/>
                  <a:pt x="6680" y="58"/>
                  <a:pt x="6681" y="58"/>
                </a:cubicBezTo>
                <a:cubicBezTo>
                  <a:pt x="6682" y="58"/>
                  <a:pt x="6684" y="58"/>
                  <a:pt x="6685" y="58"/>
                </a:cubicBezTo>
                <a:cubicBezTo>
                  <a:pt x="6686" y="57"/>
                  <a:pt x="6687" y="57"/>
                  <a:pt x="6688" y="57"/>
                </a:cubicBezTo>
                <a:cubicBezTo>
                  <a:pt x="6689" y="57"/>
                  <a:pt x="6689" y="57"/>
                  <a:pt x="6690" y="57"/>
                </a:cubicBezTo>
                <a:cubicBezTo>
                  <a:pt x="6691" y="57"/>
                  <a:pt x="6691" y="57"/>
                  <a:pt x="6691" y="57"/>
                </a:cubicBezTo>
                <a:cubicBezTo>
                  <a:pt x="6692" y="57"/>
                  <a:pt x="6693" y="58"/>
                  <a:pt x="6694" y="58"/>
                </a:cubicBezTo>
                <a:cubicBezTo>
                  <a:pt x="6695" y="58"/>
                  <a:pt x="6696" y="57"/>
                  <a:pt x="6696" y="57"/>
                </a:cubicBezTo>
                <a:cubicBezTo>
                  <a:pt x="6699" y="57"/>
                  <a:pt x="6703" y="57"/>
                  <a:pt x="6706" y="57"/>
                </a:cubicBezTo>
                <a:cubicBezTo>
                  <a:pt x="6711" y="57"/>
                  <a:pt x="6719" y="57"/>
                  <a:pt x="6723" y="57"/>
                </a:cubicBezTo>
                <a:cubicBezTo>
                  <a:pt x="6736" y="58"/>
                  <a:pt x="6749" y="58"/>
                  <a:pt x="6762" y="57"/>
                </a:cubicBezTo>
                <a:cubicBezTo>
                  <a:pt x="6769" y="57"/>
                  <a:pt x="6776" y="57"/>
                  <a:pt x="6783" y="57"/>
                </a:cubicBezTo>
                <a:cubicBezTo>
                  <a:pt x="6785" y="56"/>
                  <a:pt x="6788" y="56"/>
                  <a:pt x="6791" y="56"/>
                </a:cubicBezTo>
                <a:cubicBezTo>
                  <a:pt x="6794" y="56"/>
                  <a:pt x="6796" y="55"/>
                  <a:pt x="6801" y="55"/>
                </a:cubicBezTo>
                <a:cubicBezTo>
                  <a:pt x="6802" y="55"/>
                  <a:pt x="6802" y="55"/>
                  <a:pt x="6803" y="55"/>
                </a:cubicBezTo>
                <a:cubicBezTo>
                  <a:pt x="6803" y="55"/>
                  <a:pt x="6804" y="56"/>
                  <a:pt x="6804" y="56"/>
                </a:cubicBezTo>
                <a:cubicBezTo>
                  <a:pt x="6806" y="56"/>
                  <a:pt x="6809" y="57"/>
                  <a:pt x="6812" y="57"/>
                </a:cubicBezTo>
                <a:cubicBezTo>
                  <a:pt x="6813" y="57"/>
                  <a:pt x="6814" y="57"/>
                  <a:pt x="6815" y="57"/>
                </a:cubicBezTo>
                <a:cubicBezTo>
                  <a:pt x="6818" y="57"/>
                  <a:pt x="6818" y="56"/>
                  <a:pt x="6819" y="56"/>
                </a:cubicBezTo>
                <a:cubicBezTo>
                  <a:pt x="6821" y="55"/>
                  <a:pt x="6823" y="55"/>
                  <a:pt x="6826" y="55"/>
                </a:cubicBezTo>
                <a:cubicBezTo>
                  <a:pt x="6828" y="54"/>
                  <a:pt x="6830" y="54"/>
                  <a:pt x="6833" y="54"/>
                </a:cubicBezTo>
                <a:cubicBezTo>
                  <a:pt x="6836" y="54"/>
                  <a:pt x="6839" y="55"/>
                  <a:pt x="6843" y="55"/>
                </a:cubicBezTo>
                <a:cubicBezTo>
                  <a:pt x="6848" y="54"/>
                  <a:pt x="6848" y="54"/>
                  <a:pt x="6851" y="53"/>
                </a:cubicBezTo>
                <a:cubicBezTo>
                  <a:pt x="6854" y="53"/>
                  <a:pt x="6862" y="53"/>
                  <a:pt x="6866" y="53"/>
                </a:cubicBezTo>
                <a:cubicBezTo>
                  <a:pt x="6873" y="53"/>
                  <a:pt x="6880" y="53"/>
                  <a:pt x="6887" y="54"/>
                </a:cubicBezTo>
                <a:cubicBezTo>
                  <a:pt x="6889" y="54"/>
                  <a:pt x="6893" y="54"/>
                  <a:pt x="6896" y="54"/>
                </a:cubicBezTo>
                <a:cubicBezTo>
                  <a:pt x="6898" y="54"/>
                  <a:pt x="6900" y="55"/>
                  <a:pt x="6903" y="56"/>
                </a:cubicBezTo>
                <a:cubicBezTo>
                  <a:pt x="6905" y="56"/>
                  <a:pt x="6908" y="56"/>
                  <a:pt x="6910" y="55"/>
                </a:cubicBezTo>
                <a:cubicBezTo>
                  <a:pt x="6911" y="55"/>
                  <a:pt x="6911" y="55"/>
                  <a:pt x="6912" y="54"/>
                </a:cubicBezTo>
                <a:cubicBezTo>
                  <a:pt x="6913" y="54"/>
                  <a:pt x="6915" y="54"/>
                  <a:pt x="6916" y="55"/>
                </a:cubicBezTo>
                <a:cubicBezTo>
                  <a:pt x="6916" y="55"/>
                  <a:pt x="6917" y="55"/>
                  <a:pt x="6918" y="56"/>
                </a:cubicBezTo>
                <a:cubicBezTo>
                  <a:pt x="6919" y="56"/>
                  <a:pt x="6921" y="56"/>
                  <a:pt x="6922" y="55"/>
                </a:cubicBezTo>
                <a:cubicBezTo>
                  <a:pt x="6924" y="55"/>
                  <a:pt x="6924" y="54"/>
                  <a:pt x="6927" y="54"/>
                </a:cubicBezTo>
                <a:cubicBezTo>
                  <a:pt x="6929" y="53"/>
                  <a:pt x="6932" y="54"/>
                  <a:pt x="6935" y="54"/>
                </a:cubicBezTo>
                <a:cubicBezTo>
                  <a:pt x="6936" y="54"/>
                  <a:pt x="6936" y="54"/>
                  <a:pt x="6936" y="54"/>
                </a:cubicBezTo>
                <a:cubicBezTo>
                  <a:pt x="6938" y="55"/>
                  <a:pt x="6943" y="54"/>
                  <a:pt x="6946" y="55"/>
                </a:cubicBezTo>
                <a:cubicBezTo>
                  <a:pt x="6948" y="55"/>
                  <a:pt x="6949" y="56"/>
                  <a:pt x="6952" y="56"/>
                </a:cubicBezTo>
                <a:cubicBezTo>
                  <a:pt x="6955" y="56"/>
                  <a:pt x="6957" y="56"/>
                  <a:pt x="6960" y="56"/>
                </a:cubicBezTo>
                <a:cubicBezTo>
                  <a:pt x="6961" y="56"/>
                  <a:pt x="6963" y="56"/>
                  <a:pt x="6964" y="56"/>
                </a:cubicBezTo>
                <a:cubicBezTo>
                  <a:pt x="6965" y="56"/>
                  <a:pt x="6966" y="55"/>
                  <a:pt x="6968" y="55"/>
                </a:cubicBezTo>
                <a:cubicBezTo>
                  <a:pt x="6969" y="55"/>
                  <a:pt x="6969" y="55"/>
                  <a:pt x="6970" y="55"/>
                </a:cubicBezTo>
                <a:cubicBezTo>
                  <a:pt x="6970" y="54"/>
                  <a:pt x="6970" y="54"/>
                  <a:pt x="6971" y="54"/>
                </a:cubicBezTo>
                <a:cubicBezTo>
                  <a:pt x="6972" y="53"/>
                  <a:pt x="6974" y="54"/>
                  <a:pt x="6975" y="54"/>
                </a:cubicBezTo>
                <a:cubicBezTo>
                  <a:pt x="6978" y="54"/>
                  <a:pt x="6980" y="53"/>
                  <a:pt x="6982" y="53"/>
                </a:cubicBezTo>
                <a:cubicBezTo>
                  <a:pt x="6985" y="53"/>
                  <a:pt x="6989" y="53"/>
                  <a:pt x="6992" y="53"/>
                </a:cubicBezTo>
                <a:cubicBezTo>
                  <a:pt x="6999" y="54"/>
                  <a:pt x="7006" y="54"/>
                  <a:pt x="7013" y="54"/>
                </a:cubicBezTo>
                <a:cubicBezTo>
                  <a:pt x="7017" y="54"/>
                  <a:pt x="7032" y="55"/>
                  <a:pt x="7035" y="56"/>
                </a:cubicBezTo>
                <a:cubicBezTo>
                  <a:pt x="7035" y="56"/>
                  <a:pt x="7040" y="56"/>
                  <a:pt x="7046" y="56"/>
                </a:cubicBezTo>
                <a:cubicBezTo>
                  <a:pt x="7049" y="56"/>
                  <a:pt x="7053" y="56"/>
                  <a:pt x="7056" y="56"/>
                </a:cubicBezTo>
                <a:cubicBezTo>
                  <a:pt x="7061" y="56"/>
                  <a:pt x="7063" y="53"/>
                  <a:pt x="7068" y="53"/>
                </a:cubicBezTo>
                <a:cubicBezTo>
                  <a:pt x="7071" y="53"/>
                  <a:pt x="7076" y="54"/>
                  <a:pt x="7079" y="54"/>
                </a:cubicBezTo>
                <a:cubicBezTo>
                  <a:pt x="7084" y="55"/>
                  <a:pt x="7090" y="55"/>
                  <a:pt x="7095" y="56"/>
                </a:cubicBezTo>
                <a:cubicBezTo>
                  <a:pt x="7098" y="56"/>
                  <a:pt x="7103" y="57"/>
                  <a:pt x="7106" y="56"/>
                </a:cubicBezTo>
                <a:cubicBezTo>
                  <a:pt x="7107" y="56"/>
                  <a:pt x="7107" y="55"/>
                  <a:pt x="7107" y="55"/>
                </a:cubicBezTo>
                <a:cubicBezTo>
                  <a:pt x="7108" y="55"/>
                  <a:pt x="7111" y="54"/>
                  <a:pt x="7113" y="54"/>
                </a:cubicBezTo>
                <a:cubicBezTo>
                  <a:pt x="7116" y="54"/>
                  <a:pt x="7120" y="54"/>
                  <a:pt x="7123" y="54"/>
                </a:cubicBezTo>
                <a:cubicBezTo>
                  <a:pt x="7127" y="54"/>
                  <a:pt x="7137" y="54"/>
                  <a:pt x="7140" y="53"/>
                </a:cubicBezTo>
                <a:cubicBezTo>
                  <a:pt x="7140" y="53"/>
                  <a:pt x="7141" y="53"/>
                  <a:pt x="7141" y="53"/>
                </a:cubicBezTo>
                <a:cubicBezTo>
                  <a:pt x="7144" y="53"/>
                  <a:pt x="7146" y="53"/>
                  <a:pt x="7148" y="53"/>
                </a:cubicBezTo>
                <a:cubicBezTo>
                  <a:pt x="7149" y="53"/>
                  <a:pt x="7149" y="53"/>
                  <a:pt x="7150" y="53"/>
                </a:cubicBezTo>
                <a:cubicBezTo>
                  <a:pt x="7152" y="53"/>
                  <a:pt x="7154" y="53"/>
                  <a:pt x="7156" y="53"/>
                </a:cubicBezTo>
                <a:cubicBezTo>
                  <a:pt x="7157" y="53"/>
                  <a:pt x="7157" y="53"/>
                  <a:pt x="7158" y="53"/>
                </a:cubicBezTo>
                <a:cubicBezTo>
                  <a:pt x="7162" y="54"/>
                  <a:pt x="7168" y="54"/>
                  <a:pt x="7172" y="54"/>
                </a:cubicBezTo>
                <a:cubicBezTo>
                  <a:pt x="7178" y="54"/>
                  <a:pt x="7184" y="54"/>
                  <a:pt x="7190" y="54"/>
                </a:cubicBezTo>
                <a:cubicBezTo>
                  <a:pt x="7196" y="54"/>
                  <a:pt x="7202" y="54"/>
                  <a:pt x="7207" y="54"/>
                </a:cubicBezTo>
                <a:cubicBezTo>
                  <a:pt x="7211" y="54"/>
                  <a:pt x="7213" y="53"/>
                  <a:pt x="7216" y="53"/>
                </a:cubicBezTo>
                <a:cubicBezTo>
                  <a:pt x="7218" y="53"/>
                  <a:pt x="7220" y="53"/>
                  <a:pt x="7222" y="53"/>
                </a:cubicBezTo>
                <a:cubicBezTo>
                  <a:pt x="7224" y="53"/>
                  <a:pt x="7226" y="52"/>
                  <a:pt x="7228" y="52"/>
                </a:cubicBezTo>
                <a:cubicBezTo>
                  <a:pt x="7229" y="52"/>
                  <a:pt x="7229" y="52"/>
                  <a:pt x="7230" y="52"/>
                </a:cubicBezTo>
                <a:cubicBezTo>
                  <a:pt x="7230" y="52"/>
                  <a:pt x="7231" y="52"/>
                  <a:pt x="7231" y="52"/>
                </a:cubicBezTo>
                <a:cubicBezTo>
                  <a:pt x="7233" y="52"/>
                  <a:pt x="7234" y="53"/>
                  <a:pt x="7235" y="53"/>
                </a:cubicBezTo>
                <a:cubicBezTo>
                  <a:pt x="7240" y="53"/>
                  <a:pt x="7248" y="53"/>
                  <a:pt x="7253" y="52"/>
                </a:cubicBezTo>
                <a:cubicBezTo>
                  <a:pt x="7260" y="52"/>
                  <a:pt x="7266" y="52"/>
                  <a:pt x="7273" y="52"/>
                </a:cubicBezTo>
                <a:cubicBezTo>
                  <a:pt x="7289" y="52"/>
                  <a:pt x="7304" y="52"/>
                  <a:pt x="7320" y="52"/>
                </a:cubicBezTo>
                <a:cubicBezTo>
                  <a:pt x="7328" y="52"/>
                  <a:pt x="7335" y="52"/>
                  <a:pt x="7343" y="53"/>
                </a:cubicBezTo>
                <a:cubicBezTo>
                  <a:pt x="7345" y="54"/>
                  <a:pt x="7347" y="54"/>
                  <a:pt x="7350" y="54"/>
                </a:cubicBezTo>
                <a:cubicBezTo>
                  <a:pt x="7353" y="53"/>
                  <a:pt x="7354" y="53"/>
                  <a:pt x="7356" y="52"/>
                </a:cubicBezTo>
                <a:cubicBezTo>
                  <a:pt x="7361" y="52"/>
                  <a:pt x="7367" y="53"/>
                  <a:pt x="7371" y="53"/>
                </a:cubicBezTo>
                <a:cubicBezTo>
                  <a:pt x="7381" y="53"/>
                  <a:pt x="7390" y="52"/>
                  <a:pt x="7400" y="53"/>
                </a:cubicBezTo>
                <a:cubicBezTo>
                  <a:pt x="7400" y="53"/>
                  <a:pt x="7401" y="53"/>
                  <a:pt x="7402" y="54"/>
                </a:cubicBezTo>
                <a:cubicBezTo>
                  <a:pt x="7405" y="54"/>
                  <a:pt x="7409" y="54"/>
                  <a:pt x="7413" y="54"/>
                </a:cubicBezTo>
                <a:cubicBezTo>
                  <a:pt x="7415" y="54"/>
                  <a:pt x="7418" y="54"/>
                  <a:pt x="7420" y="53"/>
                </a:cubicBezTo>
                <a:cubicBezTo>
                  <a:pt x="7421" y="53"/>
                  <a:pt x="7418" y="52"/>
                  <a:pt x="7419" y="52"/>
                </a:cubicBezTo>
                <a:cubicBezTo>
                  <a:pt x="7421" y="51"/>
                  <a:pt x="7423" y="52"/>
                  <a:pt x="7425" y="52"/>
                </a:cubicBezTo>
                <a:cubicBezTo>
                  <a:pt x="7428" y="52"/>
                  <a:pt x="7429" y="52"/>
                  <a:pt x="7433" y="52"/>
                </a:cubicBezTo>
                <a:cubicBezTo>
                  <a:pt x="7438" y="52"/>
                  <a:pt x="7441" y="54"/>
                  <a:pt x="7446" y="54"/>
                </a:cubicBezTo>
                <a:cubicBezTo>
                  <a:pt x="7449" y="54"/>
                  <a:pt x="7451" y="53"/>
                  <a:pt x="7454" y="53"/>
                </a:cubicBezTo>
                <a:cubicBezTo>
                  <a:pt x="7456" y="53"/>
                  <a:pt x="7458" y="53"/>
                  <a:pt x="7461" y="53"/>
                </a:cubicBezTo>
                <a:cubicBezTo>
                  <a:pt x="7464" y="53"/>
                  <a:pt x="7466" y="52"/>
                  <a:pt x="7469" y="52"/>
                </a:cubicBezTo>
                <a:cubicBezTo>
                  <a:pt x="7470" y="52"/>
                  <a:pt x="7472" y="52"/>
                  <a:pt x="7475" y="52"/>
                </a:cubicBezTo>
                <a:cubicBezTo>
                  <a:pt x="7476" y="52"/>
                  <a:pt x="7477" y="52"/>
                  <a:pt x="7478" y="52"/>
                </a:cubicBezTo>
                <a:cubicBezTo>
                  <a:pt x="7484" y="53"/>
                  <a:pt x="7491" y="52"/>
                  <a:pt x="7497" y="52"/>
                </a:cubicBezTo>
                <a:cubicBezTo>
                  <a:pt x="7557" y="52"/>
                  <a:pt x="7584" y="52"/>
                  <a:pt x="7586" y="51"/>
                </a:cubicBezTo>
                <a:cubicBezTo>
                  <a:pt x="7587" y="51"/>
                  <a:pt x="7619" y="51"/>
                  <a:pt x="7626" y="52"/>
                </a:cubicBezTo>
                <a:cubicBezTo>
                  <a:pt x="7633" y="52"/>
                  <a:pt x="7640" y="53"/>
                  <a:pt x="7647" y="53"/>
                </a:cubicBezTo>
                <a:cubicBezTo>
                  <a:pt x="7649" y="54"/>
                  <a:pt x="7655" y="53"/>
                  <a:pt x="7656" y="53"/>
                </a:cubicBezTo>
                <a:cubicBezTo>
                  <a:pt x="7659" y="54"/>
                  <a:pt x="7654" y="55"/>
                  <a:pt x="7653" y="55"/>
                </a:cubicBezTo>
                <a:cubicBezTo>
                  <a:pt x="7653" y="56"/>
                  <a:pt x="7653" y="56"/>
                  <a:pt x="7655" y="56"/>
                </a:cubicBezTo>
                <a:cubicBezTo>
                  <a:pt x="7657" y="56"/>
                  <a:pt x="7660" y="56"/>
                  <a:pt x="7662" y="56"/>
                </a:cubicBezTo>
                <a:cubicBezTo>
                  <a:pt x="7665" y="55"/>
                  <a:pt x="7668" y="55"/>
                  <a:pt x="7671" y="55"/>
                </a:cubicBezTo>
                <a:cubicBezTo>
                  <a:pt x="7677" y="54"/>
                  <a:pt x="7682" y="54"/>
                  <a:pt x="7688" y="54"/>
                </a:cubicBezTo>
                <a:cubicBezTo>
                  <a:pt x="7689" y="54"/>
                  <a:pt x="7691" y="54"/>
                  <a:pt x="7692" y="54"/>
                </a:cubicBezTo>
                <a:cubicBezTo>
                  <a:pt x="7694" y="55"/>
                  <a:pt x="7694" y="55"/>
                  <a:pt x="7696" y="55"/>
                </a:cubicBezTo>
                <a:cubicBezTo>
                  <a:pt x="7697" y="56"/>
                  <a:pt x="7699" y="56"/>
                  <a:pt x="7701" y="56"/>
                </a:cubicBezTo>
                <a:cubicBezTo>
                  <a:pt x="7702" y="56"/>
                  <a:pt x="7702" y="56"/>
                  <a:pt x="7703" y="55"/>
                </a:cubicBezTo>
                <a:cubicBezTo>
                  <a:pt x="7707" y="53"/>
                  <a:pt x="7723" y="53"/>
                  <a:pt x="7732" y="53"/>
                </a:cubicBezTo>
                <a:cubicBezTo>
                  <a:pt x="7749" y="53"/>
                  <a:pt x="7767" y="53"/>
                  <a:pt x="7773" y="53"/>
                </a:cubicBezTo>
                <a:cubicBezTo>
                  <a:pt x="7783" y="53"/>
                  <a:pt x="7791" y="53"/>
                  <a:pt x="7801" y="51"/>
                </a:cubicBezTo>
                <a:cubicBezTo>
                  <a:pt x="7805" y="51"/>
                  <a:pt x="7811" y="51"/>
                  <a:pt x="7816" y="51"/>
                </a:cubicBezTo>
                <a:cubicBezTo>
                  <a:pt x="7820" y="52"/>
                  <a:pt x="7825" y="52"/>
                  <a:pt x="7830" y="52"/>
                </a:cubicBezTo>
                <a:cubicBezTo>
                  <a:pt x="7833" y="53"/>
                  <a:pt x="7837" y="53"/>
                  <a:pt x="7840" y="52"/>
                </a:cubicBezTo>
                <a:cubicBezTo>
                  <a:pt x="7855" y="52"/>
                  <a:pt x="7870" y="52"/>
                  <a:pt x="7885" y="52"/>
                </a:cubicBezTo>
                <a:cubicBezTo>
                  <a:pt x="7902" y="52"/>
                  <a:pt x="7918" y="52"/>
                  <a:pt x="7935" y="52"/>
                </a:cubicBezTo>
                <a:cubicBezTo>
                  <a:pt x="7990" y="52"/>
                  <a:pt x="8047" y="51"/>
                  <a:pt x="8063" y="51"/>
                </a:cubicBezTo>
                <a:cubicBezTo>
                  <a:pt x="8069" y="51"/>
                  <a:pt x="8075" y="51"/>
                  <a:pt x="8081" y="51"/>
                </a:cubicBezTo>
                <a:cubicBezTo>
                  <a:pt x="8086" y="51"/>
                  <a:pt x="8092" y="52"/>
                  <a:pt x="8095" y="51"/>
                </a:cubicBezTo>
                <a:cubicBezTo>
                  <a:pt x="8096" y="51"/>
                  <a:pt x="8096" y="51"/>
                  <a:pt x="8096" y="51"/>
                </a:cubicBezTo>
                <a:cubicBezTo>
                  <a:pt x="8096" y="52"/>
                  <a:pt x="8098" y="52"/>
                  <a:pt x="8100" y="52"/>
                </a:cubicBezTo>
                <a:cubicBezTo>
                  <a:pt x="8101" y="52"/>
                  <a:pt x="8103" y="52"/>
                  <a:pt x="8104" y="51"/>
                </a:cubicBezTo>
                <a:cubicBezTo>
                  <a:pt x="8105" y="51"/>
                  <a:pt x="8106" y="51"/>
                  <a:pt x="8107" y="50"/>
                </a:cubicBezTo>
                <a:cubicBezTo>
                  <a:pt x="8112" y="50"/>
                  <a:pt x="8124" y="50"/>
                  <a:pt x="8130" y="51"/>
                </a:cubicBezTo>
                <a:cubicBezTo>
                  <a:pt x="8134" y="51"/>
                  <a:pt x="8143" y="51"/>
                  <a:pt x="8147" y="51"/>
                </a:cubicBezTo>
                <a:cubicBezTo>
                  <a:pt x="8147" y="51"/>
                  <a:pt x="8148" y="51"/>
                  <a:pt x="8149" y="50"/>
                </a:cubicBezTo>
                <a:cubicBezTo>
                  <a:pt x="8150" y="50"/>
                  <a:pt x="8152" y="50"/>
                  <a:pt x="8153" y="50"/>
                </a:cubicBezTo>
                <a:cubicBezTo>
                  <a:pt x="8155" y="50"/>
                  <a:pt x="8155" y="49"/>
                  <a:pt x="8157" y="49"/>
                </a:cubicBezTo>
                <a:cubicBezTo>
                  <a:pt x="8160" y="49"/>
                  <a:pt x="8165" y="50"/>
                  <a:pt x="8164" y="51"/>
                </a:cubicBezTo>
                <a:cubicBezTo>
                  <a:pt x="8163" y="51"/>
                  <a:pt x="8162" y="51"/>
                  <a:pt x="8162" y="52"/>
                </a:cubicBezTo>
                <a:cubicBezTo>
                  <a:pt x="8162" y="52"/>
                  <a:pt x="8164" y="52"/>
                  <a:pt x="8165" y="52"/>
                </a:cubicBezTo>
                <a:cubicBezTo>
                  <a:pt x="8166" y="52"/>
                  <a:pt x="8167" y="52"/>
                  <a:pt x="8168" y="52"/>
                </a:cubicBezTo>
                <a:cubicBezTo>
                  <a:pt x="8173" y="51"/>
                  <a:pt x="8181" y="51"/>
                  <a:pt x="8187" y="51"/>
                </a:cubicBezTo>
                <a:cubicBezTo>
                  <a:pt x="8192" y="51"/>
                  <a:pt x="8204" y="50"/>
                  <a:pt x="8209" y="51"/>
                </a:cubicBezTo>
                <a:cubicBezTo>
                  <a:pt x="8210" y="51"/>
                  <a:pt x="8210" y="51"/>
                  <a:pt x="8211" y="51"/>
                </a:cubicBezTo>
                <a:cubicBezTo>
                  <a:pt x="8213" y="51"/>
                  <a:pt x="8214" y="51"/>
                  <a:pt x="8216" y="51"/>
                </a:cubicBezTo>
                <a:cubicBezTo>
                  <a:pt x="8221" y="51"/>
                  <a:pt x="8226" y="52"/>
                  <a:pt x="8231" y="51"/>
                </a:cubicBezTo>
                <a:cubicBezTo>
                  <a:pt x="8236" y="51"/>
                  <a:pt x="8256" y="51"/>
                  <a:pt x="8274" y="51"/>
                </a:cubicBezTo>
                <a:cubicBezTo>
                  <a:pt x="8281" y="51"/>
                  <a:pt x="8288" y="51"/>
                  <a:pt x="8295" y="51"/>
                </a:cubicBezTo>
                <a:cubicBezTo>
                  <a:pt x="8299" y="51"/>
                  <a:pt x="8303" y="51"/>
                  <a:pt x="8307" y="51"/>
                </a:cubicBezTo>
                <a:cubicBezTo>
                  <a:pt x="8309" y="50"/>
                  <a:pt x="8310" y="50"/>
                  <a:pt x="8312" y="50"/>
                </a:cubicBezTo>
                <a:cubicBezTo>
                  <a:pt x="8315" y="49"/>
                  <a:pt x="8318" y="49"/>
                  <a:pt x="8321" y="49"/>
                </a:cubicBezTo>
                <a:cubicBezTo>
                  <a:pt x="8320" y="49"/>
                  <a:pt x="8323" y="50"/>
                  <a:pt x="8324" y="51"/>
                </a:cubicBezTo>
                <a:cubicBezTo>
                  <a:pt x="8326" y="51"/>
                  <a:pt x="8328" y="51"/>
                  <a:pt x="8329" y="51"/>
                </a:cubicBezTo>
                <a:cubicBezTo>
                  <a:pt x="8335" y="51"/>
                  <a:pt x="8340" y="51"/>
                  <a:pt x="8346" y="51"/>
                </a:cubicBezTo>
                <a:cubicBezTo>
                  <a:pt x="8358" y="51"/>
                  <a:pt x="8370" y="51"/>
                  <a:pt x="8382" y="51"/>
                </a:cubicBezTo>
                <a:cubicBezTo>
                  <a:pt x="8393" y="51"/>
                  <a:pt x="8404" y="51"/>
                  <a:pt x="8416" y="51"/>
                </a:cubicBezTo>
                <a:cubicBezTo>
                  <a:pt x="8425" y="51"/>
                  <a:pt x="8437" y="52"/>
                  <a:pt x="8445" y="50"/>
                </a:cubicBezTo>
                <a:cubicBezTo>
                  <a:pt x="8446" y="50"/>
                  <a:pt x="8447" y="50"/>
                  <a:pt x="8448" y="50"/>
                </a:cubicBezTo>
                <a:cubicBezTo>
                  <a:pt x="8449" y="50"/>
                  <a:pt x="8451" y="50"/>
                  <a:pt x="8452" y="50"/>
                </a:cubicBezTo>
                <a:cubicBezTo>
                  <a:pt x="8453" y="50"/>
                  <a:pt x="8454" y="50"/>
                  <a:pt x="8455" y="50"/>
                </a:cubicBezTo>
                <a:cubicBezTo>
                  <a:pt x="8457" y="50"/>
                  <a:pt x="8458" y="50"/>
                  <a:pt x="8460" y="50"/>
                </a:cubicBezTo>
                <a:cubicBezTo>
                  <a:pt x="8468" y="50"/>
                  <a:pt x="8476" y="50"/>
                  <a:pt x="8484" y="50"/>
                </a:cubicBezTo>
                <a:cubicBezTo>
                  <a:pt x="8492" y="50"/>
                  <a:pt x="8501" y="50"/>
                  <a:pt x="8509" y="51"/>
                </a:cubicBezTo>
                <a:cubicBezTo>
                  <a:pt x="8527" y="51"/>
                  <a:pt x="8545" y="50"/>
                  <a:pt x="8563" y="50"/>
                </a:cubicBezTo>
                <a:cubicBezTo>
                  <a:pt x="8595" y="50"/>
                  <a:pt x="8626" y="50"/>
                  <a:pt x="8659" y="49"/>
                </a:cubicBezTo>
                <a:cubicBezTo>
                  <a:pt x="8659" y="49"/>
                  <a:pt x="8659" y="50"/>
                  <a:pt x="8659" y="50"/>
                </a:cubicBezTo>
                <a:cubicBezTo>
                  <a:pt x="8659" y="50"/>
                  <a:pt x="8660" y="50"/>
                  <a:pt x="8660" y="50"/>
                </a:cubicBezTo>
                <a:cubicBezTo>
                  <a:pt x="8661" y="50"/>
                  <a:pt x="8662" y="50"/>
                  <a:pt x="8663" y="50"/>
                </a:cubicBezTo>
                <a:cubicBezTo>
                  <a:pt x="8667" y="50"/>
                  <a:pt x="8670" y="51"/>
                  <a:pt x="8674" y="51"/>
                </a:cubicBezTo>
                <a:cubicBezTo>
                  <a:pt x="8678" y="51"/>
                  <a:pt x="8682" y="51"/>
                  <a:pt x="8686" y="51"/>
                </a:cubicBezTo>
                <a:cubicBezTo>
                  <a:pt x="8688" y="51"/>
                  <a:pt x="8690" y="52"/>
                  <a:pt x="8693" y="52"/>
                </a:cubicBezTo>
                <a:cubicBezTo>
                  <a:pt x="8696" y="51"/>
                  <a:pt x="8698" y="50"/>
                  <a:pt x="8700" y="50"/>
                </a:cubicBezTo>
                <a:cubicBezTo>
                  <a:pt x="8703" y="50"/>
                  <a:pt x="8708" y="50"/>
                  <a:pt x="8711" y="50"/>
                </a:cubicBezTo>
                <a:cubicBezTo>
                  <a:pt x="8720" y="50"/>
                  <a:pt x="8736" y="51"/>
                  <a:pt x="8746" y="50"/>
                </a:cubicBezTo>
                <a:cubicBezTo>
                  <a:pt x="8761" y="50"/>
                  <a:pt x="8803" y="50"/>
                  <a:pt x="8826" y="50"/>
                </a:cubicBezTo>
                <a:cubicBezTo>
                  <a:pt x="8831" y="51"/>
                  <a:pt x="8842" y="50"/>
                  <a:pt x="8852" y="50"/>
                </a:cubicBezTo>
                <a:cubicBezTo>
                  <a:pt x="8858" y="50"/>
                  <a:pt x="8863" y="50"/>
                  <a:pt x="8869" y="50"/>
                </a:cubicBezTo>
                <a:cubicBezTo>
                  <a:pt x="8869" y="51"/>
                  <a:pt x="8870" y="51"/>
                  <a:pt x="8872" y="51"/>
                </a:cubicBezTo>
                <a:cubicBezTo>
                  <a:pt x="8873" y="51"/>
                  <a:pt x="8875" y="51"/>
                  <a:pt x="8876" y="51"/>
                </a:cubicBezTo>
                <a:cubicBezTo>
                  <a:pt x="8879" y="52"/>
                  <a:pt x="8882" y="52"/>
                  <a:pt x="8884" y="52"/>
                </a:cubicBezTo>
                <a:cubicBezTo>
                  <a:pt x="8886" y="51"/>
                  <a:pt x="8887" y="51"/>
                  <a:pt x="8888" y="51"/>
                </a:cubicBezTo>
                <a:cubicBezTo>
                  <a:pt x="8893" y="51"/>
                  <a:pt x="8901" y="50"/>
                  <a:pt x="8906" y="51"/>
                </a:cubicBezTo>
                <a:cubicBezTo>
                  <a:pt x="8912" y="51"/>
                  <a:pt x="8915" y="53"/>
                  <a:pt x="8918" y="54"/>
                </a:cubicBezTo>
                <a:cubicBezTo>
                  <a:pt x="8920" y="54"/>
                  <a:pt x="8922" y="55"/>
                  <a:pt x="8924" y="54"/>
                </a:cubicBezTo>
                <a:cubicBezTo>
                  <a:pt x="8927" y="53"/>
                  <a:pt x="8931" y="53"/>
                  <a:pt x="8934" y="52"/>
                </a:cubicBezTo>
                <a:cubicBezTo>
                  <a:pt x="8934" y="51"/>
                  <a:pt x="8935" y="51"/>
                  <a:pt x="8935" y="51"/>
                </a:cubicBezTo>
                <a:cubicBezTo>
                  <a:pt x="8936" y="51"/>
                  <a:pt x="8938" y="51"/>
                  <a:pt x="8939" y="51"/>
                </a:cubicBezTo>
                <a:cubicBezTo>
                  <a:pt x="8940" y="51"/>
                  <a:pt x="8940" y="51"/>
                  <a:pt x="8941" y="51"/>
                </a:cubicBezTo>
                <a:cubicBezTo>
                  <a:pt x="8945" y="50"/>
                  <a:pt x="8955" y="51"/>
                  <a:pt x="8959" y="51"/>
                </a:cubicBezTo>
                <a:cubicBezTo>
                  <a:pt x="8969" y="51"/>
                  <a:pt x="8978" y="51"/>
                  <a:pt x="8987" y="51"/>
                </a:cubicBezTo>
                <a:cubicBezTo>
                  <a:pt x="9005" y="51"/>
                  <a:pt x="9024" y="51"/>
                  <a:pt x="9042" y="51"/>
                </a:cubicBezTo>
                <a:cubicBezTo>
                  <a:pt x="9044" y="51"/>
                  <a:pt x="9046" y="51"/>
                  <a:pt x="9048" y="51"/>
                </a:cubicBezTo>
                <a:cubicBezTo>
                  <a:pt x="9048" y="50"/>
                  <a:pt x="9049" y="50"/>
                  <a:pt x="9049" y="50"/>
                </a:cubicBezTo>
                <a:cubicBezTo>
                  <a:pt x="9050" y="50"/>
                  <a:pt x="9051" y="50"/>
                  <a:pt x="9052" y="50"/>
                </a:cubicBezTo>
                <a:cubicBezTo>
                  <a:pt x="9052" y="50"/>
                  <a:pt x="9053" y="50"/>
                  <a:pt x="9053" y="50"/>
                </a:cubicBezTo>
                <a:cubicBezTo>
                  <a:pt x="9055" y="50"/>
                  <a:pt x="9063" y="50"/>
                  <a:pt x="9065" y="50"/>
                </a:cubicBezTo>
                <a:cubicBezTo>
                  <a:pt x="9068" y="50"/>
                  <a:pt x="9072" y="50"/>
                  <a:pt x="9077" y="51"/>
                </a:cubicBezTo>
                <a:cubicBezTo>
                  <a:pt x="9082" y="51"/>
                  <a:pt x="9087" y="51"/>
                  <a:pt x="9092" y="51"/>
                </a:cubicBezTo>
                <a:cubicBezTo>
                  <a:pt x="9092" y="51"/>
                  <a:pt x="9093" y="51"/>
                  <a:pt x="9093" y="51"/>
                </a:cubicBezTo>
                <a:cubicBezTo>
                  <a:pt x="9094" y="51"/>
                  <a:pt x="9095" y="51"/>
                  <a:pt x="9095" y="51"/>
                </a:cubicBezTo>
                <a:cubicBezTo>
                  <a:pt x="9097" y="50"/>
                  <a:pt x="9100" y="50"/>
                  <a:pt x="9102" y="50"/>
                </a:cubicBezTo>
                <a:cubicBezTo>
                  <a:pt x="9102" y="51"/>
                  <a:pt x="9103" y="51"/>
                  <a:pt x="9104" y="51"/>
                </a:cubicBezTo>
                <a:cubicBezTo>
                  <a:pt x="9108" y="51"/>
                  <a:pt x="9112" y="51"/>
                  <a:pt x="9116" y="51"/>
                </a:cubicBezTo>
                <a:cubicBezTo>
                  <a:pt x="9119" y="51"/>
                  <a:pt x="9124" y="51"/>
                  <a:pt x="9128" y="52"/>
                </a:cubicBezTo>
                <a:cubicBezTo>
                  <a:pt x="9130" y="52"/>
                  <a:pt x="9132" y="53"/>
                  <a:pt x="9135" y="53"/>
                </a:cubicBezTo>
                <a:cubicBezTo>
                  <a:pt x="9139" y="53"/>
                  <a:pt x="9146" y="50"/>
                  <a:pt x="9150" y="51"/>
                </a:cubicBezTo>
                <a:cubicBezTo>
                  <a:pt x="9151" y="51"/>
                  <a:pt x="9150" y="52"/>
                  <a:pt x="9150" y="52"/>
                </a:cubicBezTo>
                <a:cubicBezTo>
                  <a:pt x="9150" y="52"/>
                  <a:pt x="9149" y="52"/>
                  <a:pt x="9149" y="53"/>
                </a:cubicBezTo>
                <a:cubicBezTo>
                  <a:pt x="9150" y="53"/>
                  <a:pt x="9150" y="53"/>
                  <a:pt x="9151" y="53"/>
                </a:cubicBezTo>
                <a:cubicBezTo>
                  <a:pt x="9154" y="53"/>
                  <a:pt x="9157" y="53"/>
                  <a:pt x="9159" y="52"/>
                </a:cubicBezTo>
                <a:cubicBezTo>
                  <a:pt x="9159" y="52"/>
                  <a:pt x="9160" y="52"/>
                  <a:pt x="9161" y="52"/>
                </a:cubicBezTo>
                <a:cubicBezTo>
                  <a:pt x="9169" y="51"/>
                  <a:pt x="9180" y="51"/>
                  <a:pt x="9189" y="51"/>
                </a:cubicBezTo>
                <a:cubicBezTo>
                  <a:pt x="9198" y="51"/>
                  <a:pt x="9206" y="51"/>
                  <a:pt x="9214" y="51"/>
                </a:cubicBezTo>
                <a:cubicBezTo>
                  <a:pt x="9218" y="51"/>
                  <a:pt x="9223" y="51"/>
                  <a:pt x="9227" y="52"/>
                </a:cubicBezTo>
                <a:cubicBezTo>
                  <a:pt x="9232" y="52"/>
                  <a:pt x="9230" y="52"/>
                  <a:pt x="9233" y="53"/>
                </a:cubicBezTo>
                <a:cubicBezTo>
                  <a:pt x="9234" y="54"/>
                  <a:pt x="9235" y="54"/>
                  <a:pt x="9235" y="55"/>
                </a:cubicBezTo>
                <a:cubicBezTo>
                  <a:pt x="9237" y="55"/>
                  <a:pt x="9238" y="55"/>
                  <a:pt x="9239" y="55"/>
                </a:cubicBezTo>
                <a:cubicBezTo>
                  <a:pt x="9241" y="55"/>
                  <a:pt x="9243" y="54"/>
                  <a:pt x="9243" y="54"/>
                </a:cubicBezTo>
                <a:cubicBezTo>
                  <a:pt x="9244" y="53"/>
                  <a:pt x="9245" y="53"/>
                  <a:pt x="9248" y="52"/>
                </a:cubicBezTo>
                <a:cubicBezTo>
                  <a:pt x="9252" y="52"/>
                  <a:pt x="9257" y="52"/>
                  <a:pt x="9261" y="52"/>
                </a:cubicBezTo>
                <a:cubicBezTo>
                  <a:pt x="9267" y="52"/>
                  <a:pt x="9272" y="53"/>
                  <a:pt x="9278" y="53"/>
                </a:cubicBezTo>
                <a:cubicBezTo>
                  <a:pt x="9286" y="53"/>
                  <a:pt x="9294" y="53"/>
                  <a:pt x="9302" y="53"/>
                </a:cubicBezTo>
                <a:cubicBezTo>
                  <a:pt x="9306" y="52"/>
                  <a:pt x="9310" y="52"/>
                  <a:pt x="9314" y="52"/>
                </a:cubicBezTo>
                <a:cubicBezTo>
                  <a:pt x="9316" y="52"/>
                  <a:pt x="9318" y="52"/>
                  <a:pt x="9319" y="52"/>
                </a:cubicBezTo>
                <a:cubicBezTo>
                  <a:pt x="9322" y="52"/>
                  <a:pt x="9321" y="53"/>
                  <a:pt x="9323" y="53"/>
                </a:cubicBezTo>
                <a:cubicBezTo>
                  <a:pt x="9325" y="53"/>
                  <a:pt x="9326" y="53"/>
                  <a:pt x="9328" y="54"/>
                </a:cubicBezTo>
                <a:cubicBezTo>
                  <a:pt x="9328" y="54"/>
                  <a:pt x="9329" y="54"/>
                  <a:pt x="9329" y="54"/>
                </a:cubicBezTo>
                <a:cubicBezTo>
                  <a:pt x="9330" y="54"/>
                  <a:pt x="9330" y="53"/>
                  <a:pt x="9331" y="53"/>
                </a:cubicBezTo>
                <a:cubicBezTo>
                  <a:pt x="9332" y="53"/>
                  <a:pt x="9335" y="53"/>
                  <a:pt x="9338" y="52"/>
                </a:cubicBezTo>
                <a:cubicBezTo>
                  <a:pt x="9340" y="52"/>
                  <a:pt x="9342" y="51"/>
                  <a:pt x="9346" y="51"/>
                </a:cubicBezTo>
                <a:cubicBezTo>
                  <a:pt x="9348" y="51"/>
                  <a:pt x="9349" y="51"/>
                  <a:pt x="9351" y="51"/>
                </a:cubicBezTo>
                <a:cubicBezTo>
                  <a:pt x="9361" y="51"/>
                  <a:pt x="9372" y="51"/>
                  <a:pt x="9382" y="51"/>
                </a:cubicBezTo>
                <a:cubicBezTo>
                  <a:pt x="9390" y="51"/>
                  <a:pt x="9394" y="52"/>
                  <a:pt x="9400" y="53"/>
                </a:cubicBezTo>
                <a:cubicBezTo>
                  <a:pt x="9401" y="54"/>
                  <a:pt x="9402" y="54"/>
                  <a:pt x="9403" y="54"/>
                </a:cubicBezTo>
                <a:cubicBezTo>
                  <a:pt x="9406" y="54"/>
                  <a:pt x="9408" y="52"/>
                  <a:pt x="9411" y="52"/>
                </a:cubicBezTo>
                <a:cubicBezTo>
                  <a:pt x="9413" y="52"/>
                  <a:pt x="9415" y="52"/>
                  <a:pt x="9417" y="53"/>
                </a:cubicBezTo>
                <a:cubicBezTo>
                  <a:pt x="9425" y="54"/>
                  <a:pt x="9432" y="53"/>
                  <a:pt x="9439" y="52"/>
                </a:cubicBezTo>
                <a:cubicBezTo>
                  <a:pt x="9443" y="52"/>
                  <a:pt x="9446" y="51"/>
                  <a:pt x="9449" y="51"/>
                </a:cubicBezTo>
                <a:cubicBezTo>
                  <a:pt x="9456" y="51"/>
                  <a:pt x="9463" y="51"/>
                  <a:pt x="9471" y="51"/>
                </a:cubicBezTo>
                <a:cubicBezTo>
                  <a:pt x="9472" y="51"/>
                  <a:pt x="9474" y="51"/>
                  <a:pt x="9476" y="51"/>
                </a:cubicBezTo>
                <a:cubicBezTo>
                  <a:pt x="9483" y="52"/>
                  <a:pt x="9490" y="52"/>
                  <a:pt x="9498" y="52"/>
                </a:cubicBezTo>
                <a:cubicBezTo>
                  <a:pt x="9503" y="52"/>
                  <a:pt x="9509" y="52"/>
                  <a:pt x="9515" y="53"/>
                </a:cubicBezTo>
                <a:cubicBezTo>
                  <a:pt x="9520" y="53"/>
                  <a:pt x="9525" y="54"/>
                  <a:pt x="9530" y="55"/>
                </a:cubicBezTo>
                <a:cubicBezTo>
                  <a:pt x="9530" y="55"/>
                  <a:pt x="9531" y="55"/>
                  <a:pt x="9533" y="55"/>
                </a:cubicBezTo>
                <a:cubicBezTo>
                  <a:pt x="9534" y="55"/>
                  <a:pt x="9535" y="55"/>
                  <a:pt x="9535" y="55"/>
                </a:cubicBezTo>
                <a:cubicBezTo>
                  <a:pt x="9536" y="55"/>
                  <a:pt x="9536" y="54"/>
                  <a:pt x="9536" y="54"/>
                </a:cubicBezTo>
                <a:cubicBezTo>
                  <a:pt x="9536" y="54"/>
                  <a:pt x="9537" y="54"/>
                  <a:pt x="9538" y="54"/>
                </a:cubicBezTo>
                <a:cubicBezTo>
                  <a:pt x="9539" y="54"/>
                  <a:pt x="9538" y="55"/>
                  <a:pt x="9540" y="55"/>
                </a:cubicBezTo>
                <a:cubicBezTo>
                  <a:pt x="9541" y="54"/>
                  <a:pt x="9542" y="54"/>
                  <a:pt x="9543" y="54"/>
                </a:cubicBezTo>
                <a:cubicBezTo>
                  <a:pt x="9544" y="54"/>
                  <a:pt x="9544" y="54"/>
                  <a:pt x="9545" y="54"/>
                </a:cubicBezTo>
                <a:cubicBezTo>
                  <a:pt x="9546" y="53"/>
                  <a:pt x="9547" y="54"/>
                  <a:pt x="9548" y="54"/>
                </a:cubicBezTo>
                <a:cubicBezTo>
                  <a:pt x="9550" y="55"/>
                  <a:pt x="9553" y="54"/>
                  <a:pt x="9555" y="54"/>
                </a:cubicBezTo>
                <a:cubicBezTo>
                  <a:pt x="9563" y="51"/>
                  <a:pt x="9583" y="52"/>
                  <a:pt x="9595" y="52"/>
                </a:cubicBezTo>
                <a:cubicBezTo>
                  <a:pt x="9601" y="52"/>
                  <a:pt x="9609" y="51"/>
                  <a:pt x="9615" y="52"/>
                </a:cubicBezTo>
                <a:cubicBezTo>
                  <a:pt x="9616" y="52"/>
                  <a:pt x="9617" y="52"/>
                  <a:pt x="9618" y="52"/>
                </a:cubicBezTo>
                <a:cubicBezTo>
                  <a:pt x="9620" y="53"/>
                  <a:pt x="9623" y="53"/>
                  <a:pt x="9624" y="53"/>
                </a:cubicBezTo>
                <a:cubicBezTo>
                  <a:pt x="9625" y="53"/>
                  <a:pt x="9626" y="54"/>
                  <a:pt x="9627" y="54"/>
                </a:cubicBezTo>
                <a:cubicBezTo>
                  <a:pt x="9630" y="55"/>
                  <a:pt x="9637" y="55"/>
                  <a:pt x="9642" y="55"/>
                </a:cubicBezTo>
                <a:cubicBezTo>
                  <a:pt x="9646" y="55"/>
                  <a:pt x="9653" y="56"/>
                  <a:pt x="9657" y="55"/>
                </a:cubicBezTo>
                <a:cubicBezTo>
                  <a:pt x="9659" y="54"/>
                  <a:pt x="9666" y="55"/>
                  <a:pt x="9669" y="55"/>
                </a:cubicBezTo>
                <a:cubicBezTo>
                  <a:pt x="9675" y="55"/>
                  <a:pt x="9681" y="55"/>
                  <a:pt x="9688" y="55"/>
                </a:cubicBezTo>
                <a:cubicBezTo>
                  <a:pt x="9690" y="55"/>
                  <a:pt x="9694" y="55"/>
                  <a:pt x="9697" y="55"/>
                </a:cubicBezTo>
                <a:cubicBezTo>
                  <a:pt x="9700" y="55"/>
                  <a:pt x="9701" y="54"/>
                  <a:pt x="9705" y="54"/>
                </a:cubicBezTo>
                <a:cubicBezTo>
                  <a:pt x="9707" y="53"/>
                  <a:pt x="9710" y="54"/>
                  <a:pt x="9710" y="54"/>
                </a:cubicBezTo>
                <a:cubicBezTo>
                  <a:pt x="9710" y="55"/>
                  <a:pt x="9709" y="55"/>
                  <a:pt x="9710" y="55"/>
                </a:cubicBezTo>
                <a:cubicBezTo>
                  <a:pt x="9711" y="56"/>
                  <a:pt x="9721" y="55"/>
                  <a:pt x="9723" y="55"/>
                </a:cubicBezTo>
                <a:cubicBezTo>
                  <a:pt x="9726" y="55"/>
                  <a:pt x="9737" y="56"/>
                  <a:pt x="9738" y="55"/>
                </a:cubicBezTo>
                <a:cubicBezTo>
                  <a:pt x="9738" y="54"/>
                  <a:pt x="9738" y="54"/>
                  <a:pt x="9738" y="54"/>
                </a:cubicBezTo>
                <a:cubicBezTo>
                  <a:pt x="9740" y="53"/>
                  <a:pt x="9746" y="53"/>
                  <a:pt x="9748" y="53"/>
                </a:cubicBezTo>
                <a:cubicBezTo>
                  <a:pt x="9752" y="53"/>
                  <a:pt x="9756" y="54"/>
                  <a:pt x="9760" y="54"/>
                </a:cubicBezTo>
                <a:cubicBezTo>
                  <a:pt x="9774" y="54"/>
                  <a:pt x="9805" y="55"/>
                  <a:pt x="9830" y="55"/>
                </a:cubicBezTo>
                <a:cubicBezTo>
                  <a:pt x="9838" y="55"/>
                  <a:pt x="9846" y="55"/>
                  <a:pt x="9855" y="55"/>
                </a:cubicBezTo>
                <a:cubicBezTo>
                  <a:pt x="9861" y="55"/>
                  <a:pt x="9872" y="54"/>
                  <a:pt x="9878" y="55"/>
                </a:cubicBezTo>
                <a:cubicBezTo>
                  <a:pt x="9879" y="55"/>
                  <a:pt x="9880" y="55"/>
                  <a:pt x="9881" y="56"/>
                </a:cubicBezTo>
                <a:cubicBezTo>
                  <a:pt x="9883" y="56"/>
                  <a:pt x="9886" y="56"/>
                  <a:pt x="9889" y="56"/>
                </a:cubicBezTo>
                <a:cubicBezTo>
                  <a:pt x="9892" y="55"/>
                  <a:pt x="9895" y="55"/>
                  <a:pt x="9897" y="55"/>
                </a:cubicBezTo>
                <a:cubicBezTo>
                  <a:pt x="9898" y="54"/>
                  <a:pt x="9898" y="54"/>
                  <a:pt x="9899" y="54"/>
                </a:cubicBezTo>
                <a:cubicBezTo>
                  <a:pt x="9901" y="54"/>
                  <a:pt x="9903" y="55"/>
                  <a:pt x="9905" y="55"/>
                </a:cubicBezTo>
                <a:cubicBezTo>
                  <a:pt x="9916" y="55"/>
                  <a:pt x="9930" y="56"/>
                  <a:pt x="9941" y="56"/>
                </a:cubicBezTo>
                <a:cubicBezTo>
                  <a:pt x="9942" y="56"/>
                  <a:pt x="9943" y="56"/>
                  <a:pt x="9943" y="55"/>
                </a:cubicBezTo>
                <a:cubicBezTo>
                  <a:pt x="9944" y="53"/>
                  <a:pt x="9958" y="54"/>
                  <a:pt x="9962" y="55"/>
                </a:cubicBezTo>
                <a:cubicBezTo>
                  <a:pt x="9973" y="55"/>
                  <a:pt x="9987" y="55"/>
                  <a:pt x="9994" y="55"/>
                </a:cubicBezTo>
                <a:cubicBezTo>
                  <a:pt x="10001" y="55"/>
                  <a:pt x="10019" y="55"/>
                  <a:pt x="10033" y="55"/>
                </a:cubicBezTo>
                <a:cubicBezTo>
                  <a:pt x="10047" y="55"/>
                  <a:pt x="10083" y="55"/>
                  <a:pt x="10113" y="55"/>
                </a:cubicBezTo>
                <a:cubicBezTo>
                  <a:pt x="10123" y="55"/>
                  <a:pt x="10132" y="55"/>
                  <a:pt x="10142" y="55"/>
                </a:cubicBezTo>
                <a:cubicBezTo>
                  <a:pt x="10145" y="55"/>
                  <a:pt x="10165" y="54"/>
                  <a:pt x="10165" y="55"/>
                </a:cubicBezTo>
                <a:cubicBezTo>
                  <a:pt x="10165" y="56"/>
                  <a:pt x="10164" y="56"/>
                  <a:pt x="10164" y="56"/>
                </a:cubicBezTo>
                <a:cubicBezTo>
                  <a:pt x="10163" y="56"/>
                  <a:pt x="10165" y="57"/>
                  <a:pt x="10166" y="57"/>
                </a:cubicBezTo>
                <a:cubicBezTo>
                  <a:pt x="10169" y="57"/>
                  <a:pt x="10171" y="57"/>
                  <a:pt x="10174" y="57"/>
                </a:cubicBezTo>
                <a:cubicBezTo>
                  <a:pt x="10177" y="57"/>
                  <a:pt x="10181" y="57"/>
                  <a:pt x="10185" y="57"/>
                </a:cubicBezTo>
                <a:cubicBezTo>
                  <a:pt x="10189" y="57"/>
                  <a:pt x="10194" y="57"/>
                  <a:pt x="10199" y="57"/>
                </a:cubicBezTo>
                <a:cubicBezTo>
                  <a:pt x="10202" y="57"/>
                  <a:pt x="10205" y="58"/>
                  <a:pt x="10209" y="57"/>
                </a:cubicBezTo>
                <a:cubicBezTo>
                  <a:pt x="10212" y="57"/>
                  <a:pt x="10214" y="56"/>
                  <a:pt x="10216" y="56"/>
                </a:cubicBezTo>
                <a:cubicBezTo>
                  <a:pt x="10219" y="55"/>
                  <a:pt x="10221" y="55"/>
                  <a:pt x="10225" y="55"/>
                </a:cubicBezTo>
                <a:cubicBezTo>
                  <a:pt x="10229" y="55"/>
                  <a:pt x="10240" y="55"/>
                  <a:pt x="10249" y="55"/>
                </a:cubicBezTo>
                <a:cubicBezTo>
                  <a:pt x="10254" y="55"/>
                  <a:pt x="10261" y="54"/>
                  <a:pt x="10266" y="55"/>
                </a:cubicBezTo>
                <a:cubicBezTo>
                  <a:pt x="10270" y="55"/>
                  <a:pt x="10274" y="55"/>
                  <a:pt x="10279" y="55"/>
                </a:cubicBezTo>
                <a:cubicBezTo>
                  <a:pt x="10284" y="55"/>
                  <a:pt x="10289" y="55"/>
                  <a:pt x="10293" y="55"/>
                </a:cubicBezTo>
                <a:cubicBezTo>
                  <a:pt x="10297" y="56"/>
                  <a:pt x="10299" y="56"/>
                  <a:pt x="10303" y="57"/>
                </a:cubicBezTo>
                <a:cubicBezTo>
                  <a:pt x="10308" y="57"/>
                  <a:pt x="10315" y="56"/>
                  <a:pt x="10320" y="56"/>
                </a:cubicBezTo>
                <a:cubicBezTo>
                  <a:pt x="10329" y="56"/>
                  <a:pt x="10335" y="55"/>
                  <a:pt x="10343" y="54"/>
                </a:cubicBezTo>
                <a:cubicBezTo>
                  <a:pt x="10348" y="54"/>
                  <a:pt x="10353" y="54"/>
                  <a:pt x="10357" y="54"/>
                </a:cubicBezTo>
                <a:cubicBezTo>
                  <a:pt x="10363" y="54"/>
                  <a:pt x="10370" y="55"/>
                  <a:pt x="10376" y="55"/>
                </a:cubicBezTo>
                <a:cubicBezTo>
                  <a:pt x="10381" y="55"/>
                  <a:pt x="10384" y="56"/>
                  <a:pt x="10392" y="56"/>
                </a:cubicBezTo>
                <a:cubicBezTo>
                  <a:pt x="10392" y="56"/>
                  <a:pt x="10392" y="56"/>
                  <a:pt x="10392" y="55"/>
                </a:cubicBezTo>
                <a:cubicBezTo>
                  <a:pt x="10394" y="54"/>
                  <a:pt x="10399" y="54"/>
                  <a:pt x="10402" y="55"/>
                </a:cubicBezTo>
                <a:cubicBezTo>
                  <a:pt x="10404" y="55"/>
                  <a:pt x="10413" y="55"/>
                  <a:pt x="10409" y="56"/>
                </a:cubicBezTo>
                <a:cubicBezTo>
                  <a:pt x="10409" y="56"/>
                  <a:pt x="10410" y="56"/>
                  <a:pt x="10411" y="57"/>
                </a:cubicBezTo>
                <a:cubicBezTo>
                  <a:pt x="10412" y="57"/>
                  <a:pt x="10413" y="57"/>
                  <a:pt x="10413" y="58"/>
                </a:cubicBezTo>
                <a:cubicBezTo>
                  <a:pt x="10414" y="58"/>
                  <a:pt x="10415" y="58"/>
                  <a:pt x="10417" y="58"/>
                </a:cubicBezTo>
                <a:cubicBezTo>
                  <a:pt x="10418" y="58"/>
                  <a:pt x="10418" y="58"/>
                  <a:pt x="10420" y="58"/>
                </a:cubicBezTo>
                <a:cubicBezTo>
                  <a:pt x="10422" y="58"/>
                  <a:pt x="10423" y="58"/>
                  <a:pt x="10425" y="59"/>
                </a:cubicBezTo>
                <a:cubicBezTo>
                  <a:pt x="10426" y="59"/>
                  <a:pt x="10429" y="59"/>
                  <a:pt x="10431" y="59"/>
                </a:cubicBezTo>
                <a:cubicBezTo>
                  <a:pt x="10432" y="59"/>
                  <a:pt x="10434" y="58"/>
                  <a:pt x="10433" y="57"/>
                </a:cubicBezTo>
                <a:cubicBezTo>
                  <a:pt x="10432" y="57"/>
                  <a:pt x="10432" y="57"/>
                  <a:pt x="10432" y="57"/>
                </a:cubicBezTo>
                <a:cubicBezTo>
                  <a:pt x="10432" y="56"/>
                  <a:pt x="10434" y="56"/>
                  <a:pt x="10437" y="56"/>
                </a:cubicBezTo>
                <a:cubicBezTo>
                  <a:pt x="10438" y="56"/>
                  <a:pt x="10439" y="56"/>
                  <a:pt x="10439" y="56"/>
                </a:cubicBezTo>
                <a:cubicBezTo>
                  <a:pt x="10440" y="57"/>
                  <a:pt x="10439" y="57"/>
                  <a:pt x="10441" y="57"/>
                </a:cubicBezTo>
                <a:cubicBezTo>
                  <a:pt x="10446" y="57"/>
                  <a:pt x="10451" y="58"/>
                  <a:pt x="10457" y="58"/>
                </a:cubicBezTo>
                <a:cubicBezTo>
                  <a:pt x="10462" y="58"/>
                  <a:pt x="10467" y="58"/>
                  <a:pt x="10473" y="58"/>
                </a:cubicBezTo>
                <a:cubicBezTo>
                  <a:pt x="10476" y="58"/>
                  <a:pt x="10480" y="58"/>
                  <a:pt x="10483" y="58"/>
                </a:cubicBezTo>
                <a:cubicBezTo>
                  <a:pt x="10487" y="58"/>
                  <a:pt x="10491" y="58"/>
                  <a:pt x="10495" y="58"/>
                </a:cubicBezTo>
                <a:cubicBezTo>
                  <a:pt x="10498" y="58"/>
                  <a:pt x="10501" y="58"/>
                  <a:pt x="10505" y="58"/>
                </a:cubicBezTo>
                <a:cubicBezTo>
                  <a:pt x="10507" y="58"/>
                  <a:pt x="10506" y="57"/>
                  <a:pt x="10508" y="57"/>
                </a:cubicBezTo>
                <a:cubicBezTo>
                  <a:pt x="10509" y="57"/>
                  <a:pt x="10513" y="57"/>
                  <a:pt x="10515" y="57"/>
                </a:cubicBezTo>
                <a:cubicBezTo>
                  <a:pt x="10520" y="57"/>
                  <a:pt x="10525" y="56"/>
                  <a:pt x="10531" y="56"/>
                </a:cubicBezTo>
                <a:cubicBezTo>
                  <a:pt x="10532" y="56"/>
                  <a:pt x="10533" y="56"/>
                  <a:pt x="10534" y="56"/>
                </a:cubicBezTo>
                <a:cubicBezTo>
                  <a:pt x="10535" y="56"/>
                  <a:pt x="10536" y="57"/>
                  <a:pt x="10536" y="57"/>
                </a:cubicBezTo>
                <a:cubicBezTo>
                  <a:pt x="10536" y="57"/>
                  <a:pt x="10535" y="57"/>
                  <a:pt x="10535" y="58"/>
                </a:cubicBezTo>
                <a:cubicBezTo>
                  <a:pt x="10535" y="58"/>
                  <a:pt x="10536" y="59"/>
                  <a:pt x="10538" y="59"/>
                </a:cubicBezTo>
                <a:cubicBezTo>
                  <a:pt x="10539" y="59"/>
                  <a:pt x="10541" y="59"/>
                  <a:pt x="10543" y="59"/>
                </a:cubicBezTo>
                <a:cubicBezTo>
                  <a:pt x="10545" y="60"/>
                  <a:pt x="10552" y="59"/>
                  <a:pt x="10555" y="59"/>
                </a:cubicBezTo>
                <a:cubicBezTo>
                  <a:pt x="10560" y="58"/>
                  <a:pt x="10566" y="59"/>
                  <a:pt x="10572" y="58"/>
                </a:cubicBezTo>
                <a:cubicBezTo>
                  <a:pt x="10573" y="58"/>
                  <a:pt x="10575" y="57"/>
                  <a:pt x="10576" y="57"/>
                </a:cubicBezTo>
                <a:cubicBezTo>
                  <a:pt x="10577" y="57"/>
                  <a:pt x="10578" y="57"/>
                  <a:pt x="10580" y="57"/>
                </a:cubicBezTo>
                <a:cubicBezTo>
                  <a:pt x="10581" y="57"/>
                  <a:pt x="10583" y="56"/>
                  <a:pt x="10584" y="57"/>
                </a:cubicBezTo>
                <a:cubicBezTo>
                  <a:pt x="10588" y="59"/>
                  <a:pt x="10599" y="58"/>
                  <a:pt x="10604" y="57"/>
                </a:cubicBezTo>
                <a:cubicBezTo>
                  <a:pt x="10613" y="57"/>
                  <a:pt x="10621" y="57"/>
                  <a:pt x="10623" y="57"/>
                </a:cubicBezTo>
                <a:cubicBezTo>
                  <a:pt x="10624" y="57"/>
                  <a:pt x="10636" y="57"/>
                  <a:pt x="10651" y="57"/>
                </a:cubicBezTo>
                <a:cubicBezTo>
                  <a:pt x="10656" y="57"/>
                  <a:pt x="10661" y="57"/>
                  <a:pt x="10666" y="58"/>
                </a:cubicBezTo>
                <a:cubicBezTo>
                  <a:pt x="10669" y="58"/>
                  <a:pt x="10673" y="58"/>
                  <a:pt x="10677" y="57"/>
                </a:cubicBezTo>
                <a:cubicBezTo>
                  <a:pt x="10678" y="57"/>
                  <a:pt x="10680" y="57"/>
                  <a:pt x="10681" y="56"/>
                </a:cubicBezTo>
                <a:cubicBezTo>
                  <a:pt x="10683" y="56"/>
                  <a:pt x="10684" y="56"/>
                  <a:pt x="10686" y="56"/>
                </a:cubicBezTo>
                <a:cubicBezTo>
                  <a:pt x="10689" y="55"/>
                  <a:pt x="10690" y="55"/>
                  <a:pt x="10693" y="56"/>
                </a:cubicBezTo>
                <a:cubicBezTo>
                  <a:pt x="10697" y="56"/>
                  <a:pt x="10702" y="57"/>
                  <a:pt x="10703" y="57"/>
                </a:cubicBezTo>
                <a:cubicBezTo>
                  <a:pt x="10706" y="58"/>
                  <a:pt x="10730" y="58"/>
                  <a:pt x="10738" y="56"/>
                </a:cubicBezTo>
                <a:cubicBezTo>
                  <a:pt x="10742" y="56"/>
                  <a:pt x="10751" y="54"/>
                  <a:pt x="10755" y="56"/>
                </a:cubicBezTo>
                <a:cubicBezTo>
                  <a:pt x="10756" y="56"/>
                  <a:pt x="10756" y="56"/>
                  <a:pt x="10756" y="56"/>
                </a:cubicBezTo>
                <a:cubicBezTo>
                  <a:pt x="10757" y="56"/>
                  <a:pt x="10759" y="56"/>
                  <a:pt x="10760" y="57"/>
                </a:cubicBezTo>
                <a:cubicBezTo>
                  <a:pt x="10766" y="57"/>
                  <a:pt x="10772" y="57"/>
                  <a:pt x="10778" y="57"/>
                </a:cubicBezTo>
                <a:cubicBezTo>
                  <a:pt x="10787" y="57"/>
                  <a:pt x="10797" y="58"/>
                  <a:pt x="10801" y="58"/>
                </a:cubicBezTo>
                <a:cubicBezTo>
                  <a:pt x="10805" y="58"/>
                  <a:pt x="10819" y="58"/>
                  <a:pt x="10833" y="58"/>
                </a:cubicBezTo>
                <a:cubicBezTo>
                  <a:pt x="10842" y="58"/>
                  <a:pt x="10859" y="59"/>
                  <a:pt x="10864" y="56"/>
                </a:cubicBezTo>
                <a:cubicBezTo>
                  <a:pt x="10864" y="56"/>
                  <a:pt x="10864" y="56"/>
                  <a:pt x="10865" y="56"/>
                </a:cubicBezTo>
                <a:cubicBezTo>
                  <a:pt x="10866" y="56"/>
                  <a:pt x="10867" y="56"/>
                  <a:pt x="10868" y="56"/>
                </a:cubicBezTo>
                <a:cubicBezTo>
                  <a:pt x="10872" y="56"/>
                  <a:pt x="10875" y="55"/>
                  <a:pt x="10879" y="55"/>
                </a:cubicBezTo>
                <a:cubicBezTo>
                  <a:pt x="10884" y="55"/>
                  <a:pt x="10889" y="55"/>
                  <a:pt x="10894" y="56"/>
                </a:cubicBezTo>
                <a:cubicBezTo>
                  <a:pt x="10900" y="56"/>
                  <a:pt x="10907" y="56"/>
                  <a:pt x="10914" y="56"/>
                </a:cubicBezTo>
                <a:cubicBezTo>
                  <a:pt x="10917" y="56"/>
                  <a:pt x="10927" y="56"/>
                  <a:pt x="10930" y="56"/>
                </a:cubicBezTo>
                <a:cubicBezTo>
                  <a:pt x="10930" y="56"/>
                  <a:pt x="10930" y="56"/>
                  <a:pt x="10931" y="56"/>
                </a:cubicBezTo>
                <a:cubicBezTo>
                  <a:pt x="10934" y="57"/>
                  <a:pt x="10940" y="57"/>
                  <a:pt x="10944" y="57"/>
                </a:cubicBezTo>
                <a:cubicBezTo>
                  <a:pt x="10951" y="57"/>
                  <a:pt x="10961" y="58"/>
                  <a:pt x="10967" y="58"/>
                </a:cubicBezTo>
                <a:cubicBezTo>
                  <a:pt x="10972" y="58"/>
                  <a:pt x="10976" y="58"/>
                  <a:pt x="10981" y="57"/>
                </a:cubicBezTo>
                <a:cubicBezTo>
                  <a:pt x="10984" y="56"/>
                  <a:pt x="10986" y="56"/>
                  <a:pt x="10991" y="56"/>
                </a:cubicBezTo>
                <a:cubicBezTo>
                  <a:pt x="10997" y="55"/>
                  <a:pt x="11003" y="56"/>
                  <a:pt x="11009" y="55"/>
                </a:cubicBezTo>
                <a:cubicBezTo>
                  <a:pt x="11016" y="55"/>
                  <a:pt x="11023" y="55"/>
                  <a:pt x="11030" y="55"/>
                </a:cubicBezTo>
                <a:cubicBezTo>
                  <a:pt x="11030" y="56"/>
                  <a:pt x="11030" y="56"/>
                  <a:pt x="11030" y="56"/>
                </a:cubicBezTo>
                <a:cubicBezTo>
                  <a:pt x="11030" y="57"/>
                  <a:pt x="11031" y="57"/>
                  <a:pt x="11032" y="57"/>
                </a:cubicBezTo>
                <a:cubicBezTo>
                  <a:pt x="11033" y="57"/>
                  <a:pt x="11033" y="57"/>
                  <a:pt x="11034" y="57"/>
                </a:cubicBezTo>
                <a:cubicBezTo>
                  <a:pt x="11038" y="56"/>
                  <a:pt x="11046" y="54"/>
                  <a:pt x="11050" y="56"/>
                </a:cubicBezTo>
                <a:cubicBezTo>
                  <a:pt x="11051" y="56"/>
                  <a:pt x="11051" y="57"/>
                  <a:pt x="11050" y="57"/>
                </a:cubicBezTo>
                <a:cubicBezTo>
                  <a:pt x="11050" y="57"/>
                  <a:pt x="11049" y="57"/>
                  <a:pt x="11049" y="58"/>
                </a:cubicBezTo>
                <a:cubicBezTo>
                  <a:pt x="11049" y="58"/>
                  <a:pt x="11051" y="59"/>
                  <a:pt x="11053" y="59"/>
                </a:cubicBezTo>
                <a:cubicBezTo>
                  <a:pt x="11055" y="59"/>
                  <a:pt x="11057" y="59"/>
                  <a:pt x="11059" y="59"/>
                </a:cubicBezTo>
                <a:cubicBezTo>
                  <a:pt x="11061" y="59"/>
                  <a:pt x="11062" y="58"/>
                  <a:pt x="11065" y="57"/>
                </a:cubicBezTo>
                <a:cubicBezTo>
                  <a:pt x="11066" y="57"/>
                  <a:pt x="11066" y="58"/>
                  <a:pt x="11066" y="58"/>
                </a:cubicBezTo>
                <a:cubicBezTo>
                  <a:pt x="11066" y="58"/>
                  <a:pt x="11066" y="58"/>
                  <a:pt x="11065" y="58"/>
                </a:cubicBezTo>
                <a:cubicBezTo>
                  <a:pt x="11065" y="60"/>
                  <a:pt x="11081" y="59"/>
                  <a:pt x="11084" y="59"/>
                </a:cubicBezTo>
                <a:cubicBezTo>
                  <a:pt x="11093" y="59"/>
                  <a:pt x="11103" y="59"/>
                  <a:pt x="11113" y="59"/>
                </a:cubicBezTo>
                <a:cubicBezTo>
                  <a:pt x="11122" y="59"/>
                  <a:pt x="11131" y="59"/>
                  <a:pt x="11140" y="59"/>
                </a:cubicBezTo>
                <a:cubicBezTo>
                  <a:pt x="11145" y="59"/>
                  <a:pt x="11155" y="60"/>
                  <a:pt x="11160" y="59"/>
                </a:cubicBezTo>
                <a:cubicBezTo>
                  <a:pt x="11161" y="58"/>
                  <a:pt x="11161" y="58"/>
                  <a:pt x="11163" y="57"/>
                </a:cubicBezTo>
                <a:cubicBezTo>
                  <a:pt x="11164" y="57"/>
                  <a:pt x="11166" y="57"/>
                  <a:pt x="11168" y="57"/>
                </a:cubicBezTo>
                <a:cubicBezTo>
                  <a:pt x="11171" y="56"/>
                  <a:pt x="11175" y="56"/>
                  <a:pt x="11178" y="55"/>
                </a:cubicBezTo>
                <a:cubicBezTo>
                  <a:pt x="11181" y="55"/>
                  <a:pt x="11182" y="54"/>
                  <a:pt x="11185" y="54"/>
                </a:cubicBezTo>
                <a:cubicBezTo>
                  <a:pt x="11189" y="54"/>
                  <a:pt x="11193" y="54"/>
                  <a:pt x="11196" y="54"/>
                </a:cubicBezTo>
                <a:cubicBezTo>
                  <a:pt x="11199" y="54"/>
                  <a:pt x="11212" y="54"/>
                  <a:pt x="11214" y="55"/>
                </a:cubicBezTo>
                <a:cubicBezTo>
                  <a:pt x="11214" y="55"/>
                  <a:pt x="11214" y="55"/>
                  <a:pt x="11214" y="55"/>
                </a:cubicBezTo>
                <a:cubicBezTo>
                  <a:pt x="11214" y="56"/>
                  <a:pt x="11216" y="56"/>
                  <a:pt x="11219" y="56"/>
                </a:cubicBezTo>
                <a:cubicBezTo>
                  <a:pt x="11220" y="56"/>
                  <a:pt x="11221" y="56"/>
                  <a:pt x="11221" y="55"/>
                </a:cubicBezTo>
                <a:cubicBezTo>
                  <a:pt x="11221" y="55"/>
                  <a:pt x="11221" y="54"/>
                  <a:pt x="11223" y="54"/>
                </a:cubicBezTo>
                <a:cubicBezTo>
                  <a:pt x="11229" y="54"/>
                  <a:pt x="11237" y="54"/>
                  <a:pt x="11243" y="54"/>
                </a:cubicBezTo>
                <a:cubicBezTo>
                  <a:pt x="11244" y="54"/>
                  <a:pt x="11244" y="54"/>
                  <a:pt x="11245" y="54"/>
                </a:cubicBezTo>
                <a:cubicBezTo>
                  <a:pt x="11246" y="54"/>
                  <a:pt x="11245" y="55"/>
                  <a:pt x="11245" y="55"/>
                </a:cubicBezTo>
                <a:cubicBezTo>
                  <a:pt x="11245" y="56"/>
                  <a:pt x="11252" y="59"/>
                  <a:pt x="11257" y="57"/>
                </a:cubicBezTo>
                <a:cubicBezTo>
                  <a:pt x="11259" y="57"/>
                  <a:pt x="11257" y="56"/>
                  <a:pt x="11257" y="56"/>
                </a:cubicBezTo>
                <a:cubicBezTo>
                  <a:pt x="11258" y="55"/>
                  <a:pt x="11258" y="55"/>
                  <a:pt x="11259" y="55"/>
                </a:cubicBezTo>
                <a:cubicBezTo>
                  <a:pt x="11259" y="55"/>
                  <a:pt x="11259" y="54"/>
                  <a:pt x="11259" y="54"/>
                </a:cubicBezTo>
                <a:cubicBezTo>
                  <a:pt x="11261" y="53"/>
                  <a:pt x="11267" y="54"/>
                  <a:pt x="11269" y="54"/>
                </a:cubicBezTo>
                <a:cubicBezTo>
                  <a:pt x="11272" y="54"/>
                  <a:pt x="11271" y="55"/>
                  <a:pt x="11273" y="56"/>
                </a:cubicBezTo>
                <a:cubicBezTo>
                  <a:pt x="11275" y="56"/>
                  <a:pt x="11280" y="55"/>
                  <a:pt x="11282" y="55"/>
                </a:cubicBezTo>
                <a:cubicBezTo>
                  <a:pt x="11286" y="55"/>
                  <a:pt x="11292" y="56"/>
                  <a:pt x="11296" y="55"/>
                </a:cubicBezTo>
                <a:cubicBezTo>
                  <a:pt x="11300" y="55"/>
                  <a:pt x="11301" y="54"/>
                  <a:pt x="11305" y="54"/>
                </a:cubicBezTo>
                <a:cubicBezTo>
                  <a:pt x="11314" y="53"/>
                  <a:pt x="11327" y="53"/>
                  <a:pt x="11337" y="53"/>
                </a:cubicBezTo>
                <a:cubicBezTo>
                  <a:pt x="11342" y="53"/>
                  <a:pt x="11373" y="52"/>
                  <a:pt x="11374" y="54"/>
                </a:cubicBezTo>
                <a:cubicBezTo>
                  <a:pt x="11375" y="54"/>
                  <a:pt x="11374" y="54"/>
                  <a:pt x="11375" y="54"/>
                </a:cubicBezTo>
                <a:cubicBezTo>
                  <a:pt x="11375" y="55"/>
                  <a:pt x="11376" y="55"/>
                  <a:pt x="11377" y="55"/>
                </a:cubicBezTo>
                <a:cubicBezTo>
                  <a:pt x="11379" y="55"/>
                  <a:pt x="11392" y="54"/>
                  <a:pt x="11386" y="56"/>
                </a:cubicBezTo>
                <a:cubicBezTo>
                  <a:pt x="11385" y="56"/>
                  <a:pt x="11384" y="56"/>
                  <a:pt x="11384" y="57"/>
                </a:cubicBezTo>
                <a:cubicBezTo>
                  <a:pt x="11385" y="57"/>
                  <a:pt x="11387" y="57"/>
                  <a:pt x="11389" y="57"/>
                </a:cubicBezTo>
                <a:cubicBezTo>
                  <a:pt x="11390" y="56"/>
                  <a:pt x="11392" y="56"/>
                  <a:pt x="11393" y="56"/>
                </a:cubicBezTo>
                <a:cubicBezTo>
                  <a:pt x="11396" y="56"/>
                  <a:pt x="11398" y="56"/>
                  <a:pt x="11401" y="56"/>
                </a:cubicBezTo>
                <a:cubicBezTo>
                  <a:pt x="11403" y="56"/>
                  <a:pt x="11406" y="56"/>
                  <a:pt x="11408" y="56"/>
                </a:cubicBezTo>
                <a:cubicBezTo>
                  <a:pt x="11416" y="56"/>
                  <a:pt x="11424" y="56"/>
                  <a:pt x="11432" y="55"/>
                </a:cubicBezTo>
                <a:cubicBezTo>
                  <a:pt x="11435" y="55"/>
                  <a:pt x="11438" y="55"/>
                  <a:pt x="11441" y="55"/>
                </a:cubicBezTo>
                <a:cubicBezTo>
                  <a:pt x="11444" y="55"/>
                  <a:pt x="11447" y="56"/>
                  <a:pt x="11450" y="56"/>
                </a:cubicBezTo>
                <a:cubicBezTo>
                  <a:pt x="11451" y="55"/>
                  <a:pt x="11454" y="55"/>
                  <a:pt x="11456" y="55"/>
                </a:cubicBezTo>
                <a:cubicBezTo>
                  <a:pt x="11457" y="55"/>
                  <a:pt x="11459" y="54"/>
                  <a:pt x="11460" y="54"/>
                </a:cubicBezTo>
                <a:cubicBezTo>
                  <a:pt x="11463" y="53"/>
                  <a:pt x="11467" y="53"/>
                  <a:pt x="11468" y="52"/>
                </a:cubicBezTo>
                <a:cubicBezTo>
                  <a:pt x="11468" y="52"/>
                  <a:pt x="11468" y="52"/>
                  <a:pt x="11468" y="52"/>
                </a:cubicBezTo>
                <a:cubicBezTo>
                  <a:pt x="11469" y="52"/>
                  <a:pt x="11470" y="51"/>
                  <a:pt x="11471" y="51"/>
                </a:cubicBezTo>
                <a:cubicBezTo>
                  <a:pt x="11474" y="51"/>
                  <a:pt x="11477" y="51"/>
                  <a:pt x="11479" y="51"/>
                </a:cubicBezTo>
                <a:cubicBezTo>
                  <a:pt x="11482" y="51"/>
                  <a:pt x="11486" y="51"/>
                  <a:pt x="11487" y="52"/>
                </a:cubicBezTo>
                <a:cubicBezTo>
                  <a:pt x="11487" y="53"/>
                  <a:pt x="11487" y="53"/>
                  <a:pt x="11488" y="54"/>
                </a:cubicBezTo>
                <a:cubicBezTo>
                  <a:pt x="11490" y="54"/>
                  <a:pt x="11497" y="53"/>
                  <a:pt x="11500" y="53"/>
                </a:cubicBezTo>
                <a:cubicBezTo>
                  <a:pt x="11505" y="53"/>
                  <a:pt x="11508" y="55"/>
                  <a:pt x="11513" y="56"/>
                </a:cubicBezTo>
                <a:cubicBezTo>
                  <a:pt x="11518" y="57"/>
                  <a:pt x="11526" y="56"/>
                  <a:pt x="11532" y="56"/>
                </a:cubicBezTo>
                <a:cubicBezTo>
                  <a:pt x="11535" y="56"/>
                  <a:pt x="11539" y="56"/>
                  <a:pt x="11541" y="55"/>
                </a:cubicBezTo>
                <a:cubicBezTo>
                  <a:pt x="11543" y="55"/>
                  <a:pt x="11545" y="55"/>
                  <a:pt x="11547" y="54"/>
                </a:cubicBezTo>
                <a:cubicBezTo>
                  <a:pt x="11553" y="54"/>
                  <a:pt x="11561" y="54"/>
                  <a:pt x="11567" y="54"/>
                </a:cubicBezTo>
                <a:cubicBezTo>
                  <a:pt x="11575" y="54"/>
                  <a:pt x="11583" y="54"/>
                  <a:pt x="11591" y="54"/>
                </a:cubicBezTo>
                <a:cubicBezTo>
                  <a:pt x="11596" y="54"/>
                  <a:pt x="11602" y="54"/>
                  <a:pt x="11607" y="54"/>
                </a:cubicBezTo>
                <a:cubicBezTo>
                  <a:pt x="11614" y="54"/>
                  <a:pt x="11620" y="54"/>
                  <a:pt x="11627" y="54"/>
                </a:cubicBezTo>
                <a:lnTo>
                  <a:pt x="11627" y="56"/>
                </a:lnTo>
                <a:cubicBezTo>
                  <a:pt x="11630" y="56"/>
                  <a:pt x="11634" y="56"/>
                  <a:pt x="11638" y="56"/>
                </a:cubicBezTo>
                <a:cubicBezTo>
                  <a:pt x="11640" y="55"/>
                  <a:pt x="11643" y="55"/>
                  <a:pt x="11645" y="55"/>
                </a:cubicBezTo>
                <a:cubicBezTo>
                  <a:pt x="11646" y="55"/>
                  <a:pt x="11646" y="56"/>
                  <a:pt x="11647" y="56"/>
                </a:cubicBezTo>
                <a:cubicBezTo>
                  <a:pt x="11648" y="57"/>
                  <a:pt x="11649" y="57"/>
                  <a:pt x="11650" y="57"/>
                </a:cubicBezTo>
                <a:cubicBezTo>
                  <a:pt x="11651" y="57"/>
                  <a:pt x="11653" y="56"/>
                  <a:pt x="11654" y="57"/>
                </a:cubicBezTo>
                <a:cubicBezTo>
                  <a:pt x="11655" y="57"/>
                  <a:pt x="11656" y="58"/>
                  <a:pt x="11656" y="58"/>
                </a:cubicBezTo>
                <a:cubicBezTo>
                  <a:pt x="11658" y="59"/>
                  <a:pt x="11659" y="58"/>
                  <a:pt x="11659" y="57"/>
                </a:cubicBezTo>
                <a:cubicBezTo>
                  <a:pt x="11661" y="55"/>
                  <a:pt x="11661" y="55"/>
                  <a:pt x="11663" y="55"/>
                </a:cubicBezTo>
                <a:cubicBezTo>
                  <a:pt x="11665" y="56"/>
                  <a:pt x="11666" y="55"/>
                  <a:pt x="11668" y="55"/>
                </a:cubicBezTo>
                <a:cubicBezTo>
                  <a:pt x="11673" y="56"/>
                  <a:pt x="11678" y="56"/>
                  <a:pt x="11684" y="56"/>
                </a:cubicBezTo>
                <a:cubicBezTo>
                  <a:pt x="11684" y="56"/>
                  <a:pt x="11684" y="56"/>
                  <a:pt x="11684" y="57"/>
                </a:cubicBezTo>
                <a:cubicBezTo>
                  <a:pt x="11685" y="57"/>
                  <a:pt x="11686" y="57"/>
                  <a:pt x="11687" y="57"/>
                </a:cubicBezTo>
                <a:cubicBezTo>
                  <a:pt x="11688" y="58"/>
                  <a:pt x="11690" y="58"/>
                  <a:pt x="11691" y="58"/>
                </a:cubicBezTo>
                <a:cubicBezTo>
                  <a:pt x="11692" y="58"/>
                  <a:pt x="11692" y="58"/>
                  <a:pt x="11693" y="58"/>
                </a:cubicBezTo>
                <a:cubicBezTo>
                  <a:pt x="11693" y="58"/>
                  <a:pt x="11693" y="57"/>
                  <a:pt x="11694" y="57"/>
                </a:cubicBezTo>
                <a:cubicBezTo>
                  <a:pt x="11694" y="57"/>
                  <a:pt x="11695" y="57"/>
                  <a:pt x="11695" y="56"/>
                </a:cubicBezTo>
                <a:cubicBezTo>
                  <a:pt x="11718" y="57"/>
                  <a:pt x="11741" y="58"/>
                  <a:pt x="11765" y="58"/>
                </a:cubicBezTo>
                <a:cubicBezTo>
                  <a:pt x="11776" y="57"/>
                  <a:pt x="11786" y="57"/>
                  <a:pt x="11797" y="56"/>
                </a:cubicBezTo>
                <a:cubicBezTo>
                  <a:pt x="11802" y="56"/>
                  <a:pt x="11807" y="57"/>
                  <a:pt x="11812" y="56"/>
                </a:cubicBezTo>
                <a:cubicBezTo>
                  <a:pt x="11816" y="56"/>
                  <a:pt x="11820" y="55"/>
                  <a:pt x="11824" y="54"/>
                </a:cubicBezTo>
                <a:cubicBezTo>
                  <a:pt x="11825" y="53"/>
                  <a:pt x="11827" y="52"/>
                  <a:pt x="11828" y="51"/>
                </a:cubicBezTo>
                <a:cubicBezTo>
                  <a:pt x="11829" y="50"/>
                  <a:pt x="11829" y="49"/>
                  <a:pt x="11829" y="48"/>
                </a:cubicBezTo>
                <a:cubicBezTo>
                  <a:pt x="11828" y="47"/>
                  <a:pt x="11828" y="47"/>
                  <a:pt x="11828" y="47"/>
                </a:cubicBez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90215293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730048-2416-96AD-1890-F2998AE9E71C}"/>
              </a:ext>
            </a:extLst>
          </p:cNvPr>
          <p:cNvSpPr>
            <a:spLocks noGrp="1"/>
          </p:cNvSpPr>
          <p:nvPr>
            <p:ph type="title"/>
          </p:nvPr>
        </p:nvSpPr>
        <p:spPr/>
        <p:txBody>
          <a:bodyPr/>
          <a:lstStyle/>
          <a:p>
            <a:r>
              <a:rPr lang="en-GB"/>
              <a:t>Click to edit Master title style</a:t>
            </a:r>
          </a:p>
        </p:txBody>
      </p:sp>
      <p:sp>
        <p:nvSpPr>
          <p:cNvPr id="3" name="Date Placeholder 2">
            <a:extLst>
              <a:ext uri="{FF2B5EF4-FFF2-40B4-BE49-F238E27FC236}">
                <a16:creationId xmlns:a16="http://schemas.microsoft.com/office/drawing/2014/main" id="{C9E6A3DF-7D24-3E07-741D-2E7E305BC681}"/>
              </a:ext>
            </a:extLst>
          </p:cNvPr>
          <p:cNvSpPr>
            <a:spLocks noGrp="1"/>
          </p:cNvSpPr>
          <p:nvPr>
            <p:ph type="dt" sz="half" idx="10"/>
          </p:nvPr>
        </p:nvSpPr>
        <p:spPr/>
        <p:txBody>
          <a:bodyPr/>
          <a:lstStyle/>
          <a:p>
            <a:r>
              <a:rPr lang="en-US"/>
              <a:t>25 March 2026</a:t>
            </a:r>
            <a:endParaRPr lang="en-GB"/>
          </a:p>
        </p:txBody>
      </p:sp>
      <p:sp>
        <p:nvSpPr>
          <p:cNvPr id="4" name="Footer Placeholder 3">
            <a:extLst>
              <a:ext uri="{FF2B5EF4-FFF2-40B4-BE49-F238E27FC236}">
                <a16:creationId xmlns:a16="http://schemas.microsoft.com/office/drawing/2014/main" id="{6039BAA0-23A4-97CB-7927-5E14B5AD5301}"/>
              </a:ext>
            </a:extLst>
          </p:cNvPr>
          <p:cNvSpPr>
            <a:spLocks noGrp="1"/>
          </p:cNvSpPr>
          <p:nvPr>
            <p:ph type="ftr" sz="quarter" idx="11"/>
          </p:nvPr>
        </p:nvSpPr>
        <p:spPr/>
        <p:txBody>
          <a:bodyPr/>
          <a:lstStyle/>
          <a:p>
            <a:r>
              <a:rPr lang="en-GB"/>
              <a:t>Q member event</a:t>
            </a:r>
          </a:p>
        </p:txBody>
      </p:sp>
      <p:sp>
        <p:nvSpPr>
          <p:cNvPr id="5" name="Slide Number Placeholder 4">
            <a:extLst>
              <a:ext uri="{FF2B5EF4-FFF2-40B4-BE49-F238E27FC236}">
                <a16:creationId xmlns:a16="http://schemas.microsoft.com/office/drawing/2014/main" id="{164005BA-6E5D-F086-065A-29DAEC112C20}"/>
              </a:ext>
            </a:extLst>
          </p:cNvPr>
          <p:cNvSpPr>
            <a:spLocks noGrp="1"/>
          </p:cNvSpPr>
          <p:nvPr>
            <p:ph type="sldNum" sz="quarter" idx="12"/>
          </p:nvPr>
        </p:nvSpPr>
        <p:spPr/>
        <p:txBody>
          <a:bodyPr/>
          <a:lstStyle/>
          <a:p>
            <a:fld id="{C790EBD1-482B-4C6F-AFC1-9F7ACF0A1A11}" type="slidenum">
              <a:rPr lang="en-GB" smtClean="0"/>
              <a:t>‹#›</a:t>
            </a:fld>
            <a:endParaRPr lang="en-GB"/>
          </a:p>
        </p:txBody>
      </p:sp>
      <p:sp>
        <p:nvSpPr>
          <p:cNvPr id="6" name="Text Placeholder 10">
            <a:extLst>
              <a:ext uri="{FF2B5EF4-FFF2-40B4-BE49-F238E27FC236}">
                <a16:creationId xmlns:a16="http://schemas.microsoft.com/office/drawing/2014/main" id="{E3B8800E-EA07-038C-91B8-FDF2487AE5F2}"/>
              </a:ext>
            </a:extLst>
          </p:cNvPr>
          <p:cNvSpPr>
            <a:spLocks noGrp="1"/>
          </p:cNvSpPr>
          <p:nvPr>
            <p:ph type="body" sz="quarter" idx="14"/>
          </p:nvPr>
        </p:nvSpPr>
        <p:spPr>
          <a:xfrm>
            <a:off x="457200" y="936000"/>
            <a:ext cx="5524500" cy="157287"/>
          </a:xfrm>
        </p:spPr>
        <p:txBody>
          <a:bodyPr>
            <a:spAutoFit/>
          </a:bodyPr>
          <a:lstStyle>
            <a:lvl1pPr>
              <a:defRPr sz="1000" b="0"/>
            </a:lvl1pPr>
            <a:lvl2pPr>
              <a:defRPr sz="1000" b="0"/>
            </a:lvl2pPr>
            <a:lvl3pPr>
              <a:defRPr sz="1000" b="0"/>
            </a:lvl3pPr>
            <a:lvl4pPr>
              <a:defRPr sz="1000" b="0"/>
            </a:lvl4pPr>
            <a:lvl5pPr>
              <a:defRPr sz="1000" b="0"/>
            </a:lvl5pPr>
          </a:lstStyle>
          <a:p>
            <a:pPr lvl="0"/>
            <a:r>
              <a:rPr lang="en-GB"/>
              <a:t>Click to edit Master text styles</a:t>
            </a:r>
          </a:p>
        </p:txBody>
      </p:sp>
      <p:sp>
        <p:nvSpPr>
          <p:cNvPr id="7" name="Freeform 5">
            <a:extLst>
              <a:ext uri="{FF2B5EF4-FFF2-40B4-BE49-F238E27FC236}">
                <a16:creationId xmlns:a16="http://schemas.microsoft.com/office/drawing/2014/main" id="{9FFD1D64-666E-077A-5904-DF77196EE820}"/>
              </a:ext>
            </a:extLst>
          </p:cNvPr>
          <p:cNvSpPr>
            <a:spLocks/>
          </p:cNvSpPr>
          <p:nvPr userDrawn="1"/>
        </p:nvSpPr>
        <p:spPr bwMode="auto">
          <a:xfrm>
            <a:off x="457200" y="6184803"/>
            <a:ext cx="11293312" cy="57600"/>
          </a:xfrm>
          <a:custGeom>
            <a:avLst/>
            <a:gdLst>
              <a:gd name="T0" fmla="*/ 11754 w 11830"/>
              <a:gd name="T1" fmla="*/ 5 h 60"/>
              <a:gd name="T2" fmla="*/ 11665 w 11830"/>
              <a:gd name="T3" fmla="*/ 3 h 60"/>
              <a:gd name="T4" fmla="*/ 10458 w 11830"/>
              <a:gd name="T5" fmla="*/ 8 h 60"/>
              <a:gd name="T6" fmla="*/ 9631 w 11830"/>
              <a:gd name="T7" fmla="*/ 9 h 60"/>
              <a:gd name="T8" fmla="*/ 9276 w 11830"/>
              <a:gd name="T9" fmla="*/ 7 h 60"/>
              <a:gd name="T10" fmla="*/ 8873 w 11830"/>
              <a:gd name="T11" fmla="*/ 7 h 60"/>
              <a:gd name="T12" fmla="*/ 8453 w 11830"/>
              <a:gd name="T13" fmla="*/ 4 h 60"/>
              <a:gd name="T14" fmla="*/ 7526 w 11830"/>
              <a:gd name="T15" fmla="*/ 4 h 60"/>
              <a:gd name="T16" fmla="*/ 7003 w 11830"/>
              <a:gd name="T17" fmla="*/ 2 h 60"/>
              <a:gd name="T18" fmla="*/ 6547 w 11830"/>
              <a:gd name="T19" fmla="*/ 3 h 60"/>
              <a:gd name="T20" fmla="*/ 6086 w 11830"/>
              <a:gd name="T21" fmla="*/ 5 h 60"/>
              <a:gd name="T22" fmla="*/ 5731 w 11830"/>
              <a:gd name="T23" fmla="*/ 6 h 60"/>
              <a:gd name="T24" fmla="*/ 5501 w 11830"/>
              <a:gd name="T25" fmla="*/ 3 h 60"/>
              <a:gd name="T26" fmla="*/ 5358 w 11830"/>
              <a:gd name="T27" fmla="*/ 3 h 60"/>
              <a:gd name="T28" fmla="*/ 5047 w 11830"/>
              <a:gd name="T29" fmla="*/ 3 h 60"/>
              <a:gd name="T30" fmla="*/ 4870 w 11830"/>
              <a:gd name="T31" fmla="*/ 5 h 60"/>
              <a:gd name="T32" fmla="*/ 4531 w 11830"/>
              <a:gd name="T33" fmla="*/ 6 h 60"/>
              <a:gd name="T34" fmla="*/ 4227 w 11830"/>
              <a:gd name="T35" fmla="*/ 7 h 60"/>
              <a:gd name="T36" fmla="*/ 3756 w 11830"/>
              <a:gd name="T37" fmla="*/ 8 h 60"/>
              <a:gd name="T38" fmla="*/ 3345 w 11830"/>
              <a:gd name="T39" fmla="*/ 8 h 60"/>
              <a:gd name="T40" fmla="*/ 2866 w 11830"/>
              <a:gd name="T41" fmla="*/ 7 h 60"/>
              <a:gd name="T42" fmla="*/ 2614 w 11830"/>
              <a:gd name="T43" fmla="*/ 5 h 60"/>
              <a:gd name="T44" fmla="*/ 2388 w 11830"/>
              <a:gd name="T45" fmla="*/ 8 h 60"/>
              <a:gd name="T46" fmla="*/ 2137 w 11830"/>
              <a:gd name="T47" fmla="*/ 3 h 60"/>
              <a:gd name="T48" fmla="*/ 1820 w 11830"/>
              <a:gd name="T49" fmla="*/ 4 h 60"/>
              <a:gd name="T50" fmla="*/ 1474 w 11830"/>
              <a:gd name="T51" fmla="*/ 3 h 60"/>
              <a:gd name="T52" fmla="*/ 1351 w 11830"/>
              <a:gd name="T53" fmla="*/ 2 h 60"/>
              <a:gd name="T54" fmla="*/ 1145 w 11830"/>
              <a:gd name="T55" fmla="*/ 2 h 60"/>
              <a:gd name="T56" fmla="*/ 871 w 11830"/>
              <a:gd name="T57" fmla="*/ 3 h 60"/>
              <a:gd name="T58" fmla="*/ 639 w 11830"/>
              <a:gd name="T59" fmla="*/ 4 h 60"/>
              <a:gd name="T60" fmla="*/ 457 w 11830"/>
              <a:gd name="T61" fmla="*/ 3 h 60"/>
              <a:gd name="T62" fmla="*/ 157 w 11830"/>
              <a:gd name="T63" fmla="*/ 3 h 60"/>
              <a:gd name="T64" fmla="*/ 83 w 11830"/>
              <a:gd name="T65" fmla="*/ 54 h 60"/>
              <a:gd name="T66" fmla="*/ 1390 w 11830"/>
              <a:gd name="T67" fmla="*/ 50 h 60"/>
              <a:gd name="T68" fmla="*/ 2221 w 11830"/>
              <a:gd name="T69" fmla="*/ 49 h 60"/>
              <a:gd name="T70" fmla="*/ 2606 w 11830"/>
              <a:gd name="T71" fmla="*/ 52 h 60"/>
              <a:gd name="T72" fmla="*/ 2985 w 11830"/>
              <a:gd name="T73" fmla="*/ 52 h 60"/>
              <a:gd name="T74" fmla="*/ 3428 w 11830"/>
              <a:gd name="T75" fmla="*/ 54 h 60"/>
              <a:gd name="T76" fmla="*/ 4520 w 11830"/>
              <a:gd name="T77" fmla="*/ 54 h 60"/>
              <a:gd name="T78" fmla="*/ 4885 w 11830"/>
              <a:gd name="T79" fmla="*/ 53 h 60"/>
              <a:gd name="T80" fmla="*/ 5255 w 11830"/>
              <a:gd name="T81" fmla="*/ 54 h 60"/>
              <a:gd name="T82" fmla="*/ 5655 w 11830"/>
              <a:gd name="T83" fmla="*/ 51 h 60"/>
              <a:gd name="T84" fmla="*/ 6196 w 11830"/>
              <a:gd name="T85" fmla="*/ 54 h 60"/>
              <a:gd name="T86" fmla="*/ 6491 w 11830"/>
              <a:gd name="T87" fmla="*/ 56 h 60"/>
              <a:gd name="T88" fmla="*/ 6723 w 11830"/>
              <a:gd name="T89" fmla="*/ 57 h 60"/>
              <a:gd name="T90" fmla="*/ 6936 w 11830"/>
              <a:gd name="T91" fmla="*/ 54 h 60"/>
              <a:gd name="T92" fmla="*/ 7150 w 11830"/>
              <a:gd name="T93" fmla="*/ 53 h 60"/>
              <a:gd name="T94" fmla="*/ 7433 w 11830"/>
              <a:gd name="T95" fmla="*/ 52 h 60"/>
              <a:gd name="T96" fmla="*/ 7830 w 11830"/>
              <a:gd name="T97" fmla="*/ 52 h 60"/>
              <a:gd name="T98" fmla="*/ 8274 w 11830"/>
              <a:gd name="T99" fmla="*/ 51 h 60"/>
              <a:gd name="T100" fmla="*/ 8700 w 11830"/>
              <a:gd name="T101" fmla="*/ 50 h 60"/>
              <a:gd name="T102" fmla="*/ 9077 w 11830"/>
              <a:gd name="T103" fmla="*/ 51 h 60"/>
              <a:gd name="T104" fmla="*/ 9302 w 11830"/>
              <a:gd name="T105" fmla="*/ 53 h 60"/>
              <a:gd name="T106" fmla="*/ 9538 w 11830"/>
              <a:gd name="T107" fmla="*/ 54 h 60"/>
              <a:gd name="T108" fmla="*/ 9855 w 11830"/>
              <a:gd name="T109" fmla="*/ 55 h 60"/>
              <a:gd name="T110" fmla="*/ 10279 w 11830"/>
              <a:gd name="T111" fmla="*/ 55 h 60"/>
              <a:gd name="T112" fmla="*/ 10495 w 11830"/>
              <a:gd name="T113" fmla="*/ 58 h 60"/>
              <a:gd name="T114" fmla="*/ 10755 w 11830"/>
              <a:gd name="T115" fmla="*/ 56 h 60"/>
              <a:gd name="T116" fmla="*/ 11049 w 11830"/>
              <a:gd name="T117" fmla="*/ 58 h 60"/>
              <a:gd name="T118" fmla="*/ 11259 w 11830"/>
              <a:gd name="T119" fmla="*/ 55 h 60"/>
              <a:gd name="T120" fmla="*/ 11479 w 11830"/>
              <a:gd name="T121" fmla="*/ 51 h 60"/>
              <a:gd name="T122" fmla="*/ 11691 w 11830"/>
              <a:gd name="T123" fmla="*/ 5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830" h="60">
                <a:moveTo>
                  <a:pt x="11828" y="47"/>
                </a:moveTo>
                <a:lnTo>
                  <a:pt x="11828" y="47"/>
                </a:lnTo>
                <a:cubicBezTo>
                  <a:pt x="11828" y="46"/>
                  <a:pt x="11828" y="46"/>
                  <a:pt x="11829" y="45"/>
                </a:cubicBezTo>
                <a:cubicBezTo>
                  <a:pt x="11829" y="45"/>
                  <a:pt x="11828" y="44"/>
                  <a:pt x="11828" y="43"/>
                </a:cubicBezTo>
                <a:cubicBezTo>
                  <a:pt x="11828" y="43"/>
                  <a:pt x="11828" y="43"/>
                  <a:pt x="11828" y="43"/>
                </a:cubicBezTo>
                <a:cubicBezTo>
                  <a:pt x="11828" y="42"/>
                  <a:pt x="11829" y="42"/>
                  <a:pt x="11829" y="42"/>
                </a:cubicBezTo>
                <a:cubicBezTo>
                  <a:pt x="11829" y="42"/>
                  <a:pt x="11829" y="41"/>
                  <a:pt x="11829" y="41"/>
                </a:cubicBezTo>
                <a:cubicBezTo>
                  <a:pt x="11830" y="40"/>
                  <a:pt x="11829" y="39"/>
                  <a:pt x="11829" y="38"/>
                </a:cubicBezTo>
                <a:cubicBezTo>
                  <a:pt x="11829" y="38"/>
                  <a:pt x="11829" y="37"/>
                  <a:pt x="11829" y="37"/>
                </a:cubicBezTo>
                <a:cubicBezTo>
                  <a:pt x="11829" y="36"/>
                  <a:pt x="11829" y="35"/>
                  <a:pt x="11829" y="34"/>
                </a:cubicBezTo>
                <a:cubicBezTo>
                  <a:pt x="11829" y="32"/>
                  <a:pt x="11829" y="31"/>
                  <a:pt x="11829" y="30"/>
                </a:cubicBezTo>
                <a:cubicBezTo>
                  <a:pt x="11829" y="27"/>
                  <a:pt x="11828" y="25"/>
                  <a:pt x="11827" y="22"/>
                </a:cubicBezTo>
                <a:cubicBezTo>
                  <a:pt x="11826" y="21"/>
                  <a:pt x="11826" y="20"/>
                  <a:pt x="11825" y="19"/>
                </a:cubicBezTo>
                <a:cubicBezTo>
                  <a:pt x="11825" y="19"/>
                  <a:pt x="11825" y="18"/>
                  <a:pt x="11825" y="18"/>
                </a:cubicBezTo>
                <a:cubicBezTo>
                  <a:pt x="11824" y="17"/>
                  <a:pt x="11824" y="17"/>
                  <a:pt x="11824" y="16"/>
                </a:cubicBezTo>
                <a:cubicBezTo>
                  <a:pt x="11823" y="15"/>
                  <a:pt x="11824" y="13"/>
                  <a:pt x="11824" y="11"/>
                </a:cubicBezTo>
                <a:cubicBezTo>
                  <a:pt x="11823" y="9"/>
                  <a:pt x="11823" y="8"/>
                  <a:pt x="11822" y="6"/>
                </a:cubicBezTo>
                <a:cubicBezTo>
                  <a:pt x="11822" y="6"/>
                  <a:pt x="11821" y="6"/>
                  <a:pt x="11821" y="6"/>
                </a:cubicBezTo>
                <a:cubicBezTo>
                  <a:pt x="11821" y="5"/>
                  <a:pt x="11818" y="4"/>
                  <a:pt x="11817" y="4"/>
                </a:cubicBezTo>
                <a:cubicBezTo>
                  <a:pt x="11808" y="3"/>
                  <a:pt x="11807" y="5"/>
                  <a:pt x="11799" y="4"/>
                </a:cubicBezTo>
                <a:cubicBezTo>
                  <a:pt x="11794" y="3"/>
                  <a:pt x="11790" y="4"/>
                  <a:pt x="11784" y="4"/>
                </a:cubicBezTo>
                <a:cubicBezTo>
                  <a:pt x="11782" y="4"/>
                  <a:pt x="11775" y="4"/>
                  <a:pt x="11772" y="4"/>
                </a:cubicBezTo>
                <a:cubicBezTo>
                  <a:pt x="11770" y="4"/>
                  <a:pt x="11761" y="5"/>
                  <a:pt x="11760" y="5"/>
                </a:cubicBezTo>
                <a:cubicBezTo>
                  <a:pt x="11759" y="5"/>
                  <a:pt x="11759" y="5"/>
                  <a:pt x="11759" y="5"/>
                </a:cubicBezTo>
                <a:cubicBezTo>
                  <a:pt x="11757" y="5"/>
                  <a:pt x="11756" y="5"/>
                  <a:pt x="11754" y="5"/>
                </a:cubicBezTo>
                <a:cubicBezTo>
                  <a:pt x="11754" y="5"/>
                  <a:pt x="11754" y="5"/>
                  <a:pt x="11753" y="5"/>
                </a:cubicBezTo>
                <a:cubicBezTo>
                  <a:pt x="11751" y="5"/>
                  <a:pt x="11749" y="5"/>
                  <a:pt x="11747" y="5"/>
                </a:cubicBezTo>
                <a:cubicBezTo>
                  <a:pt x="11747" y="4"/>
                  <a:pt x="11747" y="4"/>
                  <a:pt x="11747" y="4"/>
                </a:cubicBezTo>
                <a:cubicBezTo>
                  <a:pt x="11746" y="4"/>
                  <a:pt x="11744" y="3"/>
                  <a:pt x="11743" y="4"/>
                </a:cubicBezTo>
                <a:cubicBezTo>
                  <a:pt x="11743" y="4"/>
                  <a:pt x="11743" y="4"/>
                  <a:pt x="11744" y="4"/>
                </a:cubicBezTo>
                <a:cubicBezTo>
                  <a:pt x="11744" y="4"/>
                  <a:pt x="11744" y="4"/>
                  <a:pt x="11744" y="4"/>
                </a:cubicBezTo>
                <a:cubicBezTo>
                  <a:pt x="11738" y="4"/>
                  <a:pt x="11732" y="4"/>
                  <a:pt x="11726" y="4"/>
                </a:cubicBezTo>
                <a:cubicBezTo>
                  <a:pt x="11724" y="4"/>
                  <a:pt x="11723" y="4"/>
                  <a:pt x="11722" y="4"/>
                </a:cubicBezTo>
                <a:cubicBezTo>
                  <a:pt x="11720" y="4"/>
                  <a:pt x="11719" y="4"/>
                  <a:pt x="11717" y="4"/>
                </a:cubicBezTo>
                <a:cubicBezTo>
                  <a:pt x="11716" y="4"/>
                  <a:pt x="11714" y="4"/>
                  <a:pt x="11713" y="4"/>
                </a:cubicBezTo>
                <a:cubicBezTo>
                  <a:pt x="11712" y="4"/>
                  <a:pt x="11710" y="4"/>
                  <a:pt x="11710" y="4"/>
                </a:cubicBezTo>
                <a:cubicBezTo>
                  <a:pt x="11710" y="4"/>
                  <a:pt x="11710" y="4"/>
                  <a:pt x="11710" y="4"/>
                </a:cubicBezTo>
                <a:cubicBezTo>
                  <a:pt x="11708" y="4"/>
                  <a:pt x="11707" y="4"/>
                  <a:pt x="11706" y="4"/>
                </a:cubicBezTo>
                <a:cubicBezTo>
                  <a:pt x="11705" y="4"/>
                  <a:pt x="11704" y="4"/>
                  <a:pt x="11704" y="4"/>
                </a:cubicBezTo>
                <a:cubicBezTo>
                  <a:pt x="11703" y="4"/>
                  <a:pt x="11702" y="4"/>
                  <a:pt x="11701" y="4"/>
                </a:cubicBezTo>
                <a:cubicBezTo>
                  <a:pt x="11701" y="4"/>
                  <a:pt x="11701" y="4"/>
                  <a:pt x="11701" y="4"/>
                </a:cubicBezTo>
                <a:cubicBezTo>
                  <a:pt x="11700" y="4"/>
                  <a:pt x="11700" y="4"/>
                  <a:pt x="11699" y="4"/>
                </a:cubicBezTo>
                <a:cubicBezTo>
                  <a:pt x="11699" y="4"/>
                  <a:pt x="11698" y="4"/>
                  <a:pt x="11698" y="4"/>
                </a:cubicBezTo>
                <a:cubicBezTo>
                  <a:pt x="11698" y="4"/>
                  <a:pt x="11698" y="4"/>
                  <a:pt x="11698" y="4"/>
                </a:cubicBezTo>
                <a:cubicBezTo>
                  <a:pt x="11691" y="4"/>
                  <a:pt x="11683" y="4"/>
                  <a:pt x="11676" y="4"/>
                </a:cubicBezTo>
                <a:cubicBezTo>
                  <a:pt x="11676" y="3"/>
                  <a:pt x="11676" y="3"/>
                  <a:pt x="11675" y="3"/>
                </a:cubicBezTo>
                <a:cubicBezTo>
                  <a:pt x="11675" y="3"/>
                  <a:pt x="11675" y="3"/>
                  <a:pt x="11675" y="4"/>
                </a:cubicBezTo>
                <a:cubicBezTo>
                  <a:pt x="11674" y="4"/>
                  <a:pt x="11673" y="4"/>
                  <a:pt x="11672" y="4"/>
                </a:cubicBezTo>
                <a:cubicBezTo>
                  <a:pt x="11671" y="3"/>
                  <a:pt x="11671" y="3"/>
                  <a:pt x="11670" y="3"/>
                </a:cubicBezTo>
                <a:cubicBezTo>
                  <a:pt x="11668" y="3"/>
                  <a:pt x="11667" y="3"/>
                  <a:pt x="11665" y="3"/>
                </a:cubicBezTo>
                <a:cubicBezTo>
                  <a:pt x="11662" y="3"/>
                  <a:pt x="11659" y="3"/>
                  <a:pt x="11658" y="3"/>
                </a:cubicBezTo>
                <a:cubicBezTo>
                  <a:pt x="11657" y="4"/>
                  <a:pt x="11655" y="3"/>
                  <a:pt x="11653" y="3"/>
                </a:cubicBezTo>
                <a:cubicBezTo>
                  <a:pt x="11653" y="3"/>
                  <a:pt x="11653" y="3"/>
                  <a:pt x="11652" y="3"/>
                </a:cubicBezTo>
                <a:cubicBezTo>
                  <a:pt x="11652" y="3"/>
                  <a:pt x="11652" y="3"/>
                  <a:pt x="11652" y="3"/>
                </a:cubicBezTo>
                <a:cubicBezTo>
                  <a:pt x="11651" y="3"/>
                  <a:pt x="11649" y="3"/>
                  <a:pt x="11648" y="3"/>
                </a:cubicBezTo>
                <a:cubicBezTo>
                  <a:pt x="11648" y="3"/>
                  <a:pt x="11647" y="3"/>
                  <a:pt x="11647" y="3"/>
                </a:cubicBezTo>
                <a:cubicBezTo>
                  <a:pt x="11646" y="3"/>
                  <a:pt x="11645" y="3"/>
                  <a:pt x="11644" y="3"/>
                </a:cubicBezTo>
                <a:cubicBezTo>
                  <a:pt x="11643" y="3"/>
                  <a:pt x="11643" y="3"/>
                  <a:pt x="11642" y="3"/>
                </a:cubicBezTo>
                <a:cubicBezTo>
                  <a:pt x="11632" y="3"/>
                  <a:pt x="11623" y="3"/>
                  <a:pt x="11613" y="3"/>
                </a:cubicBezTo>
                <a:cubicBezTo>
                  <a:pt x="11604" y="3"/>
                  <a:pt x="11595" y="4"/>
                  <a:pt x="11586" y="4"/>
                </a:cubicBezTo>
                <a:cubicBezTo>
                  <a:pt x="11579" y="4"/>
                  <a:pt x="11572" y="4"/>
                  <a:pt x="11565" y="4"/>
                </a:cubicBezTo>
                <a:cubicBezTo>
                  <a:pt x="11554" y="4"/>
                  <a:pt x="11542" y="3"/>
                  <a:pt x="11531" y="5"/>
                </a:cubicBezTo>
                <a:cubicBezTo>
                  <a:pt x="11526" y="5"/>
                  <a:pt x="11523" y="6"/>
                  <a:pt x="11517" y="6"/>
                </a:cubicBezTo>
                <a:cubicBezTo>
                  <a:pt x="11512" y="6"/>
                  <a:pt x="11507" y="6"/>
                  <a:pt x="11501" y="6"/>
                </a:cubicBezTo>
                <a:cubicBezTo>
                  <a:pt x="11363" y="5"/>
                  <a:pt x="11024" y="4"/>
                  <a:pt x="10959" y="5"/>
                </a:cubicBezTo>
                <a:cubicBezTo>
                  <a:pt x="10945" y="5"/>
                  <a:pt x="10915" y="5"/>
                  <a:pt x="10892" y="5"/>
                </a:cubicBezTo>
                <a:cubicBezTo>
                  <a:pt x="10868" y="5"/>
                  <a:pt x="10833" y="6"/>
                  <a:pt x="10813" y="6"/>
                </a:cubicBezTo>
                <a:cubicBezTo>
                  <a:pt x="10702" y="7"/>
                  <a:pt x="10658" y="7"/>
                  <a:pt x="10548" y="7"/>
                </a:cubicBezTo>
                <a:cubicBezTo>
                  <a:pt x="10538" y="7"/>
                  <a:pt x="10528" y="7"/>
                  <a:pt x="10518" y="7"/>
                </a:cubicBezTo>
                <a:cubicBezTo>
                  <a:pt x="10515" y="7"/>
                  <a:pt x="10511" y="7"/>
                  <a:pt x="10507" y="7"/>
                </a:cubicBezTo>
                <a:cubicBezTo>
                  <a:pt x="10504" y="7"/>
                  <a:pt x="10501" y="8"/>
                  <a:pt x="10499" y="8"/>
                </a:cubicBezTo>
                <a:cubicBezTo>
                  <a:pt x="10494" y="9"/>
                  <a:pt x="10493" y="9"/>
                  <a:pt x="10488" y="8"/>
                </a:cubicBezTo>
                <a:cubicBezTo>
                  <a:pt x="10485" y="7"/>
                  <a:pt x="10481" y="6"/>
                  <a:pt x="10477" y="7"/>
                </a:cubicBezTo>
                <a:cubicBezTo>
                  <a:pt x="10476" y="7"/>
                  <a:pt x="10476" y="8"/>
                  <a:pt x="10475" y="8"/>
                </a:cubicBezTo>
                <a:cubicBezTo>
                  <a:pt x="10471" y="9"/>
                  <a:pt x="10463" y="8"/>
                  <a:pt x="10458" y="8"/>
                </a:cubicBezTo>
                <a:cubicBezTo>
                  <a:pt x="10452" y="8"/>
                  <a:pt x="10445" y="8"/>
                  <a:pt x="10439" y="8"/>
                </a:cubicBezTo>
                <a:cubicBezTo>
                  <a:pt x="10426" y="8"/>
                  <a:pt x="10413" y="8"/>
                  <a:pt x="10400" y="8"/>
                </a:cubicBezTo>
                <a:cubicBezTo>
                  <a:pt x="10360" y="8"/>
                  <a:pt x="10325" y="8"/>
                  <a:pt x="10322" y="8"/>
                </a:cubicBezTo>
                <a:cubicBezTo>
                  <a:pt x="10320" y="8"/>
                  <a:pt x="10318" y="9"/>
                  <a:pt x="10316" y="9"/>
                </a:cubicBezTo>
                <a:cubicBezTo>
                  <a:pt x="10314" y="8"/>
                  <a:pt x="10311" y="7"/>
                  <a:pt x="10306" y="8"/>
                </a:cubicBezTo>
                <a:cubicBezTo>
                  <a:pt x="10301" y="8"/>
                  <a:pt x="10296" y="8"/>
                  <a:pt x="10289" y="8"/>
                </a:cubicBezTo>
                <a:cubicBezTo>
                  <a:pt x="10282" y="8"/>
                  <a:pt x="10275" y="8"/>
                  <a:pt x="10267" y="8"/>
                </a:cubicBezTo>
                <a:cubicBezTo>
                  <a:pt x="10253" y="8"/>
                  <a:pt x="10238" y="8"/>
                  <a:pt x="10223" y="8"/>
                </a:cubicBezTo>
                <a:cubicBezTo>
                  <a:pt x="10158" y="8"/>
                  <a:pt x="10092" y="8"/>
                  <a:pt x="10027" y="7"/>
                </a:cubicBezTo>
                <a:cubicBezTo>
                  <a:pt x="9998" y="7"/>
                  <a:pt x="9969" y="7"/>
                  <a:pt x="9941" y="7"/>
                </a:cubicBezTo>
                <a:cubicBezTo>
                  <a:pt x="9920" y="7"/>
                  <a:pt x="9898" y="7"/>
                  <a:pt x="9877" y="7"/>
                </a:cubicBezTo>
                <a:cubicBezTo>
                  <a:pt x="9857" y="7"/>
                  <a:pt x="9836" y="7"/>
                  <a:pt x="9815" y="7"/>
                </a:cubicBezTo>
                <a:cubicBezTo>
                  <a:pt x="9806" y="7"/>
                  <a:pt x="9797" y="7"/>
                  <a:pt x="9788" y="7"/>
                </a:cubicBezTo>
                <a:lnTo>
                  <a:pt x="9776" y="7"/>
                </a:lnTo>
                <a:cubicBezTo>
                  <a:pt x="9773" y="7"/>
                  <a:pt x="9766" y="7"/>
                  <a:pt x="9764" y="7"/>
                </a:cubicBezTo>
                <a:cubicBezTo>
                  <a:pt x="9762" y="7"/>
                  <a:pt x="9761" y="7"/>
                  <a:pt x="9759" y="7"/>
                </a:cubicBezTo>
                <a:cubicBezTo>
                  <a:pt x="9759" y="7"/>
                  <a:pt x="9758" y="7"/>
                  <a:pt x="9757" y="7"/>
                </a:cubicBezTo>
                <a:cubicBezTo>
                  <a:pt x="9753" y="7"/>
                  <a:pt x="9751" y="9"/>
                  <a:pt x="9747" y="9"/>
                </a:cubicBezTo>
                <a:cubicBezTo>
                  <a:pt x="9744" y="9"/>
                  <a:pt x="9740" y="8"/>
                  <a:pt x="9737" y="7"/>
                </a:cubicBezTo>
                <a:cubicBezTo>
                  <a:pt x="9732" y="7"/>
                  <a:pt x="9725" y="7"/>
                  <a:pt x="9720" y="7"/>
                </a:cubicBezTo>
                <a:cubicBezTo>
                  <a:pt x="9711" y="7"/>
                  <a:pt x="9703" y="7"/>
                  <a:pt x="9694" y="7"/>
                </a:cubicBezTo>
                <a:cubicBezTo>
                  <a:pt x="9689" y="7"/>
                  <a:pt x="9664" y="6"/>
                  <a:pt x="9662" y="8"/>
                </a:cubicBezTo>
                <a:cubicBezTo>
                  <a:pt x="9662" y="9"/>
                  <a:pt x="9662" y="9"/>
                  <a:pt x="9662" y="9"/>
                </a:cubicBezTo>
                <a:cubicBezTo>
                  <a:pt x="9661" y="10"/>
                  <a:pt x="9650" y="10"/>
                  <a:pt x="9648" y="10"/>
                </a:cubicBezTo>
                <a:cubicBezTo>
                  <a:pt x="9645" y="10"/>
                  <a:pt x="9632" y="10"/>
                  <a:pt x="9631" y="9"/>
                </a:cubicBezTo>
                <a:cubicBezTo>
                  <a:pt x="9631" y="8"/>
                  <a:pt x="9628" y="8"/>
                  <a:pt x="9627" y="9"/>
                </a:cubicBezTo>
                <a:cubicBezTo>
                  <a:pt x="9623" y="9"/>
                  <a:pt x="9625" y="10"/>
                  <a:pt x="9620" y="10"/>
                </a:cubicBezTo>
                <a:cubicBezTo>
                  <a:pt x="9618" y="10"/>
                  <a:pt x="9615" y="10"/>
                  <a:pt x="9613" y="10"/>
                </a:cubicBezTo>
                <a:cubicBezTo>
                  <a:pt x="9610" y="10"/>
                  <a:pt x="9610" y="8"/>
                  <a:pt x="9607" y="8"/>
                </a:cubicBezTo>
                <a:cubicBezTo>
                  <a:pt x="9600" y="7"/>
                  <a:pt x="9590" y="7"/>
                  <a:pt x="9582" y="7"/>
                </a:cubicBezTo>
                <a:cubicBezTo>
                  <a:pt x="9575" y="7"/>
                  <a:pt x="9567" y="7"/>
                  <a:pt x="9562" y="9"/>
                </a:cubicBezTo>
                <a:cubicBezTo>
                  <a:pt x="9558" y="10"/>
                  <a:pt x="9555" y="9"/>
                  <a:pt x="9550" y="9"/>
                </a:cubicBezTo>
                <a:cubicBezTo>
                  <a:pt x="9544" y="8"/>
                  <a:pt x="9538" y="8"/>
                  <a:pt x="9532" y="8"/>
                </a:cubicBezTo>
                <a:cubicBezTo>
                  <a:pt x="9525" y="8"/>
                  <a:pt x="9521" y="8"/>
                  <a:pt x="9515" y="9"/>
                </a:cubicBezTo>
                <a:cubicBezTo>
                  <a:pt x="9512" y="9"/>
                  <a:pt x="9508" y="10"/>
                  <a:pt x="9506" y="10"/>
                </a:cubicBezTo>
                <a:cubicBezTo>
                  <a:pt x="9503" y="10"/>
                  <a:pt x="9500" y="9"/>
                  <a:pt x="9498" y="9"/>
                </a:cubicBezTo>
                <a:cubicBezTo>
                  <a:pt x="9496" y="9"/>
                  <a:pt x="9494" y="8"/>
                  <a:pt x="9492" y="8"/>
                </a:cubicBezTo>
                <a:cubicBezTo>
                  <a:pt x="9487" y="7"/>
                  <a:pt x="9481" y="7"/>
                  <a:pt x="9476" y="7"/>
                </a:cubicBezTo>
                <a:cubicBezTo>
                  <a:pt x="9469" y="7"/>
                  <a:pt x="9462" y="7"/>
                  <a:pt x="9455" y="7"/>
                </a:cubicBezTo>
                <a:cubicBezTo>
                  <a:pt x="9434" y="7"/>
                  <a:pt x="9413" y="7"/>
                  <a:pt x="9392" y="7"/>
                </a:cubicBezTo>
                <a:cubicBezTo>
                  <a:pt x="9382" y="7"/>
                  <a:pt x="9373" y="7"/>
                  <a:pt x="9364" y="7"/>
                </a:cubicBezTo>
                <a:cubicBezTo>
                  <a:pt x="9358" y="7"/>
                  <a:pt x="9351" y="7"/>
                  <a:pt x="9345" y="8"/>
                </a:cubicBezTo>
                <a:cubicBezTo>
                  <a:pt x="9340" y="8"/>
                  <a:pt x="9337" y="9"/>
                  <a:pt x="9333" y="10"/>
                </a:cubicBezTo>
                <a:cubicBezTo>
                  <a:pt x="9330" y="10"/>
                  <a:pt x="9326" y="10"/>
                  <a:pt x="9323" y="9"/>
                </a:cubicBezTo>
                <a:cubicBezTo>
                  <a:pt x="9321" y="9"/>
                  <a:pt x="9314" y="9"/>
                  <a:pt x="9306" y="9"/>
                </a:cubicBezTo>
                <a:cubicBezTo>
                  <a:pt x="9303" y="9"/>
                  <a:pt x="9299" y="10"/>
                  <a:pt x="9296" y="9"/>
                </a:cubicBezTo>
                <a:cubicBezTo>
                  <a:pt x="9294" y="9"/>
                  <a:pt x="9293" y="9"/>
                  <a:pt x="9293" y="8"/>
                </a:cubicBezTo>
                <a:cubicBezTo>
                  <a:pt x="9293" y="8"/>
                  <a:pt x="9294" y="8"/>
                  <a:pt x="9294" y="8"/>
                </a:cubicBezTo>
                <a:cubicBezTo>
                  <a:pt x="9294" y="7"/>
                  <a:pt x="9292" y="7"/>
                  <a:pt x="9290" y="7"/>
                </a:cubicBezTo>
                <a:cubicBezTo>
                  <a:pt x="9286" y="7"/>
                  <a:pt x="9281" y="7"/>
                  <a:pt x="9276" y="7"/>
                </a:cubicBezTo>
                <a:cubicBezTo>
                  <a:pt x="9263" y="7"/>
                  <a:pt x="9250" y="6"/>
                  <a:pt x="9247" y="6"/>
                </a:cubicBezTo>
                <a:cubicBezTo>
                  <a:pt x="9245" y="6"/>
                  <a:pt x="9225" y="6"/>
                  <a:pt x="9204" y="6"/>
                </a:cubicBezTo>
                <a:cubicBezTo>
                  <a:pt x="9197" y="6"/>
                  <a:pt x="9190" y="7"/>
                  <a:pt x="9183" y="7"/>
                </a:cubicBezTo>
                <a:cubicBezTo>
                  <a:pt x="9180" y="7"/>
                  <a:pt x="9171" y="6"/>
                  <a:pt x="9169" y="7"/>
                </a:cubicBezTo>
                <a:cubicBezTo>
                  <a:pt x="9167" y="8"/>
                  <a:pt x="9167" y="8"/>
                  <a:pt x="9164" y="9"/>
                </a:cubicBezTo>
                <a:cubicBezTo>
                  <a:pt x="9162" y="9"/>
                  <a:pt x="9158" y="8"/>
                  <a:pt x="9157" y="8"/>
                </a:cubicBezTo>
                <a:cubicBezTo>
                  <a:pt x="9157" y="8"/>
                  <a:pt x="9157" y="8"/>
                  <a:pt x="9157" y="7"/>
                </a:cubicBezTo>
                <a:cubicBezTo>
                  <a:pt x="9155" y="6"/>
                  <a:pt x="9138" y="7"/>
                  <a:pt x="9134" y="7"/>
                </a:cubicBezTo>
                <a:cubicBezTo>
                  <a:pt x="9111" y="7"/>
                  <a:pt x="9099" y="6"/>
                  <a:pt x="9083" y="5"/>
                </a:cubicBezTo>
                <a:cubicBezTo>
                  <a:pt x="9070" y="4"/>
                  <a:pt x="9019" y="4"/>
                  <a:pt x="8990" y="5"/>
                </a:cubicBezTo>
                <a:cubicBezTo>
                  <a:pt x="8986" y="5"/>
                  <a:pt x="8982" y="5"/>
                  <a:pt x="8978" y="6"/>
                </a:cubicBezTo>
                <a:cubicBezTo>
                  <a:pt x="8976" y="6"/>
                  <a:pt x="8973" y="6"/>
                  <a:pt x="8971" y="6"/>
                </a:cubicBezTo>
                <a:cubicBezTo>
                  <a:pt x="8970" y="6"/>
                  <a:pt x="8969" y="6"/>
                  <a:pt x="8968" y="6"/>
                </a:cubicBezTo>
                <a:cubicBezTo>
                  <a:pt x="8966" y="6"/>
                  <a:pt x="8965" y="6"/>
                  <a:pt x="8964" y="6"/>
                </a:cubicBezTo>
                <a:cubicBezTo>
                  <a:pt x="8963" y="6"/>
                  <a:pt x="8961" y="6"/>
                  <a:pt x="8959" y="6"/>
                </a:cubicBezTo>
                <a:cubicBezTo>
                  <a:pt x="8956" y="6"/>
                  <a:pt x="8954" y="6"/>
                  <a:pt x="8951" y="6"/>
                </a:cubicBezTo>
                <a:cubicBezTo>
                  <a:pt x="8948" y="5"/>
                  <a:pt x="8944" y="6"/>
                  <a:pt x="8941" y="6"/>
                </a:cubicBezTo>
                <a:cubicBezTo>
                  <a:pt x="8935" y="6"/>
                  <a:pt x="8931" y="5"/>
                  <a:pt x="8926" y="6"/>
                </a:cubicBezTo>
                <a:cubicBezTo>
                  <a:pt x="8923" y="7"/>
                  <a:pt x="8920" y="8"/>
                  <a:pt x="8915" y="7"/>
                </a:cubicBezTo>
                <a:cubicBezTo>
                  <a:pt x="8912" y="7"/>
                  <a:pt x="8909" y="6"/>
                  <a:pt x="8906" y="6"/>
                </a:cubicBezTo>
                <a:cubicBezTo>
                  <a:pt x="8905" y="6"/>
                  <a:pt x="8904" y="6"/>
                  <a:pt x="8903" y="6"/>
                </a:cubicBezTo>
                <a:cubicBezTo>
                  <a:pt x="8902" y="6"/>
                  <a:pt x="8902" y="6"/>
                  <a:pt x="8901" y="6"/>
                </a:cubicBezTo>
                <a:cubicBezTo>
                  <a:pt x="8900" y="6"/>
                  <a:pt x="8900" y="6"/>
                  <a:pt x="8900" y="6"/>
                </a:cubicBezTo>
                <a:cubicBezTo>
                  <a:pt x="8895" y="8"/>
                  <a:pt x="8887" y="8"/>
                  <a:pt x="8880" y="8"/>
                </a:cubicBezTo>
                <a:cubicBezTo>
                  <a:pt x="8877" y="8"/>
                  <a:pt x="8874" y="8"/>
                  <a:pt x="8873" y="7"/>
                </a:cubicBezTo>
                <a:cubicBezTo>
                  <a:pt x="8871" y="7"/>
                  <a:pt x="8871" y="6"/>
                  <a:pt x="8869" y="6"/>
                </a:cubicBezTo>
                <a:cubicBezTo>
                  <a:pt x="8867" y="5"/>
                  <a:pt x="8865" y="6"/>
                  <a:pt x="8864" y="6"/>
                </a:cubicBezTo>
                <a:cubicBezTo>
                  <a:pt x="8859" y="7"/>
                  <a:pt x="8855" y="5"/>
                  <a:pt x="8849" y="5"/>
                </a:cubicBezTo>
                <a:cubicBezTo>
                  <a:pt x="8844" y="5"/>
                  <a:pt x="8839" y="5"/>
                  <a:pt x="8834" y="5"/>
                </a:cubicBezTo>
                <a:cubicBezTo>
                  <a:pt x="8830" y="5"/>
                  <a:pt x="8811" y="4"/>
                  <a:pt x="8809" y="6"/>
                </a:cubicBezTo>
                <a:cubicBezTo>
                  <a:pt x="8808" y="6"/>
                  <a:pt x="8809" y="6"/>
                  <a:pt x="8809" y="6"/>
                </a:cubicBezTo>
                <a:cubicBezTo>
                  <a:pt x="8808" y="8"/>
                  <a:pt x="8800" y="7"/>
                  <a:pt x="8797" y="7"/>
                </a:cubicBezTo>
                <a:cubicBezTo>
                  <a:pt x="8791" y="7"/>
                  <a:pt x="8789" y="7"/>
                  <a:pt x="8784" y="6"/>
                </a:cubicBezTo>
                <a:cubicBezTo>
                  <a:pt x="8782" y="6"/>
                  <a:pt x="8780" y="6"/>
                  <a:pt x="8778" y="5"/>
                </a:cubicBezTo>
                <a:cubicBezTo>
                  <a:pt x="8776" y="5"/>
                  <a:pt x="8773" y="6"/>
                  <a:pt x="8773" y="6"/>
                </a:cubicBezTo>
                <a:cubicBezTo>
                  <a:pt x="8772" y="6"/>
                  <a:pt x="8772" y="7"/>
                  <a:pt x="8772" y="7"/>
                </a:cubicBezTo>
                <a:cubicBezTo>
                  <a:pt x="8772" y="7"/>
                  <a:pt x="8771" y="7"/>
                  <a:pt x="8770" y="7"/>
                </a:cubicBezTo>
                <a:cubicBezTo>
                  <a:pt x="8768" y="7"/>
                  <a:pt x="8765" y="7"/>
                  <a:pt x="8763" y="7"/>
                </a:cubicBezTo>
                <a:cubicBezTo>
                  <a:pt x="8760" y="7"/>
                  <a:pt x="8758" y="6"/>
                  <a:pt x="8757" y="6"/>
                </a:cubicBezTo>
                <a:cubicBezTo>
                  <a:pt x="8757" y="5"/>
                  <a:pt x="8757" y="5"/>
                  <a:pt x="8755" y="5"/>
                </a:cubicBezTo>
                <a:cubicBezTo>
                  <a:pt x="8752" y="5"/>
                  <a:pt x="8750" y="5"/>
                  <a:pt x="8747" y="5"/>
                </a:cubicBezTo>
                <a:cubicBezTo>
                  <a:pt x="8728" y="5"/>
                  <a:pt x="8684" y="4"/>
                  <a:pt x="8673" y="4"/>
                </a:cubicBezTo>
                <a:cubicBezTo>
                  <a:pt x="8670" y="4"/>
                  <a:pt x="8662" y="4"/>
                  <a:pt x="8655" y="4"/>
                </a:cubicBezTo>
                <a:cubicBezTo>
                  <a:pt x="8648" y="4"/>
                  <a:pt x="8636" y="4"/>
                  <a:pt x="8628" y="4"/>
                </a:cubicBezTo>
                <a:cubicBezTo>
                  <a:pt x="8620" y="3"/>
                  <a:pt x="8606" y="3"/>
                  <a:pt x="8597" y="3"/>
                </a:cubicBezTo>
                <a:cubicBezTo>
                  <a:pt x="8584" y="3"/>
                  <a:pt x="8569" y="2"/>
                  <a:pt x="8557" y="3"/>
                </a:cubicBezTo>
                <a:cubicBezTo>
                  <a:pt x="8554" y="3"/>
                  <a:pt x="8552" y="3"/>
                  <a:pt x="8548" y="3"/>
                </a:cubicBezTo>
                <a:cubicBezTo>
                  <a:pt x="8540" y="3"/>
                  <a:pt x="8531" y="3"/>
                  <a:pt x="8523" y="3"/>
                </a:cubicBezTo>
                <a:cubicBezTo>
                  <a:pt x="8505" y="3"/>
                  <a:pt x="8482" y="4"/>
                  <a:pt x="8471" y="4"/>
                </a:cubicBezTo>
                <a:cubicBezTo>
                  <a:pt x="8465" y="4"/>
                  <a:pt x="8459" y="4"/>
                  <a:pt x="8453" y="4"/>
                </a:cubicBezTo>
                <a:cubicBezTo>
                  <a:pt x="8451" y="4"/>
                  <a:pt x="8449" y="4"/>
                  <a:pt x="8449" y="5"/>
                </a:cubicBezTo>
                <a:cubicBezTo>
                  <a:pt x="8449" y="5"/>
                  <a:pt x="8452" y="6"/>
                  <a:pt x="8452" y="6"/>
                </a:cubicBezTo>
                <a:cubicBezTo>
                  <a:pt x="8449" y="6"/>
                  <a:pt x="8446" y="6"/>
                  <a:pt x="8444" y="6"/>
                </a:cubicBezTo>
                <a:cubicBezTo>
                  <a:pt x="8442" y="6"/>
                  <a:pt x="8441" y="6"/>
                  <a:pt x="8441" y="6"/>
                </a:cubicBezTo>
                <a:cubicBezTo>
                  <a:pt x="8441" y="5"/>
                  <a:pt x="8441" y="5"/>
                  <a:pt x="8441" y="5"/>
                </a:cubicBezTo>
                <a:cubicBezTo>
                  <a:pt x="8441" y="5"/>
                  <a:pt x="8441" y="5"/>
                  <a:pt x="8440" y="5"/>
                </a:cubicBezTo>
                <a:cubicBezTo>
                  <a:pt x="8436" y="4"/>
                  <a:pt x="8429" y="4"/>
                  <a:pt x="8425" y="4"/>
                </a:cubicBezTo>
                <a:cubicBezTo>
                  <a:pt x="8422" y="4"/>
                  <a:pt x="8415" y="5"/>
                  <a:pt x="8413" y="5"/>
                </a:cubicBezTo>
                <a:cubicBezTo>
                  <a:pt x="8410" y="4"/>
                  <a:pt x="8407" y="5"/>
                  <a:pt x="8407" y="5"/>
                </a:cubicBezTo>
                <a:cubicBezTo>
                  <a:pt x="8405" y="7"/>
                  <a:pt x="8404" y="7"/>
                  <a:pt x="8400" y="6"/>
                </a:cubicBezTo>
                <a:cubicBezTo>
                  <a:pt x="8399" y="6"/>
                  <a:pt x="8397" y="6"/>
                  <a:pt x="8397" y="5"/>
                </a:cubicBezTo>
                <a:cubicBezTo>
                  <a:pt x="8396" y="5"/>
                  <a:pt x="8394" y="4"/>
                  <a:pt x="8393" y="4"/>
                </a:cubicBezTo>
                <a:cubicBezTo>
                  <a:pt x="8390" y="4"/>
                  <a:pt x="8381" y="4"/>
                  <a:pt x="8379" y="3"/>
                </a:cubicBezTo>
                <a:cubicBezTo>
                  <a:pt x="8379" y="3"/>
                  <a:pt x="8379" y="3"/>
                  <a:pt x="8378" y="3"/>
                </a:cubicBezTo>
                <a:cubicBezTo>
                  <a:pt x="8378" y="3"/>
                  <a:pt x="8376" y="3"/>
                  <a:pt x="8374" y="3"/>
                </a:cubicBezTo>
                <a:cubicBezTo>
                  <a:pt x="8371" y="3"/>
                  <a:pt x="8368" y="3"/>
                  <a:pt x="8364" y="4"/>
                </a:cubicBezTo>
                <a:cubicBezTo>
                  <a:pt x="8361" y="4"/>
                  <a:pt x="8357" y="4"/>
                  <a:pt x="8353" y="4"/>
                </a:cubicBezTo>
                <a:cubicBezTo>
                  <a:pt x="8343" y="4"/>
                  <a:pt x="8334" y="4"/>
                  <a:pt x="8325" y="4"/>
                </a:cubicBezTo>
                <a:cubicBezTo>
                  <a:pt x="8306" y="4"/>
                  <a:pt x="8287" y="4"/>
                  <a:pt x="8268" y="4"/>
                </a:cubicBezTo>
                <a:cubicBezTo>
                  <a:pt x="8215" y="4"/>
                  <a:pt x="8163" y="4"/>
                  <a:pt x="8152" y="4"/>
                </a:cubicBezTo>
                <a:cubicBezTo>
                  <a:pt x="8142" y="4"/>
                  <a:pt x="8100" y="4"/>
                  <a:pt x="8059" y="4"/>
                </a:cubicBezTo>
                <a:cubicBezTo>
                  <a:pt x="8018" y="4"/>
                  <a:pt x="7950" y="4"/>
                  <a:pt x="7909" y="4"/>
                </a:cubicBezTo>
                <a:cubicBezTo>
                  <a:pt x="7867" y="4"/>
                  <a:pt x="7758" y="4"/>
                  <a:pt x="7667" y="4"/>
                </a:cubicBezTo>
                <a:cubicBezTo>
                  <a:pt x="7636" y="4"/>
                  <a:pt x="7604" y="4"/>
                  <a:pt x="7573" y="4"/>
                </a:cubicBezTo>
                <a:cubicBezTo>
                  <a:pt x="7557" y="4"/>
                  <a:pt x="7542" y="4"/>
                  <a:pt x="7526" y="4"/>
                </a:cubicBezTo>
                <a:cubicBezTo>
                  <a:pt x="7519" y="4"/>
                  <a:pt x="7511" y="3"/>
                  <a:pt x="7504" y="4"/>
                </a:cubicBezTo>
                <a:cubicBezTo>
                  <a:pt x="7498" y="4"/>
                  <a:pt x="7497" y="5"/>
                  <a:pt x="7492" y="4"/>
                </a:cubicBezTo>
                <a:cubicBezTo>
                  <a:pt x="7487" y="3"/>
                  <a:pt x="7480" y="4"/>
                  <a:pt x="7475" y="4"/>
                </a:cubicBezTo>
                <a:cubicBezTo>
                  <a:pt x="7468" y="4"/>
                  <a:pt x="7462" y="4"/>
                  <a:pt x="7455" y="4"/>
                </a:cubicBezTo>
                <a:cubicBezTo>
                  <a:pt x="7442" y="4"/>
                  <a:pt x="7428" y="4"/>
                  <a:pt x="7415" y="4"/>
                </a:cubicBezTo>
                <a:cubicBezTo>
                  <a:pt x="7401" y="4"/>
                  <a:pt x="7387" y="4"/>
                  <a:pt x="7373" y="4"/>
                </a:cubicBezTo>
                <a:cubicBezTo>
                  <a:pt x="7363" y="4"/>
                  <a:pt x="7348" y="4"/>
                  <a:pt x="7340" y="5"/>
                </a:cubicBezTo>
                <a:cubicBezTo>
                  <a:pt x="7338" y="5"/>
                  <a:pt x="7335" y="5"/>
                  <a:pt x="7332" y="5"/>
                </a:cubicBezTo>
                <a:cubicBezTo>
                  <a:pt x="7324" y="4"/>
                  <a:pt x="7314" y="4"/>
                  <a:pt x="7306" y="4"/>
                </a:cubicBezTo>
                <a:cubicBezTo>
                  <a:pt x="7290" y="4"/>
                  <a:pt x="7251" y="4"/>
                  <a:pt x="7218" y="4"/>
                </a:cubicBezTo>
                <a:cubicBezTo>
                  <a:pt x="7200" y="4"/>
                  <a:pt x="7181" y="5"/>
                  <a:pt x="7163" y="4"/>
                </a:cubicBezTo>
                <a:cubicBezTo>
                  <a:pt x="7160" y="4"/>
                  <a:pt x="7158" y="4"/>
                  <a:pt x="7156" y="4"/>
                </a:cubicBezTo>
                <a:cubicBezTo>
                  <a:pt x="7155" y="4"/>
                  <a:pt x="7154" y="3"/>
                  <a:pt x="7153" y="3"/>
                </a:cubicBezTo>
                <a:cubicBezTo>
                  <a:pt x="7149" y="3"/>
                  <a:pt x="7141" y="3"/>
                  <a:pt x="7136" y="3"/>
                </a:cubicBezTo>
                <a:cubicBezTo>
                  <a:pt x="7132" y="3"/>
                  <a:pt x="7127" y="4"/>
                  <a:pt x="7122" y="4"/>
                </a:cubicBezTo>
                <a:cubicBezTo>
                  <a:pt x="7118" y="4"/>
                  <a:pt x="7114" y="4"/>
                  <a:pt x="7111" y="4"/>
                </a:cubicBezTo>
                <a:cubicBezTo>
                  <a:pt x="7108" y="5"/>
                  <a:pt x="7107" y="5"/>
                  <a:pt x="7104" y="5"/>
                </a:cubicBezTo>
                <a:cubicBezTo>
                  <a:pt x="7100" y="5"/>
                  <a:pt x="7096" y="4"/>
                  <a:pt x="7092" y="4"/>
                </a:cubicBezTo>
                <a:cubicBezTo>
                  <a:pt x="7087" y="4"/>
                  <a:pt x="7084" y="5"/>
                  <a:pt x="7080" y="5"/>
                </a:cubicBezTo>
                <a:cubicBezTo>
                  <a:pt x="7078" y="5"/>
                  <a:pt x="7077" y="5"/>
                  <a:pt x="7075" y="5"/>
                </a:cubicBezTo>
                <a:cubicBezTo>
                  <a:pt x="7068" y="4"/>
                  <a:pt x="7057" y="4"/>
                  <a:pt x="7049" y="4"/>
                </a:cubicBezTo>
                <a:cubicBezTo>
                  <a:pt x="7041" y="4"/>
                  <a:pt x="7033" y="4"/>
                  <a:pt x="7025" y="4"/>
                </a:cubicBezTo>
                <a:cubicBezTo>
                  <a:pt x="7021" y="4"/>
                  <a:pt x="7012" y="5"/>
                  <a:pt x="7009" y="4"/>
                </a:cubicBezTo>
                <a:cubicBezTo>
                  <a:pt x="7006" y="3"/>
                  <a:pt x="7007" y="3"/>
                  <a:pt x="7006" y="3"/>
                </a:cubicBezTo>
                <a:cubicBezTo>
                  <a:pt x="7005" y="2"/>
                  <a:pt x="7004" y="2"/>
                  <a:pt x="7003" y="2"/>
                </a:cubicBezTo>
                <a:cubicBezTo>
                  <a:pt x="6999" y="2"/>
                  <a:pt x="6995" y="1"/>
                  <a:pt x="6991" y="2"/>
                </a:cubicBezTo>
                <a:cubicBezTo>
                  <a:pt x="6990" y="2"/>
                  <a:pt x="6988" y="2"/>
                  <a:pt x="6988" y="2"/>
                </a:cubicBezTo>
                <a:cubicBezTo>
                  <a:pt x="6987" y="3"/>
                  <a:pt x="6989" y="3"/>
                  <a:pt x="6989" y="3"/>
                </a:cubicBezTo>
                <a:cubicBezTo>
                  <a:pt x="6989" y="3"/>
                  <a:pt x="6988" y="4"/>
                  <a:pt x="6986" y="4"/>
                </a:cubicBezTo>
                <a:cubicBezTo>
                  <a:pt x="6980" y="5"/>
                  <a:pt x="6972" y="5"/>
                  <a:pt x="6965" y="5"/>
                </a:cubicBezTo>
                <a:cubicBezTo>
                  <a:pt x="6956" y="4"/>
                  <a:pt x="6948" y="3"/>
                  <a:pt x="6940" y="3"/>
                </a:cubicBezTo>
                <a:cubicBezTo>
                  <a:pt x="6931" y="3"/>
                  <a:pt x="6921" y="2"/>
                  <a:pt x="6912" y="3"/>
                </a:cubicBezTo>
                <a:cubicBezTo>
                  <a:pt x="6905" y="3"/>
                  <a:pt x="6900" y="4"/>
                  <a:pt x="6892" y="3"/>
                </a:cubicBezTo>
                <a:cubicBezTo>
                  <a:pt x="6888" y="3"/>
                  <a:pt x="6884" y="3"/>
                  <a:pt x="6880" y="3"/>
                </a:cubicBezTo>
                <a:cubicBezTo>
                  <a:pt x="6876" y="3"/>
                  <a:pt x="6873" y="3"/>
                  <a:pt x="6869" y="3"/>
                </a:cubicBezTo>
                <a:cubicBezTo>
                  <a:pt x="6865" y="2"/>
                  <a:pt x="6860" y="2"/>
                  <a:pt x="6856" y="2"/>
                </a:cubicBezTo>
                <a:cubicBezTo>
                  <a:pt x="6849" y="2"/>
                  <a:pt x="6842" y="2"/>
                  <a:pt x="6835" y="2"/>
                </a:cubicBezTo>
                <a:cubicBezTo>
                  <a:pt x="6827" y="2"/>
                  <a:pt x="6816" y="1"/>
                  <a:pt x="6808" y="2"/>
                </a:cubicBezTo>
                <a:cubicBezTo>
                  <a:pt x="6803" y="3"/>
                  <a:pt x="6807" y="4"/>
                  <a:pt x="6802" y="4"/>
                </a:cubicBezTo>
                <a:cubicBezTo>
                  <a:pt x="6797" y="5"/>
                  <a:pt x="6790" y="5"/>
                  <a:pt x="6785" y="5"/>
                </a:cubicBezTo>
                <a:cubicBezTo>
                  <a:pt x="6780" y="5"/>
                  <a:pt x="6748" y="3"/>
                  <a:pt x="6747" y="5"/>
                </a:cubicBezTo>
                <a:cubicBezTo>
                  <a:pt x="6747" y="5"/>
                  <a:pt x="6747" y="5"/>
                  <a:pt x="6746" y="5"/>
                </a:cubicBezTo>
                <a:cubicBezTo>
                  <a:pt x="6738" y="5"/>
                  <a:pt x="6731" y="5"/>
                  <a:pt x="6723" y="5"/>
                </a:cubicBezTo>
                <a:cubicBezTo>
                  <a:pt x="6688" y="4"/>
                  <a:pt x="6663" y="3"/>
                  <a:pt x="6625" y="4"/>
                </a:cubicBezTo>
                <a:cubicBezTo>
                  <a:pt x="6612" y="4"/>
                  <a:pt x="6598" y="4"/>
                  <a:pt x="6584" y="4"/>
                </a:cubicBezTo>
                <a:cubicBezTo>
                  <a:pt x="6584" y="4"/>
                  <a:pt x="6584" y="4"/>
                  <a:pt x="6584" y="3"/>
                </a:cubicBezTo>
                <a:cubicBezTo>
                  <a:pt x="6583" y="3"/>
                  <a:pt x="6583" y="3"/>
                  <a:pt x="6582" y="3"/>
                </a:cubicBezTo>
                <a:cubicBezTo>
                  <a:pt x="6580" y="3"/>
                  <a:pt x="6578" y="3"/>
                  <a:pt x="6576" y="3"/>
                </a:cubicBezTo>
                <a:cubicBezTo>
                  <a:pt x="6570" y="4"/>
                  <a:pt x="6567" y="3"/>
                  <a:pt x="6561" y="3"/>
                </a:cubicBezTo>
                <a:cubicBezTo>
                  <a:pt x="6556" y="2"/>
                  <a:pt x="6550" y="2"/>
                  <a:pt x="6547" y="3"/>
                </a:cubicBezTo>
                <a:cubicBezTo>
                  <a:pt x="6546" y="3"/>
                  <a:pt x="6546" y="3"/>
                  <a:pt x="6546" y="3"/>
                </a:cubicBezTo>
                <a:cubicBezTo>
                  <a:pt x="6543" y="4"/>
                  <a:pt x="6532" y="4"/>
                  <a:pt x="6528" y="4"/>
                </a:cubicBezTo>
                <a:cubicBezTo>
                  <a:pt x="6522" y="4"/>
                  <a:pt x="6516" y="4"/>
                  <a:pt x="6510" y="4"/>
                </a:cubicBezTo>
                <a:cubicBezTo>
                  <a:pt x="6490" y="4"/>
                  <a:pt x="6471" y="4"/>
                  <a:pt x="6467" y="4"/>
                </a:cubicBezTo>
                <a:cubicBezTo>
                  <a:pt x="6459" y="4"/>
                  <a:pt x="6452" y="4"/>
                  <a:pt x="6444" y="4"/>
                </a:cubicBezTo>
                <a:cubicBezTo>
                  <a:pt x="6443" y="3"/>
                  <a:pt x="6441" y="3"/>
                  <a:pt x="6441" y="3"/>
                </a:cubicBezTo>
                <a:cubicBezTo>
                  <a:pt x="6439" y="3"/>
                  <a:pt x="6438" y="3"/>
                  <a:pt x="6433" y="3"/>
                </a:cubicBezTo>
                <a:cubicBezTo>
                  <a:pt x="6429" y="3"/>
                  <a:pt x="6424" y="3"/>
                  <a:pt x="6420" y="3"/>
                </a:cubicBezTo>
                <a:cubicBezTo>
                  <a:pt x="6418" y="3"/>
                  <a:pt x="6417" y="3"/>
                  <a:pt x="6416" y="3"/>
                </a:cubicBezTo>
                <a:cubicBezTo>
                  <a:pt x="6414" y="3"/>
                  <a:pt x="6415" y="3"/>
                  <a:pt x="6414" y="3"/>
                </a:cubicBezTo>
                <a:cubicBezTo>
                  <a:pt x="6411" y="4"/>
                  <a:pt x="6405" y="3"/>
                  <a:pt x="6401" y="4"/>
                </a:cubicBezTo>
                <a:cubicBezTo>
                  <a:pt x="6393" y="4"/>
                  <a:pt x="6385" y="4"/>
                  <a:pt x="6377" y="3"/>
                </a:cubicBezTo>
                <a:cubicBezTo>
                  <a:pt x="6369" y="3"/>
                  <a:pt x="6362" y="3"/>
                  <a:pt x="6355" y="4"/>
                </a:cubicBezTo>
                <a:cubicBezTo>
                  <a:pt x="6351" y="4"/>
                  <a:pt x="6348" y="5"/>
                  <a:pt x="6344" y="5"/>
                </a:cubicBezTo>
                <a:cubicBezTo>
                  <a:pt x="6338" y="6"/>
                  <a:pt x="6333" y="5"/>
                  <a:pt x="6328" y="5"/>
                </a:cubicBezTo>
                <a:cubicBezTo>
                  <a:pt x="6313" y="4"/>
                  <a:pt x="6295" y="5"/>
                  <a:pt x="6280" y="5"/>
                </a:cubicBezTo>
                <a:cubicBezTo>
                  <a:pt x="6255" y="5"/>
                  <a:pt x="6229" y="6"/>
                  <a:pt x="6221" y="6"/>
                </a:cubicBezTo>
                <a:cubicBezTo>
                  <a:pt x="6215" y="6"/>
                  <a:pt x="6206" y="6"/>
                  <a:pt x="6202" y="7"/>
                </a:cubicBezTo>
                <a:cubicBezTo>
                  <a:pt x="6201" y="7"/>
                  <a:pt x="6201" y="7"/>
                  <a:pt x="6200" y="7"/>
                </a:cubicBezTo>
                <a:cubicBezTo>
                  <a:pt x="6200" y="7"/>
                  <a:pt x="6199" y="7"/>
                  <a:pt x="6199" y="7"/>
                </a:cubicBezTo>
                <a:cubicBezTo>
                  <a:pt x="6197" y="7"/>
                  <a:pt x="6195" y="7"/>
                  <a:pt x="6193" y="7"/>
                </a:cubicBezTo>
                <a:cubicBezTo>
                  <a:pt x="6192" y="7"/>
                  <a:pt x="6191" y="7"/>
                  <a:pt x="6189" y="6"/>
                </a:cubicBezTo>
                <a:cubicBezTo>
                  <a:pt x="6181" y="5"/>
                  <a:pt x="6168" y="6"/>
                  <a:pt x="6158" y="6"/>
                </a:cubicBezTo>
                <a:cubicBezTo>
                  <a:pt x="6147" y="6"/>
                  <a:pt x="6136" y="6"/>
                  <a:pt x="6124" y="6"/>
                </a:cubicBezTo>
                <a:cubicBezTo>
                  <a:pt x="6111" y="6"/>
                  <a:pt x="6099" y="6"/>
                  <a:pt x="6086" y="5"/>
                </a:cubicBezTo>
                <a:cubicBezTo>
                  <a:pt x="6079" y="5"/>
                  <a:pt x="6073" y="5"/>
                  <a:pt x="6066" y="5"/>
                </a:cubicBezTo>
                <a:cubicBezTo>
                  <a:pt x="6062" y="5"/>
                  <a:pt x="6059" y="6"/>
                  <a:pt x="6055" y="6"/>
                </a:cubicBezTo>
                <a:cubicBezTo>
                  <a:pt x="6054" y="6"/>
                  <a:pt x="6053" y="6"/>
                  <a:pt x="6051" y="6"/>
                </a:cubicBezTo>
                <a:cubicBezTo>
                  <a:pt x="6050" y="6"/>
                  <a:pt x="6049" y="7"/>
                  <a:pt x="6047" y="7"/>
                </a:cubicBezTo>
                <a:cubicBezTo>
                  <a:pt x="6039" y="6"/>
                  <a:pt x="6032" y="5"/>
                  <a:pt x="6024" y="5"/>
                </a:cubicBezTo>
                <a:cubicBezTo>
                  <a:pt x="6015" y="5"/>
                  <a:pt x="6007" y="5"/>
                  <a:pt x="5998" y="5"/>
                </a:cubicBezTo>
                <a:cubicBezTo>
                  <a:pt x="5991" y="5"/>
                  <a:pt x="5984" y="6"/>
                  <a:pt x="5977" y="6"/>
                </a:cubicBezTo>
                <a:cubicBezTo>
                  <a:pt x="5971" y="6"/>
                  <a:pt x="5966" y="6"/>
                  <a:pt x="5962" y="7"/>
                </a:cubicBezTo>
                <a:cubicBezTo>
                  <a:pt x="5960" y="8"/>
                  <a:pt x="5957" y="8"/>
                  <a:pt x="5954" y="8"/>
                </a:cubicBezTo>
                <a:cubicBezTo>
                  <a:pt x="5949" y="8"/>
                  <a:pt x="5943" y="8"/>
                  <a:pt x="5937" y="8"/>
                </a:cubicBezTo>
                <a:cubicBezTo>
                  <a:pt x="5932" y="8"/>
                  <a:pt x="5926" y="8"/>
                  <a:pt x="5920" y="8"/>
                </a:cubicBezTo>
                <a:cubicBezTo>
                  <a:pt x="5918" y="8"/>
                  <a:pt x="5916" y="8"/>
                  <a:pt x="5914" y="8"/>
                </a:cubicBezTo>
                <a:cubicBezTo>
                  <a:pt x="5913" y="9"/>
                  <a:pt x="5913" y="9"/>
                  <a:pt x="5913" y="9"/>
                </a:cubicBezTo>
                <a:cubicBezTo>
                  <a:pt x="5912" y="9"/>
                  <a:pt x="5912" y="9"/>
                  <a:pt x="5911" y="9"/>
                </a:cubicBezTo>
                <a:cubicBezTo>
                  <a:pt x="5909" y="9"/>
                  <a:pt x="5906" y="9"/>
                  <a:pt x="5904" y="8"/>
                </a:cubicBezTo>
                <a:cubicBezTo>
                  <a:pt x="5900" y="8"/>
                  <a:pt x="5895" y="8"/>
                  <a:pt x="5890" y="8"/>
                </a:cubicBezTo>
                <a:cubicBezTo>
                  <a:pt x="5885" y="7"/>
                  <a:pt x="5880" y="7"/>
                  <a:pt x="5876" y="7"/>
                </a:cubicBezTo>
                <a:cubicBezTo>
                  <a:pt x="5875" y="7"/>
                  <a:pt x="5873" y="7"/>
                  <a:pt x="5872" y="7"/>
                </a:cubicBezTo>
                <a:cubicBezTo>
                  <a:pt x="5864" y="7"/>
                  <a:pt x="5855" y="7"/>
                  <a:pt x="5848" y="7"/>
                </a:cubicBezTo>
                <a:cubicBezTo>
                  <a:pt x="5843" y="7"/>
                  <a:pt x="5839" y="7"/>
                  <a:pt x="5834" y="7"/>
                </a:cubicBezTo>
                <a:cubicBezTo>
                  <a:pt x="5829" y="7"/>
                  <a:pt x="5825" y="7"/>
                  <a:pt x="5820" y="6"/>
                </a:cubicBezTo>
                <a:cubicBezTo>
                  <a:pt x="5817" y="6"/>
                  <a:pt x="5815" y="5"/>
                  <a:pt x="5811" y="5"/>
                </a:cubicBezTo>
                <a:cubicBezTo>
                  <a:pt x="5804" y="5"/>
                  <a:pt x="5797" y="5"/>
                  <a:pt x="5790" y="5"/>
                </a:cubicBezTo>
                <a:cubicBezTo>
                  <a:pt x="5771" y="5"/>
                  <a:pt x="5753" y="6"/>
                  <a:pt x="5734" y="6"/>
                </a:cubicBezTo>
                <a:cubicBezTo>
                  <a:pt x="5733" y="6"/>
                  <a:pt x="5732" y="6"/>
                  <a:pt x="5731" y="6"/>
                </a:cubicBezTo>
                <a:cubicBezTo>
                  <a:pt x="5729" y="6"/>
                  <a:pt x="5727" y="5"/>
                  <a:pt x="5726" y="5"/>
                </a:cubicBezTo>
                <a:cubicBezTo>
                  <a:pt x="5723" y="5"/>
                  <a:pt x="5720" y="4"/>
                  <a:pt x="5716" y="4"/>
                </a:cubicBezTo>
                <a:cubicBezTo>
                  <a:pt x="5714" y="4"/>
                  <a:pt x="5710" y="4"/>
                  <a:pt x="5707" y="4"/>
                </a:cubicBezTo>
                <a:cubicBezTo>
                  <a:pt x="5700" y="4"/>
                  <a:pt x="5694" y="4"/>
                  <a:pt x="5687" y="4"/>
                </a:cubicBezTo>
                <a:cubicBezTo>
                  <a:pt x="5680" y="4"/>
                  <a:pt x="5674" y="4"/>
                  <a:pt x="5668" y="4"/>
                </a:cubicBezTo>
                <a:cubicBezTo>
                  <a:pt x="5665" y="4"/>
                  <a:pt x="5663" y="4"/>
                  <a:pt x="5660" y="4"/>
                </a:cubicBezTo>
                <a:cubicBezTo>
                  <a:pt x="5658" y="4"/>
                  <a:pt x="5655" y="4"/>
                  <a:pt x="5653" y="4"/>
                </a:cubicBezTo>
                <a:cubicBezTo>
                  <a:pt x="5650" y="4"/>
                  <a:pt x="5643" y="7"/>
                  <a:pt x="5638" y="6"/>
                </a:cubicBezTo>
                <a:cubicBezTo>
                  <a:pt x="5635" y="5"/>
                  <a:pt x="5640" y="4"/>
                  <a:pt x="5638" y="3"/>
                </a:cubicBezTo>
                <a:cubicBezTo>
                  <a:pt x="5636" y="3"/>
                  <a:pt x="5627" y="3"/>
                  <a:pt x="5625" y="3"/>
                </a:cubicBezTo>
                <a:cubicBezTo>
                  <a:pt x="5624" y="3"/>
                  <a:pt x="5625" y="3"/>
                  <a:pt x="5627" y="3"/>
                </a:cubicBezTo>
                <a:cubicBezTo>
                  <a:pt x="5629" y="3"/>
                  <a:pt x="5631" y="4"/>
                  <a:pt x="5631" y="4"/>
                </a:cubicBezTo>
                <a:cubicBezTo>
                  <a:pt x="5631" y="5"/>
                  <a:pt x="5630" y="5"/>
                  <a:pt x="5630" y="5"/>
                </a:cubicBezTo>
                <a:cubicBezTo>
                  <a:pt x="5626" y="5"/>
                  <a:pt x="5621" y="5"/>
                  <a:pt x="5617" y="5"/>
                </a:cubicBezTo>
                <a:cubicBezTo>
                  <a:pt x="5614" y="5"/>
                  <a:pt x="5612" y="5"/>
                  <a:pt x="5609" y="5"/>
                </a:cubicBezTo>
                <a:cubicBezTo>
                  <a:pt x="5608" y="5"/>
                  <a:pt x="5606" y="5"/>
                  <a:pt x="5603" y="5"/>
                </a:cubicBezTo>
                <a:cubicBezTo>
                  <a:pt x="5603" y="4"/>
                  <a:pt x="5602" y="4"/>
                  <a:pt x="5600" y="4"/>
                </a:cubicBezTo>
                <a:cubicBezTo>
                  <a:pt x="5599" y="4"/>
                  <a:pt x="5598" y="5"/>
                  <a:pt x="5598" y="5"/>
                </a:cubicBezTo>
                <a:cubicBezTo>
                  <a:pt x="5598" y="5"/>
                  <a:pt x="5598" y="5"/>
                  <a:pt x="5598" y="5"/>
                </a:cubicBezTo>
                <a:cubicBezTo>
                  <a:pt x="5600" y="7"/>
                  <a:pt x="5590" y="6"/>
                  <a:pt x="5586" y="6"/>
                </a:cubicBezTo>
                <a:cubicBezTo>
                  <a:pt x="5579" y="6"/>
                  <a:pt x="5570" y="5"/>
                  <a:pt x="5566" y="4"/>
                </a:cubicBezTo>
                <a:cubicBezTo>
                  <a:pt x="5559" y="3"/>
                  <a:pt x="5552" y="3"/>
                  <a:pt x="5545" y="3"/>
                </a:cubicBezTo>
                <a:cubicBezTo>
                  <a:pt x="5539" y="3"/>
                  <a:pt x="5533" y="3"/>
                  <a:pt x="5528" y="3"/>
                </a:cubicBezTo>
                <a:cubicBezTo>
                  <a:pt x="5522" y="3"/>
                  <a:pt x="5517" y="3"/>
                  <a:pt x="5511" y="3"/>
                </a:cubicBezTo>
                <a:cubicBezTo>
                  <a:pt x="5509" y="3"/>
                  <a:pt x="5501" y="3"/>
                  <a:pt x="5501" y="3"/>
                </a:cubicBezTo>
                <a:cubicBezTo>
                  <a:pt x="5500" y="3"/>
                  <a:pt x="5498" y="3"/>
                  <a:pt x="5497" y="3"/>
                </a:cubicBezTo>
                <a:cubicBezTo>
                  <a:pt x="5497" y="4"/>
                  <a:pt x="5497" y="4"/>
                  <a:pt x="5497" y="4"/>
                </a:cubicBezTo>
                <a:cubicBezTo>
                  <a:pt x="5497" y="4"/>
                  <a:pt x="5498" y="4"/>
                  <a:pt x="5498" y="5"/>
                </a:cubicBezTo>
                <a:cubicBezTo>
                  <a:pt x="5497" y="5"/>
                  <a:pt x="5489" y="5"/>
                  <a:pt x="5489" y="5"/>
                </a:cubicBezTo>
                <a:cubicBezTo>
                  <a:pt x="5489" y="4"/>
                  <a:pt x="5491" y="4"/>
                  <a:pt x="5491" y="4"/>
                </a:cubicBezTo>
                <a:cubicBezTo>
                  <a:pt x="5491" y="3"/>
                  <a:pt x="5480" y="3"/>
                  <a:pt x="5478" y="3"/>
                </a:cubicBezTo>
                <a:cubicBezTo>
                  <a:pt x="5474" y="3"/>
                  <a:pt x="5471" y="3"/>
                  <a:pt x="5467" y="3"/>
                </a:cubicBezTo>
                <a:cubicBezTo>
                  <a:pt x="5466" y="3"/>
                  <a:pt x="5465" y="3"/>
                  <a:pt x="5464" y="3"/>
                </a:cubicBezTo>
                <a:cubicBezTo>
                  <a:pt x="5463" y="3"/>
                  <a:pt x="5461" y="3"/>
                  <a:pt x="5460" y="3"/>
                </a:cubicBezTo>
                <a:cubicBezTo>
                  <a:pt x="5458" y="3"/>
                  <a:pt x="5456" y="3"/>
                  <a:pt x="5455" y="3"/>
                </a:cubicBezTo>
                <a:cubicBezTo>
                  <a:pt x="5454" y="3"/>
                  <a:pt x="5453" y="3"/>
                  <a:pt x="5453" y="3"/>
                </a:cubicBezTo>
                <a:cubicBezTo>
                  <a:pt x="5449" y="4"/>
                  <a:pt x="5461" y="5"/>
                  <a:pt x="5463" y="5"/>
                </a:cubicBezTo>
                <a:cubicBezTo>
                  <a:pt x="5465" y="4"/>
                  <a:pt x="5469" y="4"/>
                  <a:pt x="5469" y="5"/>
                </a:cubicBezTo>
                <a:cubicBezTo>
                  <a:pt x="5469" y="6"/>
                  <a:pt x="5468" y="6"/>
                  <a:pt x="5464" y="6"/>
                </a:cubicBezTo>
                <a:cubicBezTo>
                  <a:pt x="5459" y="6"/>
                  <a:pt x="5455" y="6"/>
                  <a:pt x="5450" y="6"/>
                </a:cubicBezTo>
                <a:cubicBezTo>
                  <a:pt x="5441" y="6"/>
                  <a:pt x="5432" y="6"/>
                  <a:pt x="5423" y="6"/>
                </a:cubicBezTo>
                <a:cubicBezTo>
                  <a:pt x="5412" y="6"/>
                  <a:pt x="5402" y="6"/>
                  <a:pt x="5391" y="5"/>
                </a:cubicBezTo>
                <a:cubicBezTo>
                  <a:pt x="5387" y="5"/>
                  <a:pt x="5383" y="5"/>
                  <a:pt x="5379" y="5"/>
                </a:cubicBezTo>
                <a:cubicBezTo>
                  <a:pt x="5376" y="5"/>
                  <a:pt x="5373" y="5"/>
                  <a:pt x="5370" y="5"/>
                </a:cubicBezTo>
                <a:cubicBezTo>
                  <a:pt x="5371" y="5"/>
                  <a:pt x="5371" y="5"/>
                  <a:pt x="5371" y="5"/>
                </a:cubicBezTo>
                <a:cubicBezTo>
                  <a:pt x="5369" y="5"/>
                  <a:pt x="5368" y="5"/>
                  <a:pt x="5366" y="5"/>
                </a:cubicBezTo>
                <a:cubicBezTo>
                  <a:pt x="5364" y="4"/>
                  <a:pt x="5372" y="4"/>
                  <a:pt x="5373" y="3"/>
                </a:cubicBezTo>
                <a:cubicBezTo>
                  <a:pt x="5375" y="3"/>
                  <a:pt x="5371" y="3"/>
                  <a:pt x="5368" y="3"/>
                </a:cubicBezTo>
                <a:cubicBezTo>
                  <a:pt x="5366" y="3"/>
                  <a:pt x="5366" y="4"/>
                  <a:pt x="5363" y="4"/>
                </a:cubicBezTo>
                <a:cubicBezTo>
                  <a:pt x="5360" y="4"/>
                  <a:pt x="5359" y="3"/>
                  <a:pt x="5358" y="3"/>
                </a:cubicBezTo>
                <a:cubicBezTo>
                  <a:pt x="5355" y="3"/>
                  <a:pt x="5352" y="3"/>
                  <a:pt x="5349" y="3"/>
                </a:cubicBezTo>
                <a:cubicBezTo>
                  <a:pt x="5343" y="3"/>
                  <a:pt x="5337" y="3"/>
                  <a:pt x="5331" y="3"/>
                </a:cubicBezTo>
                <a:cubicBezTo>
                  <a:pt x="5318" y="3"/>
                  <a:pt x="5307" y="3"/>
                  <a:pt x="5305" y="3"/>
                </a:cubicBezTo>
                <a:cubicBezTo>
                  <a:pt x="5300" y="3"/>
                  <a:pt x="5291" y="3"/>
                  <a:pt x="5287" y="2"/>
                </a:cubicBezTo>
                <a:cubicBezTo>
                  <a:pt x="5285" y="2"/>
                  <a:pt x="5283" y="2"/>
                  <a:pt x="5281" y="3"/>
                </a:cubicBezTo>
                <a:cubicBezTo>
                  <a:pt x="5281" y="3"/>
                  <a:pt x="5281" y="3"/>
                  <a:pt x="5281" y="3"/>
                </a:cubicBezTo>
                <a:cubicBezTo>
                  <a:pt x="5281" y="4"/>
                  <a:pt x="5281" y="4"/>
                  <a:pt x="5279" y="4"/>
                </a:cubicBezTo>
                <a:cubicBezTo>
                  <a:pt x="5276" y="4"/>
                  <a:pt x="5273" y="3"/>
                  <a:pt x="5271" y="3"/>
                </a:cubicBezTo>
                <a:cubicBezTo>
                  <a:pt x="5268" y="3"/>
                  <a:pt x="5265" y="3"/>
                  <a:pt x="5262" y="3"/>
                </a:cubicBezTo>
                <a:cubicBezTo>
                  <a:pt x="5256" y="3"/>
                  <a:pt x="5250" y="3"/>
                  <a:pt x="5243" y="3"/>
                </a:cubicBezTo>
                <a:cubicBezTo>
                  <a:pt x="5241" y="3"/>
                  <a:pt x="5239" y="3"/>
                  <a:pt x="5236" y="3"/>
                </a:cubicBezTo>
                <a:cubicBezTo>
                  <a:pt x="5236" y="3"/>
                  <a:pt x="5236" y="3"/>
                  <a:pt x="5236" y="4"/>
                </a:cubicBezTo>
                <a:cubicBezTo>
                  <a:pt x="5223" y="4"/>
                  <a:pt x="5211" y="3"/>
                  <a:pt x="5199" y="3"/>
                </a:cubicBezTo>
                <a:cubicBezTo>
                  <a:pt x="5191" y="3"/>
                  <a:pt x="5184" y="3"/>
                  <a:pt x="5177" y="3"/>
                </a:cubicBezTo>
                <a:cubicBezTo>
                  <a:pt x="5175" y="3"/>
                  <a:pt x="5173" y="3"/>
                  <a:pt x="5170" y="3"/>
                </a:cubicBezTo>
                <a:cubicBezTo>
                  <a:pt x="5169" y="3"/>
                  <a:pt x="5162" y="4"/>
                  <a:pt x="5164" y="3"/>
                </a:cubicBezTo>
                <a:cubicBezTo>
                  <a:pt x="5165" y="3"/>
                  <a:pt x="5173" y="3"/>
                  <a:pt x="5172" y="2"/>
                </a:cubicBezTo>
                <a:cubicBezTo>
                  <a:pt x="5172" y="1"/>
                  <a:pt x="5166" y="2"/>
                  <a:pt x="5165" y="2"/>
                </a:cubicBezTo>
                <a:cubicBezTo>
                  <a:pt x="5163" y="3"/>
                  <a:pt x="5159" y="3"/>
                  <a:pt x="5157" y="3"/>
                </a:cubicBezTo>
                <a:cubicBezTo>
                  <a:pt x="5155" y="3"/>
                  <a:pt x="5153" y="3"/>
                  <a:pt x="5153" y="3"/>
                </a:cubicBezTo>
                <a:cubicBezTo>
                  <a:pt x="5153" y="3"/>
                  <a:pt x="5153" y="3"/>
                  <a:pt x="5152" y="3"/>
                </a:cubicBezTo>
                <a:cubicBezTo>
                  <a:pt x="5145" y="2"/>
                  <a:pt x="5136" y="2"/>
                  <a:pt x="5129" y="2"/>
                </a:cubicBezTo>
                <a:cubicBezTo>
                  <a:pt x="5115" y="1"/>
                  <a:pt x="5101" y="2"/>
                  <a:pt x="5087" y="2"/>
                </a:cubicBezTo>
                <a:cubicBezTo>
                  <a:pt x="5080" y="2"/>
                  <a:pt x="5073" y="3"/>
                  <a:pt x="5066" y="3"/>
                </a:cubicBezTo>
                <a:cubicBezTo>
                  <a:pt x="5060" y="3"/>
                  <a:pt x="5053" y="3"/>
                  <a:pt x="5047" y="3"/>
                </a:cubicBezTo>
                <a:cubicBezTo>
                  <a:pt x="5046" y="3"/>
                  <a:pt x="5046" y="3"/>
                  <a:pt x="5045" y="3"/>
                </a:cubicBezTo>
                <a:cubicBezTo>
                  <a:pt x="5045" y="3"/>
                  <a:pt x="5044" y="3"/>
                  <a:pt x="5044" y="3"/>
                </a:cubicBezTo>
                <a:cubicBezTo>
                  <a:pt x="5041" y="3"/>
                  <a:pt x="5038" y="3"/>
                  <a:pt x="5035" y="3"/>
                </a:cubicBezTo>
                <a:cubicBezTo>
                  <a:pt x="5034" y="3"/>
                  <a:pt x="5031" y="3"/>
                  <a:pt x="5031" y="3"/>
                </a:cubicBezTo>
                <a:cubicBezTo>
                  <a:pt x="5030" y="4"/>
                  <a:pt x="5031" y="4"/>
                  <a:pt x="5028" y="4"/>
                </a:cubicBezTo>
                <a:cubicBezTo>
                  <a:pt x="5025" y="5"/>
                  <a:pt x="5021" y="4"/>
                  <a:pt x="5019" y="4"/>
                </a:cubicBezTo>
                <a:cubicBezTo>
                  <a:pt x="5016" y="4"/>
                  <a:pt x="5012" y="3"/>
                  <a:pt x="5007" y="4"/>
                </a:cubicBezTo>
                <a:cubicBezTo>
                  <a:pt x="5005" y="4"/>
                  <a:pt x="5002" y="5"/>
                  <a:pt x="4998" y="5"/>
                </a:cubicBezTo>
                <a:cubicBezTo>
                  <a:pt x="4995" y="5"/>
                  <a:pt x="4990" y="5"/>
                  <a:pt x="4987" y="5"/>
                </a:cubicBezTo>
                <a:cubicBezTo>
                  <a:pt x="4978" y="5"/>
                  <a:pt x="4964" y="5"/>
                  <a:pt x="4956" y="4"/>
                </a:cubicBezTo>
                <a:cubicBezTo>
                  <a:pt x="4953" y="4"/>
                  <a:pt x="4950" y="4"/>
                  <a:pt x="4946" y="3"/>
                </a:cubicBezTo>
                <a:cubicBezTo>
                  <a:pt x="4944" y="3"/>
                  <a:pt x="4942" y="3"/>
                  <a:pt x="4938" y="4"/>
                </a:cubicBezTo>
                <a:cubicBezTo>
                  <a:pt x="4937" y="4"/>
                  <a:pt x="4936" y="4"/>
                  <a:pt x="4935" y="3"/>
                </a:cubicBezTo>
                <a:cubicBezTo>
                  <a:pt x="4929" y="3"/>
                  <a:pt x="4925" y="4"/>
                  <a:pt x="4922" y="5"/>
                </a:cubicBezTo>
                <a:cubicBezTo>
                  <a:pt x="4921" y="5"/>
                  <a:pt x="4917" y="5"/>
                  <a:pt x="4916" y="5"/>
                </a:cubicBezTo>
                <a:cubicBezTo>
                  <a:pt x="4914" y="5"/>
                  <a:pt x="4913" y="4"/>
                  <a:pt x="4911" y="4"/>
                </a:cubicBezTo>
                <a:cubicBezTo>
                  <a:pt x="4908" y="3"/>
                  <a:pt x="4905" y="3"/>
                  <a:pt x="4901" y="3"/>
                </a:cubicBezTo>
                <a:cubicBezTo>
                  <a:pt x="4900" y="3"/>
                  <a:pt x="4899" y="3"/>
                  <a:pt x="4897" y="3"/>
                </a:cubicBezTo>
                <a:cubicBezTo>
                  <a:pt x="4895" y="3"/>
                  <a:pt x="4896" y="3"/>
                  <a:pt x="4894" y="3"/>
                </a:cubicBezTo>
                <a:cubicBezTo>
                  <a:pt x="4893" y="3"/>
                  <a:pt x="4892" y="3"/>
                  <a:pt x="4891" y="3"/>
                </a:cubicBezTo>
                <a:cubicBezTo>
                  <a:pt x="4891" y="3"/>
                  <a:pt x="4890" y="3"/>
                  <a:pt x="4888" y="3"/>
                </a:cubicBezTo>
                <a:cubicBezTo>
                  <a:pt x="4886" y="3"/>
                  <a:pt x="4885" y="3"/>
                  <a:pt x="4884" y="4"/>
                </a:cubicBezTo>
                <a:cubicBezTo>
                  <a:pt x="4883" y="4"/>
                  <a:pt x="4883" y="5"/>
                  <a:pt x="4884" y="5"/>
                </a:cubicBezTo>
                <a:cubicBezTo>
                  <a:pt x="4882" y="5"/>
                  <a:pt x="4880" y="5"/>
                  <a:pt x="4878" y="5"/>
                </a:cubicBezTo>
                <a:cubicBezTo>
                  <a:pt x="4875" y="5"/>
                  <a:pt x="4872" y="5"/>
                  <a:pt x="4870" y="5"/>
                </a:cubicBezTo>
                <a:cubicBezTo>
                  <a:pt x="4860" y="5"/>
                  <a:pt x="4850" y="4"/>
                  <a:pt x="4840" y="4"/>
                </a:cubicBezTo>
                <a:cubicBezTo>
                  <a:pt x="4836" y="4"/>
                  <a:pt x="4832" y="4"/>
                  <a:pt x="4828" y="3"/>
                </a:cubicBezTo>
                <a:cubicBezTo>
                  <a:pt x="4825" y="3"/>
                  <a:pt x="4821" y="3"/>
                  <a:pt x="4819" y="3"/>
                </a:cubicBezTo>
                <a:cubicBezTo>
                  <a:pt x="4815" y="3"/>
                  <a:pt x="4812" y="3"/>
                  <a:pt x="4807" y="3"/>
                </a:cubicBezTo>
                <a:cubicBezTo>
                  <a:pt x="4803" y="3"/>
                  <a:pt x="4798" y="3"/>
                  <a:pt x="4795" y="3"/>
                </a:cubicBezTo>
                <a:cubicBezTo>
                  <a:pt x="4793" y="3"/>
                  <a:pt x="4792" y="3"/>
                  <a:pt x="4791" y="4"/>
                </a:cubicBezTo>
                <a:cubicBezTo>
                  <a:pt x="4790" y="4"/>
                  <a:pt x="4790" y="4"/>
                  <a:pt x="4789" y="4"/>
                </a:cubicBezTo>
                <a:cubicBezTo>
                  <a:pt x="4788" y="5"/>
                  <a:pt x="4786" y="5"/>
                  <a:pt x="4784" y="5"/>
                </a:cubicBezTo>
                <a:cubicBezTo>
                  <a:pt x="4772" y="5"/>
                  <a:pt x="4761" y="2"/>
                  <a:pt x="4749" y="3"/>
                </a:cubicBezTo>
                <a:cubicBezTo>
                  <a:pt x="4748" y="3"/>
                  <a:pt x="4747" y="3"/>
                  <a:pt x="4745" y="3"/>
                </a:cubicBezTo>
                <a:cubicBezTo>
                  <a:pt x="4741" y="4"/>
                  <a:pt x="4736" y="4"/>
                  <a:pt x="4730" y="4"/>
                </a:cubicBezTo>
                <a:cubicBezTo>
                  <a:pt x="4727" y="4"/>
                  <a:pt x="4724" y="4"/>
                  <a:pt x="4720" y="4"/>
                </a:cubicBezTo>
                <a:cubicBezTo>
                  <a:pt x="4718" y="4"/>
                  <a:pt x="4717" y="5"/>
                  <a:pt x="4715" y="5"/>
                </a:cubicBezTo>
                <a:cubicBezTo>
                  <a:pt x="4713" y="5"/>
                  <a:pt x="4712" y="6"/>
                  <a:pt x="4709" y="6"/>
                </a:cubicBezTo>
                <a:cubicBezTo>
                  <a:pt x="4705" y="6"/>
                  <a:pt x="4701" y="6"/>
                  <a:pt x="4697" y="6"/>
                </a:cubicBezTo>
                <a:cubicBezTo>
                  <a:pt x="4695" y="5"/>
                  <a:pt x="4693" y="5"/>
                  <a:pt x="4690" y="5"/>
                </a:cubicBezTo>
                <a:cubicBezTo>
                  <a:pt x="4687" y="4"/>
                  <a:pt x="4681" y="4"/>
                  <a:pt x="4677" y="4"/>
                </a:cubicBezTo>
                <a:cubicBezTo>
                  <a:pt x="4672" y="4"/>
                  <a:pt x="4668" y="4"/>
                  <a:pt x="4663" y="4"/>
                </a:cubicBezTo>
                <a:cubicBezTo>
                  <a:pt x="4658" y="4"/>
                  <a:pt x="4653" y="4"/>
                  <a:pt x="4648" y="4"/>
                </a:cubicBezTo>
                <a:cubicBezTo>
                  <a:pt x="4645" y="4"/>
                  <a:pt x="4641" y="4"/>
                  <a:pt x="4638" y="4"/>
                </a:cubicBezTo>
                <a:cubicBezTo>
                  <a:pt x="4634" y="5"/>
                  <a:pt x="4635" y="7"/>
                  <a:pt x="4630" y="7"/>
                </a:cubicBezTo>
                <a:cubicBezTo>
                  <a:pt x="4625" y="7"/>
                  <a:pt x="4620" y="6"/>
                  <a:pt x="4616" y="6"/>
                </a:cubicBezTo>
                <a:cubicBezTo>
                  <a:pt x="4611" y="6"/>
                  <a:pt x="4605" y="6"/>
                  <a:pt x="4600" y="6"/>
                </a:cubicBezTo>
                <a:cubicBezTo>
                  <a:pt x="4593" y="6"/>
                  <a:pt x="4586" y="6"/>
                  <a:pt x="4579" y="6"/>
                </a:cubicBezTo>
                <a:cubicBezTo>
                  <a:pt x="4563" y="6"/>
                  <a:pt x="4547" y="6"/>
                  <a:pt x="4531" y="6"/>
                </a:cubicBezTo>
                <a:cubicBezTo>
                  <a:pt x="4527" y="6"/>
                  <a:pt x="4522" y="6"/>
                  <a:pt x="4518" y="6"/>
                </a:cubicBezTo>
                <a:cubicBezTo>
                  <a:pt x="4514" y="6"/>
                  <a:pt x="4511" y="5"/>
                  <a:pt x="4507" y="5"/>
                </a:cubicBezTo>
                <a:cubicBezTo>
                  <a:pt x="4506" y="5"/>
                  <a:pt x="4505" y="5"/>
                  <a:pt x="4504" y="5"/>
                </a:cubicBezTo>
                <a:cubicBezTo>
                  <a:pt x="4503" y="5"/>
                  <a:pt x="4503" y="5"/>
                  <a:pt x="4503" y="5"/>
                </a:cubicBezTo>
                <a:cubicBezTo>
                  <a:pt x="4500" y="6"/>
                  <a:pt x="4496" y="6"/>
                  <a:pt x="4493" y="6"/>
                </a:cubicBezTo>
                <a:cubicBezTo>
                  <a:pt x="4490" y="6"/>
                  <a:pt x="4486" y="6"/>
                  <a:pt x="4482" y="6"/>
                </a:cubicBezTo>
                <a:cubicBezTo>
                  <a:pt x="4476" y="6"/>
                  <a:pt x="4469" y="6"/>
                  <a:pt x="4463" y="6"/>
                </a:cubicBezTo>
                <a:cubicBezTo>
                  <a:pt x="4460" y="6"/>
                  <a:pt x="4453" y="7"/>
                  <a:pt x="4450" y="6"/>
                </a:cubicBezTo>
                <a:cubicBezTo>
                  <a:pt x="4449" y="6"/>
                  <a:pt x="4449" y="5"/>
                  <a:pt x="4448" y="5"/>
                </a:cubicBezTo>
                <a:cubicBezTo>
                  <a:pt x="4446" y="5"/>
                  <a:pt x="4445" y="5"/>
                  <a:pt x="4443" y="5"/>
                </a:cubicBezTo>
                <a:cubicBezTo>
                  <a:pt x="4443" y="5"/>
                  <a:pt x="4444" y="6"/>
                  <a:pt x="4444" y="6"/>
                </a:cubicBezTo>
                <a:cubicBezTo>
                  <a:pt x="4449" y="7"/>
                  <a:pt x="4438" y="9"/>
                  <a:pt x="4434" y="8"/>
                </a:cubicBezTo>
                <a:cubicBezTo>
                  <a:pt x="4431" y="8"/>
                  <a:pt x="4432" y="7"/>
                  <a:pt x="4430" y="6"/>
                </a:cubicBezTo>
                <a:cubicBezTo>
                  <a:pt x="4428" y="6"/>
                  <a:pt x="4426" y="6"/>
                  <a:pt x="4424" y="6"/>
                </a:cubicBezTo>
                <a:cubicBezTo>
                  <a:pt x="4420" y="6"/>
                  <a:pt x="4417" y="6"/>
                  <a:pt x="4414" y="6"/>
                </a:cubicBezTo>
                <a:cubicBezTo>
                  <a:pt x="4411" y="6"/>
                  <a:pt x="4406" y="5"/>
                  <a:pt x="4403" y="5"/>
                </a:cubicBezTo>
                <a:cubicBezTo>
                  <a:pt x="4402" y="5"/>
                  <a:pt x="4402" y="6"/>
                  <a:pt x="4401" y="6"/>
                </a:cubicBezTo>
                <a:cubicBezTo>
                  <a:pt x="4397" y="7"/>
                  <a:pt x="4396" y="6"/>
                  <a:pt x="4393" y="6"/>
                </a:cubicBezTo>
                <a:cubicBezTo>
                  <a:pt x="4390" y="5"/>
                  <a:pt x="4386" y="6"/>
                  <a:pt x="4384" y="7"/>
                </a:cubicBezTo>
                <a:cubicBezTo>
                  <a:pt x="4381" y="7"/>
                  <a:pt x="4380" y="7"/>
                  <a:pt x="4377" y="7"/>
                </a:cubicBezTo>
                <a:cubicBezTo>
                  <a:pt x="4377" y="7"/>
                  <a:pt x="4376" y="7"/>
                  <a:pt x="4375" y="7"/>
                </a:cubicBezTo>
                <a:cubicBezTo>
                  <a:pt x="4374" y="7"/>
                  <a:pt x="4373" y="7"/>
                  <a:pt x="4372" y="6"/>
                </a:cubicBezTo>
                <a:cubicBezTo>
                  <a:pt x="4368" y="6"/>
                  <a:pt x="4360" y="6"/>
                  <a:pt x="4356" y="6"/>
                </a:cubicBezTo>
                <a:cubicBezTo>
                  <a:pt x="4296" y="6"/>
                  <a:pt x="4270" y="7"/>
                  <a:pt x="4267" y="7"/>
                </a:cubicBezTo>
                <a:cubicBezTo>
                  <a:pt x="4266" y="7"/>
                  <a:pt x="4234" y="7"/>
                  <a:pt x="4227" y="7"/>
                </a:cubicBezTo>
                <a:cubicBezTo>
                  <a:pt x="4224" y="7"/>
                  <a:pt x="4219" y="6"/>
                  <a:pt x="4216" y="6"/>
                </a:cubicBezTo>
                <a:cubicBezTo>
                  <a:pt x="4213" y="5"/>
                  <a:pt x="4211" y="5"/>
                  <a:pt x="4208" y="5"/>
                </a:cubicBezTo>
                <a:cubicBezTo>
                  <a:pt x="4205" y="5"/>
                  <a:pt x="4203" y="5"/>
                  <a:pt x="4200" y="5"/>
                </a:cubicBezTo>
                <a:cubicBezTo>
                  <a:pt x="4199" y="5"/>
                  <a:pt x="4197" y="5"/>
                  <a:pt x="4196" y="5"/>
                </a:cubicBezTo>
                <a:cubicBezTo>
                  <a:pt x="4195" y="4"/>
                  <a:pt x="4197" y="4"/>
                  <a:pt x="4195" y="4"/>
                </a:cubicBezTo>
                <a:cubicBezTo>
                  <a:pt x="4194" y="3"/>
                  <a:pt x="4190" y="3"/>
                  <a:pt x="4187" y="3"/>
                </a:cubicBezTo>
                <a:cubicBezTo>
                  <a:pt x="4184" y="3"/>
                  <a:pt x="4179" y="4"/>
                  <a:pt x="4176" y="4"/>
                </a:cubicBezTo>
                <a:cubicBezTo>
                  <a:pt x="4171" y="4"/>
                  <a:pt x="4165" y="5"/>
                  <a:pt x="4158" y="4"/>
                </a:cubicBezTo>
                <a:cubicBezTo>
                  <a:pt x="4158" y="4"/>
                  <a:pt x="4157" y="3"/>
                  <a:pt x="4156" y="3"/>
                </a:cubicBezTo>
                <a:cubicBezTo>
                  <a:pt x="4152" y="3"/>
                  <a:pt x="4151" y="4"/>
                  <a:pt x="4149" y="4"/>
                </a:cubicBezTo>
                <a:cubicBezTo>
                  <a:pt x="4147" y="5"/>
                  <a:pt x="4143" y="5"/>
                  <a:pt x="4140" y="5"/>
                </a:cubicBezTo>
                <a:cubicBezTo>
                  <a:pt x="4134" y="5"/>
                  <a:pt x="4128" y="5"/>
                  <a:pt x="4122" y="5"/>
                </a:cubicBezTo>
                <a:cubicBezTo>
                  <a:pt x="4104" y="5"/>
                  <a:pt x="4086" y="5"/>
                  <a:pt x="4080" y="5"/>
                </a:cubicBezTo>
                <a:cubicBezTo>
                  <a:pt x="4075" y="5"/>
                  <a:pt x="4068" y="5"/>
                  <a:pt x="4064" y="6"/>
                </a:cubicBezTo>
                <a:cubicBezTo>
                  <a:pt x="4061" y="6"/>
                  <a:pt x="4058" y="6"/>
                  <a:pt x="4056" y="6"/>
                </a:cubicBezTo>
                <a:cubicBezTo>
                  <a:pt x="4054" y="7"/>
                  <a:pt x="4053" y="7"/>
                  <a:pt x="4051" y="7"/>
                </a:cubicBezTo>
                <a:cubicBezTo>
                  <a:pt x="4046" y="8"/>
                  <a:pt x="4039" y="7"/>
                  <a:pt x="4034" y="7"/>
                </a:cubicBezTo>
                <a:cubicBezTo>
                  <a:pt x="4031" y="7"/>
                  <a:pt x="4027" y="6"/>
                  <a:pt x="4023" y="6"/>
                </a:cubicBezTo>
                <a:cubicBezTo>
                  <a:pt x="4020" y="6"/>
                  <a:pt x="4018" y="6"/>
                  <a:pt x="4015" y="6"/>
                </a:cubicBezTo>
                <a:cubicBezTo>
                  <a:pt x="4006" y="6"/>
                  <a:pt x="3998" y="6"/>
                  <a:pt x="3989" y="6"/>
                </a:cubicBezTo>
                <a:cubicBezTo>
                  <a:pt x="3971" y="7"/>
                  <a:pt x="3946" y="7"/>
                  <a:pt x="3918" y="7"/>
                </a:cubicBezTo>
                <a:cubicBezTo>
                  <a:pt x="3864" y="7"/>
                  <a:pt x="3806" y="7"/>
                  <a:pt x="3791" y="7"/>
                </a:cubicBezTo>
                <a:cubicBezTo>
                  <a:pt x="3785" y="7"/>
                  <a:pt x="3779" y="7"/>
                  <a:pt x="3773" y="7"/>
                </a:cubicBezTo>
                <a:cubicBezTo>
                  <a:pt x="3769" y="7"/>
                  <a:pt x="3763" y="7"/>
                  <a:pt x="3760" y="8"/>
                </a:cubicBezTo>
                <a:cubicBezTo>
                  <a:pt x="3758" y="8"/>
                  <a:pt x="3757" y="8"/>
                  <a:pt x="3756" y="8"/>
                </a:cubicBezTo>
                <a:cubicBezTo>
                  <a:pt x="3755" y="8"/>
                  <a:pt x="3754" y="8"/>
                  <a:pt x="3752" y="8"/>
                </a:cubicBezTo>
                <a:cubicBezTo>
                  <a:pt x="3752" y="8"/>
                  <a:pt x="3751" y="8"/>
                  <a:pt x="3751" y="8"/>
                </a:cubicBezTo>
                <a:cubicBezTo>
                  <a:pt x="3746" y="8"/>
                  <a:pt x="3741" y="8"/>
                  <a:pt x="3737" y="8"/>
                </a:cubicBezTo>
                <a:cubicBezTo>
                  <a:pt x="3732" y="8"/>
                  <a:pt x="3728" y="8"/>
                  <a:pt x="3723" y="8"/>
                </a:cubicBezTo>
                <a:cubicBezTo>
                  <a:pt x="3718" y="8"/>
                  <a:pt x="3713" y="7"/>
                  <a:pt x="3708" y="8"/>
                </a:cubicBezTo>
                <a:cubicBezTo>
                  <a:pt x="3708" y="8"/>
                  <a:pt x="3707" y="8"/>
                  <a:pt x="3706" y="8"/>
                </a:cubicBezTo>
                <a:cubicBezTo>
                  <a:pt x="3700" y="9"/>
                  <a:pt x="3695" y="9"/>
                  <a:pt x="3687" y="9"/>
                </a:cubicBezTo>
                <a:cubicBezTo>
                  <a:pt x="3687" y="9"/>
                  <a:pt x="3686" y="9"/>
                  <a:pt x="3686" y="9"/>
                </a:cubicBezTo>
                <a:cubicBezTo>
                  <a:pt x="3684" y="8"/>
                  <a:pt x="3685" y="8"/>
                  <a:pt x="3685" y="7"/>
                </a:cubicBezTo>
                <a:cubicBezTo>
                  <a:pt x="3680" y="6"/>
                  <a:pt x="3672" y="7"/>
                  <a:pt x="3666" y="7"/>
                </a:cubicBezTo>
                <a:cubicBezTo>
                  <a:pt x="3659" y="7"/>
                  <a:pt x="3652" y="8"/>
                  <a:pt x="3644" y="8"/>
                </a:cubicBezTo>
                <a:cubicBezTo>
                  <a:pt x="3637" y="7"/>
                  <a:pt x="3630" y="7"/>
                  <a:pt x="3622" y="7"/>
                </a:cubicBezTo>
                <a:cubicBezTo>
                  <a:pt x="3617" y="7"/>
                  <a:pt x="3598" y="7"/>
                  <a:pt x="3579" y="7"/>
                </a:cubicBezTo>
                <a:cubicBezTo>
                  <a:pt x="3573" y="7"/>
                  <a:pt x="3566" y="7"/>
                  <a:pt x="3560" y="7"/>
                </a:cubicBezTo>
                <a:cubicBezTo>
                  <a:pt x="3555" y="8"/>
                  <a:pt x="3549" y="8"/>
                  <a:pt x="3545" y="8"/>
                </a:cubicBezTo>
                <a:cubicBezTo>
                  <a:pt x="3543" y="8"/>
                  <a:pt x="3541" y="9"/>
                  <a:pt x="3539" y="9"/>
                </a:cubicBezTo>
                <a:cubicBezTo>
                  <a:pt x="3536" y="9"/>
                  <a:pt x="3532" y="8"/>
                  <a:pt x="3529" y="8"/>
                </a:cubicBezTo>
                <a:cubicBezTo>
                  <a:pt x="3520" y="7"/>
                  <a:pt x="3510" y="8"/>
                  <a:pt x="3501" y="7"/>
                </a:cubicBezTo>
                <a:cubicBezTo>
                  <a:pt x="3491" y="7"/>
                  <a:pt x="3481" y="7"/>
                  <a:pt x="3471" y="7"/>
                </a:cubicBezTo>
                <a:cubicBezTo>
                  <a:pt x="3460" y="7"/>
                  <a:pt x="3449" y="7"/>
                  <a:pt x="3438" y="7"/>
                </a:cubicBezTo>
                <a:cubicBezTo>
                  <a:pt x="3433" y="7"/>
                  <a:pt x="3429" y="7"/>
                  <a:pt x="3424" y="7"/>
                </a:cubicBezTo>
                <a:cubicBezTo>
                  <a:pt x="3419" y="8"/>
                  <a:pt x="3415" y="7"/>
                  <a:pt x="3410" y="8"/>
                </a:cubicBezTo>
                <a:cubicBezTo>
                  <a:pt x="3404" y="8"/>
                  <a:pt x="3399" y="9"/>
                  <a:pt x="3393" y="9"/>
                </a:cubicBezTo>
                <a:cubicBezTo>
                  <a:pt x="3385" y="9"/>
                  <a:pt x="3377" y="9"/>
                  <a:pt x="3369" y="8"/>
                </a:cubicBezTo>
                <a:cubicBezTo>
                  <a:pt x="3361" y="8"/>
                  <a:pt x="3353" y="8"/>
                  <a:pt x="3345" y="8"/>
                </a:cubicBezTo>
                <a:cubicBezTo>
                  <a:pt x="3326" y="8"/>
                  <a:pt x="3308" y="8"/>
                  <a:pt x="3290" y="8"/>
                </a:cubicBezTo>
                <a:cubicBezTo>
                  <a:pt x="3276" y="8"/>
                  <a:pt x="3263" y="8"/>
                  <a:pt x="3250" y="8"/>
                </a:cubicBezTo>
                <a:cubicBezTo>
                  <a:pt x="3238" y="8"/>
                  <a:pt x="3227" y="8"/>
                  <a:pt x="3216" y="8"/>
                </a:cubicBezTo>
                <a:cubicBezTo>
                  <a:pt x="3213" y="9"/>
                  <a:pt x="3209" y="9"/>
                  <a:pt x="3206" y="9"/>
                </a:cubicBezTo>
                <a:cubicBezTo>
                  <a:pt x="3205" y="9"/>
                  <a:pt x="3204" y="9"/>
                  <a:pt x="3202" y="9"/>
                </a:cubicBezTo>
                <a:cubicBezTo>
                  <a:pt x="3200" y="9"/>
                  <a:pt x="3198" y="9"/>
                  <a:pt x="3196" y="9"/>
                </a:cubicBezTo>
                <a:cubicBezTo>
                  <a:pt x="3195" y="10"/>
                  <a:pt x="3193" y="9"/>
                  <a:pt x="3193" y="9"/>
                </a:cubicBezTo>
                <a:cubicBezTo>
                  <a:pt x="3191" y="8"/>
                  <a:pt x="3180" y="8"/>
                  <a:pt x="3176" y="8"/>
                </a:cubicBezTo>
                <a:cubicBezTo>
                  <a:pt x="3173" y="7"/>
                  <a:pt x="3163" y="7"/>
                  <a:pt x="3160" y="7"/>
                </a:cubicBezTo>
                <a:cubicBezTo>
                  <a:pt x="3160" y="8"/>
                  <a:pt x="3160" y="8"/>
                  <a:pt x="3159" y="8"/>
                </a:cubicBezTo>
                <a:cubicBezTo>
                  <a:pt x="3159" y="8"/>
                  <a:pt x="3158" y="8"/>
                  <a:pt x="3157" y="8"/>
                </a:cubicBezTo>
                <a:cubicBezTo>
                  <a:pt x="3152" y="8"/>
                  <a:pt x="3147" y="8"/>
                  <a:pt x="3142" y="8"/>
                </a:cubicBezTo>
                <a:cubicBezTo>
                  <a:pt x="3133" y="8"/>
                  <a:pt x="3117" y="8"/>
                  <a:pt x="3108" y="8"/>
                </a:cubicBezTo>
                <a:cubicBezTo>
                  <a:pt x="3092" y="8"/>
                  <a:pt x="3051" y="8"/>
                  <a:pt x="3027" y="8"/>
                </a:cubicBezTo>
                <a:cubicBezTo>
                  <a:pt x="3022" y="8"/>
                  <a:pt x="3011" y="8"/>
                  <a:pt x="3001" y="8"/>
                </a:cubicBezTo>
                <a:cubicBezTo>
                  <a:pt x="2994" y="8"/>
                  <a:pt x="2987" y="9"/>
                  <a:pt x="2980" y="8"/>
                </a:cubicBezTo>
                <a:cubicBezTo>
                  <a:pt x="2977" y="7"/>
                  <a:pt x="2976" y="7"/>
                  <a:pt x="2973" y="7"/>
                </a:cubicBezTo>
                <a:cubicBezTo>
                  <a:pt x="2969" y="7"/>
                  <a:pt x="2965" y="7"/>
                  <a:pt x="2962" y="7"/>
                </a:cubicBezTo>
                <a:cubicBezTo>
                  <a:pt x="2955" y="8"/>
                  <a:pt x="2944" y="8"/>
                  <a:pt x="2938" y="7"/>
                </a:cubicBezTo>
                <a:cubicBezTo>
                  <a:pt x="2934" y="7"/>
                  <a:pt x="2931" y="7"/>
                  <a:pt x="2928" y="7"/>
                </a:cubicBezTo>
                <a:cubicBezTo>
                  <a:pt x="2927" y="6"/>
                  <a:pt x="2925" y="6"/>
                  <a:pt x="2924" y="7"/>
                </a:cubicBezTo>
                <a:cubicBezTo>
                  <a:pt x="2923" y="7"/>
                  <a:pt x="2923" y="7"/>
                  <a:pt x="2922" y="7"/>
                </a:cubicBezTo>
                <a:cubicBezTo>
                  <a:pt x="2919" y="8"/>
                  <a:pt x="2915" y="7"/>
                  <a:pt x="2911" y="7"/>
                </a:cubicBezTo>
                <a:cubicBezTo>
                  <a:pt x="2906" y="7"/>
                  <a:pt x="2901" y="7"/>
                  <a:pt x="2896" y="7"/>
                </a:cubicBezTo>
                <a:cubicBezTo>
                  <a:pt x="2886" y="7"/>
                  <a:pt x="2876" y="7"/>
                  <a:pt x="2866" y="7"/>
                </a:cubicBezTo>
                <a:cubicBezTo>
                  <a:pt x="2848" y="7"/>
                  <a:pt x="2830" y="7"/>
                  <a:pt x="2813" y="7"/>
                </a:cubicBezTo>
                <a:cubicBezTo>
                  <a:pt x="2810" y="8"/>
                  <a:pt x="2807" y="8"/>
                  <a:pt x="2804" y="8"/>
                </a:cubicBezTo>
                <a:cubicBezTo>
                  <a:pt x="2803" y="9"/>
                  <a:pt x="2801" y="9"/>
                  <a:pt x="2799" y="9"/>
                </a:cubicBezTo>
                <a:cubicBezTo>
                  <a:pt x="2798" y="9"/>
                  <a:pt x="2797" y="9"/>
                  <a:pt x="2797" y="9"/>
                </a:cubicBezTo>
                <a:cubicBezTo>
                  <a:pt x="2793" y="9"/>
                  <a:pt x="2791" y="9"/>
                  <a:pt x="2788" y="8"/>
                </a:cubicBezTo>
                <a:cubicBezTo>
                  <a:pt x="2784" y="8"/>
                  <a:pt x="2780" y="8"/>
                  <a:pt x="2776" y="8"/>
                </a:cubicBezTo>
                <a:cubicBezTo>
                  <a:pt x="2772" y="7"/>
                  <a:pt x="2763" y="7"/>
                  <a:pt x="2761" y="8"/>
                </a:cubicBezTo>
                <a:cubicBezTo>
                  <a:pt x="2760" y="8"/>
                  <a:pt x="2760" y="9"/>
                  <a:pt x="2759" y="9"/>
                </a:cubicBezTo>
                <a:cubicBezTo>
                  <a:pt x="2759" y="9"/>
                  <a:pt x="2757" y="9"/>
                  <a:pt x="2756" y="9"/>
                </a:cubicBezTo>
                <a:cubicBezTo>
                  <a:pt x="2755" y="9"/>
                  <a:pt x="2754" y="9"/>
                  <a:pt x="2751" y="8"/>
                </a:cubicBezTo>
                <a:cubicBezTo>
                  <a:pt x="2750" y="7"/>
                  <a:pt x="2742" y="7"/>
                  <a:pt x="2738" y="7"/>
                </a:cubicBezTo>
                <a:cubicBezTo>
                  <a:pt x="2732" y="7"/>
                  <a:pt x="2726" y="7"/>
                  <a:pt x="2720" y="6"/>
                </a:cubicBezTo>
                <a:cubicBezTo>
                  <a:pt x="2720" y="6"/>
                  <a:pt x="2719" y="6"/>
                  <a:pt x="2718" y="6"/>
                </a:cubicBezTo>
                <a:cubicBezTo>
                  <a:pt x="2716" y="6"/>
                  <a:pt x="2714" y="6"/>
                  <a:pt x="2713" y="6"/>
                </a:cubicBezTo>
                <a:cubicBezTo>
                  <a:pt x="2712" y="7"/>
                  <a:pt x="2710" y="7"/>
                  <a:pt x="2710" y="7"/>
                </a:cubicBezTo>
                <a:cubicBezTo>
                  <a:pt x="2709" y="7"/>
                  <a:pt x="2707" y="7"/>
                  <a:pt x="2706" y="7"/>
                </a:cubicBezTo>
                <a:cubicBezTo>
                  <a:pt x="2705" y="8"/>
                  <a:pt x="2703" y="7"/>
                  <a:pt x="2702" y="7"/>
                </a:cubicBezTo>
                <a:cubicBezTo>
                  <a:pt x="2702" y="7"/>
                  <a:pt x="2702" y="6"/>
                  <a:pt x="2702" y="6"/>
                </a:cubicBezTo>
                <a:cubicBezTo>
                  <a:pt x="2700" y="6"/>
                  <a:pt x="2699" y="5"/>
                  <a:pt x="2698" y="5"/>
                </a:cubicBezTo>
                <a:cubicBezTo>
                  <a:pt x="2693" y="5"/>
                  <a:pt x="2691" y="7"/>
                  <a:pt x="2687" y="7"/>
                </a:cubicBezTo>
                <a:cubicBezTo>
                  <a:pt x="2684" y="7"/>
                  <a:pt x="2682" y="7"/>
                  <a:pt x="2679" y="7"/>
                </a:cubicBezTo>
                <a:cubicBezTo>
                  <a:pt x="2674" y="7"/>
                  <a:pt x="2669" y="7"/>
                  <a:pt x="2664" y="7"/>
                </a:cubicBezTo>
                <a:cubicBezTo>
                  <a:pt x="2650" y="7"/>
                  <a:pt x="2633" y="7"/>
                  <a:pt x="2626" y="7"/>
                </a:cubicBezTo>
                <a:cubicBezTo>
                  <a:pt x="2623" y="6"/>
                  <a:pt x="2618" y="6"/>
                  <a:pt x="2615" y="6"/>
                </a:cubicBezTo>
                <a:cubicBezTo>
                  <a:pt x="2615" y="6"/>
                  <a:pt x="2614" y="6"/>
                  <a:pt x="2614" y="5"/>
                </a:cubicBezTo>
                <a:cubicBezTo>
                  <a:pt x="2613" y="5"/>
                  <a:pt x="2611" y="4"/>
                  <a:pt x="2608" y="5"/>
                </a:cubicBezTo>
                <a:cubicBezTo>
                  <a:pt x="2606" y="5"/>
                  <a:pt x="2609" y="6"/>
                  <a:pt x="2605" y="7"/>
                </a:cubicBezTo>
                <a:cubicBezTo>
                  <a:pt x="2601" y="7"/>
                  <a:pt x="2594" y="7"/>
                  <a:pt x="2590" y="6"/>
                </a:cubicBezTo>
                <a:cubicBezTo>
                  <a:pt x="2577" y="6"/>
                  <a:pt x="2564" y="6"/>
                  <a:pt x="2551" y="6"/>
                </a:cubicBezTo>
                <a:cubicBezTo>
                  <a:pt x="2546" y="6"/>
                  <a:pt x="2541" y="6"/>
                  <a:pt x="2536" y="6"/>
                </a:cubicBezTo>
                <a:cubicBezTo>
                  <a:pt x="2534" y="6"/>
                  <a:pt x="2531" y="6"/>
                  <a:pt x="2529" y="6"/>
                </a:cubicBezTo>
                <a:cubicBezTo>
                  <a:pt x="2528" y="6"/>
                  <a:pt x="2526" y="5"/>
                  <a:pt x="2525" y="5"/>
                </a:cubicBezTo>
                <a:cubicBezTo>
                  <a:pt x="2524" y="5"/>
                  <a:pt x="2522" y="5"/>
                  <a:pt x="2521" y="5"/>
                </a:cubicBezTo>
                <a:cubicBezTo>
                  <a:pt x="2520" y="5"/>
                  <a:pt x="2518" y="5"/>
                  <a:pt x="2517" y="5"/>
                </a:cubicBezTo>
                <a:cubicBezTo>
                  <a:pt x="2514" y="5"/>
                  <a:pt x="2515" y="6"/>
                  <a:pt x="2514" y="6"/>
                </a:cubicBezTo>
                <a:cubicBezTo>
                  <a:pt x="2513" y="7"/>
                  <a:pt x="2510" y="7"/>
                  <a:pt x="2508" y="7"/>
                </a:cubicBezTo>
                <a:cubicBezTo>
                  <a:pt x="2501" y="8"/>
                  <a:pt x="2493" y="8"/>
                  <a:pt x="2486" y="8"/>
                </a:cubicBezTo>
                <a:cubicBezTo>
                  <a:pt x="2481" y="8"/>
                  <a:pt x="2476" y="8"/>
                  <a:pt x="2471" y="8"/>
                </a:cubicBezTo>
                <a:cubicBezTo>
                  <a:pt x="2468" y="7"/>
                  <a:pt x="2464" y="7"/>
                  <a:pt x="2460" y="7"/>
                </a:cubicBezTo>
                <a:cubicBezTo>
                  <a:pt x="2458" y="6"/>
                  <a:pt x="2455" y="6"/>
                  <a:pt x="2454" y="6"/>
                </a:cubicBezTo>
                <a:cubicBezTo>
                  <a:pt x="2453" y="6"/>
                  <a:pt x="2453" y="6"/>
                  <a:pt x="2453" y="6"/>
                </a:cubicBezTo>
                <a:cubicBezTo>
                  <a:pt x="2451" y="5"/>
                  <a:pt x="2450" y="5"/>
                  <a:pt x="2449" y="6"/>
                </a:cubicBezTo>
                <a:cubicBezTo>
                  <a:pt x="2448" y="6"/>
                  <a:pt x="2447" y="6"/>
                  <a:pt x="2447" y="6"/>
                </a:cubicBezTo>
                <a:cubicBezTo>
                  <a:pt x="2447" y="6"/>
                  <a:pt x="2446" y="6"/>
                  <a:pt x="2445" y="6"/>
                </a:cubicBezTo>
                <a:cubicBezTo>
                  <a:pt x="2440" y="6"/>
                  <a:pt x="2434" y="5"/>
                  <a:pt x="2429" y="6"/>
                </a:cubicBezTo>
                <a:cubicBezTo>
                  <a:pt x="2428" y="6"/>
                  <a:pt x="2428" y="6"/>
                  <a:pt x="2426" y="6"/>
                </a:cubicBezTo>
                <a:cubicBezTo>
                  <a:pt x="2422" y="5"/>
                  <a:pt x="2417" y="6"/>
                  <a:pt x="2414" y="6"/>
                </a:cubicBezTo>
                <a:cubicBezTo>
                  <a:pt x="2411" y="7"/>
                  <a:pt x="2408" y="7"/>
                  <a:pt x="2405" y="7"/>
                </a:cubicBezTo>
                <a:cubicBezTo>
                  <a:pt x="2402" y="8"/>
                  <a:pt x="2400" y="8"/>
                  <a:pt x="2398" y="9"/>
                </a:cubicBezTo>
                <a:cubicBezTo>
                  <a:pt x="2394" y="9"/>
                  <a:pt x="2391" y="9"/>
                  <a:pt x="2388" y="8"/>
                </a:cubicBezTo>
                <a:cubicBezTo>
                  <a:pt x="2384" y="8"/>
                  <a:pt x="2381" y="7"/>
                  <a:pt x="2378" y="7"/>
                </a:cubicBezTo>
                <a:cubicBezTo>
                  <a:pt x="2370" y="7"/>
                  <a:pt x="2363" y="6"/>
                  <a:pt x="2356" y="6"/>
                </a:cubicBezTo>
                <a:cubicBezTo>
                  <a:pt x="2350" y="6"/>
                  <a:pt x="2344" y="6"/>
                  <a:pt x="2338" y="6"/>
                </a:cubicBezTo>
                <a:cubicBezTo>
                  <a:pt x="2334" y="5"/>
                  <a:pt x="2329" y="5"/>
                  <a:pt x="2326" y="5"/>
                </a:cubicBezTo>
                <a:cubicBezTo>
                  <a:pt x="2325" y="5"/>
                  <a:pt x="2324" y="4"/>
                  <a:pt x="2323" y="4"/>
                </a:cubicBezTo>
                <a:cubicBezTo>
                  <a:pt x="2322" y="4"/>
                  <a:pt x="2321" y="4"/>
                  <a:pt x="2321" y="5"/>
                </a:cubicBezTo>
                <a:cubicBezTo>
                  <a:pt x="2320" y="5"/>
                  <a:pt x="2319" y="5"/>
                  <a:pt x="2318" y="5"/>
                </a:cubicBezTo>
                <a:cubicBezTo>
                  <a:pt x="2318" y="5"/>
                  <a:pt x="2317" y="5"/>
                  <a:pt x="2317" y="5"/>
                </a:cubicBezTo>
                <a:cubicBezTo>
                  <a:pt x="2317" y="4"/>
                  <a:pt x="2315" y="5"/>
                  <a:pt x="2315" y="5"/>
                </a:cubicBezTo>
                <a:cubicBezTo>
                  <a:pt x="2314" y="5"/>
                  <a:pt x="2313" y="5"/>
                  <a:pt x="2312" y="5"/>
                </a:cubicBezTo>
                <a:cubicBezTo>
                  <a:pt x="2311" y="5"/>
                  <a:pt x="2310" y="5"/>
                  <a:pt x="2309" y="5"/>
                </a:cubicBezTo>
                <a:cubicBezTo>
                  <a:pt x="2308" y="5"/>
                  <a:pt x="2307" y="5"/>
                  <a:pt x="2302" y="5"/>
                </a:cubicBezTo>
                <a:cubicBezTo>
                  <a:pt x="2287" y="5"/>
                  <a:pt x="2273" y="6"/>
                  <a:pt x="2258" y="6"/>
                </a:cubicBezTo>
                <a:cubicBezTo>
                  <a:pt x="2252" y="6"/>
                  <a:pt x="2246" y="6"/>
                  <a:pt x="2240" y="6"/>
                </a:cubicBezTo>
                <a:cubicBezTo>
                  <a:pt x="2235" y="6"/>
                  <a:pt x="2233" y="6"/>
                  <a:pt x="2229" y="5"/>
                </a:cubicBezTo>
                <a:cubicBezTo>
                  <a:pt x="2227" y="5"/>
                  <a:pt x="2226" y="4"/>
                  <a:pt x="2224" y="4"/>
                </a:cubicBezTo>
                <a:lnTo>
                  <a:pt x="2212" y="3"/>
                </a:lnTo>
                <a:cubicBezTo>
                  <a:pt x="2209" y="3"/>
                  <a:pt x="2203" y="3"/>
                  <a:pt x="2200" y="3"/>
                </a:cubicBezTo>
                <a:cubicBezTo>
                  <a:pt x="2200" y="5"/>
                  <a:pt x="2191" y="4"/>
                  <a:pt x="2189" y="3"/>
                </a:cubicBezTo>
                <a:cubicBezTo>
                  <a:pt x="2182" y="3"/>
                  <a:pt x="2175" y="3"/>
                  <a:pt x="2168" y="3"/>
                </a:cubicBezTo>
                <a:cubicBezTo>
                  <a:pt x="2165" y="3"/>
                  <a:pt x="2162" y="3"/>
                  <a:pt x="2159" y="3"/>
                </a:cubicBezTo>
                <a:cubicBezTo>
                  <a:pt x="2156" y="3"/>
                  <a:pt x="2154" y="4"/>
                  <a:pt x="2152" y="4"/>
                </a:cubicBezTo>
                <a:cubicBezTo>
                  <a:pt x="2150" y="4"/>
                  <a:pt x="2147" y="5"/>
                  <a:pt x="2144" y="4"/>
                </a:cubicBezTo>
                <a:cubicBezTo>
                  <a:pt x="2144" y="4"/>
                  <a:pt x="2143" y="4"/>
                  <a:pt x="2142" y="4"/>
                </a:cubicBezTo>
                <a:cubicBezTo>
                  <a:pt x="2144" y="3"/>
                  <a:pt x="2139" y="3"/>
                  <a:pt x="2137" y="3"/>
                </a:cubicBezTo>
                <a:cubicBezTo>
                  <a:pt x="2135" y="3"/>
                  <a:pt x="2133" y="3"/>
                  <a:pt x="2131" y="3"/>
                </a:cubicBezTo>
                <a:cubicBezTo>
                  <a:pt x="2129" y="3"/>
                  <a:pt x="2123" y="3"/>
                  <a:pt x="2122" y="3"/>
                </a:cubicBezTo>
                <a:cubicBezTo>
                  <a:pt x="2121" y="3"/>
                  <a:pt x="2121" y="4"/>
                  <a:pt x="2121" y="4"/>
                </a:cubicBezTo>
                <a:cubicBezTo>
                  <a:pt x="2121" y="4"/>
                  <a:pt x="2120" y="4"/>
                  <a:pt x="2119" y="5"/>
                </a:cubicBezTo>
                <a:cubicBezTo>
                  <a:pt x="2116" y="5"/>
                  <a:pt x="2112" y="5"/>
                  <a:pt x="2108" y="5"/>
                </a:cubicBezTo>
                <a:cubicBezTo>
                  <a:pt x="2103" y="5"/>
                  <a:pt x="2098" y="5"/>
                  <a:pt x="2093" y="4"/>
                </a:cubicBezTo>
                <a:cubicBezTo>
                  <a:pt x="2080" y="4"/>
                  <a:pt x="2048" y="3"/>
                  <a:pt x="2024" y="3"/>
                </a:cubicBezTo>
                <a:cubicBezTo>
                  <a:pt x="2015" y="3"/>
                  <a:pt x="2007" y="3"/>
                  <a:pt x="1999" y="3"/>
                </a:cubicBezTo>
                <a:cubicBezTo>
                  <a:pt x="1992" y="3"/>
                  <a:pt x="1984" y="4"/>
                  <a:pt x="1977" y="3"/>
                </a:cubicBezTo>
                <a:cubicBezTo>
                  <a:pt x="1974" y="3"/>
                  <a:pt x="1972" y="3"/>
                  <a:pt x="1969" y="3"/>
                </a:cubicBezTo>
                <a:cubicBezTo>
                  <a:pt x="1968" y="3"/>
                  <a:pt x="1968" y="3"/>
                  <a:pt x="1967" y="3"/>
                </a:cubicBezTo>
                <a:cubicBezTo>
                  <a:pt x="1966" y="3"/>
                  <a:pt x="1964" y="3"/>
                  <a:pt x="1963" y="3"/>
                </a:cubicBezTo>
                <a:cubicBezTo>
                  <a:pt x="1962" y="3"/>
                  <a:pt x="1962" y="3"/>
                  <a:pt x="1961" y="4"/>
                </a:cubicBezTo>
                <a:cubicBezTo>
                  <a:pt x="1961" y="4"/>
                  <a:pt x="1961" y="4"/>
                  <a:pt x="1958" y="4"/>
                </a:cubicBezTo>
                <a:cubicBezTo>
                  <a:pt x="1955" y="4"/>
                  <a:pt x="1952" y="4"/>
                  <a:pt x="1949" y="4"/>
                </a:cubicBezTo>
                <a:cubicBezTo>
                  <a:pt x="1944" y="3"/>
                  <a:pt x="1934" y="3"/>
                  <a:pt x="1927" y="3"/>
                </a:cubicBezTo>
                <a:cubicBezTo>
                  <a:pt x="1924" y="3"/>
                  <a:pt x="1921" y="3"/>
                  <a:pt x="1918" y="3"/>
                </a:cubicBezTo>
                <a:cubicBezTo>
                  <a:pt x="1916" y="3"/>
                  <a:pt x="1913" y="3"/>
                  <a:pt x="1910" y="3"/>
                </a:cubicBezTo>
                <a:cubicBezTo>
                  <a:pt x="1910" y="3"/>
                  <a:pt x="1909" y="3"/>
                  <a:pt x="1908" y="3"/>
                </a:cubicBezTo>
                <a:cubicBezTo>
                  <a:pt x="1908" y="3"/>
                  <a:pt x="1908" y="3"/>
                  <a:pt x="1910" y="3"/>
                </a:cubicBezTo>
                <a:cubicBezTo>
                  <a:pt x="1910" y="3"/>
                  <a:pt x="1910" y="4"/>
                  <a:pt x="1909" y="4"/>
                </a:cubicBezTo>
                <a:cubicBezTo>
                  <a:pt x="1908" y="4"/>
                  <a:pt x="1907" y="4"/>
                  <a:pt x="1906" y="4"/>
                </a:cubicBezTo>
                <a:cubicBezTo>
                  <a:pt x="1901" y="4"/>
                  <a:pt x="1896" y="4"/>
                  <a:pt x="1891" y="4"/>
                </a:cubicBezTo>
                <a:cubicBezTo>
                  <a:pt x="1880" y="3"/>
                  <a:pt x="1866" y="3"/>
                  <a:pt x="1859" y="3"/>
                </a:cubicBezTo>
                <a:cubicBezTo>
                  <a:pt x="1852" y="4"/>
                  <a:pt x="1834" y="4"/>
                  <a:pt x="1820" y="4"/>
                </a:cubicBezTo>
                <a:cubicBezTo>
                  <a:pt x="1806" y="4"/>
                  <a:pt x="1770" y="4"/>
                  <a:pt x="1740" y="3"/>
                </a:cubicBezTo>
                <a:cubicBezTo>
                  <a:pt x="1730" y="3"/>
                  <a:pt x="1720" y="3"/>
                  <a:pt x="1711" y="3"/>
                </a:cubicBezTo>
                <a:cubicBezTo>
                  <a:pt x="1705" y="3"/>
                  <a:pt x="1700" y="3"/>
                  <a:pt x="1695" y="3"/>
                </a:cubicBezTo>
                <a:cubicBezTo>
                  <a:pt x="1693" y="3"/>
                  <a:pt x="1686" y="4"/>
                  <a:pt x="1685" y="3"/>
                </a:cubicBezTo>
                <a:cubicBezTo>
                  <a:pt x="1685" y="3"/>
                  <a:pt x="1684" y="3"/>
                  <a:pt x="1683" y="3"/>
                </a:cubicBezTo>
                <a:cubicBezTo>
                  <a:pt x="1681" y="2"/>
                  <a:pt x="1673" y="2"/>
                  <a:pt x="1669" y="3"/>
                </a:cubicBezTo>
                <a:cubicBezTo>
                  <a:pt x="1664" y="3"/>
                  <a:pt x="1660" y="3"/>
                  <a:pt x="1656" y="2"/>
                </a:cubicBezTo>
                <a:cubicBezTo>
                  <a:pt x="1655" y="2"/>
                  <a:pt x="1653" y="2"/>
                  <a:pt x="1652" y="2"/>
                </a:cubicBezTo>
                <a:cubicBezTo>
                  <a:pt x="1650" y="2"/>
                  <a:pt x="1650" y="2"/>
                  <a:pt x="1649" y="2"/>
                </a:cubicBezTo>
                <a:cubicBezTo>
                  <a:pt x="1648" y="2"/>
                  <a:pt x="1647" y="2"/>
                  <a:pt x="1646" y="2"/>
                </a:cubicBezTo>
                <a:cubicBezTo>
                  <a:pt x="1645" y="2"/>
                  <a:pt x="1645" y="2"/>
                  <a:pt x="1643" y="3"/>
                </a:cubicBezTo>
                <a:cubicBezTo>
                  <a:pt x="1641" y="3"/>
                  <a:pt x="1634" y="3"/>
                  <a:pt x="1629" y="3"/>
                </a:cubicBezTo>
                <a:cubicBezTo>
                  <a:pt x="1624" y="3"/>
                  <a:pt x="1613" y="3"/>
                  <a:pt x="1605" y="3"/>
                </a:cubicBezTo>
                <a:cubicBezTo>
                  <a:pt x="1602" y="4"/>
                  <a:pt x="1599" y="4"/>
                  <a:pt x="1597" y="4"/>
                </a:cubicBezTo>
                <a:cubicBezTo>
                  <a:pt x="1594" y="4"/>
                  <a:pt x="1593" y="4"/>
                  <a:pt x="1590" y="4"/>
                </a:cubicBezTo>
                <a:cubicBezTo>
                  <a:pt x="1588" y="4"/>
                  <a:pt x="1588" y="3"/>
                  <a:pt x="1587" y="3"/>
                </a:cubicBezTo>
                <a:cubicBezTo>
                  <a:pt x="1583" y="3"/>
                  <a:pt x="1578" y="3"/>
                  <a:pt x="1574" y="3"/>
                </a:cubicBezTo>
                <a:cubicBezTo>
                  <a:pt x="1571" y="3"/>
                  <a:pt x="1567" y="3"/>
                  <a:pt x="1564" y="3"/>
                </a:cubicBezTo>
                <a:cubicBezTo>
                  <a:pt x="1561" y="3"/>
                  <a:pt x="1558" y="3"/>
                  <a:pt x="1555" y="3"/>
                </a:cubicBezTo>
                <a:cubicBezTo>
                  <a:pt x="1553" y="3"/>
                  <a:pt x="1551" y="2"/>
                  <a:pt x="1548" y="2"/>
                </a:cubicBezTo>
                <a:cubicBezTo>
                  <a:pt x="1546" y="2"/>
                  <a:pt x="1545" y="3"/>
                  <a:pt x="1544" y="3"/>
                </a:cubicBezTo>
                <a:cubicBezTo>
                  <a:pt x="1540" y="3"/>
                  <a:pt x="1536" y="3"/>
                  <a:pt x="1533" y="3"/>
                </a:cubicBezTo>
                <a:cubicBezTo>
                  <a:pt x="1527" y="3"/>
                  <a:pt x="1519" y="3"/>
                  <a:pt x="1516" y="3"/>
                </a:cubicBezTo>
                <a:cubicBezTo>
                  <a:pt x="1509" y="4"/>
                  <a:pt x="1504" y="4"/>
                  <a:pt x="1496" y="4"/>
                </a:cubicBezTo>
                <a:cubicBezTo>
                  <a:pt x="1488" y="4"/>
                  <a:pt x="1481" y="3"/>
                  <a:pt x="1474" y="3"/>
                </a:cubicBezTo>
                <a:cubicBezTo>
                  <a:pt x="1471" y="3"/>
                  <a:pt x="1467" y="3"/>
                  <a:pt x="1464" y="3"/>
                </a:cubicBezTo>
                <a:cubicBezTo>
                  <a:pt x="1463" y="3"/>
                  <a:pt x="1461" y="3"/>
                  <a:pt x="1461" y="3"/>
                </a:cubicBezTo>
                <a:cubicBezTo>
                  <a:pt x="1459" y="3"/>
                  <a:pt x="1460" y="4"/>
                  <a:pt x="1458" y="4"/>
                </a:cubicBezTo>
                <a:cubicBezTo>
                  <a:pt x="1457" y="4"/>
                  <a:pt x="1455" y="4"/>
                  <a:pt x="1454" y="4"/>
                </a:cubicBezTo>
                <a:cubicBezTo>
                  <a:pt x="1452" y="4"/>
                  <a:pt x="1448" y="4"/>
                  <a:pt x="1446" y="4"/>
                </a:cubicBezTo>
                <a:cubicBezTo>
                  <a:pt x="1444" y="3"/>
                  <a:pt x="1444" y="3"/>
                  <a:pt x="1443" y="3"/>
                </a:cubicBezTo>
                <a:cubicBezTo>
                  <a:pt x="1442" y="3"/>
                  <a:pt x="1440" y="3"/>
                  <a:pt x="1439" y="2"/>
                </a:cubicBezTo>
                <a:cubicBezTo>
                  <a:pt x="1438" y="2"/>
                  <a:pt x="1436" y="1"/>
                  <a:pt x="1435" y="1"/>
                </a:cubicBezTo>
                <a:cubicBezTo>
                  <a:pt x="1432" y="1"/>
                  <a:pt x="1431" y="2"/>
                  <a:pt x="1428" y="2"/>
                </a:cubicBezTo>
                <a:cubicBezTo>
                  <a:pt x="1428" y="2"/>
                  <a:pt x="1428" y="2"/>
                  <a:pt x="1428" y="2"/>
                </a:cubicBezTo>
                <a:cubicBezTo>
                  <a:pt x="1428" y="2"/>
                  <a:pt x="1428" y="1"/>
                  <a:pt x="1428" y="1"/>
                </a:cubicBezTo>
                <a:cubicBezTo>
                  <a:pt x="1428" y="1"/>
                  <a:pt x="1427" y="1"/>
                  <a:pt x="1427" y="1"/>
                </a:cubicBezTo>
                <a:cubicBezTo>
                  <a:pt x="1425" y="0"/>
                  <a:pt x="1423" y="0"/>
                  <a:pt x="1422" y="1"/>
                </a:cubicBezTo>
                <a:cubicBezTo>
                  <a:pt x="1421" y="1"/>
                  <a:pt x="1421" y="1"/>
                  <a:pt x="1421" y="1"/>
                </a:cubicBezTo>
                <a:cubicBezTo>
                  <a:pt x="1421" y="2"/>
                  <a:pt x="1421" y="2"/>
                  <a:pt x="1421" y="2"/>
                </a:cubicBezTo>
                <a:cubicBezTo>
                  <a:pt x="1422" y="2"/>
                  <a:pt x="1423" y="3"/>
                  <a:pt x="1424" y="3"/>
                </a:cubicBezTo>
                <a:cubicBezTo>
                  <a:pt x="1425" y="3"/>
                  <a:pt x="1423" y="3"/>
                  <a:pt x="1421" y="4"/>
                </a:cubicBezTo>
                <a:cubicBezTo>
                  <a:pt x="1420" y="4"/>
                  <a:pt x="1419" y="4"/>
                  <a:pt x="1417" y="4"/>
                </a:cubicBezTo>
                <a:cubicBezTo>
                  <a:pt x="1416" y="4"/>
                  <a:pt x="1415" y="3"/>
                  <a:pt x="1413" y="3"/>
                </a:cubicBezTo>
                <a:cubicBezTo>
                  <a:pt x="1411" y="3"/>
                  <a:pt x="1410" y="2"/>
                  <a:pt x="1407" y="2"/>
                </a:cubicBezTo>
                <a:cubicBezTo>
                  <a:pt x="1405" y="2"/>
                  <a:pt x="1402" y="2"/>
                  <a:pt x="1400" y="2"/>
                </a:cubicBezTo>
                <a:cubicBezTo>
                  <a:pt x="1395" y="2"/>
                  <a:pt x="1382" y="1"/>
                  <a:pt x="1371" y="1"/>
                </a:cubicBezTo>
                <a:cubicBezTo>
                  <a:pt x="1367" y="1"/>
                  <a:pt x="1364" y="1"/>
                  <a:pt x="1360" y="1"/>
                </a:cubicBezTo>
                <a:cubicBezTo>
                  <a:pt x="1359" y="1"/>
                  <a:pt x="1354" y="1"/>
                  <a:pt x="1352" y="1"/>
                </a:cubicBezTo>
                <a:cubicBezTo>
                  <a:pt x="1351" y="1"/>
                  <a:pt x="1350" y="2"/>
                  <a:pt x="1351" y="2"/>
                </a:cubicBezTo>
                <a:cubicBezTo>
                  <a:pt x="1348" y="2"/>
                  <a:pt x="1345" y="2"/>
                  <a:pt x="1342" y="2"/>
                </a:cubicBezTo>
                <a:cubicBezTo>
                  <a:pt x="1339" y="3"/>
                  <a:pt x="1335" y="3"/>
                  <a:pt x="1332" y="3"/>
                </a:cubicBezTo>
                <a:cubicBezTo>
                  <a:pt x="1327" y="3"/>
                  <a:pt x="1320" y="3"/>
                  <a:pt x="1316" y="3"/>
                </a:cubicBezTo>
                <a:cubicBezTo>
                  <a:pt x="1315" y="3"/>
                  <a:pt x="1313" y="2"/>
                  <a:pt x="1312" y="2"/>
                </a:cubicBezTo>
                <a:cubicBezTo>
                  <a:pt x="1311" y="2"/>
                  <a:pt x="1309" y="1"/>
                  <a:pt x="1309" y="1"/>
                </a:cubicBezTo>
                <a:cubicBezTo>
                  <a:pt x="1310" y="1"/>
                  <a:pt x="1311" y="1"/>
                  <a:pt x="1309" y="0"/>
                </a:cubicBezTo>
                <a:cubicBezTo>
                  <a:pt x="1305" y="0"/>
                  <a:pt x="1301" y="0"/>
                  <a:pt x="1297" y="0"/>
                </a:cubicBezTo>
                <a:cubicBezTo>
                  <a:pt x="1295" y="0"/>
                  <a:pt x="1292" y="1"/>
                  <a:pt x="1289" y="1"/>
                </a:cubicBezTo>
                <a:cubicBezTo>
                  <a:pt x="1287" y="1"/>
                  <a:pt x="1285" y="1"/>
                  <a:pt x="1284" y="1"/>
                </a:cubicBezTo>
                <a:cubicBezTo>
                  <a:pt x="1283" y="1"/>
                  <a:pt x="1283" y="1"/>
                  <a:pt x="1282" y="1"/>
                </a:cubicBezTo>
                <a:cubicBezTo>
                  <a:pt x="1280" y="2"/>
                  <a:pt x="1277" y="2"/>
                  <a:pt x="1275" y="3"/>
                </a:cubicBezTo>
                <a:cubicBezTo>
                  <a:pt x="1274" y="3"/>
                  <a:pt x="1273" y="3"/>
                  <a:pt x="1272" y="3"/>
                </a:cubicBezTo>
                <a:cubicBezTo>
                  <a:pt x="1272" y="3"/>
                  <a:pt x="1269" y="3"/>
                  <a:pt x="1269" y="3"/>
                </a:cubicBezTo>
                <a:cubicBezTo>
                  <a:pt x="1268" y="3"/>
                  <a:pt x="1268" y="3"/>
                  <a:pt x="1266" y="2"/>
                </a:cubicBezTo>
                <a:cubicBezTo>
                  <a:pt x="1266" y="2"/>
                  <a:pt x="1264" y="2"/>
                  <a:pt x="1263" y="2"/>
                </a:cubicBezTo>
                <a:cubicBezTo>
                  <a:pt x="1256" y="2"/>
                  <a:pt x="1250" y="2"/>
                  <a:pt x="1243" y="2"/>
                </a:cubicBezTo>
                <a:cubicBezTo>
                  <a:pt x="1240" y="2"/>
                  <a:pt x="1233" y="3"/>
                  <a:pt x="1231" y="2"/>
                </a:cubicBezTo>
                <a:cubicBezTo>
                  <a:pt x="1229" y="2"/>
                  <a:pt x="1217" y="2"/>
                  <a:pt x="1202" y="2"/>
                </a:cubicBezTo>
                <a:cubicBezTo>
                  <a:pt x="1198" y="2"/>
                  <a:pt x="1193" y="2"/>
                  <a:pt x="1188" y="2"/>
                </a:cubicBezTo>
                <a:cubicBezTo>
                  <a:pt x="1184" y="2"/>
                  <a:pt x="1179" y="1"/>
                  <a:pt x="1176" y="2"/>
                </a:cubicBezTo>
                <a:cubicBezTo>
                  <a:pt x="1175" y="2"/>
                  <a:pt x="1173" y="2"/>
                  <a:pt x="1171" y="3"/>
                </a:cubicBezTo>
                <a:cubicBezTo>
                  <a:pt x="1169" y="3"/>
                  <a:pt x="1165" y="3"/>
                  <a:pt x="1161" y="3"/>
                </a:cubicBezTo>
                <a:cubicBezTo>
                  <a:pt x="1160" y="3"/>
                  <a:pt x="1157" y="3"/>
                  <a:pt x="1156" y="3"/>
                </a:cubicBezTo>
                <a:cubicBezTo>
                  <a:pt x="1155" y="3"/>
                  <a:pt x="1154" y="3"/>
                  <a:pt x="1152" y="2"/>
                </a:cubicBezTo>
                <a:cubicBezTo>
                  <a:pt x="1150" y="2"/>
                  <a:pt x="1147" y="2"/>
                  <a:pt x="1145" y="2"/>
                </a:cubicBezTo>
                <a:cubicBezTo>
                  <a:pt x="1142" y="2"/>
                  <a:pt x="1138" y="2"/>
                  <a:pt x="1135" y="2"/>
                </a:cubicBezTo>
                <a:cubicBezTo>
                  <a:pt x="1128" y="2"/>
                  <a:pt x="1120" y="2"/>
                  <a:pt x="1115" y="3"/>
                </a:cubicBezTo>
                <a:cubicBezTo>
                  <a:pt x="1112" y="3"/>
                  <a:pt x="1106" y="4"/>
                  <a:pt x="1102" y="3"/>
                </a:cubicBezTo>
                <a:cubicBezTo>
                  <a:pt x="1099" y="3"/>
                  <a:pt x="1095" y="3"/>
                  <a:pt x="1093" y="3"/>
                </a:cubicBezTo>
                <a:cubicBezTo>
                  <a:pt x="1092" y="3"/>
                  <a:pt x="1091" y="2"/>
                  <a:pt x="1088" y="2"/>
                </a:cubicBezTo>
                <a:cubicBezTo>
                  <a:pt x="1084" y="2"/>
                  <a:pt x="1079" y="2"/>
                  <a:pt x="1075" y="2"/>
                </a:cubicBezTo>
                <a:cubicBezTo>
                  <a:pt x="1067" y="2"/>
                  <a:pt x="1056" y="2"/>
                  <a:pt x="1052" y="1"/>
                </a:cubicBezTo>
                <a:cubicBezTo>
                  <a:pt x="1048" y="1"/>
                  <a:pt x="1034" y="1"/>
                  <a:pt x="1020" y="1"/>
                </a:cubicBezTo>
                <a:cubicBezTo>
                  <a:pt x="1013" y="1"/>
                  <a:pt x="1006" y="1"/>
                  <a:pt x="998" y="1"/>
                </a:cubicBezTo>
                <a:cubicBezTo>
                  <a:pt x="998" y="1"/>
                  <a:pt x="997" y="1"/>
                  <a:pt x="997" y="1"/>
                </a:cubicBezTo>
                <a:cubicBezTo>
                  <a:pt x="996" y="1"/>
                  <a:pt x="996" y="2"/>
                  <a:pt x="997" y="2"/>
                </a:cubicBezTo>
                <a:cubicBezTo>
                  <a:pt x="997" y="2"/>
                  <a:pt x="996" y="2"/>
                  <a:pt x="995" y="2"/>
                </a:cubicBezTo>
                <a:cubicBezTo>
                  <a:pt x="994" y="2"/>
                  <a:pt x="993" y="2"/>
                  <a:pt x="992" y="2"/>
                </a:cubicBezTo>
                <a:cubicBezTo>
                  <a:pt x="988" y="3"/>
                  <a:pt x="986" y="3"/>
                  <a:pt x="982" y="3"/>
                </a:cubicBezTo>
                <a:cubicBezTo>
                  <a:pt x="980" y="3"/>
                  <a:pt x="977" y="3"/>
                  <a:pt x="975" y="3"/>
                </a:cubicBezTo>
                <a:cubicBezTo>
                  <a:pt x="970" y="3"/>
                  <a:pt x="965" y="3"/>
                  <a:pt x="959" y="3"/>
                </a:cubicBezTo>
                <a:cubicBezTo>
                  <a:pt x="952" y="3"/>
                  <a:pt x="944" y="3"/>
                  <a:pt x="937" y="3"/>
                </a:cubicBezTo>
                <a:cubicBezTo>
                  <a:pt x="933" y="3"/>
                  <a:pt x="930" y="3"/>
                  <a:pt x="926" y="3"/>
                </a:cubicBezTo>
                <a:cubicBezTo>
                  <a:pt x="925" y="3"/>
                  <a:pt x="922" y="3"/>
                  <a:pt x="921" y="3"/>
                </a:cubicBezTo>
                <a:cubicBezTo>
                  <a:pt x="920" y="3"/>
                  <a:pt x="921" y="3"/>
                  <a:pt x="921" y="3"/>
                </a:cubicBezTo>
                <a:cubicBezTo>
                  <a:pt x="920" y="2"/>
                  <a:pt x="919" y="2"/>
                  <a:pt x="917" y="2"/>
                </a:cubicBezTo>
                <a:cubicBezTo>
                  <a:pt x="915" y="2"/>
                  <a:pt x="912" y="2"/>
                  <a:pt x="909" y="2"/>
                </a:cubicBezTo>
                <a:cubicBezTo>
                  <a:pt x="902" y="2"/>
                  <a:pt x="892" y="2"/>
                  <a:pt x="886" y="2"/>
                </a:cubicBezTo>
                <a:cubicBezTo>
                  <a:pt x="882" y="2"/>
                  <a:pt x="876" y="1"/>
                  <a:pt x="873" y="2"/>
                </a:cubicBezTo>
                <a:cubicBezTo>
                  <a:pt x="872" y="2"/>
                  <a:pt x="871" y="2"/>
                  <a:pt x="871" y="3"/>
                </a:cubicBezTo>
                <a:cubicBezTo>
                  <a:pt x="871" y="3"/>
                  <a:pt x="871" y="3"/>
                  <a:pt x="871" y="3"/>
                </a:cubicBezTo>
                <a:cubicBezTo>
                  <a:pt x="870" y="3"/>
                  <a:pt x="869" y="3"/>
                  <a:pt x="868" y="3"/>
                </a:cubicBezTo>
                <a:cubicBezTo>
                  <a:pt x="860" y="3"/>
                  <a:pt x="852" y="3"/>
                  <a:pt x="844" y="3"/>
                </a:cubicBezTo>
                <a:cubicBezTo>
                  <a:pt x="838" y="3"/>
                  <a:pt x="832" y="3"/>
                  <a:pt x="826" y="3"/>
                </a:cubicBezTo>
                <a:cubicBezTo>
                  <a:pt x="824" y="3"/>
                  <a:pt x="822" y="3"/>
                  <a:pt x="821" y="3"/>
                </a:cubicBezTo>
                <a:cubicBezTo>
                  <a:pt x="821" y="3"/>
                  <a:pt x="822" y="3"/>
                  <a:pt x="820" y="3"/>
                </a:cubicBezTo>
                <a:cubicBezTo>
                  <a:pt x="820" y="3"/>
                  <a:pt x="819" y="3"/>
                  <a:pt x="818" y="3"/>
                </a:cubicBezTo>
                <a:cubicBezTo>
                  <a:pt x="814" y="3"/>
                  <a:pt x="806" y="4"/>
                  <a:pt x="802" y="3"/>
                </a:cubicBezTo>
                <a:cubicBezTo>
                  <a:pt x="802" y="3"/>
                  <a:pt x="802" y="3"/>
                  <a:pt x="802" y="3"/>
                </a:cubicBezTo>
                <a:cubicBezTo>
                  <a:pt x="802" y="3"/>
                  <a:pt x="802" y="3"/>
                  <a:pt x="802" y="2"/>
                </a:cubicBezTo>
                <a:cubicBezTo>
                  <a:pt x="802" y="2"/>
                  <a:pt x="801" y="1"/>
                  <a:pt x="800" y="1"/>
                </a:cubicBezTo>
                <a:cubicBezTo>
                  <a:pt x="799" y="1"/>
                  <a:pt x="797" y="1"/>
                  <a:pt x="796" y="1"/>
                </a:cubicBezTo>
                <a:cubicBezTo>
                  <a:pt x="794" y="1"/>
                  <a:pt x="793" y="1"/>
                  <a:pt x="792" y="1"/>
                </a:cubicBezTo>
                <a:cubicBezTo>
                  <a:pt x="791" y="1"/>
                  <a:pt x="791" y="1"/>
                  <a:pt x="790" y="2"/>
                </a:cubicBezTo>
                <a:cubicBezTo>
                  <a:pt x="788" y="2"/>
                  <a:pt x="787" y="0"/>
                  <a:pt x="785" y="0"/>
                </a:cubicBezTo>
                <a:cubicBezTo>
                  <a:pt x="781" y="0"/>
                  <a:pt x="776" y="0"/>
                  <a:pt x="772" y="0"/>
                </a:cubicBezTo>
                <a:cubicBezTo>
                  <a:pt x="761" y="0"/>
                  <a:pt x="751" y="0"/>
                  <a:pt x="740" y="0"/>
                </a:cubicBezTo>
                <a:cubicBezTo>
                  <a:pt x="731" y="0"/>
                  <a:pt x="723" y="0"/>
                  <a:pt x="714" y="0"/>
                </a:cubicBezTo>
                <a:cubicBezTo>
                  <a:pt x="710" y="0"/>
                  <a:pt x="705" y="0"/>
                  <a:pt x="701" y="0"/>
                </a:cubicBezTo>
                <a:cubicBezTo>
                  <a:pt x="698" y="0"/>
                  <a:pt x="693" y="0"/>
                  <a:pt x="692" y="1"/>
                </a:cubicBezTo>
                <a:cubicBezTo>
                  <a:pt x="691" y="2"/>
                  <a:pt x="690" y="2"/>
                  <a:pt x="687" y="2"/>
                </a:cubicBezTo>
                <a:cubicBezTo>
                  <a:pt x="685" y="2"/>
                  <a:pt x="681" y="3"/>
                  <a:pt x="679" y="3"/>
                </a:cubicBezTo>
                <a:cubicBezTo>
                  <a:pt x="676" y="4"/>
                  <a:pt x="675" y="4"/>
                  <a:pt x="669" y="4"/>
                </a:cubicBezTo>
                <a:cubicBezTo>
                  <a:pt x="665" y="4"/>
                  <a:pt x="661" y="4"/>
                  <a:pt x="657" y="4"/>
                </a:cubicBezTo>
                <a:cubicBezTo>
                  <a:pt x="652" y="4"/>
                  <a:pt x="645" y="4"/>
                  <a:pt x="639" y="4"/>
                </a:cubicBezTo>
                <a:cubicBezTo>
                  <a:pt x="638" y="4"/>
                  <a:pt x="637" y="4"/>
                  <a:pt x="636" y="4"/>
                </a:cubicBezTo>
                <a:cubicBezTo>
                  <a:pt x="634" y="4"/>
                  <a:pt x="634" y="4"/>
                  <a:pt x="633" y="4"/>
                </a:cubicBezTo>
                <a:cubicBezTo>
                  <a:pt x="632" y="4"/>
                  <a:pt x="631" y="4"/>
                  <a:pt x="630" y="4"/>
                </a:cubicBezTo>
                <a:cubicBezTo>
                  <a:pt x="627" y="4"/>
                  <a:pt x="624" y="4"/>
                  <a:pt x="621" y="4"/>
                </a:cubicBezTo>
                <a:cubicBezTo>
                  <a:pt x="618" y="4"/>
                  <a:pt x="614" y="4"/>
                  <a:pt x="610" y="4"/>
                </a:cubicBezTo>
                <a:cubicBezTo>
                  <a:pt x="610" y="4"/>
                  <a:pt x="609" y="4"/>
                  <a:pt x="608" y="4"/>
                </a:cubicBezTo>
                <a:cubicBezTo>
                  <a:pt x="608" y="3"/>
                  <a:pt x="608" y="3"/>
                  <a:pt x="606" y="3"/>
                </a:cubicBezTo>
                <a:cubicBezTo>
                  <a:pt x="605" y="3"/>
                  <a:pt x="603" y="3"/>
                  <a:pt x="602" y="3"/>
                </a:cubicBezTo>
                <a:cubicBezTo>
                  <a:pt x="600" y="3"/>
                  <a:pt x="599" y="3"/>
                  <a:pt x="597" y="3"/>
                </a:cubicBezTo>
                <a:cubicBezTo>
                  <a:pt x="597" y="3"/>
                  <a:pt x="596" y="3"/>
                  <a:pt x="596" y="3"/>
                </a:cubicBezTo>
                <a:cubicBezTo>
                  <a:pt x="595" y="3"/>
                  <a:pt x="596" y="3"/>
                  <a:pt x="596" y="3"/>
                </a:cubicBezTo>
                <a:cubicBezTo>
                  <a:pt x="600" y="5"/>
                  <a:pt x="594" y="4"/>
                  <a:pt x="590" y="4"/>
                </a:cubicBezTo>
                <a:cubicBezTo>
                  <a:pt x="586" y="5"/>
                  <a:pt x="582" y="4"/>
                  <a:pt x="579" y="3"/>
                </a:cubicBezTo>
                <a:cubicBezTo>
                  <a:pt x="576" y="3"/>
                  <a:pt x="572" y="3"/>
                  <a:pt x="568" y="3"/>
                </a:cubicBezTo>
                <a:cubicBezTo>
                  <a:pt x="566" y="3"/>
                  <a:pt x="563" y="3"/>
                  <a:pt x="561" y="3"/>
                </a:cubicBezTo>
                <a:cubicBezTo>
                  <a:pt x="561" y="3"/>
                  <a:pt x="560" y="3"/>
                  <a:pt x="560" y="3"/>
                </a:cubicBezTo>
                <a:cubicBezTo>
                  <a:pt x="560" y="3"/>
                  <a:pt x="560" y="4"/>
                  <a:pt x="560" y="4"/>
                </a:cubicBezTo>
                <a:cubicBezTo>
                  <a:pt x="560" y="4"/>
                  <a:pt x="559" y="4"/>
                  <a:pt x="558" y="4"/>
                </a:cubicBezTo>
                <a:cubicBezTo>
                  <a:pt x="552" y="5"/>
                  <a:pt x="544" y="5"/>
                  <a:pt x="537" y="5"/>
                </a:cubicBezTo>
                <a:cubicBezTo>
                  <a:pt x="530" y="5"/>
                  <a:pt x="523" y="5"/>
                  <a:pt x="516" y="5"/>
                </a:cubicBezTo>
                <a:cubicBezTo>
                  <a:pt x="507" y="5"/>
                  <a:pt x="498" y="5"/>
                  <a:pt x="489" y="5"/>
                </a:cubicBezTo>
                <a:cubicBezTo>
                  <a:pt x="485" y="5"/>
                  <a:pt x="481" y="5"/>
                  <a:pt x="476" y="5"/>
                </a:cubicBezTo>
                <a:cubicBezTo>
                  <a:pt x="475" y="5"/>
                  <a:pt x="474" y="5"/>
                  <a:pt x="473" y="5"/>
                </a:cubicBezTo>
                <a:cubicBezTo>
                  <a:pt x="473" y="4"/>
                  <a:pt x="474" y="4"/>
                  <a:pt x="472" y="3"/>
                </a:cubicBezTo>
                <a:cubicBezTo>
                  <a:pt x="469" y="3"/>
                  <a:pt x="459" y="4"/>
                  <a:pt x="457" y="3"/>
                </a:cubicBezTo>
                <a:cubicBezTo>
                  <a:pt x="457" y="3"/>
                  <a:pt x="458" y="3"/>
                  <a:pt x="458" y="3"/>
                </a:cubicBezTo>
                <a:cubicBezTo>
                  <a:pt x="458" y="3"/>
                  <a:pt x="457" y="3"/>
                  <a:pt x="457" y="3"/>
                </a:cubicBezTo>
                <a:cubicBezTo>
                  <a:pt x="456" y="3"/>
                  <a:pt x="455" y="3"/>
                  <a:pt x="454" y="3"/>
                </a:cubicBezTo>
                <a:cubicBezTo>
                  <a:pt x="439" y="3"/>
                  <a:pt x="425" y="3"/>
                  <a:pt x="410" y="3"/>
                </a:cubicBezTo>
                <a:cubicBezTo>
                  <a:pt x="407" y="3"/>
                  <a:pt x="404" y="3"/>
                  <a:pt x="400" y="3"/>
                </a:cubicBezTo>
                <a:cubicBezTo>
                  <a:pt x="396" y="4"/>
                  <a:pt x="395" y="4"/>
                  <a:pt x="392" y="5"/>
                </a:cubicBezTo>
                <a:cubicBezTo>
                  <a:pt x="389" y="6"/>
                  <a:pt x="387" y="6"/>
                  <a:pt x="383" y="7"/>
                </a:cubicBezTo>
                <a:cubicBezTo>
                  <a:pt x="380" y="7"/>
                  <a:pt x="377" y="7"/>
                  <a:pt x="374" y="7"/>
                </a:cubicBezTo>
                <a:cubicBezTo>
                  <a:pt x="371" y="7"/>
                  <a:pt x="368" y="7"/>
                  <a:pt x="365" y="7"/>
                </a:cubicBezTo>
                <a:cubicBezTo>
                  <a:pt x="365" y="7"/>
                  <a:pt x="364" y="7"/>
                  <a:pt x="364" y="6"/>
                </a:cubicBezTo>
                <a:cubicBezTo>
                  <a:pt x="364" y="6"/>
                  <a:pt x="363" y="5"/>
                  <a:pt x="362" y="5"/>
                </a:cubicBezTo>
                <a:cubicBezTo>
                  <a:pt x="359" y="5"/>
                  <a:pt x="356" y="5"/>
                  <a:pt x="353" y="5"/>
                </a:cubicBezTo>
                <a:cubicBezTo>
                  <a:pt x="349" y="5"/>
                  <a:pt x="348" y="5"/>
                  <a:pt x="345" y="4"/>
                </a:cubicBezTo>
                <a:cubicBezTo>
                  <a:pt x="343" y="3"/>
                  <a:pt x="340" y="3"/>
                  <a:pt x="336" y="3"/>
                </a:cubicBezTo>
                <a:cubicBezTo>
                  <a:pt x="333" y="3"/>
                  <a:pt x="329" y="3"/>
                  <a:pt x="326" y="3"/>
                </a:cubicBezTo>
                <a:cubicBezTo>
                  <a:pt x="322" y="3"/>
                  <a:pt x="316" y="3"/>
                  <a:pt x="312" y="3"/>
                </a:cubicBezTo>
                <a:cubicBezTo>
                  <a:pt x="310" y="3"/>
                  <a:pt x="309" y="4"/>
                  <a:pt x="307" y="4"/>
                </a:cubicBezTo>
                <a:cubicBezTo>
                  <a:pt x="304" y="5"/>
                  <a:pt x="301" y="4"/>
                  <a:pt x="299" y="4"/>
                </a:cubicBezTo>
                <a:cubicBezTo>
                  <a:pt x="294" y="4"/>
                  <a:pt x="278" y="4"/>
                  <a:pt x="263" y="4"/>
                </a:cubicBezTo>
                <a:cubicBezTo>
                  <a:pt x="257" y="4"/>
                  <a:pt x="252" y="4"/>
                  <a:pt x="246" y="4"/>
                </a:cubicBezTo>
                <a:cubicBezTo>
                  <a:pt x="217" y="5"/>
                  <a:pt x="190" y="3"/>
                  <a:pt x="160" y="3"/>
                </a:cubicBezTo>
                <a:cubicBezTo>
                  <a:pt x="160" y="3"/>
                  <a:pt x="160" y="3"/>
                  <a:pt x="160" y="3"/>
                </a:cubicBezTo>
                <a:cubicBezTo>
                  <a:pt x="160" y="3"/>
                  <a:pt x="159" y="3"/>
                  <a:pt x="159" y="3"/>
                </a:cubicBezTo>
                <a:cubicBezTo>
                  <a:pt x="159" y="3"/>
                  <a:pt x="158" y="3"/>
                  <a:pt x="158" y="3"/>
                </a:cubicBezTo>
                <a:cubicBezTo>
                  <a:pt x="158" y="3"/>
                  <a:pt x="158" y="3"/>
                  <a:pt x="157" y="3"/>
                </a:cubicBezTo>
                <a:cubicBezTo>
                  <a:pt x="157" y="3"/>
                  <a:pt x="157" y="3"/>
                  <a:pt x="157" y="3"/>
                </a:cubicBezTo>
                <a:cubicBezTo>
                  <a:pt x="146" y="3"/>
                  <a:pt x="134" y="3"/>
                  <a:pt x="121" y="3"/>
                </a:cubicBezTo>
                <a:cubicBezTo>
                  <a:pt x="121" y="3"/>
                  <a:pt x="121" y="3"/>
                  <a:pt x="121" y="3"/>
                </a:cubicBezTo>
                <a:cubicBezTo>
                  <a:pt x="120" y="3"/>
                  <a:pt x="120" y="3"/>
                  <a:pt x="120" y="3"/>
                </a:cubicBezTo>
                <a:cubicBezTo>
                  <a:pt x="119" y="3"/>
                  <a:pt x="117" y="3"/>
                  <a:pt x="116" y="3"/>
                </a:cubicBezTo>
                <a:cubicBezTo>
                  <a:pt x="111" y="3"/>
                  <a:pt x="107" y="3"/>
                  <a:pt x="102" y="3"/>
                </a:cubicBezTo>
                <a:cubicBezTo>
                  <a:pt x="84" y="3"/>
                  <a:pt x="59" y="3"/>
                  <a:pt x="37" y="3"/>
                </a:cubicBezTo>
                <a:cubicBezTo>
                  <a:pt x="34" y="3"/>
                  <a:pt x="30" y="3"/>
                  <a:pt x="27" y="3"/>
                </a:cubicBezTo>
                <a:cubicBezTo>
                  <a:pt x="19" y="3"/>
                  <a:pt x="7" y="1"/>
                  <a:pt x="1" y="7"/>
                </a:cubicBezTo>
                <a:cubicBezTo>
                  <a:pt x="0" y="9"/>
                  <a:pt x="0" y="11"/>
                  <a:pt x="0" y="14"/>
                </a:cubicBezTo>
                <a:cubicBezTo>
                  <a:pt x="0" y="14"/>
                  <a:pt x="0" y="15"/>
                  <a:pt x="0" y="15"/>
                </a:cubicBezTo>
                <a:cubicBezTo>
                  <a:pt x="0" y="19"/>
                  <a:pt x="0" y="24"/>
                  <a:pt x="0" y="27"/>
                </a:cubicBezTo>
                <a:cubicBezTo>
                  <a:pt x="0" y="31"/>
                  <a:pt x="2" y="34"/>
                  <a:pt x="3" y="38"/>
                </a:cubicBezTo>
                <a:cubicBezTo>
                  <a:pt x="3" y="39"/>
                  <a:pt x="3" y="43"/>
                  <a:pt x="4" y="44"/>
                </a:cubicBezTo>
                <a:cubicBezTo>
                  <a:pt x="5" y="46"/>
                  <a:pt x="6" y="46"/>
                  <a:pt x="7" y="47"/>
                </a:cubicBezTo>
                <a:cubicBezTo>
                  <a:pt x="12" y="49"/>
                  <a:pt x="14" y="50"/>
                  <a:pt x="19" y="51"/>
                </a:cubicBezTo>
                <a:cubicBezTo>
                  <a:pt x="24" y="52"/>
                  <a:pt x="29" y="53"/>
                  <a:pt x="34" y="53"/>
                </a:cubicBezTo>
                <a:cubicBezTo>
                  <a:pt x="38" y="54"/>
                  <a:pt x="43" y="54"/>
                  <a:pt x="48" y="54"/>
                </a:cubicBezTo>
                <a:cubicBezTo>
                  <a:pt x="49" y="54"/>
                  <a:pt x="50" y="54"/>
                  <a:pt x="52" y="53"/>
                </a:cubicBezTo>
                <a:cubicBezTo>
                  <a:pt x="53" y="53"/>
                  <a:pt x="54" y="53"/>
                  <a:pt x="55" y="53"/>
                </a:cubicBezTo>
                <a:cubicBezTo>
                  <a:pt x="56" y="53"/>
                  <a:pt x="58" y="54"/>
                  <a:pt x="59" y="54"/>
                </a:cubicBezTo>
                <a:cubicBezTo>
                  <a:pt x="61" y="54"/>
                  <a:pt x="62" y="54"/>
                  <a:pt x="63" y="54"/>
                </a:cubicBezTo>
                <a:cubicBezTo>
                  <a:pt x="66" y="54"/>
                  <a:pt x="68" y="55"/>
                  <a:pt x="70" y="55"/>
                </a:cubicBezTo>
                <a:cubicBezTo>
                  <a:pt x="72" y="55"/>
                  <a:pt x="74" y="54"/>
                  <a:pt x="76" y="54"/>
                </a:cubicBezTo>
                <a:cubicBezTo>
                  <a:pt x="78" y="54"/>
                  <a:pt x="81" y="54"/>
                  <a:pt x="83" y="54"/>
                </a:cubicBezTo>
                <a:cubicBezTo>
                  <a:pt x="84" y="54"/>
                  <a:pt x="86" y="53"/>
                  <a:pt x="87" y="53"/>
                </a:cubicBezTo>
                <a:cubicBezTo>
                  <a:pt x="89" y="52"/>
                  <a:pt x="91" y="52"/>
                  <a:pt x="93" y="53"/>
                </a:cubicBezTo>
                <a:cubicBezTo>
                  <a:pt x="98" y="53"/>
                  <a:pt x="104" y="53"/>
                  <a:pt x="111" y="53"/>
                </a:cubicBezTo>
                <a:cubicBezTo>
                  <a:pt x="117" y="53"/>
                  <a:pt x="123" y="53"/>
                  <a:pt x="129" y="53"/>
                </a:cubicBezTo>
                <a:cubicBezTo>
                  <a:pt x="146" y="54"/>
                  <a:pt x="164" y="54"/>
                  <a:pt x="181" y="54"/>
                </a:cubicBezTo>
                <a:cubicBezTo>
                  <a:pt x="187" y="54"/>
                  <a:pt x="192" y="54"/>
                  <a:pt x="198" y="53"/>
                </a:cubicBezTo>
                <a:cubicBezTo>
                  <a:pt x="201" y="53"/>
                  <a:pt x="205" y="53"/>
                  <a:pt x="209" y="53"/>
                </a:cubicBezTo>
                <a:cubicBezTo>
                  <a:pt x="214" y="53"/>
                  <a:pt x="220" y="54"/>
                  <a:pt x="226" y="54"/>
                </a:cubicBezTo>
                <a:cubicBezTo>
                  <a:pt x="231" y="54"/>
                  <a:pt x="236" y="54"/>
                  <a:pt x="241" y="54"/>
                </a:cubicBezTo>
                <a:cubicBezTo>
                  <a:pt x="249" y="54"/>
                  <a:pt x="257" y="55"/>
                  <a:pt x="264" y="55"/>
                </a:cubicBezTo>
                <a:cubicBezTo>
                  <a:pt x="272" y="55"/>
                  <a:pt x="280" y="54"/>
                  <a:pt x="288" y="54"/>
                </a:cubicBezTo>
                <a:cubicBezTo>
                  <a:pt x="297" y="54"/>
                  <a:pt x="306" y="54"/>
                  <a:pt x="315" y="54"/>
                </a:cubicBezTo>
                <a:cubicBezTo>
                  <a:pt x="321" y="54"/>
                  <a:pt x="325" y="53"/>
                  <a:pt x="330" y="53"/>
                </a:cubicBezTo>
                <a:cubicBezTo>
                  <a:pt x="337" y="52"/>
                  <a:pt x="345" y="52"/>
                  <a:pt x="352" y="53"/>
                </a:cubicBezTo>
                <a:cubicBezTo>
                  <a:pt x="490" y="54"/>
                  <a:pt x="829" y="54"/>
                  <a:pt x="894" y="53"/>
                </a:cubicBezTo>
                <a:cubicBezTo>
                  <a:pt x="908" y="53"/>
                  <a:pt x="939" y="53"/>
                  <a:pt x="962" y="53"/>
                </a:cubicBezTo>
                <a:cubicBezTo>
                  <a:pt x="985" y="53"/>
                  <a:pt x="1020" y="53"/>
                  <a:pt x="1041" y="52"/>
                </a:cubicBezTo>
                <a:cubicBezTo>
                  <a:pt x="1151" y="52"/>
                  <a:pt x="1195" y="51"/>
                  <a:pt x="1306" y="51"/>
                </a:cubicBezTo>
                <a:cubicBezTo>
                  <a:pt x="1314" y="51"/>
                  <a:pt x="1323" y="51"/>
                  <a:pt x="1332" y="51"/>
                </a:cubicBezTo>
                <a:cubicBezTo>
                  <a:pt x="1339" y="51"/>
                  <a:pt x="1350" y="51"/>
                  <a:pt x="1356" y="51"/>
                </a:cubicBezTo>
                <a:cubicBezTo>
                  <a:pt x="1357" y="50"/>
                  <a:pt x="1357" y="50"/>
                  <a:pt x="1358" y="50"/>
                </a:cubicBezTo>
                <a:cubicBezTo>
                  <a:pt x="1361" y="50"/>
                  <a:pt x="1363" y="51"/>
                  <a:pt x="1366" y="51"/>
                </a:cubicBezTo>
                <a:cubicBezTo>
                  <a:pt x="1368" y="52"/>
                  <a:pt x="1371" y="52"/>
                  <a:pt x="1375" y="52"/>
                </a:cubicBezTo>
                <a:cubicBezTo>
                  <a:pt x="1376" y="52"/>
                  <a:pt x="1376" y="51"/>
                  <a:pt x="1377" y="51"/>
                </a:cubicBezTo>
                <a:cubicBezTo>
                  <a:pt x="1380" y="50"/>
                  <a:pt x="1385" y="50"/>
                  <a:pt x="1390" y="50"/>
                </a:cubicBezTo>
                <a:cubicBezTo>
                  <a:pt x="1396" y="50"/>
                  <a:pt x="1403" y="50"/>
                  <a:pt x="1410" y="50"/>
                </a:cubicBezTo>
                <a:cubicBezTo>
                  <a:pt x="1424" y="50"/>
                  <a:pt x="1439" y="50"/>
                  <a:pt x="1454" y="50"/>
                </a:cubicBezTo>
                <a:cubicBezTo>
                  <a:pt x="1468" y="50"/>
                  <a:pt x="1483" y="50"/>
                  <a:pt x="1497" y="50"/>
                </a:cubicBezTo>
                <a:cubicBezTo>
                  <a:pt x="1503" y="50"/>
                  <a:pt x="1509" y="50"/>
                  <a:pt x="1514" y="50"/>
                </a:cubicBezTo>
                <a:cubicBezTo>
                  <a:pt x="1520" y="50"/>
                  <a:pt x="1528" y="50"/>
                  <a:pt x="1533" y="51"/>
                </a:cubicBezTo>
                <a:cubicBezTo>
                  <a:pt x="1537" y="52"/>
                  <a:pt x="1541" y="53"/>
                  <a:pt x="1546" y="51"/>
                </a:cubicBezTo>
                <a:cubicBezTo>
                  <a:pt x="1547" y="51"/>
                  <a:pt x="1547" y="51"/>
                  <a:pt x="1548" y="51"/>
                </a:cubicBezTo>
                <a:cubicBezTo>
                  <a:pt x="1549" y="51"/>
                  <a:pt x="1550" y="51"/>
                  <a:pt x="1551" y="51"/>
                </a:cubicBezTo>
                <a:cubicBezTo>
                  <a:pt x="1565" y="50"/>
                  <a:pt x="1582" y="50"/>
                  <a:pt x="1596" y="50"/>
                </a:cubicBezTo>
                <a:cubicBezTo>
                  <a:pt x="1613" y="50"/>
                  <a:pt x="1629" y="50"/>
                  <a:pt x="1645" y="50"/>
                </a:cubicBezTo>
                <a:cubicBezTo>
                  <a:pt x="1678" y="50"/>
                  <a:pt x="1711" y="51"/>
                  <a:pt x="1744" y="51"/>
                </a:cubicBezTo>
                <a:cubicBezTo>
                  <a:pt x="1771" y="51"/>
                  <a:pt x="1799" y="51"/>
                  <a:pt x="1826" y="51"/>
                </a:cubicBezTo>
                <a:cubicBezTo>
                  <a:pt x="1891" y="51"/>
                  <a:pt x="1957" y="51"/>
                  <a:pt x="2022" y="51"/>
                </a:cubicBezTo>
                <a:cubicBezTo>
                  <a:pt x="2036" y="51"/>
                  <a:pt x="2051" y="51"/>
                  <a:pt x="2065" y="51"/>
                </a:cubicBezTo>
                <a:cubicBezTo>
                  <a:pt x="2072" y="51"/>
                  <a:pt x="2079" y="51"/>
                  <a:pt x="2087" y="51"/>
                </a:cubicBezTo>
                <a:cubicBezTo>
                  <a:pt x="2092" y="51"/>
                  <a:pt x="2098" y="52"/>
                  <a:pt x="2103" y="51"/>
                </a:cubicBezTo>
                <a:cubicBezTo>
                  <a:pt x="2108" y="50"/>
                  <a:pt x="2108" y="51"/>
                  <a:pt x="2112" y="51"/>
                </a:cubicBezTo>
                <a:cubicBezTo>
                  <a:pt x="2113" y="51"/>
                  <a:pt x="2122" y="52"/>
                  <a:pt x="2123" y="51"/>
                </a:cubicBezTo>
                <a:cubicBezTo>
                  <a:pt x="2124" y="51"/>
                  <a:pt x="2129" y="51"/>
                  <a:pt x="2130" y="51"/>
                </a:cubicBezTo>
                <a:cubicBezTo>
                  <a:pt x="2137" y="51"/>
                  <a:pt x="2143" y="51"/>
                  <a:pt x="2149" y="51"/>
                </a:cubicBezTo>
                <a:cubicBezTo>
                  <a:pt x="2163" y="51"/>
                  <a:pt x="2177" y="51"/>
                  <a:pt x="2191" y="51"/>
                </a:cubicBezTo>
                <a:cubicBezTo>
                  <a:pt x="2192" y="51"/>
                  <a:pt x="2193" y="51"/>
                  <a:pt x="2195" y="51"/>
                </a:cubicBezTo>
                <a:cubicBezTo>
                  <a:pt x="2196" y="51"/>
                  <a:pt x="2197" y="51"/>
                  <a:pt x="2198" y="50"/>
                </a:cubicBezTo>
                <a:cubicBezTo>
                  <a:pt x="2202" y="49"/>
                  <a:pt x="2210" y="49"/>
                  <a:pt x="2215" y="49"/>
                </a:cubicBezTo>
                <a:cubicBezTo>
                  <a:pt x="2217" y="49"/>
                  <a:pt x="2221" y="49"/>
                  <a:pt x="2221" y="49"/>
                </a:cubicBezTo>
                <a:cubicBezTo>
                  <a:pt x="2222" y="50"/>
                  <a:pt x="2216" y="51"/>
                  <a:pt x="2223" y="51"/>
                </a:cubicBezTo>
                <a:cubicBezTo>
                  <a:pt x="2225" y="51"/>
                  <a:pt x="2227" y="51"/>
                  <a:pt x="2229" y="50"/>
                </a:cubicBezTo>
                <a:cubicBezTo>
                  <a:pt x="2231" y="50"/>
                  <a:pt x="2234" y="50"/>
                  <a:pt x="2235" y="51"/>
                </a:cubicBezTo>
                <a:cubicBezTo>
                  <a:pt x="2235" y="51"/>
                  <a:pt x="2236" y="51"/>
                  <a:pt x="2237" y="51"/>
                </a:cubicBezTo>
                <a:cubicBezTo>
                  <a:pt x="2246" y="51"/>
                  <a:pt x="2254" y="51"/>
                  <a:pt x="2263" y="51"/>
                </a:cubicBezTo>
                <a:cubicBezTo>
                  <a:pt x="2270" y="51"/>
                  <a:pt x="2282" y="51"/>
                  <a:pt x="2289" y="50"/>
                </a:cubicBezTo>
                <a:cubicBezTo>
                  <a:pt x="2291" y="50"/>
                  <a:pt x="2292" y="50"/>
                  <a:pt x="2294" y="50"/>
                </a:cubicBezTo>
                <a:cubicBezTo>
                  <a:pt x="2297" y="49"/>
                  <a:pt x="2302" y="49"/>
                  <a:pt x="2305" y="49"/>
                </a:cubicBezTo>
                <a:cubicBezTo>
                  <a:pt x="2311" y="50"/>
                  <a:pt x="2317" y="50"/>
                  <a:pt x="2322" y="50"/>
                </a:cubicBezTo>
                <a:cubicBezTo>
                  <a:pt x="2328" y="51"/>
                  <a:pt x="2334" y="51"/>
                  <a:pt x="2339" y="50"/>
                </a:cubicBezTo>
                <a:cubicBezTo>
                  <a:pt x="2340" y="50"/>
                  <a:pt x="2341" y="50"/>
                  <a:pt x="2342" y="50"/>
                </a:cubicBezTo>
                <a:cubicBezTo>
                  <a:pt x="2342" y="50"/>
                  <a:pt x="2343" y="50"/>
                  <a:pt x="2344" y="50"/>
                </a:cubicBezTo>
                <a:cubicBezTo>
                  <a:pt x="2346" y="50"/>
                  <a:pt x="2348" y="50"/>
                  <a:pt x="2351" y="50"/>
                </a:cubicBezTo>
                <a:cubicBezTo>
                  <a:pt x="2352" y="51"/>
                  <a:pt x="2369" y="51"/>
                  <a:pt x="2372" y="51"/>
                </a:cubicBezTo>
                <a:cubicBezTo>
                  <a:pt x="2380" y="51"/>
                  <a:pt x="2389" y="51"/>
                  <a:pt x="2398" y="51"/>
                </a:cubicBezTo>
                <a:cubicBezTo>
                  <a:pt x="2420" y="51"/>
                  <a:pt x="2443" y="52"/>
                  <a:pt x="2465" y="52"/>
                </a:cubicBezTo>
                <a:cubicBezTo>
                  <a:pt x="2474" y="52"/>
                  <a:pt x="2483" y="51"/>
                  <a:pt x="2492" y="51"/>
                </a:cubicBezTo>
                <a:cubicBezTo>
                  <a:pt x="2496" y="51"/>
                  <a:pt x="2501" y="52"/>
                  <a:pt x="2506" y="51"/>
                </a:cubicBezTo>
                <a:cubicBezTo>
                  <a:pt x="2509" y="51"/>
                  <a:pt x="2512" y="51"/>
                  <a:pt x="2516" y="51"/>
                </a:cubicBezTo>
                <a:cubicBezTo>
                  <a:pt x="2520" y="51"/>
                  <a:pt x="2525" y="51"/>
                  <a:pt x="2529" y="51"/>
                </a:cubicBezTo>
                <a:cubicBezTo>
                  <a:pt x="2531" y="51"/>
                  <a:pt x="2533" y="51"/>
                  <a:pt x="2535" y="51"/>
                </a:cubicBezTo>
                <a:cubicBezTo>
                  <a:pt x="2537" y="51"/>
                  <a:pt x="2539" y="50"/>
                  <a:pt x="2542" y="50"/>
                </a:cubicBezTo>
                <a:cubicBezTo>
                  <a:pt x="2545" y="50"/>
                  <a:pt x="2548" y="51"/>
                  <a:pt x="2551" y="51"/>
                </a:cubicBezTo>
                <a:cubicBezTo>
                  <a:pt x="2560" y="52"/>
                  <a:pt x="2568" y="51"/>
                  <a:pt x="2578" y="52"/>
                </a:cubicBezTo>
                <a:cubicBezTo>
                  <a:pt x="2590" y="52"/>
                  <a:pt x="2603" y="52"/>
                  <a:pt x="2606" y="52"/>
                </a:cubicBezTo>
                <a:cubicBezTo>
                  <a:pt x="2609" y="52"/>
                  <a:pt x="2628" y="52"/>
                  <a:pt x="2649" y="52"/>
                </a:cubicBezTo>
                <a:cubicBezTo>
                  <a:pt x="2656" y="52"/>
                  <a:pt x="2663" y="52"/>
                  <a:pt x="2671" y="52"/>
                </a:cubicBezTo>
                <a:cubicBezTo>
                  <a:pt x="2674" y="52"/>
                  <a:pt x="2677" y="52"/>
                  <a:pt x="2680" y="52"/>
                </a:cubicBezTo>
                <a:cubicBezTo>
                  <a:pt x="2683" y="52"/>
                  <a:pt x="2686" y="52"/>
                  <a:pt x="2688" y="52"/>
                </a:cubicBezTo>
                <a:cubicBezTo>
                  <a:pt x="2689" y="51"/>
                  <a:pt x="2690" y="51"/>
                  <a:pt x="2691" y="51"/>
                </a:cubicBezTo>
                <a:cubicBezTo>
                  <a:pt x="2692" y="51"/>
                  <a:pt x="2692" y="51"/>
                  <a:pt x="2692" y="52"/>
                </a:cubicBezTo>
                <a:cubicBezTo>
                  <a:pt x="2694" y="52"/>
                  <a:pt x="2699" y="52"/>
                  <a:pt x="2702" y="51"/>
                </a:cubicBezTo>
                <a:cubicBezTo>
                  <a:pt x="2708" y="51"/>
                  <a:pt x="2714" y="52"/>
                  <a:pt x="2720" y="52"/>
                </a:cubicBezTo>
                <a:cubicBezTo>
                  <a:pt x="2743" y="52"/>
                  <a:pt x="2754" y="52"/>
                  <a:pt x="2770" y="53"/>
                </a:cubicBezTo>
                <a:cubicBezTo>
                  <a:pt x="2783" y="54"/>
                  <a:pt x="2834" y="54"/>
                  <a:pt x="2863" y="53"/>
                </a:cubicBezTo>
                <a:cubicBezTo>
                  <a:pt x="2871" y="53"/>
                  <a:pt x="2885" y="53"/>
                  <a:pt x="2891" y="52"/>
                </a:cubicBezTo>
                <a:cubicBezTo>
                  <a:pt x="2893" y="51"/>
                  <a:pt x="2895" y="51"/>
                  <a:pt x="2897" y="51"/>
                </a:cubicBezTo>
                <a:cubicBezTo>
                  <a:pt x="2899" y="52"/>
                  <a:pt x="2898" y="52"/>
                  <a:pt x="2902" y="53"/>
                </a:cubicBezTo>
                <a:cubicBezTo>
                  <a:pt x="2903" y="53"/>
                  <a:pt x="2910" y="53"/>
                  <a:pt x="2912" y="53"/>
                </a:cubicBezTo>
                <a:cubicBezTo>
                  <a:pt x="2916" y="53"/>
                  <a:pt x="2926" y="53"/>
                  <a:pt x="2927" y="52"/>
                </a:cubicBezTo>
                <a:cubicBezTo>
                  <a:pt x="2928" y="52"/>
                  <a:pt x="2928" y="51"/>
                  <a:pt x="2930" y="51"/>
                </a:cubicBezTo>
                <a:cubicBezTo>
                  <a:pt x="2931" y="51"/>
                  <a:pt x="2932" y="51"/>
                  <a:pt x="2932" y="51"/>
                </a:cubicBezTo>
                <a:cubicBezTo>
                  <a:pt x="2935" y="51"/>
                  <a:pt x="2938" y="51"/>
                  <a:pt x="2942" y="51"/>
                </a:cubicBezTo>
                <a:cubicBezTo>
                  <a:pt x="2943" y="51"/>
                  <a:pt x="2943" y="51"/>
                  <a:pt x="2942" y="52"/>
                </a:cubicBezTo>
                <a:cubicBezTo>
                  <a:pt x="2941" y="52"/>
                  <a:pt x="2939" y="52"/>
                  <a:pt x="2940" y="52"/>
                </a:cubicBezTo>
                <a:cubicBezTo>
                  <a:pt x="2940" y="53"/>
                  <a:pt x="2942" y="53"/>
                  <a:pt x="2944" y="53"/>
                </a:cubicBezTo>
                <a:cubicBezTo>
                  <a:pt x="2945" y="53"/>
                  <a:pt x="2947" y="53"/>
                  <a:pt x="2948" y="52"/>
                </a:cubicBezTo>
                <a:cubicBezTo>
                  <a:pt x="2952" y="52"/>
                  <a:pt x="2957" y="51"/>
                  <a:pt x="2961" y="51"/>
                </a:cubicBezTo>
                <a:cubicBezTo>
                  <a:pt x="2965" y="51"/>
                  <a:pt x="2969" y="51"/>
                  <a:pt x="2974" y="51"/>
                </a:cubicBezTo>
                <a:cubicBezTo>
                  <a:pt x="2978" y="51"/>
                  <a:pt x="2983" y="50"/>
                  <a:pt x="2985" y="52"/>
                </a:cubicBezTo>
                <a:cubicBezTo>
                  <a:pt x="2988" y="53"/>
                  <a:pt x="2986" y="53"/>
                  <a:pt x="2991" y="53"/>
                </a:cubicBezTo>
                <a:cubicBezTo>
                  <a:pt x="2994" y="53"/>
                  <a:pt x="2994" y="52"/>
                  <a:pt x="2997" y="52"/>
                </a:cubicBezTo>
                <a:cubicBezTo>
                  <a:pt x="3004" y="53"/>
                  <a:pt x="3011" y="53"/>
                  <a:pt x="3019" y="53"/>
                </a:cubicBezTo>
                <a:cubicBezTo>
                  <a:pt x="3026" y="53"/>
                  <a:pt x="3037" y="54"/>
                  <a:pt x="3043" y="52"/>
                </a:cubicBezTo>
                <a:cubicBezTo>
                  <a:pt x="3045" y="52"/>
                  <a:pt x="3046" y="52"/>
                  <a:pt x="3047" y="51"/>
                </a:cubicBezTo>
                <a:cubicBezTo>
                  <a:pt x="3051" y="50"/>
                  <a:pt x="3063" y="50"/>
                  <a:pt x="3066" y="52"/>
                </a:cubicBezTo>
                <a:cubicBezTo>
                  <a:pt x="3066" y="52"/>
                  <a:pt x="3066" y="52"/>
                  <a:pt x="3067" y="52"/>
                </a:cubicBezTo>
                <a:cubicBezTo>
                  <a:pt x="3067" y="53"/>
                  <a:pt x="3070" y="53"/>
                  <a:pt x="3074" y="54"/>
                </a:cubicBezTo>
                <a:cubicBezTo>
                  <a:pt x="3075" y="54"/>
                  <a:pt x="3076" y="54"/>
                  <a:pt x="3076" y="53"/>
                </a:cubicBezTo>
                <a:cubicBezTo>
                  <a:pt x="3077" y="53"/>
                  <a:pt x="3079" y="52"/>
                  <a:pt x="3081" y="53"/>
                </a:cubicBezTo>
                <a:cubicBezTo>
                  <a:pt x="3081" y="53"/>
                  <a:pt x="3083" y="53"/>
                  <a:pt x="3085" y="53"/>
                </a:cubicBezTo>
                <a:cubicBezTo>
                  <a:pt x="3085" y="54"/>
                  <a:pt x="3086" y="54"/>
                  <a:pt x="3087" y="54"/>
                </a:cubicBezTo>
                <a:cubicBezTo>
                  <a:pt x="3118" y="54"/>
                  <a:pt x="3149" y="53"/>
                  <a:pt x="3180" y="54"/>
                </a:cubicBezTo>
                <a:cubicBezTo>
                  <a:pt x="3183" y="54"/>
                  <a:pt x="3191" y="54"/>
                  <a:pt x="3198" y="54"/>
                </a:cubicBezTo>
                <a:cubicBezTo>
                  <a:pt x="3205" y="54"/>
                  <a:pt x="3217" y="54"/>
                  <a:pt x="3225" y="55"/>
                </a:cubicBezTo>
                <a:cubicBezTo>
                  <a:pt x="3233" y="55"/>
                  <a:pt x="3247" y="55"/>
                  <a:pt x="3256" y="55"/>
                </a:cubicBezTo>
                <a:cubicBezTo>
                  <a:pt x="3262" y="56"/>
                  <a:pt x="3268" y="56"/>
                  <a:pt x="3274" y="56"/>
                </a:cubicBezTo>
                <a:cubicBezTo>
                  <a:pt x="3279" y="56"/>
                  <a:pt x="3284" y="57"/>
                  <a:pt x="3289" y="56"/>
                </a:cubicBezTo>
                <a:cubicBezTo>
                  <a:pt x="3295" y="56"/>
                  <a:pt x="3298" y="55"/>
                  <a:pt x="3305" y="55"/>
                </a:cubicBezTo>
                <a:cubicBezTo>
                  <a:pt x="3313" y="55"/>
                  <a:pt x="3322" y="55"/>
                  <a:pt x="3330" y="55"/>
                </a:cubicBezTo>
                <a:cubicBezTo>
                  <a:pt x="3342" y="55"/>
                  <a:pt x="3354" y="55"/>
                  <a:pt x="3367" y="55"/>
                </a:cubicBezTo>
                <a:cubicBezTo>
                  <a:pt x="3378" y="55"/>
                  <a:pt x="3390" y="55"/>
                  <a:pt x="3401" y="55"/>
                </a:cubicBezTo>
                <a:cubicBezTo>
                  <a:pt x="3401" y="54"/>
                  <a:pt x="3403" y="54"/>
                  <a:pt x="3405" y="53"/>
                </a:cubicBezTo>
                <a:cubicBezTo>
                  <a:pt x="3407" y="53"/>
                  <a:pt x="3409" y="53"/>
                  <a:pt x="3411" y="53"/>
                </a:cubicBezTo>
                <a:cubicBezTo>
                  <a:pt x="3411" y="55"/>
                  <a:pt x="3424" y="54"/>
                  <a:pt x="3428" y="54"/>
                </a:cubicBezTo>
                <a:cubicBezTo>
                  <a:pt x="3432" y="54"/>
                  <a:pt x="3440" y="54"/>
                  <a:pt x="3443" y="54"/>
                </a:cubicBezTo>
                <a:cubicBezTo>
                  <a:pt x="3445" y="54"/>
                  <a:pt x="3449" y="52"/>
                  <a:pt x="3451" y="53"/>
                </a:cubicBezTo>
                <a:cubicBezTo>
                  <a:pt x="3449" y="53"/>
                  <a:pt x="3450" y="54"/>
                  <a:pt x="3452" y="54"/>
                </a:cubicBezTo>
                <a:cubicBezTo>
                  <a:pt x="3453" y="54"/>
                  <a:pt x="3455" y="54"/>
                  <a:pt x="3457" y="54"/>
                </a:cubicBezTo>
                <a:cubicBezTo>
                  <a:pt x="3461" y="54"/>
                  <a:pt x="3468" y="54"/>
                  <a:pt x="3472" y="55"/>
                </a:cubicBezTo>
                <a:cubicBezTo>
                  <a:pt x="3475" y="55"/>
                  <a:pt x="3474" y="58"/>
                  <a:pt x="3481" y="57"/>
                </a:cubicBezTo>
                <a:cubicBezTo>
                  <a:pt x="3483" y="56"/>
                  <a:pt x="3484" y="56"/>
                  <a:pt x="3486" y="55"/>
                </a:cubicBezTo>
                <a:cubicBezTo>
                  <a:pt x="3490" y="54"/>
                  <a:pt x="3497" y="54"/>
                  <a:pt x="3503" y="54"/>
                </a:cubicBezTo>
                <a:cubicBezTo>
                  <a:pt x="3512" y="54"/>
                  <a:pt x="3522" y="54"/>
                  <a:pt x="3531" y="54"/>
                </a:cubicBezTo>
                <a:cubicBezTo>
                  <a:pt x="3549" y="54"/>
                  <a:pt x="3567" y="54"/>
                  <a:pt x="3585" y="54"/>
                </a:cubicBezTo>
                <a:cubicBezTo>
                  <a:pt x="3638" y="54"/>
                  <a:pt x="3690" y="55"/>
                  <a:pt x="3701" y="55"/>
                </a:cubicBezTo>
                <a:cubicBezTo>
                  <a:pt x="3712" y="55"/>
                  <a:pt x="3754" y="54"/>
                  <a:pt x="3795" y="54"/>
                </a:cubicBezTo>
                <a:cubicBezTo>
                  <a:pt x="3835" y="54"/>
                  <a:pt x="3903" y="54"/>
                  <a:pt x="3945" y="54"/>
                </a:cubicBezTo>
                <a:cubicBezTo>
                  <a:pt x="3986" y="54"/>
                  <a:pt x="4095" y="54"/>
                  <a:pt x="4186" y="55"/>
                </a:cubicBezTo>
                <a:cubicBezTo>
                  <a:pt x="4215" y="55"/>
                  <a:pt x="4243" y="55"/>
                  <a:pt x="4272" y="55"/>
                </a:cubicBezTo>
                <a:cubicBezTo>
                  <a:pt x="4286" y="55"/>
                  <a:pt x="4300" y="55"/>
                  <a:pt x="4315" y="55"/>
                </a:cubicBezTo>
                <a:cubicBezTo>
                  <a:pt x="4327" y="55"/>
                  <a:pt x="4343" y="55"/>
                  <a:pt x="4355" y="54"/>
                </a:cubicBezTo>
                <a:cubicBezTo>
                  <a:pt x="4356" y="54"/>
                  <a:pt x="4356" y="54"/>
                  <a:pt x="4357" y="54"/>
                </a:cubicBezTo>
                <a:cubicBezTo>
                  <a:pt x="4362" y="54"/>
                  <a:pt x="4367" y="55"/>
                  <a:pt x="4372" y="54"/>
                </a:cubicBezTo>
                <a:cubicBezTo>
                  <a:pt x="4379" y="54"/>
                  <a:pt x="4387" y="54"/>
                  <a:pt x="4394" y="54"/>
                </a:cubicBezTo>
                <a:cubicBezTo>
                  <a:pt x="4409" y="54"/>
                  <a:pt x="4423" y="54"/>
                  <a:pt x="4438" y="54"/>
                </a:cubicBezTo>
                <a:cubicBezTo>
                  <a:pt x="4451" y="54"/>
                  <a:pt x="4464" y="54"/>
                  <a:pt x="4477" y="54"/>
                </a:cubicBezTo>
                <a:cubicBezTo>
                  <a:pt x="4484" y="54"/>
                  <a:pt x="4490" y="54"/>
                  <a:pt x="4497" y="54"/>
                </a:cubicBezTo>
                <a:cubicBezTo>
                  <a:pt x="4502" y="54"/>
                  <a:pt x="4509" y="54"/>
                  <a:pt x="4514" y="54"/>
                </a:cubicBezTo>
                <a:cubicBezTo>
                  <a:pt x="4515" y="54"/>
                  <a:pt x="4518" y="54"/>
                  <a:pt x="4520" y="54"/>
                </a:cubicBezTo>
                <a:cubicBezTo>
                  <a:pt x="4524" y="54"/>
                  <a:pt x="4528" y="54"/>
                  <a:pt x="4532" y="54"/>
                </a:cubicBezTo>
                <a:cubicBezTo>
                  <a:pt x="4537" y="54"/>
                  <a:pt x="4542" y="54"/>
                  <a:pt x="4547" y="54"/>
                </a:cubicBezTo>
                <a:cubicBezTo>
                  <a:pt x="4563" y="54"/>
                  <a:pt x="4602" y="54"/>
                  <a:pt x="4635" y="54"/>
                </a:cubicBezTo>
                <a:cubicBezTo>
                  <a:pt x="4645" y="54"/>
                  <a:pt x="4654" y="54"/>
                  <a:pt x="4664" y="54"/>
                </a:cubicBezTo>
                <a:cubicBezTo>
                  <a:pt x="4672" y="54"/>
                  <a:pt x="4683" y="53"/>
                  <a:pt x="4691" y="54"/>
                </a:cubicBezTo>
                <a:cubicBezTo>
                  <a:pt x="4691" y="54"/>
                  <a:pt x="4692" y="54"/>
                  <a:pt x="4692" y="54"/>
                </a:cubicBezTo>
                <a:cubicBezTo>
                  <a:pt x="4692" y="54"/>
                  <a:pt x="4692" y="54"/>
                  <a:pt x="4692" y="55"/>
                </a:cubicBezTo>
                <a:cubicBezTo>
                  <a:pt x="4693" y="55"/>
                  <a:pt x="4695" y="56"/>
                  <a:pt x="4697" y="56"/>
                </a:cubicBezTo>
                <a:cubicBezTo>
                  <a:pt x="4700" y="56"/>
                  <a:pt x="4702" y="56"/>
                  <a:pt x="4704" y="56"/>
                </a:cubicBezTo>
                <a:cubicBezTo>
                  <a:pt x="4710" y="55"/>
                  <a:pt x="4715" y="55"/>
                  <a:pt x="4720" y="55"/>
                </a:cubicBezTo>
                <a:cubicBezTo>
                  <a:pt x="4723" y="55"/>
                  <a:pt x="4725" y="55"/>
                  <a:pt x="4727" y="55"/>
                </a:cubicBezTo>
                <a:cubicBezTo>
                  <a:pt x="4729" y="55"/>
                  <a:pt x="4730" y="54"/>
                  <a:pt x="4731" y="54"/>
                </a:cubicBezTo>
                <a:cubicBezTo>
                  <a:pt x="4733" y="54"/>
                  <a:pt x="4734" y="55"/>
                  <a:pt x="4736" y="54"/>
                </a:cubicBezTo>
                <a:cubicBezTo>
                  <a:pt x="4736" y="54"/>
                  <a:pt x="4737" y="54"/>
                  <a:pt x="4737" y="54"/>
                </a:cubicBezTo>
                <a:cubicBezTo>
                  <a:pt x="4741" y="53"/>
                  <a:pt x="4750" y="54"/>
                  <a:pt x="4754" y="54"/>
                </a:cubicBezTo>
                <a:cubicBezTo>
                  <a:pt x="4759" y="54"/>
                  <a:pt x="4762" y="55"/>
                  <a:pt x="4769" y="54"/>
                </a:cubicBezTo>
                <a:cubicBezTo>
                  <a:pt x="4771" y="55"/>
                  <a:pt x="4782" y="54"/>
                  <a:pt x="4785" y="54"/>
                </a:cubicBezTo>
                <a:cubicBezTo>
                  <a:pt x="4791" y="54"/>
                  <a:pt x="4798" y="54"/>
                  <a:pt x="4804" y="54"/>
                </a:cubicBezTo>
                <a:cubicBezTo>
                  <a:pt x="4812" y="54"/>
                  <a:pt x="4819" y="54"/>
                  <a:pt x="4827" y="54"/>
                </a:cubicBezTo>
                <a:cubicBezTo>
                  <a:pt x="4831" y="54"/>
                  <a:pt x="4840" y="54"/>
                  <a:pt x="4843" y="55"/>
                </a:cubicBezTo>
                <a:cubicBezTo>
                  <a:pt x="4844" y="55"/>
                  <a:pt x="4844" y="55"/>
                  <a:pt x="4845" y="55"/>
                </a:cubicBezTo>
                <a:cubicBezTo>
                  <a:pt x="4847" y="56"/>
                  <a:pt x="4849" y="56"/>
                  <a:pt x="4851" y="56"/>
                </a:cubicBezTo>
                <a:cubicBezTo>
                  <a:pt x="4853" y="56"/>
                  <a:pt x="4855" y="55"/>
                  <a:pt x="4856" y="55"/>
                </a:cubicBezTo>
                <a:cubicBezTo>
                  <a:pt x="4863" y="54"/>
                  <a:pt x="4870" y="54"/>
                  <a:pt x="4877" y="54"/>
                </a:cubicBezTo>
                <a:cubicBezTo>
                  <a:pt x="4880" y="54"/>
                  <a:pt x="4883" y="54"/>
                  <a:pt x="4885" y="53"/>
                </a:cubicBezTo>
                <a:cubicBezTo>
                  <a:pt x="4895" y="54"/>
                  <a:pt x="4904" y="55"/>
                  <a:pt x="4914" y="55"/>
                </a:cubicBezTo>
                <a:cubicBezTo>
                  <a:pt x="4919" y="56"/>
                  <a:pt x="4924" y="56"/>
                  <a:pt x="4929" y="56"/>
                </a:cubicBezTo>
                <a:cubicBezTo>
                  <a:pt x="4932" y="57"/>
                  <a:pt x="4936" y="57"/>
                  <a:pt x="4940" y="57"/>
                </a:cubicBezTo>
                <a:cubicBezTo>
                  <a:pt x="4943" y="57"/>
                  <a:pt x="4945" y="56"/>
                  <a:pt x="4948" y="56"/>
                </a:cubicBezTo>
                <a:cubicBezTo>
                  <a:pt x="4950" y="55"/>
                  <a:pt x="4954" y="55"/>
                  <a:pt x="4958" y="55"/>
                </a:cubicBezTo>
                <a:cubicBezTo>
                  <a:pt x="4963" y="55"/>
                  <a:pt x="4962" y="56"/>
                  <a:pt x="4966" y="57"/>
                </a:cubicBezTo>
                <a:cubicBezTo>
                  <a:pt x="4969" y="57"/>
                  <a:pt x="4973" y="55"/>
                  <a:pt x="4977" y="56"/>
                </a:cubicBezTo>
                <a:cubicBezTo>
                  <a:pt x="4977" y="56"/>
                  <a:pt x="4978" y="56"/>
                  <a:pt x="4979" y="56"/>
                </a:cubicBezTo>
                <a:cubicBezTo>
                  <a:pt x="4981" y="56"/>
                  <a:pt x="4982" y="57"/>
                  <a:pt x="4984" y="57"/>
                </a:cubicBezTo>
                <a:cubicBezTo>
                  <a:pt x="4985" y="57"/>
                  <a:pt x="4985" y="57"/>
                  <a:pt x="4986" y="57"/>
                </a:cubicBezTo>
                <a:cubicBezTo>
                  <a:pt x="4987" y="58"/>
                  <a:pt x="4987" y="58"/>
                  <a:pt x="4988" y="58"/>
                </a:cubicBezTo>
                <a:cubicBezTo>
                  <a:pt x="4990" y="58"/>
                  <a:pt x="4992" y="58"/>
                  <a:pt x="4994" y="58"/>
                </a:cubicBezTo>
                <a:cubicBezTo>
                  <a:pt x="4997" y="58"/>
                  <a:pt x="5001" y="57"/>
                  <a:pt x="5005" y="57"/>
                </a:cubicBezTo>
                <a:cubicBezTo>
                  <a:pt x="5009" y="57"/>
                  <a:pt x="5014" y="57"/>
                  <a:pt x="5018" y="57"/>
                </a:cubicBezTo>
                <a:cubicBezTo>
                  <a:pt x="5027" y="57"/>
                  <a:pt x="5040" y="58"/>
                  <a:pt x="5048" y="57"/>
                </a:cubicBezTo>
                <a:cubicBezTo>
                  <a:pt x="5054" y="56"/>
                  <a:pt x="5049" y="55"/>
                  <a:pt x="5049" y="54"/>
                </a:cubicBezTo>
                <a:cubicBezTo>
                  <a:pt x="5049" y="53"/>
                  <a:pt x="5051" y="53"/>
                  <a:pt x="5052" y="53"/>
                </a:cubicBezTo>
                <a:cubicBezTo>
                  <a:pt x="5054" y="53"/>
                  <a:pt x="5057" y="54"/>
                  <a:pt x="5059" y="54"/>
                </a:cubicBezTo>
                <a:cubicBezTo>
                  <a:pt x="5062" y="54"/>
                  <a:pt x="5065" y="54"/>
                  <a:pt x="5068" y="54"/>
                </a:cubicBezTo>
                <a:cubicBezTo>
                  <a:pt x="5076" y="54"/>
                  <a:pt x="5084" y="54"/>
                  <a:pt x="5092" y="54"/>
                </a:cubicBezTo>
                <a:cubicBezTo>
                  <a:pt x="5097" y="54"/>
                  <a:pt x="5113" y="56"/>
                  <a:pt x="5116" y="54"/>
                </a:cubicBezTo>
                <a:cubicBezTo>
                  <a:pt x="5116" y="54"/>
                  <a:pt x="5116" y="53"/>
                  <a:pt x="5116" y="53"/>
                </a:cubicBezTo>
                <a:cubicBezTo>
                  <a:pt x="5118" y="52"/>
                  <a:pt x="5128" y="53"/>
                  <a:pt x="5130" y="53"/>
                </a:cubicBezTo>
                <a:cubicBezTo>
                  <a:pt x="5165" y="55"/>
                  <a:pt x="5190" y="55"/>
                  <a:pt x="5228" y="55"/>
                </a:cubicBezTo>
                <a:cubicBezTo>
                  <a:pt x="5237" y="55"/>
                  <a:pt x="5247" y="54"/>
                  <a:pt x="5255" y="54"/>
                </a:cubicBezTo>
                <a:cubicBezTo>
                  <a:pt x="5259" y="54"/>
                  <a:pt x="5260" y="55"/>
                  <a:pt x="5263" y="55"/>
                </a:cubicBezTo>
                <a:cubicBezTo>
                  <a:pt x="5266" y="56"/>
                  <a:pt x="5270" y="56"/>
                  <a:pt x="5274" y="56"/>
                </a:cubicBezTo>
                <a:cubicBezTo>
                  <a:pt x="5279" y="56"/>
                  <a:pt x="5284" y="55"/>
                  <a:pt x="5289" y="56"/>
                </a:cubicBezTo>
                <a:cubicBezTo>
                  <a:pt x="5292" y="56"/>
                  <a:pt x="5294" y="57"/>
                  <a:pt x="5298" y="57"/>
                </a:cubicBezTo>
                <a:cubicBezTo>
                  <a:pt x="5302" y="58"/>
                  <a:pt x="5306" y="57"/>
                  <a:pt x="5309" y="56"/>
                </a:cubicBezTo>
                <a:cubicBezTo>
                  <a:pt x="5314" y="54"/>
                  <a:pt x="5316" y="54"/>
                  <a:pt x="5322" y="55"/>
                </a:cubicBezTo>
                <a:cubicBezTo>
                  <a:pt x="5329" y="55"/>
                  <a:pt x="5337" y="54"/>
                  <a:pt x="5343" y="54"/>
                </a:cubicBezTo>
                <a:cubicBezTo>
                  <a:pt x="5363" y="54"/>
                  <a:pt x="5382" y="54"/>
                  <a:pt x="5386" y="54"/>
                </a:cubicBezTo>
                <a:cubicBezTo>
                  <a:pt x="5389" y="54"/>
                  <a:pt x="5393" y="54"/>
                  <a:pt x="5396" y="54"/>
                </a:cubicBezTo>
                <a:cubicBezTo>
                  <a:pt x="5399" y="54"/>
                  <a:pt x="5401" y="55"/>
                  <a:pt x="5403" y="56"/>
                </a:cubicBezTo>
                <a:cubicBezTo>
                  <a:pt x="5405" y="56"/>
                  <a:pt x="5409" y="56"/>
                  <a:pt x="5412" y="57"/>
                </a:cubicBezTo>
                <a:cubicBezTo>
                  <a:pt x="5417" y="57"/>
                  <a:pt x="5423" y="57"/>
                  <a:pt x="5429" y="57"/>
                </a:cubicBezTo>
                <a:cubicBezTo>
                  <a:pt x="5431" y="57"/>
                  <a:pt x="5432" y="57"/>
                  <a:pt x="5434" y="57"/>
                </a:cubicBezTo>
                <a:cubicBezTo>
                  <a:pt x="5436" y="57"/>
                  <a:pt x="5437" y="56"/>
                  <a:pt x="5439" y="56"/>
                </a:cubicBezTo>
                <a:cubicBezTo>
                  <a:pt x="5447" y="54"/>
                  <a:pt x="5460" y="54"/>
                  <a:pt x="5471" y="55"/>
                </a:cubicBezTo>
                <a:cubicBezTo>
                  <a:pt x="5477" y="56"/>
                  <a:pt x="5485" y="56"/>
                  <a:pt x="5492" y="56"/>
                </a:cubicBezTo>
                <a:cubicBezTo>
                  <a:pt x="5494" y="56"/>
                  <a:pt x="5497" y="55"/>
                  <a:pt x="5499" y="55"/>
                </a:cubicBezTo>
                <a:cubicBezTo>
                  <a:pt x="5500" y="55"/>
                  <a:pt x="5501" y="54"/>
                  <a:pt x="5502" y="54"/>
                </a:cubicBezTo>
                <a:cubicBezTo>
                  <a:pt x="5505" y="53"/>
                  <a:pt x="5510" y="53"/>
                  <a:pt x="5515" y="53"/>
                </a:cubicBezTo>
                <a:cubicBezTo>
                  <a:pt x="5519" y="53"/>
                  <a:pt x="5523" y="54"/>
                  <a:pt x="5528" y="54"/>
                </a:cubicBezTo>
                <a:cubicBezTo>
                  <a:pt x="5535" y="54"/>
                  <a:pt x="5542" y="54"/>
                  <a:pt x="5549" y="54"/>
                </a:cubicBezTo>
                <a:cubicBezTo>
                  <a:pt x="5557" y="53"/>
                  <a:pt x="5565" y="53"/>
                  <a:pt x="5573" y="53"/>
                </a:cubicBezTo>
                <a:cubicBezTo>
                  <a:pt x="5598" y="53"/>
                  <a:pt x="5625" y="52"/>
                  <a:pt x="5633" y="52"/>
                </a:cubicBezTo>
                <a:cubicBezTo>
                  <a:pt x="5639" y="52"/>
                  <a:pt x="5648" y="53"/>
                  <a:pt x="5653" y="52"/>
                </a:cubicBezTo>
                <a:cubicBezTo>
                  <a:pt x="5654" y="52"/>
                  <a:pt x="5655" y="51"/>
                  <a:pt x="5655" y="51"/>
                </a:cubicBezTo>
                <a:cubicBezTo>
                  <a:pt x="5661" y="51"/>
                  <a:pt x="5667" y="52"/>
                  <a:pt x="5672" y="52"/>
                </a:cubicBezTo>
                <a:cubicBezTo>
                  <a:pt x="5677" y="53"/>
                  <a:pt x="5682" y="53"/>
                  <a:pt x="5687" y="53"/>
                </a:cubicBezTo>
                <a:cubicBezTo>
                  <a:pt x="5701" y="53"/>
                  <a:pt x="5715" y="53"/>
                  <a:pt x="5729" y="52"/>
                </a:cubicBezTo>
                <a:cubicBezTo>
                  <a:pt x="5740" y="52"/>
                  <a:pt x="5752" y="53"/>
                  <a:pt x="5763" y="53"/>
                </a:cubicBezTo>
                <a:cubicBezTo>
                  <a:pt x="5772" y="53"/>
                  <a:pt x="5788" y="54"/>
                  <a:pt x="5796" y="53"/>
                </a:cubicBezTo>
                <a:cubicBezTo>
                  <a:pt x="5797" y="52"/>
                  <a:pt x="5799" y="52"/>
                  <a:pt x="5801" y="52"/>
                </a:cubicBezTo>
                <a:cubicBezTo>
                  <a:pt x="5801" y="52"/>
                  <a:pt x="5802" y="52"/>
                  <a:pt x="5803" y="52"/>
                </a:cubicBezTo>
                <a:cubicBezTo>
                  <a:pt x="5808" y="52"/>
                  <a:pt x="5811" y="52"/>
                  <a:pt x="5815" y="53"/>
                </a:cubicBezTo>
                <a:cubicBezTo>
                  <a:pt x="5819" y="53"/>
                  <a:pt x="5823" y="53"/>
                  <a:pt x="5828" y="54"/>
                </a:cubicBezTo>
                <a:cubicBezTo>
                  <a:pt x="5837" y="54"/>
                  <a:pt x="5846" y="53"/>
                  <a:pt x="5855" y="53"/>
                </a:cubicBezTo>
                <a:cubicBezTo>
                  <a:pt x="5863" y="53"/>
                  <a:pt x="5870" y="53"/>
                  <a:pt x="5878" y="53"/>
                </a:cubicBezTo>
                <a:cubicBezTo>
                  <a:pt x="5881" y="53"/>
                  <a:pt x="5884" y="53"/>
                  <a:pt x="5887" y="52"/>
                </a:cubicBezTo>
                <a:cubicBezTo>
                  <a:pt x="5890" y="52"/>
                  <a:pt x="5891" y="51"/>
                  <a:pt x="5894" y="51"/>
                </a:cubicBezTo>
                <a:cubicBezTo>
                  <a:pt x="5896" y="50"/>
                  <a:pt x="5899" y="50"/>
                  <a:pt x="5902" y="50"/>
                </a:cubicBezTo>
                <a:cubicBezTo>
                  <a:pt x="5914" y="50"/>
                  <a:pt x="5927" y="51"/>
                  <a:pt x="5939" y="50"/>
                </a:cubicBezTo>
                <a:cubicBezTo>
                  <a:pt x="5951" y="50"/>
                  <a:pt x="5962" y="51"/>
                  <a:pt x="5974" y="51"/>
                </a:cubicBezTo>
                <a:cubicBezTo>
                  <a:pt x="5988" y="51"/>
                  <a:pt x="6001" y="51"/>
                  <a:pt x="6015" y="51"/>
                </a:cubicBezTo>
                <a:cubicBezTo>
                  <a:pt x="6027" y="51"/>
                  <a:pt x="6037" y="53"/>
                  <a:pt x="6049" y="53"/>
                </a:cubicBezTo>
                <a:cubicBezTo>
                  <a:pt x="6060" y="53"/>
                  <a:pt x="6071" y="53"/>
                  <a:pt x="6082" y="53"/>
                </a:cubicBezTo>
                <a:cubicBezTo>
                  <a:pt x="6088" y="53"/>
                  <a:pt x="6093" y="53"/>
                  <a:pt x="6099" y="53"/>
                </a:cubicBezTo>
                <a:cubicBezTo>
                  <a:pt x="6103" y="53"/>
                  <a:pt x="6107" y="52"/>
                  <a:pt x="6112" y="53"/>
                </a:cubicBezTo>
                <a:cubicBezTo>
                  <a:pt x="6114" y="53"/>
                  <a:pt x="6116" y="53"/>
                  <a:pt x="6118" y="53"/>
                </a:cubicBezTo>
                <a:cubicBezTo>
                  <a:pt x="6126" y="53"/>
                  <a:pt x="6135" y="54"/>
                  <a:pt x="6143" y="54"/>
                </a:cubicBezTo>
                <a:cubicBezTo>
                  <a:pt x="6154" y="54"/>
                  <a:pt x="6165" y="55"/>
                  <a:pt x="6177" y="55"/>
                </a:cubicBezTo>
                <a:cubicBezTo>
                  <a:pt x="6183" y="55"/>
                  <a:pt x="6190" y="55"/>
                  <a:pt x="6196" y="54"/>
                </a:cubicBezTo>
                <a:cubicBezTo>
                  <a:pt x="6203" y="54"/>
                  <a:pt x="6207" y="53"/>
                  <a:pt x="6214" y="53"/>
                </a:cubicBezTo>
                <a:cubicBezTo>
                  <a:pt x="6215" y="53"/>
                  <a:pt x="6217" y="53"/>
                  <a:pt x="6218" y="53"/>
                </a:cubicBezTo>
                <a:cubicBezTo>
                  <a:pt x="6220" y="54"/>
                  <a:pt x="6222" y="54"/>
                  <a:pt x="6224" y="53"/>
                </a:cubicBezTo>
                <a:cubicBezTo>
                  <a:pt x="6231" y="53"/>
                  <a:pt x="6237" y="53"/>
                  <a:pt x="6243" y="53"/>
                </a:cubicBezTo>
                <a:cubicBezTo>
                  <a:pt x="6245" y="52"/>
                  <a:pt x="6246" y="52"/>
                  <a:pt x="6248" y="52"/>
                </a:cubicBezTo>
                <a:cubicBezTo>
                  <a:pt x="6249" y="52"/>
                  <a:pt x="6251" y="52"/>
                  <a:pt x="6252" y="52"/>
                </a:cubicBezTo>
                <a:cubicBezTo>
                  <a:pt x="6260" y="52"/>
                  <a:pt x="6268" y="52"/>
                  <a:pt x="6275" y="52"/>
                </a:cubicBezTo>
                <a:cubicBezTo>
                  <a:pt x="6284" y="53"/>
                  <a:pt x="6293" y="53"/>
                  <a:pt x="6301" y="54"/>
                </a:cubicBezTo>
                <a:cubicBezTo>
                  <a:pt x="6311" y="54"/>
                  <a:pt x="6320" y="55"/>
                  <a:pt x="6329" y="55"/>
                </a:cubicBezTo>
                <a:cubicBezTo>
                  <a:pt x="6338" y="55"/>
                  <a:pt x="6345" y="55"/>
                  <a:pt x="6354" y="55"/>
                </a:cubicBezTo>
                <a:cubicBezTo>
                  <a:pt x="6355" y="55"/>
                  <a:pt x="6356" y="55"/>
                  <a:pt x="6357" y="55"/>
                </a:cubicBezTo>
                <a:cubicBezTo>
                  <a:pt x="6358" y="55"/>
                  <a:pt x="6359" y="55"/>
                  <a:pt x="6360" y="55"/>
                </a:cubicBezTo>
                <a:cubicBezTo>
                  <a:pt x="6361" y="55"/>
                  <a:pt x="6362" y="55"/>
                  <a:pt x="6364" y="55"/>
                </a:cubicBezTo>
                <a:cubicBezTo>
                  <a:pt x="6370" y="55"/>
                  <a:pt x="6377" y="56"/>
                  <a:pt x="6383" y="56"/>
                </a:cubicBezTo>
                <a:cubicBezTo>
                  <a:pt x="6388" y="56"/>
                  <a:pt x="6391" y="56"/>
                  <a:pt x="6395" y="56"/>
                </a:cubicBezTo>
                <a:cubicBezTo>
                  <a:pt x="6399" y="56"/>
                  <a:pt x="6404" y="56"/>
                  <a:pt x="6407" y="56"/>
                </a:cubicBezTo>
                <a:cubicBezTo>
                  <a:pt x="6410" y="55"/>
                  <a:pt x="6402" y="54"/>
                  <a:pt x="6405" y="53"/>
                </a:cubicBezTo>
                <a:cubicBezTo>
                  <a:pt x="6407" y="52"/>
                  <a:pt x="6416" y="52"/>
                  <a:pt x="6420" y="52"/>
                </a:cubicBezTo>
                <a:cubicBezTo>
                  <a:pt x="6427" y="52"/>
                  <a:pt x="6434" y="52"/>
                  <a:pt x="6441" y="52"/>
                </a:cubicBezTo>
                <a:cubicBezTo>
                  <a:pt x="6448" y="53"/>
                  <a:pt x="6455" y="53"/>
                  <a:pt x="6463" y="53"/>
                </a:cubicBezTo>
                <a:cubicBezTo>
                  <a:pt x="6470" y="53"/>
                  <a:pt x="6474" y="52"/>
                  <a:pt x="6475" y="54"/>
                </a:cubicBezTo>
                <a:cubicBezTo>
                  <a:pt x="6475" y="55"/>
                  <a:pt x="6478" y="56"/>
                  <a:pt x="6482" y="56"/>
                </a:cubicBezTo>
                <a:cubicBezTo>
                  <a:pt x="6483" y="56"/>
                  <a:pt x="6484" y="56"/>
                  <a:pt x="6485" y="56"/>
                </a:cubicBezTo>
                <a:cubicBezTo>
                  <a:pt x="6486" y="56"/>
                  <a:pt x="6487" y="56"/>
                  <a:pt x="6488" y="56"/>
                </a:cubicBezTo>
                <a:cubicBezTo>
                  <a:pt x="6489" y="56"/>
                  <a:pt x="6490" y="56"/>
                  <a:pt x="6491" y="56"/>
                </a:cubicBezTo>
                <a:cubicBezTo>
                  <a:pt x="6494" y="57"/>
                  <a:pt x="6498" y="57"/>
                  <a:pt x="6501" y="56"/>
                </a:cubicBezTo>
                <a:cubicBezTo>
                  <a:pt x="6502" y="56"/>
                  <a:pt x="6503" y="56"/>
                  <a:pt x="6504" y="56"/>
                </a:cubicBezTo>
                <a:cubicBezTo>
                  <a:pt x="6505" y="56"/>
                  <a:pt x="6506" y="57"/>
                  <a:pt x="6507" y="57"/>
                </a:cubicBezTo>
                <a:cubicBezTo>
                  <a:pt x="6511" y="57"/>
                  <a:pt x="6516" y="56"/>
                  <a:pt x="6521" y="56"/>
                </a:cubicBezTo>
                <a:cubicBezTo>
                  <a:pt x="6528" y="57"/>
                  <a:pt x="6534" y="56"/>
                  <a:pt x="6541" y="56"/>
                </a:cubicBezTo>
                <a:cubicBezTo>
                  <a:pt x="6547" y="56"/>
                  <a:pt x="6554" y="57"/>
                  <a:pt x="6560" y="57"/>
                </a:cubicBezTo>
                <a:cubicBezTo>
                  <a:pt x="6564" y="57"/>
                  <a:pt x="6567" y="57"/>
                  <a:pt x="6570" y="57"/>
                </a:cubicBezTo>
                <a:cubicBezTo>
                  <a:pt x="6572" y="57"/>
                  <a:pt x="6574" y="57"/>
                  <a:pt x="6576" y="57"/>
                </a:cubicBezTo>
                <a:cubicBezTo>
                  <a:pt x="6583" y="56"/>
                  <a:pt x="6591" y="56"/>
                  <a:pt x="6598" y="56"/>
                </a:cubicBezTo>
                <a:cubicBezTo>
                  <a:pt x="6605" y="56"/>
                  <a:pt x="6611" y="56"/>
                  <a:pt x="6617" y="55"/>
                </a:cubicBezTo>
                <a:cubicBezTo>
                  <a:pt x="6624" y="55"/>
                  <a:pt x="6629" y="55"/>
                  <a:pt x="6636" y="55"/>
                </a:cubicBezTo>
                <a:cubicBezTo>
                  <a:pt x="6643" y="55"/>
                  <a:pt x="6650" y="55"/>
                  <a:pt x="6657" y="56"/>
                </a:cubicBezTo>
                <a:cubicBezTo>
                  <a:pt x="6660" y="56"/>
                  <a:pt x="6664" y="56"/>
                  <a:pt x="6668" y="56"/>
                </a:cubicBezTo>
                <a:cubicBezTo>
                  <a:pt x="6671" y="56"/>
                  <a:pt x="6676" y="55"/>
                  <a:pt x="6679" y="56"/>
                </a:cubicBezTo>
                <a:cubicBezTo>
                  <a:pt x="6680" y="56"/>
                  <a:pt x="6679" y="56"/>
                  <a:pt x="6678" y="56"/>
                </a:cubicBezTo>
                <a:cubicBezTo>
                  <a:pt x="6677" y="56"/>
                  <a:pt x="6678" y="57"/>
                  <a:pt x="6679" y="57"/>
                </a:cubicBezTo>
                <a:cubicBezTo>
                  <a:pt x="6679" y="57"/>
                  <a:pt x="6680" y="58"/>
                  <a:pt x="6681" y="58"/>
                </a:cubicBezTo>
                <a:cubicBezTo>
                  <a:pt x="6682" y="58"/>
                  <a:pt x="6684" y="58"/>
                  <a:pt x="6685" y="58"/>
                </a:cubicBezTo>
                <a:cubicBezTo>
                  <a:pt x="6686" y="57"/>
                  <a:pt x="6687" y="57"/>
                  <a:pt x="6688" y="57"/>
                </a:cubicBezTo>
                <a:cubicBezTo>
                  <a:pt x="6689" y="57"/>
                  <a:pt x="6689" y="57"/>
                  <a:pt x="6690" y="57"/>
                </a:cubicBezTo>
                <a:cubicBezTo>
                  <a:pt x="6691" y="57"/>
                  <a:pt x="6691" y="57"/>
                  <a:pt x="6691" y="57"/>
                </a:cubicBezTo>
                <a:cubicBezTo>
                  <a:pt x="6692" y="57"/>
                  <a:pt x="6693" y="58"/>
                  <a:pt x="6694" y="58"/>
                </a:cubicBezTo>
                <a:cubicBezTo>
                  <a:pt x="6695" y="58"/>
                  <a:pt x="6696" y="57"/>
                  <a:pt x="6696" y="57"/>
                </a:cubicBezTo>
                <a:cubicBezTo>
                  <a:pt x="6699" y="57"/>
                  <a:pt x="6703" y="57"/>
                  <a:pt x="6706" y="57"/>
                </a:cubicBezTo>
                <a:cubicBezTo>
                  <a:pt x="6711" y="57"/>
                  <a:pt x="6719" y="57"/>
                  <a:pt x="6723" y="57"/>
                </a:cubicBezTo>
                <a:cubicBezTo>
                  <a:pt x="6736" y="58"/>
                  <a:pt x="6749" y="58"/>
                  <a:pt x="6762" y="57"/>
                </a:cubicBezTo>
                <a:cubicBezTo>
                  <a:pt x="6769" y="57"/>
                  <a:pt x="6776" y="57"/>
                  <a:pt x="6783" y="57"/>
                </a:cubicBezTo>
                <a:cubicBezTo>
                  <a:pt x="6785" y="56"/>
                  <a:pt x="6788" y="56"/>
                  <a:pt x="6791" y="56"/>
                </a:cubicBezTo>
                <a:cubicBezTo>
                  <a:pt x="6794" y="56"/>
                  <a:pt x="6796" y="55"/>
                  <a:pt x="6801" y="55"/>
                </a:cubicBezTo>
                <a:cubicBezTo>
                  <a:pt x="6802" y="55"/>
                  <a:pt x="6802" y="55"/>
                  <a:pt x="6803" y="55"/>
                </a:cubicBezTo>
                <a:cubicBezTo>
                  <a:pt x="6803" y="55"/>
                  <a:pt x="6804" y="56"/>
                  <a:pt x="6804" y="56"/>
                </a:cubicBezTo>
                <a:cubicBezTo>
                  <a:pt x="6806" y="56"/>
                  <a:pt x="6809" y="57"/>
                  <a:pt x="6812" y="57"/>
                </a:cubicBezTo>
                <a:cubicBezTo>
                  <a:pt x="6813" y="57"/>
                  <a:pt x="6814" y="57"/>
                  <a:pt x="6815" y="57"/>
                </a:cubicBezTo>
                <a:cubicBezTo>
                  <a:pt x="6818" y="57"/>
                  <a:pt x="6818" y="56"/>
                  <a:pt x="6819" y="56"/>
                </a:cubicBezTo>
                <a:cubicBezTo>
                  <a:pt x="6821" y="55"/>
                  <a:pt x="6823" y="55"/>
                  <a:pt x="6826" y="55"/>
                </a:cubicBezTo>
                <a:cubicBezTo>
                  <a:pt x="6828" y="54"/>
                  <a:pt x="6830" y="54"/>
                  <a:pt x="6833" y="54"/>
                </a:cubicBezTo>
                <a:cubicBezTo>
                  <a:pt x="6836" y="54"/>
                  <a:pt x="6839" y="55"/>
                  <a:pt x="6843" y="55"/>
                </a:cubicBezTo>
                <a:cubicBezTo>
                  <a:pt x="6848" y="54"/>
                  <a:pt x="6848" y="54"/>
                  <a:pt x="6851" y="53"/>
                </a:cubicBezTo>
                <a:cubicBezTo>
                  <a:pt x="6854" y="53"/>
                  <a:pt x="6862" y="53"/>
                  <a:pt x="6866" y="53"/>
                </a:cubicBezTo>
                <a:cubicBezTo>
                  <a:pt x="6873" y="53"/>
                  <a:pt x="6880" y="53"/>
                  <a:pt x="6887" y="54"/>
                </a:cubicBezTo>
                <a:cubicBezTo>
                  <a:pt x="6889" y="54"/>
                  <a:pt x="6893" y="54"/>
                  <a:pt x="6896" y="54"/>
                </a:cubicBezTo>
                <a:cubicBezTo>
                  <a:pt x="6898" y="54"/>
                  <a:pt x="6900" y="55"/>
                  <a:pt x="6903" y="56"/>
                </a:cubicBezTo>
                <a:cubicBezTo>
                  <a:pt x="6905" y="56"/>
                  <a:pt x="6908" y="56"/>
                  <a:pt x="6910" y="55"/>
                </a:cubicBezTo>
                <a:cubicBezTo>
                  <a:pt x="6911" y="55"/>
                  <a:pt x="6911" y="55"/>
                  <a:pt x="6912" y="54"/>
                </a:cubicBezTo>
                <a:cubicBezTo>
                  <a:pt x="6913" y="54"/>
                  <a:pt x="6915" y="54"/>
                  <a:pt x="6916" y="55"/>
                </a:cubicBezTo>
                <a:cubicBezTo>
                  <a:pt x="6916" y="55"/>
                  <a:pt x="6917" y="55"/>
                  <a:pt x="6918" y="56"/>
                </a:cubicBezTo>
                <a:cubicBezTo>
                  <a:pt x="6919" y="56"/>
                  <a:pt x="6921" y="56"/>
                  <a:pt x="6922" y="55"/>
                </a:cubicBezTo>
                <a:cubicBezTo>
                  <a:pt x="6924" y="55"/>
                  <a:pt x="6924" y="54"/>
                  <a:pt x="6927" y="54"/>
                </a:cubicBezTo>
                <a:cubicBezTo>
                  <a:pt x="6929" y="53"/>
                  <a:pt x="6932" y="54"/>
                  <a:pt x="6935" y="54"/>
                </a:cubicBezTo>
                <a:cubicBezTo>
                  <a:pt x="6936" y="54"/>
                  <a:pt x="6936" y="54"/>
                  <a:pt x="6936" y="54"/>
                </a:cubicBezTo>
                <a:cubicBezTo>
                  <a:pt x="6938" y="55"/>
                  <a:pt x="6943" y="54"/>
                  <a:pt x="6946" y="55"/>
                </a:cubicBezTo>
                <a:cubicBezTo>
                  <a:pt x="6948" y="55"/>
                  <a:pt x="6949" y="56"/>
                  <a:pt x="6952" y="56"/>
                </a:cubicBezTo>
                <a:cubicBezTo>
                  <a:pt x="6955" y="56"/>
                  <a:pt x="6957" y="56"/>
                  <a:pt x="6960" y="56"/>
                </a:cubicBezTo>
                <a:cubicBezTo>
                  <a:pt x="6961" y="56"/>
                  <a:pt x="6963" y="56"/>
                  <a:pt x="6964" y="56"/>
                </a:cubicBezTo>
                <a:cubicBezTo>
                  <a:pt x="6965" y="56"/>
                  <a:pt x="6966" y="55"/>
                  <a:pt x="6968" y="55"/>
                </a:cubicBezTo>
                <a:cubicBezTo>
                  <a:pt x="6969" y="55"/>
                  <a:pt x="6969" y="55"/>
                  <a:pt x="6970" y="55"/>
                </a:cubicBezTo>
                <a:cubicBezTo>
                  <a:pt x="6970" y="54"/>
                  <a:pt x="6970" y="54"/>
                  <a:pt x="6971" y="54"/>
                </a:cubicBezTo>
                <a:cubicBezTo>
                  <a:pt x="6972" y="53"/>
                  <a:pt x="6974" y="54"/>
                  <a:pt x="6975" y="54"/>
                </a:cubicBezTo>
                <a:cubicBezTo>
                  <a:pt x="6978" y="54"/>
                  <a:pt x="6980" y="53"/>
                  <a:pt x="6982" y="53"/>
                </a:cubicBezTo>
                <a:cubicBezTo>
                  <a:pt x="6985" y="53"/>
                  <a:pt x="6989" y="53"/>
                  <a:pt x="6992" y="53"/>
                </a:cubicBezTo>
                <a:cubicBezTo>
                  <a:pt x="6999" y="54"/>
                  <a:pt x="7006" y="54"/>
                  <a:pt x="7013" y="54"/>
                </a:cubicBezTo>
                <a:cubicBezTo>
                  <a:pt x="7017" y="54"/>
                  <a:pt x="7032" y="55"/>
                  <a:pt x="7035" y="56"/>
                </a:cubicBezTo>
                <a:cubicBezTo>
                  <a:pt x="7035" y="56"/>
                  <a:pt x="7040" y="56"/>
                  <a:pt x="7046" y="56"/>
                </a:cubicBezTo>
                <a:cubicBezTo>
                  <a:pt x="7049" y="56"/>
                  <a:pt x="7053" y="56"/>
                  <a:pt x="7056" y="56"/>
                </a:cubicBezTo>
                <a:cubicBezTo>
                  <a:pt x="7061" y="56"/>
                  <a:pt x="7063" y="53"/>
                  <a:pt x="7068" y="53"/>
                </a:cubicBezTo>
                <a:cubicBezTo>
                  <a:pt x="7071" y="53"/>
                  <a:pt x="7076" y="54"/>
                  <a:pt x="7079" y="54"/>
                </a:cubicBezTo>
                <a:cubicBezTo>
                  <a:pt x="7084" y="55"/>
                  <a:pt x="7090" y="55"/>
                  <a:pt x="7095" y="56"/>
                </a:cubicBezTo>
                <a:cubicBezTo>
                  <a:pt x="7098" y="56"/>
                  <a:pt x="7103" y="57"/>
                  <a:pt x="7106" y="56"/>
                </a:cubicBezTo>
                <a:cubicBezTo>
                  <a:pt x="7107" y="56"/>
                  <a:pt x="7107" y="55"/>
                  <a:pt x="7107" y="55"/>
                </a:cubicBezTo>
                <a:cubicBezTo>
                  <a:pt x="7108" y="55"/>
                  <a:pt x="7111" y="54"/>
                  <a:pt x="7113" y="54"/>
                </a:cubicBezTo>
                <a:cubicBezTo>
                  <a:pt x="7116" y="54"/>
                  <a:pt x="7120" y="54"/>
                  <a:pt x="7123" y="54"/>
                </a:cubicBezTo>
                <a:cubicBezTo>
                  <a:pt x="7127" y="54"/>
                  <a:pt x="7137" y="54"/>
                  <a:pt x="7140" y="53"/>
                </a:cubicBezTo>
                <a:cubicBezTo>
                  <a:pt x="7140" y="53"/>
                  <a:pt x="7141" y="53"/>
                  <a:pt x="7141" y="53"/>
                </a:cubicBezTo>
                <a:cubicBezTo>
                  <a:pt x="7144" y="53"/>
                  <a:pt x="7146" y="53"/>
                  <a:pt x="7148" y="53"/>
                </a:cubicBezTo>
                <a:cubicBezTo>
                  <a:pt x="7149" y="53"/>
                  <a:pt x="7149" y="53"/>
                  <a:pt x="7150" y="53"/>
                </a:cubicBezTo>
                <a:cubicBezTo>
                  <a:pt x="7152" y="53"/>
                  <a:pt x="7154" y="53"/>
                  <a:pt x="7156" y="53"/>
                </a:cubicBezTo>
                <a:cubicBezTo>
                  <a:pt x="7157" y="53"/>
                  <a:pt x="7157" y="53"/>
                  <a:pt x="7158" y="53"/>
                </a:cubicBezTo>
                <a:cubicBezTo>
                  <a:pt x="7162" y="54"/>
                  <a:pt x="7168" y="54"/>
                  <a:pt x="7172" y="54"/>
                </a:cubicBezTo>
                <a:cubicBezTo>
                  <a:pt x="7178" y="54"/>
                  <a:pt x="7184" y="54"/>
                  <a:pt x="7190" y="54"/>
                </a:cubicBezTo>
                <a:cubicBezTo>
                  <a:pt x="7196" y="54"/>
                  <a:pt x="7202" y="54"/>
                  <a:pt x="7207" y="54"/>
                </a:cubicBezTo>
                <a:cubicBezTo>
                  <a:pt x="7211" y="54"/>
                  <a:pt x="7213" y="53"/>
                  <a:pt x="7216" y="53"/>
                </a:cubicBezTo>
                <a:cubicBezTo>
                  <a:pt x="7218" y="53"/>
                  <a:pt x="7220" y="53"/>
                  <a:pt x="7222" y="53"/>
                </a:cubicBezTo>
                <a:cubicBezTo>
                  <a:pt x="7224" y="53"/>
                  <a:pt x="7226" y="52"/>
                  <a:pt x="7228" y="52"/>
                </a:cubicBezTo>
                <a:cubicBezTo>
                  <a:pt x="7229" y="52"/>
                  <a:pt x="7229" y="52"/>
                  <a:pt x="7230" y="52"/>
                </a:cubicBezTo>
                <a:cubicBezTo>
                  <a:pt x="7230" y="52"/>
                  <a:pt x="7231" y="52"/>
                  <a:pt x="7231" y="52"/>
                </a:cubicBezTo>
                <a:cubicBezTo>
                  <a:pt x="7233" y="52"/>
                  <a:pt x="7234" y="53"/>
                  <a:pt x="7235" y="53"/>
                </a:cubicBezTo>
                <a:cubicBezTo>
                  <a:pt x="7240" y="53"/>
                  <a:pt x="7248" y="53"/>
                  <a:pt x="7253" y="52"/>
                </a:cubicBezTo>
                <a:cubicBezTo>
                  <a:pt x="7260" y="52"/>
                  <a:pt x="7266" y="52"/>
                  <a:pt x="7273" y="52"/>
                </a:cubicBezTo>
                <a:cubicBezTo>
                  <a:pt x="7289" y="52"/>
                  <a:pt x="7304" y="52"/>
                  <a:pt x="7320" y="52"/>
                </a:cubicBezTo>
                <a:cubicBezTo>
                  <a:pt x="7328" y="52"/>
                  <a:pt x="7335" y="52"/>
                  <a:pt x="7343" y="53"/>
                </a:cubicBezTo>
                <a:cubicBezTo>
                  <a:pt x="7345" y="54"/>
                  <a:pt x="7347" y="54"/>
                  <a:pt x="7350" y="54"/>
                </a:cubicBezTo>
                <a:cubicBezTo>
                  <a:pt x="7353" y="53"/>
                  <a:pt x="7354" y="53"/>
                  <a:pt x="7356" y="52"/>
                </a:cubicBezTo>
                <a:cubicBezTo>
                  <a:pt x="7361" y="52"/>
                  <a:pt x="7367" y="53"/>
                  <a:pt x="7371" y="53"/>
                </a:cubicBezTo>
                <a:cubicBezTo>
                  <a:pt x="7381" y="53"/>
                  <a:pt x="7390" y="52"/>
                  <a:pt x="7400" y="53"/>
                </a:cubicBezTo>
                <a:cubicBezTo>
                  <a:pt x="7400" y="53"/>
                  <a:pt x="7401" y="53"/>
                  <a:pt x="7402" y="54"/>
                </a:cubicBezTo>
                <a:cubicBezTo>
                  <a:pt x="7405" y="54"/>
                  <a:pt x="7409" y="54"/>
                  <a:pt x="7413" y="54"/>
                </a:cubicBezTo>
                <a:cubicBezTo>
                  <a:pt x="7415" y="54"/>
                  <a:pt x="7418" y="54"/>
                  <a:pt x="7420" y="53"/>
                </a:cubicBezTo>
                <a:cubicBezTo>
                  <a:pt x="7421" y="53"/>
                  <a:pt x="7418" y="52"/>
                  <a:pt x="7419" y="52"/>
                </a:cubicBezTo>
                <a:cubicBezTo>
                  <a:pt x="7421" y="51"/>
                  <a:pt x="7423" y="52"/>
                  <a:pt x="7425" y="52"/>
                </a:cubicBezTo>
                <a:cubicBezTo>
                  <a:pt x="7428" y="52"/>
                  <a:pt x="7429" y="52"/>
                  <a:pt x="7433" y="52"/>
                </a:cubicBezTo>
                <a:cubicBezTo>
                  <a:pt x="7438" y="52"/>
                  <a:pt x="7441" y="54"/>
                  <a:pt x="7446" y="54"/>
                </a:cubicBezTo>
                <a:cubicBezTo>
                  <a:pt x="7449" y="54"/>
                  <a:pt x="7451" y="53"/>
                  <a:pt x="7454" y="53"/>
                </a:cubicBezTo>
                <a:cubicBezTo>
                  <a:pt x="7456" y="53"/>
                  <a:pt x="7458" y="53"/>
                  <a:pt x="7461" y="53"/>
                </a:cubicBezTo>
                <a:cubicBezTo>
                  <a:pt x="7464" y="53"/>
                  <a:pt x="7466" y="52"/>
                  <a:pt x="7469" y="52"/>
                </a:cubicBezTo>
                <a:cubicBezTo>
                  <a:pt x="7470" y="52"/>
                  <a:pt x="7472" y="52"/>
                  <a:pt x="7475" y="52"/>
                </a:cubicBezTo>
                <a:cubicBezTo>
                  <a:pt x="7476" y="52"/>
                  <a:pt x="7477" y="52"/>
                  <a:pt x="7478" y="52"/>
                </a:cubicBezTo>
                <a:cubicBezTo>
                  <a:pt x="7484" y="53"/>
                  <a:pt x="7491" y="52"/>
                  <a:pt x="7497" y="52"/>
                </a:cubicBezTo>
                <a:cubicBezTo>
                  <a:pt x="7557" y="52"/>
                  <a:pt x="7584" y="52"/>
                  <a:pt x="7586" y="51"/>
                </a:cubicBezTo>
                <a:cubicBezTo>
                  <a:pt x="7587" y="51"/>
                  <a:pt x="7619" y="51"/>
                  <a:pt x="7626" y="52"/>
                </a:cubicBezTo>
                <a:cubicBezTo>
                  <a:pt x="7633" y="52"/>
                  <a:pt x="7640" y="53"/>
                  <a:pt x="7647" y="53"/>
                </a:cubicBezTo>
                <a:cubicBezTo>
                  <a:pt x="7649" y="54"/>
                  <a:pt x="7655" y="53"/>
                  <a:pt x="7656" y="53"/>
                </a:cubicBezTo>
                <a:cubicBezTo>
                  <a:pt x="7659" y="54"/>
                  <a:pt x="7654" y="55"/>
                  <a:pt x="7653" y="55"/>
                </a:cubicBezTo>
                <a:cubicBezTo>
                  <a:pt x="7653" y="56"/>
                  <a:pt x="7653" y="56"/>
                  <a:pt x="7655" y="56"/>
                </a:cubicBezTo>
                <a:cubicBezTo>
                  <a:pt x="7657" y="56"/>
                  <a:pt x="7660" y="56"/>
                  <a:pt x="7662" y="56"/>
                </a:cubicBezTo>
                <a:cubicBezTo>
                  <a:pt x="7665" y="55"/>
                  <a:pt x="7668" y="55"/>
                  <a:pt x="7671" y="55"/>
                </a:cubicBezTo>
                <a:cubicBezTo>
                  <a:pt x="7677" y="54"/>
                  <a:pt x="7682" y="54"/>
                  <a:pt x="7688" y="54"/>
                </a:cubicBezTo>
                <a:cubicBezTo>
                  <a:pt x="7689" y="54"/>
                  <a:pt x="7691" y="54"/>
                  <a:pt x="7692" y="54"/>
                </a:cubicBezTo>
                <a:cubicBezTo>
                  <a:pt x="7694" y="55"/>
                  <a:pt x="7694" y="55"/>
                  <a:pt x="7696" y="55"/>
                </a:cubicBezTo>
                <a:cubicBezTo>
                  <a:pt x="7697" y="56"/>
                  <a:pt x="7699" y="56"/>
                  <a:pt x="7701" y="56"/>
                </a:cubicBezTo>
                <a:cubicBezTo>
                  <a:pt x="7702" y="56"/>
                  <a:pt x="7702" y="56"/>
                  <a:pt x="7703" y="55"/>
                </a:cubicBezTo>
                <a:cubicBezTo>
                  <a:pt x="7707" y="53"/>
                  <a:pt x="7723" y="53"/>
                  <a:pt x="7732" y="53"/>
                </a:cubicBezTo>
                <a:cubicBezTo>
                  <a:pt x="7749" y="53"/>
                  <a:pt x="7767" y="53"/>
                  <a:pt x="7773" y="53"/>
                </a:cubicBezTo>
                <a:cubicBezTo>
                  <a:pt x="7783" y="53"/>
                  <a:pt x="7791" y="53"/>
                  <a:pt x="7801" y="51"/>
                </a:cubicBezTo>
                <a:cubicBezTo>
                  <a:pt x="7805" y="51"/>
                  <a:pt x="7811" y="51"/>
                  <a:pt x="7816" y="51"/>
                </a:cubicBezTo>
                <a:cubicBezTo>
                  <a:pt x="7820" y="52"/>
                  <a:pt x="7825" y="52"/>
                  <a:pt x="7830" y="52"/>
                </a:cubicBezTo>
                <a:cubicBezTo>
                  <a:pt x="7833" y="53"/>
                  <a:pt x="7837" y="53"/>
                  <a:pt x="7840" y="52"/>
                </a:cubicBezTo>
                <a:cubicBezTo>
                  <a:pt x="7855" y="52"/>
                  <a:pt x="7870" y="52"/>
                  <a:pt x="7885" y="52"/>
                </a:cubicBezTo>
                <a:cubicBezTo>
                  <a:pt x="7902" y="52"/>
                  <a:pt x="7918" y="52"/>
                  <a:pt x="7935" y="52"/>
                </a:cubicBezTo>
                <a:cubicBezTo>
                  <a:pt x="7990" y="52"/>
                  <a:pt x="8047" y="51"/>
                  <a:pt x="8063" y="51"/>
                </a:cubicBezTo>
                <a:cubicBezTo>
                  <a:pt x="8069" y="51"/>
                  <a:pt x="8075" y="51"/>
                  <a:pt x="8081" y="51"/>
                </a:cubicBezTo>
                <a:cubicBezTo>
                  <a:pt x="8086" y="51"/>
                  <a:pt x="8092" y="52"/>
                  <a:pt x="8095" y="51"/>
                </a:cubicBezTo>
                <a:cubicBezTo>
                  <a:pt x="8096" y="51"/>
                  <a:pt x="8096" y="51"/>
                  <a:pt x="8096" y="51"/>
                </a:cubicBezTo>
                <a:cubicBezTo>
                  <a:pt x="8096" y="52"/>
                  <a:pt x="8098" y="52"/>
                  <a:pt x="8100" y="52"/>
                </a:cubicBezTo>
                <a:cubicBezTo>
                  <a:pt x="8101" y="52"/>
                  <a:pt x="8103" y="52"/>
                  <a:pt x="8104" y="51"/>
                </a:cubicBezTo>
                <a:cubicBezTo>
                  <a:pt x="8105" y="51"/>
                  <a:pt x="8106" y="51"/>
                  <a:pt x="8107" y="50"/>
                </a:cubicBezTo>
                <a:cubicBezTo>
                  <a:pt x="8112" y="50"/>
                  <a:pt x="8124" y="50"/>
                  <a:pt x="8130" y="51"/>
                </a:cubicBezTo>
                <a:cubicBezTo>
                  <a:pt x="8134" y="51"/>
                  <a:pt x="8143" y="51"/>
                  <a:pt x="8147" y="51"/>
                </a:cubicBezTo>
                <a:cubicBezTo>
                  <a:pt x="8147" y="51"/>
                  <a:pt x="8148" y="51"/>
                  <a:pt x="8149" y="50"/>
                </a:cubicBezTo>
                <a:cubicBezTo>
                  <a:pt x="8150" y="50"/>
                  <a:pt x="8152" y="50"/>
                  <a:pt x="8153" y="50"/>
                </a:cubicBezTo>
                <a:cubicBezTo>
                  <a:pt x="8155" y="50"/>
                  <a:pt x="8155" y="49"/>
                  <a:pt x="8157" y="49"/>
                </a:cubicBezTo>
                <a:cubicBezTo>
                  <a:pt x="8160" y="49"/>
                  <a:pt x="8165" y="50"/>
                  <a:pt x="8164" y="51"/>
                </a:cubicBezTo>
                <a:cubicBezTo>
                  <a:pt x="8163" y="51"/>
                  <a:pt x="8162" y="51"/>
                  <a:pt x="8162" y="52"/>
                </a:cubicBezTo>
                <a:cubicBezTo>
                  <a:pt x="8162" y="52"/>
                  <a:pt x="8164" y="52"/>
                  <a:pt x="8165" y="52"/>
                </a:cubicBezTo>
                <a:cubicBezTo>
                  <a:pt x="8166" y="52"/>
                  <a:pt x="8167" y="52"/>
                  <a:pt x="8168" y="52"/>
                </a:cubicBezTo>
                <a:cubicBezTo>
                  <a:pt x="8173" y="51"/>
                  <a:pt x="8181" y="51"/>
                  <a:pt x="8187" y="51"/>
                </a:cubicBezTo>
                <a:cubicBezTo>
                  <a:pt x="8192" y="51"/>
                  <a:pt x="8204" y="50"/>
                  <a:pt x="8209" y="51"/>
                </a:cubicBezTo>
                <a:cubicBezTo>
                  <a:pt x="8210" y="51"/>
                  <a:pt x="8210" y="51"/>
                  <a:pt x="8211" y="51"/>
                </a:cubicBezTo>
                <a:cubicBezTo>
                  <a:pt x="8213" y="51"/>
                  <a:pt x="8214" y="51"/>
                  <a:pt x="8216" y="51"/>
                </a:cubicBezTo>
                <a:cubicBezTo>
                  <a:pt x="8221" y="51"/>
                  <a:pt x="8226" y="52"/>
                  <a:pt x="8231" y="51"/>
                </a:cubicBezTo>
                <a:cubicBezTo>
                  <a:pt x="8236" y="51"/>
                  <a:pt x="8256" y="51"/>
                  <a:pt x="8274" y="51"/>
                </a:cubicBezTo>
                <a:cubicBezTo>
                  <a:pt x="8281" y="51"/>
                  <a:pt x="8288" y="51"/>
                  <a:pt x="8295" y="51"/>
                </a:cubicBezTo>
                <a:cubicBezTo>
                  <a:pt x="8299" y="51"/>
                  <a:pt x="8303" y="51"/>
                  <a:pt x="8307" y="51"/>
                </a:cubicBezTo>
                <a:cubicBezTo>
                  <a:pt x="8309" y="50"/>
                  <a:pt x="8310" y="50"/>
                  <a:pt x="8312" y="50"/>
                </a:cubicBezTo>
                <a:cubicBezTo>
                  <a:pt x="8315" y="49"/>
                  <a:pt x="8318" y="49"/>
                  <a:pt x="8321" y="49"/>
                </a:cubicBezTo>
                <a:cubicBezTo>
                  <a:pt x="8320" y="49"/>
                  <a:pt x="8323" y="50"/>
                  <a:pt x="8324" y="51"/>
                </a:cubicBezTo>
                <a:cubicBezTo>
                  <a:pt x="8326" y="51"/>
                  <a:pt x="8328" y="51"/>
                  <a:pt x="8329" y="51"/>
                </a:cubicBezTo>
                <a:cubicBezTo>
                  <a:pt x="8335" y="51"/>
                  <a:pt x="8340" y="51"/>
                  <a:pt x="8346" y="51"/>
                </a:cubicBezTo>
                <a:cubicBezTo>
                  <a:pt x="8358" y="51"/>
                  <a:pt x="8370" y="51"/>
                  <a:pt x="8382" y="51"/>
                </a:cubicBezTo>
                <a:cubicBezTo>
                  <a:pt x="8393" y="51"/>
                  <a:pt x="8404" y="51"/>
                  <a:pt x="8416" y="51"/>
                </a:cubicBezTo>
                <a:cubicBezTo>
                  <a:pt x="8425" y="51"/>
                  <a:pt x="8437" y="52"/>
                  <a:pt x="8445" y="50"/>
                </a:cubicBezTo>
                <a:cubicBezTo>
                  <a:pt x="8446" y="50"/>
                  <a:pt x="8447" y="50"/>
                  <a:pt x="8448" y="50"/>
                </a:cubicBezTo>
                <a:cubicBezTo>
                  <a:pt x="8449" y="50"/>
                  <a:pt x="8451" y="50"/>
                  <a:pt x="8452" y="50"/>
                </a:cubicBezTo>
                <a:cubicBezTo>
                  <a:pt x="8453" y="50"/>
                  <a:pt x="8454" y="50"/>
                  <a:pt x="8455" y="50"/>
                </a:cubicBezTo>
                <a:cubicBezTo>
                  <a:pt x="8457" y="50"/>
                  <a:pt x="8458" y="50"/>
                  <a:pt x="8460" y="50"/>
                </a:cubicBezTo>
                <a:cubicBezTo>
                  <a:pt x="8468" y="50"/>
                  <a:pt x="8476" y="50"/>
                  <a:pt x="8484" y="50"/>
                </a:cubicBezTo>
                <a:cubicBezTo>
                  <a:pt x="8492" y="50"/>
                  <a:pt x="8501" y="50"/>
                  <a:pt x="8509" y="51"/>
                </a:cubicBezTo>
                <a:cubicBezTo>
                  <a:pt x="8527" y="51"/>
                  <a:pt x="8545" y="50"/>
                  <a:pt x="8563" y="50"/>
                </a:cubicBezTo>
                <a:cubicBezTo>
                  <a:pt x="8595" y="50"/>
                  <a:pt x="8626" y="50"/>
                  <a:pt x="8659" y="49"/>
                </a:cubicBezTo>
                <a:cubicBezTo>
                  <a:pt x="8659" y="49"/>
                  <a:pt x="8659" y="50"/>
                  <a:pt x="8659" y="50"/>
                </a:cubicBezTo>
                <a:cubicBezTo>
                  <a:pt x="8659" y="50"/>
                  <a:pt x="8660" y="50"/>
                  <a:pt x="8660" y="50"/>
                </a:cubicBezTo>
                <a:cubicBezTo>
                  <a:pt x="8661" y="50"/>
                  <a:pt x="8662" y="50"/>
                  <a:pt x="8663" y="50"/>
                </a:cubicBezTo>
                <a:cubicBezTo>
                  <a:pt x="8667" y="50"/>
                  <a:pt x="8670" y="51"/>
                  <a:pt x="8674" y="51"/>
                </a:cubicBezTo>
                <a:cubicBezTo>
                  <a:pt x="8678" y="51"/>
                  <a:pt x="8682" y="51"/>
                  <a:pt x="8686" y="51"/>
                </a:cubicBezTo>
                <a:cubicBezTo>
                  <a:pt x="8688" y="51"/>
                  <a:pt x="8690" y="52"/>
                  <a:pt x="8693" y="52"/>
                </a:cubicBezTo>
                <a:cubicBezTo>
                  <a:pt x="8696" y="51"/>
                  <a:pt x="8698" y="50"/>
                  <a:pt x="8700" y="50"/>
                </a:cubicBezTo>
                <a:cubicBezTo>
                  <a:pt x="8703" y="50"/>
                  <a:pt x="8708" y="50"/>
                  <a:pt x="8711" y="50"/>
                </a:cubicBezTo>
                <a:cubicBezTo>
                  <a:pt x="8720" y="50"/>
                  <a:pt x="8736" y="51"/>
                  <a:pt x="8746" y="50"/>
                </a:cubicBezTo>
                <a:cubicBezTo>
                  <a:pt x="8761" y="50"/>
                  <a:pt x="8803" y="50"/>
                  <a:pt x="8826" y="50"/>
                </a:cubicBezTo>
                <a:cubicBezTo>
                  <a:pt x="8831" y="51"/>
                  <a:pt x="8842" y="50"/>
                  <a:pt x="8852" y="50"/>
                </a:cubicBezTo>
                <a:cubicBezTo>
                  <a:pt x="8858" y="50"/>
                  <a:pt x="8863" y="50"/>
                  <a:pt x="8869" y="50"/>
                </a:cubicBezTo>
                <a:cubicBezTo>
                  <a:pt x="8869" y="51"/>
                  <a:pt x="8870" y="51"/>
                  <a:pt x="8872" y="51"/>
                </a:cubicBezTo>
                <a:cubicBezTo>
                  <a:pt x="8873" y="51"/>
                  <a:pt x="8875" y="51"/>
                  <a:pt x="8876" y="51"/>
                </a:cubicBezTo>
                <a:cubicBezTo>
                  <a:pt x="8879" y="52"/>
                  <a:pt x="8882" y="52"/>
                  <a:pt x="8884" y="52"/>
                </a:cubicBezTo>
                <a:cubicBezTo>
                  <a:pt x="8886" y="51"/>
                  <a:pt x="8887" y="51"/>
                  <a:pt x="8888" y="51"/>
                </a:cubicBezTo>
                <a:cubicBezTo>
                  <a:pt x="8893" y="51"/>
                  <a:pt x="8901" y="50"/>
                  <a:pt x="8906" y="51"/>
                </a:cubicBezTo>
                <a:cubicBezTo>
                  <a:pt x="8912" y="51"/>
                  <a:pt x="8915" y="53"/>
                  <a:pt x="8918" y="54"/>
                </a:cubicBezTo>
                <a:cubicBezTo>
                  <a:pt x="8920" y="54"/>
                  <a:pt x="8922" y="55"/>
                  <a:pt x="8924" y="54"/>
                </a:cubicBezTo>
                <a:cubicBezTo>
                  <a:pt x="8927" y="53"/>
                  <a:pt x="8931" y="53"/>
                  <a:pt x="8934" y="52"/>
                </a:cubicBezTo>
                <a:cubicBezTo>
                  <a:pt x="8934" y="51"/>
                  <a:pt x="8935" y="51"/>
                  <a:pt x="8935" y="51"/>
                </a:cubicBezTo>
                <a:cubicBezTo>
                  <a:pt x="8936" y="51"/>
                  <a:pt x="8938" y="51"/>
                  <a:pt x="8939" y="51"/>
                </a:cubicBezTo>
                <a:cubicBezTo>
                  <a:pt x="8940" y="51"/>
                  <a:pt x="8940" y="51"/>
                  <a:pt x="8941" y="51"/>
                </a:cubicBezTo>
                <a:cubicBezTo>
                  <a:pt x="8945" y="50"/>
                  <a:pt x="8955" y="51"/>
                  <a:pt x="8959" y="51"/>
                </a:cubicBezTo>
                <a:cubicBezTo>
                  <a:pt x="8969" y="51"/>
                  <a:pt x="8978" y="51"/>
                  <a:pt x="8987" y="51"/>
                </a:cubicBezTo>
                <a:cubicBezTo>
                  <a:pt x="9005" y="51"/>
                  <a:pt x="9024" y="51"/>
                  <a:pt x="9042" y="51"/>
                </a:cubicBezTo>
                <a:cubicBezTo>
                  <a:pt x="9044" y="51"/>
                  <a:pt x="9046" y="51"/>
                  <a:pt x="9048" y="51"/>
                </a:cubicBezTo>
                <a:cubicBezTo>
                  <a:pt x="9048" y="50"/>
                  <a:pt x="9049" y="50"/>
                  <a:pt x="9049" y="50"/>
                </a:cubicBezTo>
                <a:cubicBezTo>
                  <a:pt x="9050" y="50"/>
                  <a:pt x="9051" y="50"/>
                  <a:pt x="9052" y="50"/>
                </a:cubicBezTo>
                <a:cubicBezTo>
                  <a:pt x="9052" y="50"/>
                  <a:pt x="9053" y="50"/>
                  <a:pt x="9053" y="50"/>
                </a:cubicBezTo>
                <a:cubicBezTo>
                  <a:pt x="9055" y="50"/>
                  <a:pt x="9063" y="50"/>
                  <a:pt x="9065" y="50"/>
                </a:cubicBezTo>
                <a:cubicBezTo>
                  <a:pt x="9068" y="50"/>
                  <a:pt x="9072" y="50"/>
                  <a:pt x="9077" y="51"/>
                </a:cubicBezTo>
                <a:cubicBezTo>
                  <a:pt x="9082" y="51"/>
                  <a:pt x="9087" y="51"/>
                  <a:pt x="9092" y="51"/>
                </a:cubicBezTo>
                <a:cubicBezTo>
                  <a:pt x="9092" y="51"/>
                  <a:pt x="9093" y="51"/>
                  <a:pt x="9093" y="51"/>
                </a:cubicBezTo>
                <a:cubicBezTo>
                  <a:pt x="9094" y="51"/>
                  <a:pt x="9095" y="51"/>
                  <a:pt x="9095" y="51"/>
                </a:cubicBezTo>
                <a:cubicBezTo>
                  <a:pt x="9097" y="50"/>
                  <a:pt x="9100" y="50"/>
                  <a:pt x="9102" y="50"/>
                </a:cubicBezTo>
                <a:cubicBezTo>
                  <a:pt x="9102" y="51"/>
                  <a:pt x="9103" y="51"/>
                  <a:pt x="9104" y="51"/>
                </a:cubicBezTo>
                <a:cubicBezTo>
                  <a:pt x="9108" y="51"/>
                  <a:pt x="9112" y="51"/>
                  <a:pt x="9116" y="51"/>
                </a:cubicBezTo>
                <a:cubicBezTo>
                  <a:pt x="9119" y="51"/>
                  <a:pt x="9124" y="51"/>
                  <a:pt x="9128" y="52"/>
                </a:cubicBezTo>
                <a:cubicBezTo>
                  <a:pt x="9130" y="52"/>
                  <a:pt x="9132" y="53"/>
                  <a:pt x="9135" y="53"/>
                </a:cubicBezTo>
                <a:cubicBezTo>
                  <a:pt x="9139" y="53"/>
                  <a:pt x="9146" y="50"/>
                  <a:pt x="9150" y="51"/>
                </a:cubicBezTo>
                <a:cubicBezTo>
                  <a:pt x="9151" y="51"/>
                  <a:pt x="9150" y="52"/>
                  <a:pt x="9150" y="52"/>
                </a:cubicBezTo>
                <a:cubicBezTo>
                  <a:pt x="9150" y="52"/>
                  <a:pt x="9149" y="52"/>
                  <a:pt x="9149" y="53"/>
                </a:cubicBezTo>
                <a:cubicBezTo>
                  <a:pt x="9150" y="53"/>
                  <a:pt x="9150" y="53"/>
                  <a:pt x="9151" y="53"/>
                </a:cubicBezTo>
                <a:cubicBezTo>
                  <a:pt x="9154" y="53"/>
                  <a:pt x="9157" y="53"/>
                  <a:pt x="9159" y="52"/>
                </a:cubicBezTo>
                <a:cubicBezTo>
                  <a:pt x="9159" y="52"/>
                  <a:pt x="9160" y="52"/>
                  <a:pt x="9161" y="52"/>
                </a:cubicBezTo>
                <a:cubicBezTo>
                  <a:pt x="9169" y="51"/>
                  <a:pt x="9180" y="51"/>
                  <a:pt x="9189" y="51"/>
                </a:cubicBezTo>
                <a:cubicBezTo>
                  <a:pt x="9198" y="51"/>
                  <a:pt x="9206" y="51"/>
                  <a:pt x="9214" y="51"/>
                </a:cubicBezTo>
                <a:cubicBezTo>
                  <a:pt x="9218" y="51"/>
                  <a:pt x="9223" y="51"/>
                  <a:pt x="9227" y="52"/>
                </a:cubicBezTo>
                <a:cubicBezTo>
                  <a:pt x="9232" y="52"/>
                  <a:pt x="9230" y="52"/>
                  <a:pt x="9233" y="53"/>
                </a:cubicBezTo>
                <a:cubicBezTo>
                  <a:pt x="9234" y="54"/>
                  <a:pt x="9235" y="54"/>
                  <a:pt x="9235" y="55"/>
                </a:cubicBezTo>
                <a:cubicBezTo>
                  <a:pt x="9237" y="55"/>
                  <a:pt x="9238" y="55"/>
                  <a:pt x="9239" y="55"/>
                </a:cubicBezTo>
                <a:cubicBezTo>
                  <a:pt x="9241" y="55"/>
                  <a:pt x="9243" y="54"/>
                  <a:pt x="9243" y="54"/>
                </a:cubicBezTo>
                <a:cubicBezTo>
                  <a:pt x="9244" y="53"/>
                  <a:pt x="9245" y="53"/>
                  <a:pt x="9248" y="52"/>
                </a:cubicBezTo>
                <a:cubicBezTo>
                  <a:pt x="9252" y="52"/>
                  <a:pt x="9257" y="52"/>
                  <a:pt x="9261" y="52"/>
                </a:cubicBezTo>
                <a:cubicBezTo>
                  <a:pt x="9267" y="52"/>
                  <a:pt x="9272" y="53"/>
                  <a:pt x="9278" y="53"/>
                </a:cubicBezTo>
                <a:cubicBezTo>
                  <a:pt x="9286" y="53"/>
                  <a:pt x="9294" y="53"/>
                  <a:pt x="9302" y="53"/>
                </a:cubicBezTo>
                <a:cubicBezTo>
                  <a:pt x="9306" y="52"/>
                  <a:pt x="9310" y="52"/>
                  <a:pt x="9314" y="52"/>
                </a:cubicBezTo>
                <a:cubicBezTo>
                  <a:pt x="9316" y="52"/>
                  <a:pt x="9318" y="52"/>
                  <a:pt x="9319" y="52"/>
                </a:cubicBezTo>
                <a:cubicBezTo>
                  <a:pt x="9322" y="52"/>
                  <a:pt x="9321" y="53"/>
                  <a:pt x="9323" y="53"/>
                </a:cubicBezTo>
                <a:cubicBezTo>
                  <a:pt x="9325" y="53"/>
                  <a:pt x="9326" y="53"/>
                  <a:pt x="9328" y="54"/>
                </a:cubicBezTo>
                <a:cubicBezTo>
                  <a:pt x="9328" y="54"/>
                  <a:pt x="9329" y="54"/>
                  <a:pt x="9329" y="54"/>
                </a:cubicBezTo>
                <a:cubicBezTo>
                  <a:pt x="9330" y="54"/>
                  <a:pt x="9330" y="53"/>
                  <a:pt x="9331" y="53"/>
                </a:cubicBezTo>
                <a:cubicBezTo>
                  <a:pt x="9332" y="53"/>
                  <a:pt x="9335" y="53"/>
                  <a:pt x="9338" y="52"/>
                </a:cubicBezTo>
                <a:cubicBezTo>
                  <a:pt x="9340" y="52"/>
                  <a:pt x="9342" y="51"/>
                  <a:pt x="9346" y="51"/>
                </a:cubicBezTo>
                <a:cubicBezTo>
                  <a:pt x="9348" y="51"/>
                  <a:pt x="9349" y="51"/>
                  <a:pt x="9351" y="51"/>
                </a:cubicBezTo>
                <a:cubicBezTo>
                  <a:pt x="9361" y="51"/>
                  <a:pt x="9372" y="51"/>
                  <a:pt x="9382" y="51"/>
                </a:cubicBezTo>
                <a:cubicBezTo>
                  <a:pt x="9390" y="51"/>
                  <a:pt x="9394" y="52"/>
                  <a:pt x="9400" y="53"/>
                </a:cubicBezTo>
                <a:cubicBezTo>
                  <a:pt x="9401" y="54"/>
                  <a:pt x="9402" y="54"/>
                  <a:pt x="9403" y="54"/>
                </a:cubicBezTo>
                <a:cubicBezTo>
                  <a:pt x="9406" y="54"/>
                  <a:pt x="9408" y="52"/>
                  <a:pt x="9411" y="52"/>
                </a:cubicBezTo>
                <a:cubicBezTo>
                  <a:pt x="9413" y="52"/>
                  <a:pt x="9415" y="52"/>
                  <a:pt x="9417" y="53"/>
                </a:cubicBezTo>
                <a:cubicBezTo>
                  <a:pt x="9425" y="54"/>
                  <a:pt x="9432" y="53"/>
                  <a:pt x="9439" y="52"/>
                </a:cubicBezTo>
                <a:cubicBezTo>
                  <a:pt x="9443" y="52"/>
                  <a:pt x="9446" y="51"/>
                  <a:pt x="9449" y="51"/>
                </a:cubicBezTo>
                <a:cubicBezTo>
                  <a:pt x="9456" y="51"/>
                  <a:pt x="9463" y="51"/>
                  <a:pt x="9471" y="51"/>
                </a:cubicBezTo>
                <a:cubicBezTo>
                  <a:pt x="9472" y="51"/>
                  <a:pt x="9474" y="51"/>
                  <a:pt x="9476" y="51"/>
                </a:cubicBezTo>
                <a:cubicBezTo>
                  <a:pt x="9483" y="52"/>
                  <a:pt x="9490" y="52"/>
                  <a:pt x="9498" y="52"/>
                </a:cubicBezTo>
                <a:cubicBezTo>
                  <a:pt x="9503" y="52"/>
                  <a:pt x="9509" y="52"/>
                  <a:pt x="9515" y="53"/>
                </a:cubicBezTo>
                <a:cubicBezTo>
                  <a:pt x="9520" y="53"/>
                  <a:pt x="9525" y="54"/>
                  <a:pt x="9530" y="55"/>
                </a:cubicBezTo>
                <a:cubicBezTo>
                  <a:pt x="9530" y="55"/>
                  <a:pt x="9531" y="55"/>
                  <a:pt x="9533" y="55"/>
                </a:cubicBezTo>
                <a:cubicBezTo>
                  <a:pt x="9534" y="55"/>
                  <a:pt x="9535" y="55"/>
                  <a:pt x="9535" y="55"/>
                </a:cubicBezTo>
                <a:cubicBezTo>
                  <a:pt x="9536" y="55"/>
                  <a:pt x="9536" y="54"/>
                  <a:pt x="9536" y="54"/>
                </a:cubicBezTo>
                <a:cubicBezTo>
                  <a:pt x="9536" y="54"/>
                  <a:pt x="9537" y="54"/>
                  <a:pt x="9538" y="54"/>
                </a:cubicBezTo>
                <a:cubicBezTo>
                  <a:pt x="9539" y="54"/>
                  <a:pt x="9538" y="55"/>
                  <a:pt x="9540" y="55"/>
                </a:cubicBezTo>
                <a:cubicBezTo>
                  <a:pt x="9541" y="54"/>
                  <a:pt x="9542" y="54"/>
                  <a:pt x="9543" y="54"/>
                </a:cubicBezTo>
                <a:cubicBezTo>
                  <a:pt x="9544" y="54"/>
                  <a:pt x="9544" y="54"/>
                  <a:pt x="9545" y="54"/>
                </a:cubicBezTo>
                <a:cubicBezTo>
                  <a:pt x="9546" y="53"/>
                  <a:pt x="9547" y="54"/>
                  <a:pt x="9548" y="54"/>
                </a:cubicBezTo>
                <a:cubicBezTo>
                  <a:pt x="9550" y="55"/>
                  <a:pt x="9553" y="54"/>
                  <a:pt x="9555" y="54"/>
                </a:cubicBezTo>
                <a:cubicBezTo>
                  <a:pt x="9563" y="51"/>
                  <a:pt x="9583" y="52"/>
                  <a:pt x="9595" y="52"/>
                </a:cubicBezTo>
                <a:cubicBezTo>
                  <a:pt x="9601" y="52"/>
                  <a:pt x="9609" y="51"/>
                  <a:pt x="9615" y="52"/>
                </a:cubicBezTo>
                <a:cubicBezTo>
                  <a:pt x="9616" y="52"/>
                  <a:pt x="9617" y="52"/>
                  <a:pt x="9618" y="52"/>
                </a:cubicBezTo>
                <a:cubicBezTo>
                  <a:pt x="9620" y="53"/>
                  <a:pt x="9623" y="53"/>
                  <a:pt x="9624" y="53"/>
                </a:cubicBezTo>
                <a:cubicBezTo>
                  <a:pt x="9625" y="53"/>
                  <a:pt x="9626" y="54"/>
                  <a:pt x="9627" y="54"/>
                </a:cubicBezTo>
                <a:cubicBezTo>
                  <a:pt x="9630" y="55"/>
                  <a:pt x="9637" y="55"/>
                  <a:pt x="9642" y="55"/>
                </a:cubicBezTo>
                <a:cubicBezTo>
                  <a:pt x="9646" y="55"/>
                  <a:pt x="9653" y="56"/>
                  <a:pt x="9657" y="55"/>
                </a:cubicBezTo>
                <a:cubicBezTo>
                  <a:pt x="9659" y="54"/>
                  <a:pt x="9666" y="55"/>
                  <a:pt x="9669" y="55"/>
                </a:cubicBezTo>
                <a:cubicBezTo>
                  <a:pt x="9675" y="55"/>
                  <a:pt x="9681" y="55"/>
                  <a:pt x="9688" y="55"/>
                </a:cubicBezTo>
                <a:cubicBezTo>
                  <a:pt x="9690" y="55"/>
                  <a:pt x="9694" y="55"/>
                  <a:pt x="9697" y="55"/>
                </a:cubicBezTo>
                <a:cubicBezTo>
                  <a:pt x="9700" y="55"/>
                  <a:pt x="9701" y="54"/>
                  <a:pt x="9705" y="54"/>
                </a:cubicBezTo>
                <a:cubicBezTo>
                  <a:pt x="9707" y="53"/>
                  <a:pt x="9710" y="54"/>
                  <a:pt x="9710" y="54"/>
                </a:cubicBezTo>
                <a:cubicBezTo>
                  <a:pt x="9710" y="55"/>
                  <a:pt x="9709" y="55"/>
                  <a:pt x="9710" y="55"/>
                </a:cubicBezTo>
                <a:cubicBezTo>
                  <a:pt x="9711" y="56"/>
                  <a:pt x="9721" y="55"/>
                  <a:pt x="9723" y="55"/>
                </a:cubicBezTo>
                <a:cubicBezTo>
                  <a:pt x="9726" y="55"/>
                  <a:pt x="9737" y="56"/>
                  <a:pt x="9738" y="55"/>
                </a:cubicBezTo>
                <a:cubicBezTo>
                  <a:pt x="9738" y="54"/>
                  <a:pt x="9738" y="54"/>
                  <a:pt x="9738" y="54"/>
                </a:cubicBezTo>
                <a:cubicBezTo>
                  <a:pt x="9740" y="53"/>
                  <a:pt x="9746" y="53"/>
                  <a:pt x="9748" y="53"/>
                </a:cubicBezTo>
                <a:cubicBezTo>
                  <a:pt x="9752" y="53"/>
                  <a:pt x="9756" y="54"/>
                  <a:pt x="9760" y="54"/>
                </a:cubicBezTo>
                <a:cubicBezTo>
                  <a:pt x="9774" y="54"/>
                  <a:pt x="9805" y="55"/>
                  <a:pt x="9830" y="55"/>
                </a:cubicBezTo>
                <a:cubicBezTo>
                  <a:pt x="9838" y="55"/>
                  <a:pt x="9846" y="55"/>
                  <a:pt x="9855" y="55"/>
                </a:cubicBezTo>
                <a:cubicBezTo>
                  <a:pt x="9861" y="55"/>
                  <a:pt x="9872" y="54"/>
                  <a:pt x="9878" y="55"/>
                </a:cubicBezTo>
                <a:cubicBezTo>
                  <a:pt x="9879" y="55"/>
                  <a:pt x="9880" y="55"/>
                  <a:pt x="9881" y="56"/>
                </a:cubicBezTo>
                <a:cubicBezTo>
                  <a:pt x="9883" y="56"/>
                  <a:pt x="9886" y="56"/>
                  <a:pt x="9889" y="56"/>
                </a:cubicBezTo>
                <a:cubicBezTo>
                  <a:pt x="9892" y="55"/>
                  <a:pt x="9895" y="55"/>
                  <a:pt x="9897" y="55"/>
                </a:cubicBezTo>
                <a:cubicBezTo>
                  <a:pt x="9898" y="54"/>
                  <a:pt x="9898" y="54"/>
                  <a:pt x="9899" y="54"/>
                </a:cubicBezTo>
                <a:cubicBezTo>
                  <a:pt x="9901" y="54"/>
                  <a:pt x="9903" y="55"/>
                  <a:pt x="9905" y="55"/>
                </a:cubicBezTo>
                <a:cubicBezTo>
                  <a:pt x="9916" y="55"/>
                  <a:pt x="9930" y="56"/>
                  <a:pt x="9941" y="56"/>
                </a:cubicBezTo>
                <a:cubicBezTo>
                  <a:pt x="9942" y="56"/>
                  <a:pt x="9943" y="56"/>
                  <a:pt x="9943" y="55"/>
                </a:cubicBezTo>
                <a:cubicBezTo>
                  <a:pt x="9944" y="53"/>
                  <a:pt x="9958" y="54"/>
                  <a:pt x="9962" y="55"/>
                </a:cubicBezTo>
                <a:cubicBezTo>
                  <a:pt x="9973" y="55"/>
                  <a:pt x="9987" y="55"/>
                  <a:pt x="9994" y="55"/>
                </a:cubicBezTo>
                <a:cubicBezTo>
                  <a:pt x="10001" y="55"/>
                  <a:pt x="10019" y="55"/>
                  <a:pt x="10033" y="55"/>
                </a:cubicBezTo>
                <a:cubicBezTo>
                  <a:pt x="10047" y="55"/>
                  <a:pt x="10083" y="55"/>
                  <a:pt x="10113" y="55"/>
                </a:cubicBezTo>
                <a:cubicBezTo>
                  <a:pt x="10123" y="55"/>
                  <a:pt x="10132" y="55"/>
                  <a:pt x="10142" y="55"/>
                </a:cubicBezTo>
                <a:cubicBezTo>
                  <a:pt x="10145" y="55"/>
                  <a:pt x="10165" y="54"/>
                  <a:pt x="10165" y="55"/>
                </a:cubicBezTo>
                <a:cubicBezTo>
                  <a:pt x="10165" y="56"/>
                  <a:pt x="10164" y="56"/>
                  <a:pt x="10164" y="56"/>
                </a:cubicBezTo>
                <a:cubicBezTo>
                  <a:pt x="10163" y="56"/>
                  <a:pt x="10165" y="57"/>
                  <a:pt x="10166" y="57"/>
                </a:cubicBezTo>
                <a:cubicBezTo>
                  <a:pt x="10169" y="57"/>
                  <a:pt x="10171" y="57"/>
                  <a:pt x="10174" y="57"/>
                </a:cubicBezTo>
                <a:cubicBezTo>
                  <a:pt x="10177" y="57"/>
                  <a:pt x="10181" y="57"/>
                  <a:pt x="10185" y="57"/>
                </a:cubicBezTo>
                <a:cubicBezTo>
                  <a:pt x="10189" y="57"/>
                  <a:pt x="10194" y="57"/>
                  <a:pt x="10199" y="57"/>
                </a:cubicBezTo>
                <a:cubicBezTo>
                  <a:pt x="10202" y="57"/>
                  <a:pt x="10205" y="58"/>
                  <a:pt x="10209" y="57"/>
                </a:cubicBezTo>
                <a:cubicBezTo>
                  <a:pt x="10212" y="57"/>
                  <a:pt x="10214" y="56"/>
                  <a:pt x="10216" y="56"/>
                </a:cubicBezTo>
                <a:cubicBezTo>
                  <a:pt x="10219" y="55"/>
                  <a:pt x="10221" y="55"/>
                  <a:pt x="10225" y="55"/>
                </a:cubicBezTo>
                <a:cubicBezTo>
                  <a:pt x="10229" y="55"/>
                  <a:pt x="10240" y="55"/>
                  <a:pt x="10249" y="55"/>
                </a:cubicBezTo>
                <a:cubicBezTo>
                  <a:pt x="10254" y="55"/>
                  <a:pt x="10261" y="54"/>
                  <a:pt x="10266" y="55"/>
                </a:cubicBezTo>
                <a:cubicBezTo>
                  <a:pt x="10270" y="55"/>
                  <a:pt x="10274" y="55"/>
                  <a:pt x="10279" y="55"/>
                </a:cubicBezTo>
                <a:cubicBezTo>
                  <a:pt x="10284" y="55"/>
                  <a:pt x="10289" y="55"/>
                  <a:pt x="10293" y="55"/>
                </a:cubicBezTo>
                <a:cubicBezTo>
                  <a:pt x="10297" y="56"/>
                  <a:pt x="10299" y="56"/>
                  <a:pt x="10303" y="57"/>
                </a:cubicBezTo>
                <a:cubicBezTo>
                  <a:pt x="10308" y="57"/>
                  <a:pt x="10315" y="56"/>
                  <a:pt x="10320" y="56"/>
                </a:cubicBezTo>
                <a:cubicBezTo>
                  <a:pt x="10329" y="56"/>
                  <a:pt x="10335" y="55"/>
                  <a:pt x="10343" y="54"/>
                </a:cubicBezTo>
                <a:cubicBezTo>
                  <a:pt x="10348" y="54"/>
                  <a:pt x="10353" y="54"/>
                  <a:pt x="10357" y="54"/>
                </a:cubicBezTo>
                <a:cubicBezTo>
                  <a:pt x="10363" y="54"/>
                  <a:pt x="10370" y="55"/>
                  <a:pt x="10376" y="55"/>
                </a:cubicBezTo>
                <a:cubicBezTo>
                  <a:pt x="10381" y="55"/>
                  <a:pt x="10384" y="56"/>
                  <a:pt x="10392" y="56"/>
                </a:cubicBezTo>
                <a:cubicBezTo>
                  <a:pt x="10392" y="56"/>
                  <a:pt x="10392" y="56"/>
                  <a:pt x="10392" y="55"/>
                </a:cubicBezTo>
                <a:cubicBezTo>
                  <a:pt x="10394" y="54"/>
                  <a:pt x="10399" y="54"/>
                  <a:pt x="10402" y="55"/>
                </a:cubicBezTo>
                <a:cubicBezTo>
                  <a:pt x="10404" y="55"/>
                  <a:pt x="10413" y="55"/>
                  <a:pt x="10409" y="56"/>
                </a:cubicBezTo>
                <a:cubicBezTo>
                  <a:pt x="10409" y="56"/>
                  <a:pt x="10410" y="56"/>
                  <a:pt x="10411" y="57"/>
                </a:cubicBezTo>
                <a:cubicBezTo>
                  <a:pt x="10412" y="57"/>
                  <a:pt x="10413" y="57"/>
                  <a:pt x="10413" y="58"/>
                </a:cubicBezTo>
                <a:cubicBezTo>
                  <a:pt x="10414" y="58"/>
                  <a:pt x="10415" y="58"/>
                  <a:pt x="10417" y="58"/>
                </a:cubicBezTo>
                <a:cubicBezTo>
                  <a:pt x="10418" y="58"/>
                  <a:pt x="10418" y="58"/>
                  <a:pt x="10420" y="58"/>
                </a:cubicBezTo>
                <a:cubicBezTo>
                  <a:pt x="10422" y="58"/>
                  <a:pt x="10423" y="58"/>
                  <a:pt x="10425" y="59"/>
                </a:cubicBezTo>
                <a:cubicBezTo>
                  <a:pt x="10426" y="59"/>
                  <a:pt x="10429" y="59"/>
                  <a:pt x="10431" y="59"/>
                </a:cubicBezTo>
                <a:cubicBezTo>
                  <a:pt x="10432" y="59"/>
                  <a:pt x="10434" y="58"/>
                  <a:pt x="10433" y="57"/>
                </a:cubicBezTo>
                <a:cubicBezTo>
                  <a:pt x="10432" y="57"/>
                  <a:pt x="10432" y="57"/>
                  <a:pt x="10432" y="57"/>
                </a:cubicBezTo>
                <a:cubicBezTo>
                  <a:pt x="10432" y="56"/>
                  <a:pt x="10434" y="56"/>
                  <a:pt x="10437" y="56"/>
                </a:cubicBezTo>
                <a:cubicBezTo>
                  <a:pt x="10438" y="56"/>
                  <a:pt x="10439" y="56"/>
                  <a:pt x="10439" y="56"/>
                </a:cubicBezTo>
                <a:cubicBezTo>
                  <a:pt x="10440" y="57"/>
                  <a:pt x="10439" y="57"/>
                  <a:pt x="10441" y="57"/>
                </a:cubicBezTo>
                <a:cubicBezTo>
                  <a:pt x="10446" y="57"/>
                  <a:pt x="10451" y="58"/>
                  <a:pt x="10457" y="58"/>
                </a:cubicBezTo>
                <a:cubicBezTo>
                  <a:pt x="10462" y="58"/>
                  <a:pt x="10467" y="58"/>
                  <a:pt x="10473" y="58"/>
                </a:cubicBezTo>
                <a:cubicBezTo>
                  <a:pt x="10476" y="58"/>
                  <a:pt x="10480" y="58"/>
                  <a:pt x="10483" y="58"/>
                </a:cubicBezTo>
                <a:cubicBezTo>
                  <a:pt x="10487" y="58"/>
                  <a:pt x="10491" y="58"/>
                  <a:pt x="10495" y="58"/>
                </a:cubicBezTo>
                <a:cubicBezTo>
                  <a:pt x="10498" y="58"/>
                  <a:pt x="10501" y="58"/>
                  <a:pt x="10505" y="58"/>
                </a:cubicBezTo>
                <a:cubicBezTo>
                  <a:pt x="10507" y="58"/>
                  <a:pt x="10506" y="57"/>
                  <a:pt x="10508" y="57"/>
                </a:cubicBezTo>
                <a:cubicBezTo>
                  <a:pt x="10509" y="57"/>
                  <a:pt x="10513" y="57"/>
                  <a:pt x="10515" y="57"/>
                </a:cubicBezTo>
                <a:cubicBezTo>
                  <a:pt x="10520" y="57"/>
                  <a:pt x="10525" y="56"/>
                  <a:pt x="10531" y="56"/>
                </a:cubicBezTo>
                <a:cubicBezTo>
                  <a:pt x="10532" y="56"/>
                  <a:pt x="10533" y="56"/>
                  <a:pt x="10534" y="56"/>
                </a:cubicBezTo>
                <a:cubicBezTo>
                  <a:pt x="10535" y="56"/>
                  <a:pt x="10536" y="57"/>
                  <a:pt x="10536" y="57"/>
                </a:cubicBezTo>
                <a:cubicBezTo>
                  <a:pt x="10536" y="57"/>
                  <a:pt x="10535" y="57"/>
                  <a:pt x="10535" y="58"/>
                </a:cubicBezTo>
                <a:cubicBezTo>
                  <a:pt x="10535" y="58"/>
                  <a:pt x="10536" y="59"/>
                  <a:pt x="10538" y="59"/>
                </a:cubicBezTo>
                <a:cubicBezTo>
                  <a:pt x="10539" y="59"/>
                  <a:pt x="10541" y="59"/>
                  <a:pt x="10543" y="59"/>
                </a:cubicBezTo>
                <a:cubicBezTo>
                  <a:pt x="10545" y="60"/>
                  <a:pt x="10552" y="59"/>
                  <a:pt x="10555" y="59"/>
                </a:cubicBezTo>
                <a:cubicBezTo>
                  <a:pt x="10560" y="58"/>
                  <a:pt x="10566" y="59"/>
                  <a:pt x="10572" y="58"/>
                </a:cubicBezTo>
                <a:cubicBezTo>
                  <a:pt x="10573" y="58"/>
                  <a:pt x="10575" y="57"/>
                  <a:pt x="10576" y="57"/>
                </a:cubicBezTo>
                <a:cubicBezTo>
                  <a:pt x="10577" y="57"/>
                  <a:pt x="10578" y="57"/>
                  <a:pt x="10580" y="57"/>
                </a:cubicBezTo>
                <a:cubicBezTo>
                  <a:pt x="10581" y="57"/>
                  <a:pt x="10583" y="56"/>
                  <a:pt x="10584" y="57"/>
                </a:cubicBezTo>
                <a:cubicBezTo>
                  <a:pt x="10588" y="59"/>
                  <a:pt x="10599" y="58"/>
                  <a:pt x="10604" y="57"/>
                </a:cubicBezTo>
                <a:cubicBezTo>
                  <a:pt x="10613" y="57"/>
                  <a:pt x="10621" y="57"/>
                  <a:pt x="10623" y="57"/>
                </a:cubicBezTo>
                <a:cubicBezTo>
                  <a:pt x="10624" y="57"/>
                  <a:pt x="10636" y="57"/>
                  <a:pt x="10651" y="57"/>
                </a:cubicBezTo>
                <a:cubicBezTo>
                  <a:pt x="10656" y="57"/>
                  <a:pt x="10661" y="57"/>
                  <a:pt x="10666" y="58"/>
                </a:cubicBezTo>
                <a:cubicBezTo>
                  <a:pt x="10669" y="58"/>
                  <a:pt x="10673" y="58"/>
                  <a:pt x="10677" y="57"/>
                </a:cubicBezTo>
                <a:cubicBezTo>
                  <a:pt x="10678" y="57"/>
                  <a:pt x="10680" y="57"/>
                  <a:pt x="10681" y="56"/>
                </a:cubicBezTo>
                <a:cubicBezTo>
                  <a:pt x="10683" y="56"/>
                  <a:pt x="10684" y="56"/>
                  <a:pt x="10686" y="56"/>
                </a:cubicBezTo>
                <a:cubicBezTo>
                  <a:pt x="10689" y="55"/>
                  <a:pt x="10690" y="55"/>
                  <a:pt x="10693" y="56"/>
                </a:cubicBezTo>
                <a:cubicBezTo>
                  <a:pt x="10697" y="56"/>
                  <a:pt x="10702" y="57"/>
                  <a:pt x="10703" y="57"/>
                </a:cubicBezTo>
                <a:cubicBezTo>
                  <a:pt x="10706" y="58"/>
                  <a:pt x="10730" y="58"/>
                  <a:pt x="10738" y="56"/>
                </a:cubicBezTo>
                <a:cubicBezTo>
                  <a:pt x="10742" y="56"/>
                  <a:pt x="10751" y="54"/>
                  <a:pt x="10755" y="56"/>
                </a:cubicBezTo>
                <a:cubicBezTo>
                  <a:pt x="10756" y="56"/>
                  <a:pt x="10756" y="56"/>
                  <a:pt x="10756" y="56"/>
                </a:cubicBezTo>
                <a:cubicBezTo>
                  <a:pt x="10757" y="56"/>
                  <a:pt x="10759" y="56"/>
                  <a:pt x="10760" y="57"/>
                </a:cubicBezTo>
                <a:cubicBezTo>
                  <a:pt x="10766" y="57"/>
                  <a:pt x="10772" y="57"/>
                  <a:pt x="10778" y="57"/>
                </a:cubicBezTo>
                <a:cubicBezTo>
                  <a:pt x="10787" y="57"/>
                  <a:pt x="10797" y="58"/>
                  <a:pt x="10801" y="58"/>
                </a:cubicBezTo>
                <a:cubicBezTo>
                  <a:pt x="10805" y="58"/>
                  <a:pt x="10819" y="58"/>
                  <a:pt x="10833" y="58"/>
                </a:cubicBezTo>
                <a:cubicBezTo>
                  <a:pt x="10842" y="58"/>
                  <a:pt x="10859" y="59"/>
                  <a:pt x="10864" y="56"/>
                </a:cubicBezTo>
                <a:cubicBezTo>
                  <a:pt x="10864" y="56"/>
                  <a:pt x="10864" y="56"/>
                  <a:pt x="10865" y="56"/>
                </a:cubicBezTo>
                <a:cubicBezTo>
                  <a:pt x="10866" y="56"/>
                  <a:pt x="10867" y="56"/>
                  <a:pt x="10868" y="56"/>
                </a:cubicBezTo>
                <a:cubicBezTo>
                  <a:pt x="10872" y="56"/>
                  <a:pt x="10875" y="55"/>
                  <a:pt x="10879" y="55"/>
                </a:cubicBezTo>
                <a:cubicBezTo>
                  <a:pt x="10884" y="55"/>
                  <a:pt x="10889" y="55"/>
                  <a:pt x="10894" y="56"/>
                </a:cubicBezTo>
                <a:cubicBezTo>
                  <a:pt x="10900" y="56"/>
                  <a:pt x="10907" y="56"/>
                  <a:pt x="10914" y="56"/>
                </a:cubicBezTo>
                <a:cubicBezTo>
                  <a:pt x="10917" y="56"/>
                  <a:pt x="10927" y="56"/>
                  <a:pt x="10930" y="56"/>
                </a:cubicBezTo>
                <a:cubicBezTo>
                  <a:pt x="10930" y="56"/>
                  <a:pt x="10930" y="56"/>
                  <a:pt x="10931" y="56"/>
                </a:cubicBezTo>
                <a:cubicBezTo>
                  <a:pt x="10934" y="57"/>
                  <a:pt x="10940" y="57"/>
                  <a:pt x="10944" y="57"/>
                </a:cubicBezTo>
                <a:cubicBezTo>
                  <a:pt x="10951" y="57"/>
                  <a:pt x="10961" y="58"/>
                  <a:pt x="10967" y="58"/>
                </a:cubicBezTo>
                <a:cubicBezTo>
                  <a:pt x="10972" y="58"/>
                  <a:pt x="10976" y="58"/>
                  <a:pt x="10981" y="57"/>
                </a:cubicBezTo>
                <a:cubicBezTo>
                  <a:pt x="10984" y="56"/>
                  <a:pt x="10986" y="56"/>
                  <a:pt x="10991" y="56"/>
                </a:cubicBezTo>
                <a:cubicBezTo>
                  <a:pt x="10997" y="55"/>
                  <a:pt x="11003" y="56"/>
                  <a:pt x="11009" y="55"/>
                </a:cubicBezTo>
                <a:cubicBezTo>
                  <a:pt x="11016" y="55"/>
                  <a:pt x="11023" y="55"/>
                  <a:pt x="11030" y="55"/>
                </a:cubicBezTo>
                <a:cubicBezTo>
                  <a:pt x="11030" y="56"/>
                  <a:pt x="11030" y="56"/>
                  <a:pt x="11030" y="56"/>
                </a:cubicBezTo>
                <a:cubicBezTo>
                  <a:pt x="11030" y="57"/>
                  <a:pt x="11031" y="57"/>
                  <a:pt x="11032" y="57"/>
                </a:cubicBezTo>
                <a:cubicBezTo>
                  <a:pt x="11033" y="57"/>
                  <a:pt x="11033" y="57"/>
                  <a:pt x="11034" y="57"/>
                </a:cubicBezTo>
                <a:cubicBezTo>
                  <a:pt x="11038" y="56"/>
                  <a:pt x="11046" y="54"/>
                  <a:pt x="11050" y="56"/>
                </a:cubicBezTo>
                <a:cubicBezTo>
                  <a:pt x="11051" y="56"/>
                  <a:pt x="11051" y="57"/>
                  <a:pt x="11050" y="57"/>
                </a:cubicBezTo>
                <a:cubicBezTo>
                  <a:pt x="11050" y="57"/>
                  <a:pt x="11049" y="57"/>
                  <a:pt x="11049" y="58"/>
                </a:cubicBezTo>
                <a:cubicBezTo>
                  <a:pt x="11049" y="58"/>
                  <a:pt x="11051" y="59"/>
                  <a:pt x="11053" y="59"/>
                </a:cubicBezTo>
                <a:cubicBezTo>
                  <a:pt x="11055" y="59"/>
                  <a:pt x="11057" y="59"/>
                  <a:pt x="11059" y="59"/>
                </a:cubicBezTo>
                <a:cubicBezTo>
                  <a:pt x="11061" y="59"/>
                  <a:pt x="11062" y="58"/>
                  <a:pt x="11065" y="57"/>
                </a:cubicBezTo>
                <a:cubicBezTo>
                  <a:pt x="11066" y="57"/>
                  <a:pt x="11066" y="58"/>
                  <a:pt x="11066" y="58"/>
                </a:cubicBezTo>
                <a:cubicBezTo>
                  <a:pt x="11066" y="58"/>
                  <a:pt x="11066" y="58"/>
                  <a:pt x="11065" y="58"/>
                </a:cubicBezTo>
                <a:cubicBezTo>
                  <a:pt x="11065" y="60"/>
                  <a:pt x="11081" y="59"/>
                  <a:pt x="11084" y="59"/>
                </a:cubicBezTo>
                <a:cubicBezTo>
                  <a:pt x="11093" y="59"/>
                  <a:pt x="11103" y="59"/>
                  <a:pt x="11113" y="59"/>
                </a:cubicBezTo>
                <a:cubicBezTo>
                  <a:pt x="11122" y="59"/>
                  <a:pt x="11131" y="59"/>
                  <a:pt x="11140" y="59"/>
                </a:cubicBezTo>
                <a:cubicBezTo>
                  <a:pt x="11145" y="59"/>
                  <a:pt x="11155" y="60"/>
                  <a:pt x="11160" y="59"/>
                </a:cubicBezTo>
                <a:cubicBezTo>
                  <a:pt x="11161" y="58"/>
                  <a:pt x="11161" y="58"/>
                  <a:pt x="11163" y="57"/>
                </a:cubicBezTo>
                <a:cubicBezTo>
                  <a:pt x="11164" y="57"/>
                  <a:pt x="11166" y="57"/>
                  <a:pt x="11168" y="57"/>
                </a:cubicBezTo>
                <a:cubicBezTo>
                  <a:pt x="11171" y="56"/>
                  <a:pt x="11175" y="56"/>
                  <a:pt x="11178" y="55"/>
                </a:cubicBezTo>
                <a:cubicBezTo>
                  <a:pt x="11181" y="55"/>
                  <a:pt x="11182" y="54"/>
                  <a:pt x="11185" y="54"/>
                </a:cubicBezTo>
                <a:cubicBezTo>
                  <a:pt x="11189" y="54"/>
                  <a:pt x="11193" y="54"/>
                  <a:pt x="11196" y="54"/>
                </a:cubicBezTo>
                <a:cubicBezTo>
                  <a:pt x="11199" y="54"/>
                  <a:pt x="11212" y="54"/>
                  <a:pt x="11214" y="55"/>
                </a:cubicBezTo>
                <a:cubicBezTo>
                  <a:pt x="11214" y="55"/>
                  <a:pt x="11214" y="55"/>
                  <a:pt x="11214" y="55"/>
                </a:cubicBezTo>
                <a:cubicBezTo>
                  <a:pt x="11214" y="56"/>
                  <a:pt x="11216" y="56"/>
                  <a:pt x="11219" y="56"/>
                </a:cubicBezTo>
                <a:cubicBezTo>
                  <a:pt x="11220" y="56"/>
                  <a:pt x="11221" y="56"/>
                  <a:pt x="11221" y="55"/>
                </a:cubicBezTo>
                <a:cubicBezTo>
                  <a:pt x="11221" y="55"/>
                  <a:pt x="11221" y="54"/>
                  <a:pt x="11223" y="54"/>
                </a:cubicBezTo>
                <a:cubicBezTo>
                  <a:pt x="11229" y="54"/>
                  <a:pt x="11237" y="54"/>
                  <a:pt x="11243" y="54"/>
                </a:cubicBezTo>
                <a:cubicBezTo>
                  <a:pt x="11244" y="54"/>
                  <a:pt x="11244" y="54"/>
                  <a:pt x="11245" y="54"/>
                </a:cubicBezTo>
                <a:cubicBezTo>
                  <a:pt x="11246" y="54"/>
                  <a:pt x="11245" y="55"/>
                  <a:pt x="11245" y="55"/>
                </a:cubicBezTo>
                <a:cubicBezTo>
                  <a:pt x="11245" y="56"/>
                  <a:pt x="11252" y="59"/>
                  <a:pt x="11257" y="57"/>
                </a:cubicBezTo>
                <a:cubicBezTo>
                  <a:pt x="11259" y="57"/>
                  <a:pt x="11257" y="56"/>
                  <a:pt x="11257" y="56"/>
                </a:cubicBezTo>
                <a:cubicBezTo>
                  <a:pt x="11258" y="55"/>
                  <a:pt x="11258" y="55"/>
                  <a:pt x="11259" y="55"/>
                </a:cubicBezTo>
                <a:cubicBezTo>
                  <a:pt x="11259" y="55"/>
                  <a:pt x="11259" y="54"/>
                  <a:pt x="11259" y="54"/>
                </a:cubicBezTo>
                <a:cubicBezTo>
                  <a:pt x="11261" y="53"/>
                  <a:pt x="11267" y="54"/>
                  <a:pt x="11269" y="54"/>
                </a:cubicBezTo>
                <a:cubicBezTo>
                  <a:pt x="11272" y="54"/>
                  <a:pt x="11271" y="55"/>
                  <a:pt x="11273" y="56"/>
                </a:cubicBezTo>
                <a:cubicBezTo>
                  <a:pt x="11275" y="56"/>
                  <a:pt x="11280" y="55"/>
                  <a:pt x="11282" y="55"/>
                </a:cubicBezTo>
                <a:cubicBezTo>
                  <a:pt x="11286" y="55"/>
                  <a:pt x="11292" y="56"/>
                  <a:pt x="11296" y="55"/>
                </a:cubicBezTo>
                <a:cubicBezTo>
                  <a:pt x="11300" y="55"/>
                  <a:pt x="11301" y="54"/>
                  <a:pt x="11305" y="54"/>
                </a:cubicBezTo>
                <a:cubicBezTo>
                  <a:pt x="11314" y="53"/>
                  <a:pt x="11327" y="53"/>
                  <a:pt x="11337" y="53"/>
                </a:cubicBezTo>
                <a:cubicBezTo>
                  <a:pt x="11342" y="53"/>
                  <a:pt x="11373" y="52"/>
                  <a:pt x="11374" y="54"/>
                </a:cubicBezTo>
                <a:cubicBezTo>
                  <a:pt x="11375" y="54"/>
                  <a:pt x="11374" y="54"/>
                  <a:pt x="11375" y="54"/>
                </a:cubicBezTo>
                <a:cubicBezTo>
                  <a:pt x="11375" y="55"/>
                  <a:pt x="11376" y="55"/>
                  <a:pt x="11377" y="55"/>
                </a:cubicBezTo>
                <a:cubicBezTo>
                  <a:pt x="11379" y="55"/>
                  <a:pt x="11392" y="54"/>
                  <a:pt x="11386" y="56"/>
                </a:cubicBezTo>
                <a:cubicBezTo>
                  <a:pt x="11385" y="56"/>
                  <a:pt x="11384" y="56"/>
                  <a:pt x="11384" y="57"/>
                </a:cubicBezTo>
                <a:cubicBezTo>
                  <a:pt x="11385" y="57"/>
                  <a:pt x="11387" y="57"/>
                  <a:pt x="11389" y="57"/>
                </a:cubicBezTo>
                <a:cubicBezTo>
                  <a:pt x="11390" y="56"/>
                  <a:pt x="11392" y="56"/>
                  <a:pt x="11393" y="56"/>
                </a:cubicBezTo>
                <a:cubicBezTo>
                  <a:pt x="11396" y="56"/>
                  <a:pt x="11398" y="56"/>
                  <a:pt x="11401" y="56"/>
                </a:cubicBezTo>
                <a:cubicBezTo>
                  <a:pt x="11403" y="56"/>
                  <a:pt x="11406" y="56"/>
                  <a:pt x="11408" y="56"/>
                </a:cubicBezTo>
                <a:cubicBezTo>
                  <a:pt x="11416" y="56"/>
                  <a:pt x="11424" y="56"/>
                  <a:pt x="11432" y="55"/>
                </a:cubicBezTo>
                <a:cubicBezTo>
                  <a:pt x="11435" y="55"/>
                  <a:pt x="11438" y="55"/>
                  <a:pt x="11441" y="55"/>
                </a:cubicBezTo>
                <a:cubicBezTo>
                  <a:pt x="11444" y="55"/>
                  <a:pt x="11447" y="56"/>
                  <a:pt x="11450" y="56"/>
                </a:cubicBezTo>
                <a:cubicBezTo>
                  <a:pt x="11451" y="55"/>
                  <a:pt x="11454" y="55"/>
                  <a:pt x="11456" y="55"/>
                </a:cubicBezTo>
                <a:cubicBezTo>
                  <a:pt x="11457" y="55"/>
                  <a:pt x="11459" y="54"/>
                  <a:pt x="11460" y="54"/>
                </a:cubicBezTo>
                <a:cubicBezTo>
                  <a:pt x="11463" y="53"/>
                  <a:pt x="11467" y="53"/>
                  <a:pt x="11468" y="52"/>
                </a:cubicBezTo>
                <a:cubicBezTo>
                  <a:pt x="11468" y="52"/>
                  <a:pt x="11468" y="52"/>
                  <a:pt x="11468" y="52"/>
                </a:cubicBezTo>
                <a:cubicBezTo>
                  <a:pt x="11469" y="52"/>
                  <a:pt x="11470" y="51"/>
                  <a:pt x="11471" y="51"/>
                </a:cubicBezTo>
                <a:cubicBezTo>
                  <a:pt x="11474" y="51"/>
                  <a:pt x="11477" y="51"/>
                  <a:pt x="11479" y="51"/>
                </a:cubicBezTo>
                <a:cubicBezTo>
                  <a:pt x="11482" y="51"/>
                  <a:pt x="11486" y="51"/>
                  <a:pt x="11487" y="52"/>
                </a:cubicBezTo>
                <a:cubicBezTo>
                  <a:pt x="11487" y="53"/>
                  <a:pt x="11487" y="53"/>
                  <a:pt x="11488" y="54"/>
                </a:cubicBezTo>
                <a:cubicBezTo>
                  <a:pt x="11490" y="54"/>
                  <a:pt x="11497" y="53"/>
                  <a:pt x="11500" y="53"/>
                </a:cubicBezTo>
                <a:cubicBezTo>
                  <a:pt x="11505" y="53"/>
                  <a:pt x="11508" y="55"/>
                  <a:pt x="11513" y="56"/>
                </a:cubicBezTo>
                <a:cubicBezTo>
                  <a:pt x="11518" y="57"/>
                  <a:pt x="11526" y="56"/>
                  <a:pt x="11532" y="56"/>
                </a:cubicBezTo>
                <a:cubicBezTo>
                  <a:pt x="11535" y="56"/>
                  <a:pt x="11539" y="56"/>
                  <a:pt x="11541" y="55"/>
                </a:cubicBezTo>
                <a:cubicBezTo>
                  <a:pt x="11543" y="55"/>
                  <a:pt x="11545" y="55"/>
                  <a:pt x="11547" y="54"/>
                </a:cubicBezTo>
                <a:cubicBezTo>
                  <a:pt x="11553" y="54"/>
                  <a:pt x="11561" y="54"/>
                  <a:pt x="11567" y="54"/>
                </a:cubicBezTo>
                <a:cubicBezTo>
                  <a:pt x="11575" y="54"/>
                  <a:pt x="11583" y="54"/>
                  <a:pt x="11591" y="54"/>
                </a:cubicBezTo>
                <a:cubicBezTo>
                  <a:pt x="11596" y="54"/>
                  <a:pt x="11602" y="54"/>
                  <a:pt x="11607" y="54"/>
                </a:cubicBezTo>
                <a:cubicBezTo>
                  <a:pt x="11614" y="54"/>
                  <a:pt x="11620" y="54"/>
                  <a:pt x="11627" y="54"/>
                </a:cubicBezTo>
                <a:lnTo>
                  <a:pt x="11627" y="56"/>
                </a:lnTo>
                <a:cubicBezTo>
                  <a:pt x="11630" y="56"/>
                  <a:pt x="11634" y="56"/>
                  <a:pt x="11638" y="56"/>
                </a:cubicBezTo>
                <a:cubicBezTo>
                  <a:pt x="11640" y="55"/>
                  <a:pt x="11643" y="55"/>
                  <a:pt x="11645" y="55"/>
                </a:cubicBezTo>
                <a:cubicBezTo>
                  <a:pt x="11646" y="55"/>
                  <a:pt x="11646" y="56"/>
                  <a:pt x="11647" y="56"/>
                </a:cubicBezTo>
                <a:cubicBezTo>
                  <a:pt x="11648" y="57"/>
                  <a:pt x="11649" y="57"/>
                  <a:pt x="11650" y="57"/>
                </a:cubicBezTo>
                <a:cubicBezTo>
                  <a:pt x="11651" y="57"/>
                  <a:pt x="11653" y="56"/>
                  <a:pt x="11654" y="57"/>
                </a:cubicBezTo>
                <a:cubicBezTo>
                  <a:pt x="11655" y="57"/>
                  <a:pt x="11656" y="58"/>
                  <a:pt x="11656" y="58"/>
                </a:cubicBezTo>
                <a:cubicBezTo>
                  <a:pt x="11658" y="59"/>
                  <a:pt x="11659" y="58"/>
                  <a:pt x="11659" y="57"/>
                </a:cubicBezTo>
                <a:cubicBezTo>
                  <a:pt x="11661" y="55"/>
                  <a:pt x="11661" y="55"/>
                  <a:pt x="11663" y="55"/>
                </a:cubicBezTo>
                <a:cubicBezTo>
                  <a:pt x="11665" y="56"/>
                  <a:pt x="11666" y="55"/>
                  <a:pt x="11668" y="55"/>
                </a:cubicBezTo>
                <a:cubicBezTo>
                  <a:pt x="11673" y="56"/>
                  <a:pt x="11678" y="56"/>
                  <a:pt x="11684" y="56"/>
                </a:cubicBezTo>
                <a:cubicBezTo>
                  <a:pt x="11684" y="56"/>
                  <a:pt x="11684" y="56"/>
                  <a:pt x="11684" y="57"/>
                </a:cubicBezTo>
                <a:cubicBezTo>
                  <a:pt x="11685" y="57"/>
                  <a:pt x="11686" y="57"/>
                  <a:pt x="11687" y="57"/>
                </a:cubicBezTo>
                <a:cubicBezTo>
                  <a:pt x="11688" y="58"/>
                  <a:pt x="11690" y="58"/>
                  <a:pt x="11691" y="58"/>
                </a:cubicBezTo>
                <a:cubicBezTo>
                  <a:pt x="11692" y="58"/>
                  <a:pt x="11692" y="58"/>
                  <a:pt x="11693" y="58"/>
                </a:cubicBezTo>
                <a:cubicBezTo>
                  <a:pt x="11693" y="58"/>
                  <a:pt x="11693" y="57"/>
                  <a:pt x="11694" y="57"/>
                </a:cubicBezTo>
                <a:cubicBezTo>
                  <a:pt x="11694" y="57"/>
                  <a:pt x="11695" y="57"/>
                  <a:pt x="11695" y="56"/>
                </a:cubicBezTo>
                <a:cubicBezTo>
                  <a:pt x="11718" y="57"/>
                  <a:pt x="11741" y="58"/>
                  <a:pt x="11765" y="58"/>
                </a:cubicBezTo>
                <a:cubicBezTo>
                  <a:pt x="11776" y="57"/>
                  <a:pt x="11786" y="57"/>
                  <a:pt x="11797" y="56"/>
                </a:cubicBezTo>
                <a:cubicBezTo>
                  <a:pt x="11802" y="56"/>
                  <a:pt x="11807" y="57"/>
                  <a:pt x="11812" y="56"/>
                </a:cubicBezTo>
                <a:cubicBezTo>
                  <a:pt x="11816" y="56"/>
                  <a:pt x="11820" y="55"/>
                  <a:pt x="11824" y="54"/>
                </a:cubicBezTo>
                <a:cubicBezTo>
                  <a:pt x="11825" y="53"/>
                  <a:pt x="11827" y="52"/>
                  <a:pt x="11828" y="51"/>
                </a:cubicBezTo>
                <a:cubicBezTo>
                  <a:pt x="11829" y="50"/>
                  <a:pt x="11829" y="49"/>
                  <a:pt x="11829" y="48"/>
                </a:cubicBezTo>
                <a:cubicBezTo>
                  <a:pt x="11828" y="47"/>
                  <a:pt x="11828" y="47"/>
                  <a:pt x="11828" y="47"/>
                </a:cubicBez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43918647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5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730048-2416-96AD-1890-F2998AE9E71C}"/>
              </a:ext>
            </a:extLst>
          </p:cNvPr>
          <p:cNvSpPr>
            <a:spLocks noGrp="1"/>
          </p:cNvSpPr>
          <p:nvPr>
            <p:ph type="title"/>
          </p:nvPr>
        </p:nvSpPr>
        <p:spPr/>
        <p:txBody>
          <a:bodyPr/>
          <a:lstStyle/>
          <a:p>
            <a:r>
              <a:rPr lang="en-GB"/>
              <a:t>Click to edit Master title style</a:t>
            </a:r>
          </a:p>
        </p:txBody>
      </p:sp>
      <p:sp>
        <p:nvSpPr>
          <p:cNvPr id="3" name="Date Placeholder 2">
            <a:extLst>
              <a:ext uri="{FF2B5EF4-FFF2-40B4-BE49-F238E27FC236}">
                <a16:creationId xmlns:a16="http://schemas.microsoft.com/office/drawing/2014/main" id="{C9E6A3DF-7D24-3E07-741D-2E7E305BC681}"/>
              </a:ext>
            </a:extLst>
          </p:cNvPr>
          <p:cNvSpPr>
            <a:spLocks noGrp="1"/>
          </p:cNvSpPr>
          <p:nvPr>
            <p:ph type="dt" sz="half" idx="10"/>
          </p:nvPr>
        </p:nvSpPr>
        <p:spPr/>
        <p:txBody>
          <a:bodyPr/>
          <a:lstStyle/>
          <a:p>
            <a:r>
              <a:rPr lang="en-US"/>
              <a:t>25 March 2026</a:t>
            </a:r>
            <a:endParaRPr lang="en-GB"/>
          </a:p>
        </p:txBody>
      </p:sp>
      <p:sp>
        <p:nvSpPr>
          <p:cNvPr id="4" name="Footer Placeholder 3">
            <a:extLst>
              <a:ext uri="{FF2B5EF4-FFF2-40B4-BE49-F238E27FC236}">
                <a16:creationId xmlns:a16="http://schemas.microsoft.com/office/drawing/2014/main" id="{6039BAA0-23A4-97CB-7927-5E14B5AD5301}"/>
              </a:ext>
            </a:extLst>
          </p:cNvPr>
          <p:cNvSpPr>
            <a:spLocks noGrp="1"/>
          </p:cNvSpPr>
          <p:nvPr>
            <p:ph type="ftr" sz="quarter" idx="11"/>
          </p:nvPr>
        </p:nvSpPr>
        <p:spPr/>
        <p:txBody>
          <a:bodyPr/>
          <a:lstStyle/>
          <a:p>
            <a:r>
              <a:rPr lang="en-GB"/>
              <a:t>Q member event</a:t>
            </a:r>
          </a:p>
        </p:txBody>
      </p:sp>
      <p:sp>
        <p:nvSpPr>
          <p:cNvPr id="5" name="Slide Number Placeholder 4">
            <a:extLst>
              <a:ext uri="{FF2B5EF4-FFF2-40B4-BE49-F238E27FC236}">
                <a16:creationId xmlns:a16="http://schemas.microsoft.com/office/drawing/2014/main" id="{164005BA-6E5D-F086-065A-29DAEC112C20}"/>
              </a:ext>
            </a:extLst>
          </p:cNvPr>
          <p:cNvSpPr>
            <a:spLocks noGrp="1"/>
          </p:cNvSpPr>
          <p:nvPr>
            <p:ph type="sldNum" sz="quarter" idx="12"/>
          </p:nvPr>
        </p:nvSpPr>
        <p:spPr/>
        <p:txBody>
          <a:bodyPr/>
          <a:lstStyle/>
          <a:p>
            <a:fld id="{C790EBD1-482B-4C6F-AFC1-9F7ACF0A1A11}" type="slidenum">
              <a:rPr lang="en-GB" smtClean="0"/>
              <a:t>‹#›</a:t>
            </a:fld>
            <a:endParaRPr lang="en-GB"/>
          </a:p>
        </p:txBody>
      </p:sp>
      <p:sp>
        <p:nvSpPr>
          <p:cNvPr id="6" name="Text Placeholder 10">
            <a:extLst>
              <a:ext uri="{FF2B5EF4-FFF2-40B4-BE49-F238E27FC236}">
                <a16:creationId xmlns:a16="http://schemas.microsoft.com/office/drawing/2014/main" id="{E3B8800E-EA07-038C-91B8-FDF2487AE5F2}"/>
              </a:ext>
            </a:extLst>
          </p:cNvPr>
          <p:cNvSpPr>
            <a:spLocks noGrp="1"/>
          </p:cNvSpPr>
          <p:nvPr>
            <p:ph type="body" sz="quarter" idx="14"/>
          </p:nvPr>
        </p:nvSpPr>
        <p:spPr>
          <a:xfrm>
            <a:off x="457200" y="936000"/>
            <a:ext cx="5524500" cy="157287"/>
          </a:xfrm>
        </p:spPr>
        <p:txBody>
          <a:bodyPr>
            <a:spAutoFit/>
          </a:bodyPr>
          <a:lstStyle>
            <a:lvl1pPr>
              <a:defRPr sz="1000" b="0"/>
            </a:lvl1pPr>
            <a:lvl2pPr>
              <a:defRPr sz="1000" b="0"/>
            </a:lvl2pPr>
            <a:lvl3pPr>
              <a:defRPr sz="1000" b="0"/>
            </a:lvl3pPr>
            <a:lvl4pPr>
              <a:defRPr sz="1000" b="0"/>
            </a:lvl4pPr>
            <a:lvl5pPr>
              <a:defRPr sz="1000" b="0"/>
            </a:lvl5pPr>
          </a:lstStyle>
          <a:p>
            <a:pPr lvl="0"/>
            <a:r>
              <a:rPr lang="en-GB"/>
              <a:t>Click to edit Master text styles</a:t>
            </a:r>
          </a:p>
        </p:txBody>
      </p:sp>
      <p:sp>
        <p:nvSpPr>
          <p:cNvPr id="7" name="Freeform 5">
            <a:extLst>
              <a:ext uri="{FF2B5EF4-FFF2-40B4-BE49-F238E27FC236}">
                <a16:creationId xmlns:a16="http://schemas.microsoft.com/office/drawing/2014/main" id="{D5196B09-77C3-57E6-6065-0E4C10F6CC88}"/>
              </a:ext>
            </a:extLst>
          </p:cNvPr>
          <p:cNvSpPr>
            <a:spLocks/>
          </p:cNvSpPr>
          <p:nvPr userDrawn="1"/>
        </p:nvSpPr>
        <p:spPr bwMode="auto">
          <a:xfrm>
            <a:off x="457200" y="6184803"/>
            <a:ext cx="11293312" cy="57600"/>
          </a:xfrm>
          <a:custGeom>
            <a:avLst/>
            <a:gdLst>
              <a:gd name="T0" fmla="*/ 11754 w 11830"/>
              <a:gd name="T1" fmla="*/ 5 h 60"/>
              <a:gd name="T2" fmla="*/ 11665 w 11830"/>
              <a:gd name="T3" fmla="*/ 3 h 60"/>
              <a:gd name="T4" fmla="*/ 10458 w 11830"/>
              <a:gd name="T5" fmla="*/ 8 h 60"/>
              <a:gd name="T6" fmla="*/ 9631 w 11830"/>
              <a:gd name="T7" fmla="*/ 9 h 60"/>
              <a:gd name="T8" fmla="*/ 9276 w 11830"/>
              <a:gd name="T9" fmla="*/ 7 h 60"/>
              <a:gd name="T10" fmla="*/ 8873 w 11830"/>
              <a:gd name="T11" fmla="*/ 7 h 60"/>
              <a:gd name="T12" fmla="*/ 8453 w 11830"/>
              <a:gd name="T13" fmla="*/ 4 h 60"/>
              <a:gd name="T14" fmla="*/ 7526 w 11830"/>
              <a:gd name="T15" fmla="*/ 4 h 60"/>
              <a:gd name="T16" fmla="*/ 7003 w 11830"/>
              <a:gd name="T17" fmla="*/ 2 h 60"/>
              <a:gd name="T18" fmla="*/ 6547 w 11830"/>
              <a:gd name="T19" fmla="*/ 3 h 60"/>
              <a:gd name="T20" fmla="*/ 6086 w 11830"/>
              <a:gd name="T21" fmla="*/ 5 h 60"/>
              <a:gd name="T22" fmla="*/ 5731 w 11830"/>
              <a:gd name="T23" fmla="*/ 6 h 60"/>
              <a:gd name="T24" fmla="*/ 5501 w 11830"/>
              <a:gd name="T25" fmla="*/ 3 h 60"/>
              <a:gd name="T26" fmla="*/ 5358 w 11830"/>
              <a:gd name="T27" fmla="*/ 3 h 60"/>
              <a:gd name="T28" fmla="*/ 5047 w 11830"/>
              <a:gd name="T29" fmla="*/ 3 h 60"/>
              <a:gd name="T30" fmla="*/ 4870 w 11830"/>
              <a:gd name="T31" fmla="*/ 5 h 60"/>
              <a:gd name="T32" fmla="*/ 4531 w 11830"/>
              <a:gd name="T33" fmla="*/ 6 h 60"/>
              <a:gd name="T34" fmla="*/ 4227 w 11830"/>
              <a:gd name="T35" fmla="*/ 7 h 60"/>
              <a:gd name="T36" fmla="*/ 3756 w 11830"/>
              <a:gd name="T37" fmla="*/ 8 h 60"/>
              <a:gd name="T38" fmla="*/ 3345 w 11830"/>
              <a:gd name="T39" fmla="*/ 8 h 60"/>
              <a:gd name="T40" fmla="*/ 2866 w 11830"/>
              <a:gd name="T41" fmla="*/ 7 h 60"/>
              <a:gd name="T42" fmla="*/ 2614 w 11830"/>
              <a:gd name="T43" fmla="*/ 5 h 60"/>
              <a:gd name="T44" fmla="*/ 2388 w 11830"/>
              <a:gd name="T45" fmla="*/ 8 h 60"/>
              <a:gd name="T46" fmla="*/ 2137 w 11830"/>
              <a:gd name="T47" fmla="*/ 3 h 60"/>
              <a:gd name="T48" fmla="*/ 1820 w 11830"/>
              <a:gd name="T49" fmla="*/ 4 h 60"/>
              <a:gd name="T50" fmla="*/ 1474 w 11830"/>
              <a:gd name="T51" fmla="*/ 3 h 60"/>
              <a:gd name="T52" fmla="*/ 1351 w 11830"/>
              <a:gd name="T53" fmla="*/ 2 h 60"/>
              <a:gd name="T54" fmla="*/ 1145 w 11830"/>
              <a:gd name="T55" fmla="*/ 2 h 60"/>
              <a:gd name="T56" fmla="*/ 871 w 11830"/>
              <a:gd name="T57" fmla="*/ 3 h 60"/>
              <a:gd name="T58" fmla="*/ 639 w 11830"/>
              <a:gd name="T59" fmla="*/ 4 h 60"/>
              <a:gd name="T60" fmla="*/ 457 w 11830"/>
              <a:gd name="T61" fmla="*/ 3 h 60"/>
              <a:gd name="T62" fmla="*/ 157 w 11830"/>
              <a:gd name="T63" fmla="*/ 3 h 60"/>
              <a:gd name="T64" fmla="*/ 83 w 11830"/>
              <a:gd name="T65" fmla="*/ 54 h 60"/>
              <a:gd name="T66" fmla="*/ 1390 w 11830"/>
              <a:gd name="T67" fmla="*/ 50 h 60"/>
              <a:gd name="T68" fmla="*/ 2221 w 11830"/>
              <a:gd name="T69" fmla="*/ 49 h 60"/>
              <a:gd name="T70" fmla="*/ 2606 w 11830"/>
              <a:gd name="T71" fmla="*/ 52 h 60"/>
              <a:gd name="T72" fmla="*/ 2985 w 11830"/>
              <a:gd name="T73" fmla="*/ 52 h 60"/>
              <a:gd name="T74" fmla="*/ 3428 w 11830"/>
              <a:gd name="T75" fmla="*/ 54 h 60"/>
              <a:gd name="T76" fmla="*/ 4520 w 11830"/>
              <a:gd name="T77" fmla="*/ 54 h 60"/>
              <a:gd name="T78" fmla="*/ 4885 w 11830"/>
              <a:gd name="T79" fmla="*/ 53 h 60"/>
              <a:gd name="T80" fmla="*/ 5255 w 11830"/>
              <a:gd name="T81" fmla="*/ 54 h 60"/>
              <a:gd name="T82" fmla="*/ 5655 w 11830"/>
              <a:gd name="T83" fmla="*/ 51 h 60"/>
              <a:gd name="T84" fmla="*/ 6196 w 11830"/>
              <a:gd name="T85" fmla="*/ 54 h 60"/>
              <a:gd name="T86" fmla="*/ 6491 w 11830"/>
              <a:gd name="T87" fmla="*/ 56 h 60"/>
              <a:gd name="T88" fmla="*/ 6723 w 11830"/>
              <a:gd name="T89" fmla="*/ 57 h 60"/>
              <a:gd name="T90" fmla="*/ 6936 w 11830"/>
              <a:gd name="T91" fmla="*/ 54 h 60"/>
              <a:gd name="T92" fmla="*/ 7150 w 11830"/>
              <a:gd name="T93" fmla="*/ 53 h 60"/>
              <a:gd name="T94" fmla="*/ 7433 w 11830"/>
              <a:gd name="T95" fmla="*/ 52 h 60"/>
              <a:gd name="T96" fmla="*/ 7830 w 11830"/>
              <a:gd name="T97" fmla="*/ 52 h 60"/>
              <a:gd name="T98" fmla="*/ 8274 w 11830"/>
              <a:gd name="T99" fmla="*/ 51 h 60"/>
              <a:gd name="T100" fmla="*/ 8700 w 11830"/>
              <a:gd name="T101" fmla="*/ 50 h 60"/>
              <a:gd name="T102" fmla="*/ 9077 w 11830"/>
              <a:gd name="T103" fmla="*/ 51 h 60"/>
              <a:gd name="T104" fmla="*/ 9302 w 11830"/>
              <a:gd name="T105" fmla="*/ 53 h 60"/>
              <a:gd name="T106" fmla="*/ 9538 w 11830"/>
              <a:gd name="T107" fmla="*/ 54 h 60"/>
              <a:gd name="T108" fmla="*/ 9855 w 11830"/>
              <a:gd name="T109" fmla="*/ 55 h 60"/>
              <a:gd name="T110" fmla="*/ 10279 w 11830"/>
              <a:gd name="T111" fmla="*/ 55 h 60"/>
              <a:gd name="T112" fmla="*/ 10495 w 11830"/>
              <a:gd name="T113" fmla="*/ 58 h 60"/>
              <a:gd name="T114" fmla="*/ 10755 w 11830"/>
              <a:gd name="T115" fmla="*/ 56 h 60"/>
              <a:gd name="T116" fmla="*/ 11049 w 11830"/>
              <a:gd name="T117" fmla="*/ 58 h 60"/>
              <a:gd name="T118" fmla="*/ 11259 w 11830"/>
              <a:gd name="T119" fmla="*/ 55 h 60"/>
              <a:gd name="T120" fmla="*/ 11479 w 11830"/>
              <a:gd name="T121" fmla="*/ 51 h 60"/>
              <a:gd name="T122" fmla="*/ 11691 w 11830"/>
              <a:gd name="T123" fmla="*/ 5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830" h="60">
                <a:moveTo>
                  <a:pt x="11828" y="47"/>
                </a:moveTo>
                <a:lnTo>
                  <a:pt x="11828" y="47"/>
                </a:lnTo>
                <a:cubicBezTo>
                  <a:pt x="11828" y="46"/>
                  <a:pt x="11828" y="46"/>
                  <a:pt x="11829" y="45"/>
                </a:cubicBezTo>
                <a:cubicBezTo>
                  <a:pt x="11829" y="45"/>
                  <a:pt x="11828" y="44"/>
                  <a:pt x="11828" y="43"/>
                </a:cubicBezTo>
                <a:cubicBezTo>
                  <a:pt x="11828" y="43"/>
                  <a:pt x="11828" y="43"/>
                  <a:pt x="11828" y="43"/>
                </a:cubicBezTo>
                <a:cubicBezTo>
                  <a:pt x="11828" y="42"/>
                  <a:pt x="11829" y="42"/>
                  <a:pt x="11829" y="42"/>
                </a:cubicBezTo>
                <a:cubicBezTo>
                  <a:pt x="11829" y="42"/>
                  <a:pt x="11829" y="41"/>
                  <a:pt x="11829" y="41"/>
                </a:cubicBezTo>
                <a:cubicBezTo>
                  <a:pt x="11830" y="40"/>
                  <a:pt x="11829" y="39"/>
                  <a:pt x="11829" y="38"/>
                </a:cubicBezTo>
                <a:cubicBezTo>
                  <a:pt x="11829" y="38"/>
                  <a:pt x="11829" y="37"/>
                  <a:pt x="11829" y="37"/>
                </a:cubicBezTo>
                <a:cubicBezTo>
                  <a:pt x="11829" y="36"/>
                  <a:pt x="11829" y="35"/>
                  <a:pt x="11829" y="34"/>
                </a:cubicBezTo>
                <a:cubicBezTo>
                  <a:pt x="11829" y="32"/>
                  <a:pt x="11829" y="31"/>
                  <a:pt x="11829" y="30"/>
                </a:cubicBezTo>
                <a:cubicBezTo>
                  <a:pt x="11829" y="27"/>
                  <a:pt x="11828" y="25"/>
                  <a:pt x="11827" y="22"/>
                </a:cubicBezTo>
                <a:cubicBezTo>
                  <a:pt x="11826" y="21"/>
                  <a:pt x="11826" y="20"/>
                  <a:pt x="11825" y="19"/>
                </a:cubicBezTo>
                <a:cubicBezTo>
                  <a:pt x="11825" y="19"/>
                  <a:pt x="11825" y="18"/>
                  <a:pt x="11825" y="18"/>
                </a:cubicBezTo>
                <a:cubicBezTo>
                  <a:pt x="11824" y="17"/>
                  <a:pt x="11824" y="17"/>
                  <a:pt x="11824" y="16"/>
                </a:cubicBezTo>
                <a:cubicBezTo>
                  <a:pt x="11823" y="15"/>
                  <a:pt x="11824" y="13"/>
                  <a:pt x="11824" y="11"/>
                </a:cubicBezTo>
                <a:cubicBezTo>
                  <a:pt x="11823" y="9"/>
                  <a:pt x="11823" y="8"/>
                  <a:pt x="11822" y="6"/>
                </a:cubicBezTo>
                <a:cubicBezTo>
                  <a:pt x="11822" y="6"/>
                  <a:pt x="11821" y="6"/>
                  <a:pt x="11821" y="6"/>
                </a:cubicBezTo>
                <a:cubicBezTo>
                  <a:pt x="11821" y="5"/>
                  <a:pt x="11818" y="4"/>
                  <a:pt x="11817" y="4"/>
                </a:cubicBezTo>
                <a:cubicBezTo>
                  <a:pt x="11808" y="3"/>
                  <a:pt x="11807" y="5"/>
                  <a:pt x="11799" y="4"/>
                </a:cubicBezTo>
                <a:cubicBezTo>
                  <a:pt x="11794" y="3"/>
                  <a:pt x="11790" y="4"/>
                  <a:pt x="11784" y="4"/>
                </a:cubicBezTo>
                <a:cubicBezTo>
                  <a:pt x="11782" y="4"/>
                  <a:pt x="11775" y="4"/>
                  <a:pt x="11772" y="4"/>
                </a:cubicBezTo>
                <a:cubicBezTo>
                  <a:pt x="11770" y="4"/>
                  <a:pt x="11761" y="5"/>
                  <a:pt x="11760" y="5"/>
                </a:cubicBezTo>
                <a:cubicBezTo>
                  <a:pt x="11759" y="5"/>
                  <a:pt x="11759" y="5"/>
                  <a:pt x="11759" y="5"/>
                </a:cubicBezTo>
                <a:cubicBezTo>
                  <a:pt x="11757" y="5"/>
                  <a:pt x="11756" y="5"/>
                  <a:pt x="11754" y="5"/>
                </a:cubicBezTo>
                <a:cubicBezTo>
                  <a:pt x="11754" y="5"/>
                  <a:pt x="11754" y="5"/>
                  <a:pt x="11753" y="5"/>
                </a:cubicBezTo>
                <a:cubicBezTo>
                  <a:pt x="11751" y="5"/>
                  <a:pt x="11749" y="5"/>
                  <a:pt x="11747" y="5"/>
                </a:cubicBezTo>
                <a:cubicBezTo>
                  <a:pt x="11747" y="4"/>
                  <a:pt x="11747" y="4"/>
                  <a:pt x="11747" y="4"/>
                </a:cubicBezTo>
                <a:cubicBezTo>
                  <a:pt x="11746" y="4"/>
                  <a:pt x="11744" y="3"/>
                  <a:pt x="11743" y="4"/>
                </a:cubicBezTo>
                <a:cubicBezTo>
                  <a:pt x="11743" y="4"/>
                  <a:pt x="11743" y="4"/>
                  <a:pt x="11744" y="4"/>
                </a:cubicBezTo>
                <a:cubicBezTo>
                  <a:pt x="11744" y="4"/>
                  <a:pt x="11744" y="4"/>
                  <a:pt x="11744" y="4"/>
                </a:cubicBezTo>
                <a:cubicBezTo>
                  <a:pt x="11738" y="4"/>
                  <a:pt x="11732" y="4"/>
                  <a:pt x="11726" y="4"/>
                </a:cubicBezTo>
                <a:cubicBezTo>
                  <a:pt x="11724" y="4"/>
                  <a:pt x="11723" y="4"/>
                  <a:pt x="11722" y="4"/>
                </a:cubicBezTo>
                <a:cubicBezTo>
                  <a:pt x="11720" y="4"/>
                  <a:pt x="11719" y="4"/>
                  <a:pt x="11717" y="4"/>
                </a:cubicBezTo>
                <a:cubicBezTo>
                  <a:pt x="11716" y="4"/>
                  <a:pt x="11714" y="4"/>
                  <a:pt x="11713" y="4"/>
                </a:cubicBezTo>
                <a:cubicBezTo>
                  <a:pt x="11712" y="4"/>
                  <a:pt x="11710" y="4"/>
                  <a:pt x="11710" y="4"/>
                </a:cubicBezTo>
                <a:cubicBezTo>
                  <a:pt x="11710" y="4"/>
                  <a:pt x="11710" y="4"/>
                  <a:pt x="11710" y="4"/>
                </a:cubicBezTo>
                <a:cubicBezTo>
                  <a:pt x="11708" y="4"/>
                  <a:pt x="11707" y="4"/>
                  <a:pt x="11706" y="4"/>
                </a:cubicBezTo>
                <a:cubicBezTo>
                  <a:pt x="11705" y="4"/>
                  <a:pt x="11704" y="4"/>
                  <a:pt x="11704" y="4"/>
                </a:cubicBezTo>
                <a:cubicBezTo>
                  <a:pt x="11703" y="4"/>
                  <a:pt x="11702" y="4"/>
                  <a:pt x="11701" y="4"/>
                </a:cubicBezTo>
                <a:cubicBezTo>
                  <a:pt x="11701" y="4"/>
                  <a:pt x="11701" y="4"/>
                  <a:pt x="11701" y="4"/>
                </a:cubicBezTo>
                <a:cubicBezTo>
                  <a:pt x="11700" y="4"/>
                  <a:pt x="11700" y="4"/>
                  <a:pt x="11699" y="4"/>
                </a:cubicBezTo>
                <a:cubicBezTo>
                  <a:pt x="11699" y="4"/>
                  <a:pt x="11698" y="4"/>
                  <a:pt x="11698" y="4"/>
                </a:cubicBezTo>
                <a:cubicBezTo>
                  <a:pt x="11698" y="4"/>
                  <a:pt x="11698" y="4"/>
                  <a:pt x="11698" y="4"/>
                </a:cubicBezTo>
                <a:cubicBezTo>
                  <a:pt x="11691" y="4"/>
                  <a:pt x="11683" y="4"/>
                  <a:pt x="11676" y="4"/>
                </a:cubicBezTo>
                <a:cubicBezTo>
                  <a:pt x="11676" y="3"/>
                  <a:pt x="11676" y="3"/>
                  <a:pt x="11675" y="3"/>
                </a:cubicBezTo>
                <a:cubicBezTo>
                  <a:pt x="11675" y="3"/>
                  <a:pt x="11675" y="3"/>
                  <a:pt x="11675" y="4"/>
                </a:cubicBezTo>
                <a:cubicBezTo>
                  <a:pt x="11674" y="4"/>
                  <a:pt x="11673" y="4"/>
                  <a:pt x="11672" y="4"/>
                </a:cubicBezTo>
                <a:cubicBezTo>
                  <a:pt x="11671" y="3"/>
                  <a:pt x="11671" y="3"/>
                  <a:pt x="11670" y="3"/>
                </a:cubicBezTo>
                <a:cubicBezTo>
                  <a:pt x="11668" y="3"/>
                  <a:pt x="11667" y="3"/>
                  <a:pt x="11665" y="3"/>
                </a:cubicBezTo>
                <a:cubicBezTo>
                  <a:pt x="11662" y="3"/>
                  <a:pt x="11659" y="3"/>
                  <a:pt x="11658" y="3"/>
                </a:cubicBezTo>
                <a:cubicBezTo>
                  <a:pt x="11657" y="4"/>
                  <a:pt x="11655" y="3"/>
                  <a:pt x="11653" y="3"/>
                </a:cubicBezTo>
                <a:cubicBezTo>
                  <a:pt x="11653" y="3"/>
                  <a:pt x="11653" y="3"/>
                  <a:pt x="11652" y="3"/>
                </a:cubicBezTo>
                <a:cubicBezTo>
                  <a:pt x="11652" y="3"/>
                  <a:pt x="11652" y="3"/>
                  <a:pt x="11652" y="3"/>
                </a:cubicBezTo>
                <a:cubicBezTo>
                  <a:pt x="11651" y="3"/>
                  <a:pt x="11649" y="3"/>
                  <a:pt x="11648" y="3"/>
                </a:cubicBezTo>
                <a:cubicBezTo>
                  <a:pt x="11648" y="3"/>
                  <a:pt x="11647" y="3"/>
                  <a:pt x="11647" y="3"/>
                </a:cubicBezTo>
                <a:cubicBezTo>
                  <a:pt x="11646" y="3"/>
                  <a:pt x="11645" y="3"/>
                  <a:pt x="11644" y="3"/>
                </a:cubicBezTo>
                <a:cubicBezTo>
                  <a:pt x="11643" y="3"/>
                  <a:pt x="11643" y="3"/>
                  <a:pt x="11642" y="3"/>
                </a:cubicBezTo>
                <a:cubicBezTo>
                  <a:pt x="11632" y="3"/>
                  <a:pt x="11623" y="3"/>
                  <a:pt x="11613" y="3"/>
                </a:cubicBezTo>
                <a:cubicBezTo>
                  <a:pt x="11604" y="3"/>
                  <a:pt x="11595" y="4"/>
                  <a:pt x="11586" y="4"/>
                </a:cubicBezTo>
                <a:cubicBezTo>
                  <a:pt x="11579" y="4"/>
                  <a:pt x="11572" y="4"/>
                  <a:pt x="11565" y="4"/>
                </a:cubicBezTo>
                <a:cubicBezTo>
                  <a:pt x="11554" y="4"/>
                  <a:pt x="11542" y="3"/>
                  <a:pt x="11531" y="5"/>
                </a:cubicBezTo>
                <a:cubicBezTo>
                  <a:pt x="11526" y="5"/>
                  <a:pt x="11523" y="6"/>
                  <a:pt x="11517" y="6"/>
                </a:cubicBezTo>
                <a:cubicBezTo>
                  <a:pt x="11512" y="6"/>
                  <a:pt x="11507" y="6"/>
                  <a:pt x="11501" y="6"/>
                </a:cubicBezTo>
                <a:cubicBezTo>
                  <a:pt x="11363" y="5"/>
                  <a:pt x="11024" y="4"/>
                  <a:pt x="10959" y="5"/>
                </a:cubicBezTo>
                <a:cubicBezTo>
                  <a:pt x="10945" y="5"/>
                  <a:pt x="10915" y="5"/>
                  <a:pt x="10892" y="5"/>
                </a:cubicBezTo>
                <a:cubicBezTo>
                  <a:pt x="10868" y="5"/>
                  <a:pt x="10833" y="6"/>
                  <a:pt x="10813" y="6"/>
                </a:cubicBezTo>
                <a:cubicBezTo>
                  <a:pt x="10702" y="7"/>
                  <a:pt x="10658" y="7"/>
                  <a:pt x="10548" y="7"/>
                </a:cubicBezTo>
                <a:cubicBezTo>
                  <a:pt x="10538" y="7"/>
                  <a:pt x="10528" y="7"/>
                  <a:pt x="10518" y="7"/>
                </a:cubicBezTo>
                <a:cubicBezTo>
                  <a:pt x="10515" y="7"/>
                  <a:pt x="10511" y="7"/>
                  <a:pt x="10507" y="7"/>
                </a:cubicBezTo>
                <a:cubicBezTo>
                  <a:pt x="10504" y="7"/>
                  <a:pt x="10501" y="8"/>
                  <a:pt x="10499" y="8"/>
                </a:cubicBezTo>
                <a:cubicBezTo>
                  <a:pt x="10494" y="9"/>
                  <a:pt x="10493" y="9"/>
                  <a:pt x="10488" y="8"/>
                </a:cubicBezTo>
                <a:cubicBezTo>
                  <a:pt x="10485" y="7"/>
                  <a:pt x="10481" y="6"/>
                  <a:pt x="10477" y="7"/>
                </a:cubicBezTo>
                <a:cubicBezTo>
                  <a:pt x="10476" y="7"/>
                  <a:pt x="10476" y="8"/>
                  <a:pt x="10475" y="8"/>
                </a:cubicBezTo>
                <a:cubicBezTo>
                  <a:pt x="10471" y="9"/>
                  <a:pt x="10463" y="8"/>
                  <a:pt x="10458" y="8"/>
                </a:cubicBezTo>
                <a:cubicBezTo>
                  <a:pt x="10452" y="8"/>
                  <a:pt x="10445" y="8"/>
                  <a:pt x="10439" y="8"/>
                </a:cubicBezTo>
                <a:cubicBezTo>
                  <a:pt x="10426" y="8"/>
                  <a:pt x="10413" y="8"/>
                  <a:pt x="10400" y="8"/>
                </a:cubicBezTo>
                <a:cubicBezTo>
                  <a:pt x="10360" y="8"/>
                  <a:pt x="10325" y="8"/>
                  <a:pt x="10322" y="8"/>
                </a:cubicBezTo>
                <a:cubicBezTo>
                  <a:pt x="10320" y="8"/>
                  <a:pt x="10318" y="9"/>
                  <a:pt x="10316" y="9"/>
                </a:cubicBezTo>
                <a:cubicBezTo>
                  <a:pt x="10314" y="8"/>
                  <a:pt x="10311" y="7"/>
                  <a:pt x="10306" y="8"/>
                </a:cubicBezTo>
                <a:cubicBezTo>
                  <a:pt x="10301" y="8"/>
                  <a:pt x="10296" y="8"/>
                  <a:pt x="10289" y="8"/>
                </a:cubicBezTo>
                <a:cubicBezTo>
                  <a:pt x="10282" y="8"/>
                  <a:pt x="10275" y="8"/>
                  <a:pt x="10267" y="8"/>
                </a:cubicBezTo>
                <a:cubicBezTo>
                  <a:pt x="10253" y="8"/>
                  <a:pt x="10238" y="8"/>
                  <a:pt x="10223" y="8"/>
                </a:cubicBezTo>
                <a:cubicBezTo>
                  <a:pt x="10158" y="8"/>
                  <a:pt x="10092" y="8"/>
                  <a:pt x="10027" y="7"/>
                </a:cubicBezTo>
                <a:cubicBezTo>
                  <a:pt x="9998" y="7"/>
                  <a:pt x="9969" y="7"/>
                  <a:pt x="9941" y="7"/>
                </a:cubicBezTo>
                <a:cubicBezTo>
                  <a:pt x="9920" y="7"/>
                  <a:pt x="9898" y="7"/>
                  <a:pt x="9877" y="7"/>
                </a:cubicBezTo>
                <a:cubicBezTo>
                  <a:pt x="9857" y="7"/>
                  <a:pt x="9836" y="7"/>
                  <a:pt x="9815" y="7"/>
                </a:cubicBezTo>
                <a:cubicBezTo>
                  <a:pt x="9806" y="7"/>
                  <a:pt x="9797" y="7"/>
                  <a:pt x="9788" y="7"/>
                </a:cubicBezTo>
                <a:lnTo>
                  <a:pt x="9776" y="7"/>
                </a:lnTo>
                <a:cubicBezTo>
                  <a:pt x="9773" y="7"/>
                  <a:pt x="9766" y="7"/>
                  <a:pt x="9764" y="7"/>
                </a:cubicBezTo>
                <a:cubicBezTo>
                  <a:pt x="9762" y="7"/>
                  <a:pt x="9761" y="7"/>
                  <a:pt x="9759" y="7"/>
                </a:cubicBezTo>
                <a:cubicBezTo>
                  <a:pt x="9759" y="7"/>
                  <a:pt x="9758" y="7"/>
                  <a:pt x="9757" y="7"/>
                </a:cubicBezTo>
                <a:cubicBezTo>
                  <a:pt x="9753" y="7"/>
                  <a:pt x="9751" y="9"/>
                  <a:pt x="9747" y="9"/>
                </a:cubicBezTo>
                <a:cubicBezTo>
                  <a:pt x="9744" y="9"/>
                  <a:pt x="9740" y="8"/>
                  <a:pt x="9737" y="7"/>
                </a:cubicBezTo>
                <a:cubicBezTo>
                  <a:pt x="9732" y="7"/>
                  <a:pt x="9725" y="7"/>
                  <a:pt x="9720" y="7"/>
                </a:cubicBezTo>
                <a:cubicBezTo>
                  <a:pt x="9711" y="7"/>
                  <a:pt x="9703" y="7"/>
                  <a:pt x="9694" y="7"/>
                </a:cubicBezTo>
                <a:cubicBezTo>
                  <a:pt x="9689" y="7"/>
                  <a:pt x="9664" y="6"/>
                  <a:pt x="9662" y="8"/>
                </a:cubicBezTo>
                <a:cubicBezTo>
                  <a:pt x="9662" y="9"/>
                  <a:pt x="9662" y="9"/>
                  <a:pt x="9662" y="9"/>
                </a:cubicBezTo>
                <a:cubicBezTo>
                  <a:pt x="9661" y="10"/>
                  <a:pt x="9650" y="10"/>
                  <a:pt x="9648" y="10"/>
                </a:cubicBezTo>
                <a:cubicBezTo>
                  <a:pt x="9645" y="10"/>
                  <a:pt x="9632" y="10"/>
                  <a:pt x="9631" y="9"/>
                </a:cubicBezTo>
                <a:cubicBezTo>
                  <a:pt x="9631" y="8"/>
                  <a:pt x="9628" y="8"/>
                  <a:pt x="9627" y="9"/>
                </a:cubicBezTo>
                <a:cubicBezTo>
                  <a:pt x="9623" y="9"/>
                  <a:pt x="9625" y="10"/>
                  <a:pt x="9620" y="10"/>
                </a:cubicBezTo>
                <a:cubicBezTo>
                  <a:pt x="9618" y="10"/>
                  <a:pt x="9615" y="10"/>
                  <a:pt x="9613" y="10"/>
                </a:cubicBezTo>
                <a:cubicBezTo>
                  <a:pt x="9610" y="10"/>
                  <a:pt x="9610" y="8"/>
                  <a:pt x="9607" y="8"/>
                </a:cubicBezTo>
                <a:cubicBezTo>
                  <a:pt x="9600" y="7"/>
                  <a:pt x="9590" y="7"/>
                  <a:pt x="9582" y="7"/>
                </a:cubicBezTo>
                <a:cubicBezTo>
                  <a:pt x="9575" y="7"/>
                  <a:pt x="9567" y="7"/>
                  <a:pt x="9562" y="9"/>
                </a:cubicBezTo>
                <a:cubicBezTo>
                  <a:pt x="9558" y="10"/>
                  <a:pt x="9555" y="9"/>
                  <a:pt x="9550" y="9"/>
                </a:cubicBezTo>
                <a:cubicBezTo>
                  <a:pt x="9544" y="8"/>
                  <a:pt x="9538" y="8"/>
                  <a:pt x="9532" y="8"/>
                </a:cubicBezTo>
                <a:cubicBezTo>
                  <a:pt x="9525" y="8"/>
                  <a:pt x="9521" y="8"/>
                  <a:pt x="9515" y="9"/>
                </a:cubicBezTo>
                <a:cubicBezTo>
                  <a:pt x="9512" y="9"/>
                  <a:pt x="9508" y="10"/>
                  <a:pt x="9506" y="10"/>
                </a:cubicBezTo>
                <a:cubicBezTo>
                  <a:pt x="9503" y="10"/>
                  <a:pt x="9500" y="9"/>
                  <a:pt x="9498" y="9"/>
                </a:cubicBezTo>
                <a:cubicBezTo>
                  <a:pt x="9496" y="9"/>
                  <a:pt x="9494" y="8"/>
                  <a:pt x="9492" y="8"/>
                </a:cubicBezTo>
                <a:cubicBezTo>
                  <a:pt x="9487" y="7"/>
                  <a:pt x="9481" y="7"/>
                  <a:pt x="9476" y="7"/>
                </a:cubicBezTo>
                <a:cubicBezTo>
                  <a:pt x="9469" y="7"/>
                  <a:pt x="9462" y="7"/>
                  <a:pt x="9455" y="7"/>
                </a:cubicBezTo>
                <a:cubicBezTo>
                  <a:pt x="9434" y="7"/>
                  <a:pt x="9413" y="7"/>
                  <a:pt x="9392" y="7"/>
                </a:cubicBezTo>
                <a:cubicBezTo>
                  <a:pt x="9382" y="7"/>
                  <a:pt x="9373" y="7"/>
                  <a:pt x="9364" y="7"/>
                </a:cubicBezTo>
                <a:cubicBezTo>
                  <a:pt x="9358" y="7"/>
                  <a:pt x="9351" y="7"/>
                  <a:pt x="9345" y="8"/>
                </a:cubicBezTo>
                <a:cubicBezTo>
                  <a:pt x="9340" y="8"/>
                  <a:pt x="9337" y="9"/>
                  <a:pt x="9333" y="10"/>
                </a:cubicBezTo>
                <a:cubicBezTo>
                  <a:pt x="9330" y="10"/>
                  <a:pt x="9326" y="10"/>
                  <a:pt x="9323" y="9"/>
                </a:cubicBezTo>
                <a:cubicBezTo>
                  <a:pt x="9321" y="9"/>
                  <a:pt x="9314" y="9"/>
                  <a:pt x="9306" y="9"/>
                </a:cubicBezTo>
                <a:cubicBezTo>
                  <a:pt x="9303" y="9"/>
                  <a:pt x="9299" y="10"/>
                  <a:pt x="9296" y="9"/>
                </a:cubicBezTo>
                <a:cubicBezTo>
                  <a:pt x="9294" y="9"/>
                  <a:pt x="9293" y="9"/>
                  <a:pt x="9293" y="8"/>
                </a:cubicBezTo>
                <a:cubicBezTo>
                  <a:pt x="9293" y="8"/>
                  <a:pt x="9294" y="8"/>
                  <a:pt x="9294" y="8"/>
                </a:cubicBezTo>
                <a:cubicBezTo>
                  <a:pt x="9294" y="7"/>
                  <a:pt x="9292" y="7"/>
                  <a:pt x="9290" y="7"/>
                </a:cubicBezTo>
                <a:cubicBezTo>
                  <a:pt x="9286" y="7"/>
                  <a:pt x="9281" y="7"/>
                  <a:pt x="9276" y="7"/>
                </a:cubicBezTo>
                <a:cubicBezTo>
                  <a:pt x="9263" y="7"/>
                  <a:pt x="9250" y="6"/>
                  <a:pt x="9247" y="6"/>
                </a:cubicBezTo>
                <a:cubicBezTo>
                  <a:pt x="9245" y="6"/>
                  <a:pt x="9225" y="6"/>
                  <a:pt x="9204" y="6"/>
                </a:cubicBezTo>
                <a:cubicBezTo>
                  <a:pt x="9197" y="6"/>
                  <a:pt x="9190" y="7"/>
                  <a:pt x="9183" y="7"/>
                </a:cubicBezTo>
                <a:cubicBezTo>
                  <a:pt x="9180" y="7"/>
                  <a:pt x="9171" y="6"/>
                  <a:pt x="9169" y="7"/>
                </a:cubicBezTo>
                <a:cubicBezTo>
                  <a:pt x="9167" y="8"/>
                  <a:pt x="9167" y="8"/>
                  <a:pt x="9164" y="9"/>
                </a:cubicBezTo>
                <a:cubicBezTo>
                  <a:pt x="9162" y="9"/>
                  <a:pt x="9158" y="8"/>
                  <a:pt x="9157" y="8"/>
                </a:cubicBezTo>
                <a:cubicBezTo>
                  <a:pt x="9157" y="8"/>
                  <a:pt x="9157" y="8"/>
                  <a:pt x="9157" y="7"/>
                </a:cubicBezTo>
                <a:cubicBezTo>
                  <a:pt x="9155" y="6"/>
                  <a:pt x="9138" y="7"/>
                  <a:pt x="9134" y="7"/>
                </a:cubicBezTo>
                <a:cubicBezTo>
                  <a:pt x="9111" y="7"/>
                  <a:pt x="9099" y="6"/>
                  <a:pt x="9083" y="5"/>
                </a:cubicBezTo>
                <a:cubicBezTo>
                  <a:pt x="9070" y="4"/>
                  <a:pt x="9019" y="4"/>
                  <a:pt x="8990" y="5"/>
                </a:cubicBezTo>
                <a:cubicBezTo>
                  <a:pt x="8986" y="5"/>
                  <a:pt x="8982" y="5"/>
                  <a:pt x="8978" y="6"/>
                </a:cubicBezTo>
                <a:cubicBezTo>
                  <a:pt x="8976" y="6"/>
                  <a:pt x="8973" y="6"/>
                  <a:pt x="8971" y="6"/>
                </a:cubicBezTo>
                <a:cubicBezTo>
                  <a:pt x="8970" y="6"/>
                  <a:pt x="8969" y="6"/>
                  <a:pt x="8968" y="6"/>
                </a:cubicBezTo>
                <a:cubicBezTo>
                  <a:pt x="8966" y="6"/>
                  <a:pt x="8965" y="6"/>
                  <a:pt x="8964" y="6"/>
                </a:cubicBezTo>
                <a:cubicBezTo>
                  <a:pt x="8963" y="6"/>
                  <a:pt x="8961" y="6"/>
                  <a:pt x="8959" y="6"/>
                </a:cubicBezTo>
                <a:cubicBezTo>
                  <a:pt x="8956" y="6"/>
                  <a:pt x="8954" y="6"/>
                  <a:pt x="8951" y="6"/>
                </a:cubicBezTo>
                <a:cubicBezTo>
                  <a:pt x="8948" y="5"/>
                  <a:pt x="8944" y="6"/>
                  <a:pt x="8941" y="6"/>
                </a:cubicBezTo>
                <a:cubicBezTo>
                  <a:pt x="8935" y="6"/>
                  <a:pt x="8931" y="5"/>
                  <a:pt x="8926" y="6"/>
                </a:cubicBezTo>
                <a:cubicBezTo>
                  <a:pt x="8923" y="7"/>
                  <a:pt x="8920" y="8"/>
                  <a:pt x="8915" y="7"/>
                </a:cubicBezTo>
                <a:cubicBezTo>
                  <a:pt x="8912" y="7"/>
                  <a:pt x="8909" y="6"/>
                  <a:pt x="8906" y="6"/>
                </a:cubicBezTo>
                <a:cubicBezTo>
                  <a:pt x="8905" y="6"/>
                  <a:pt x="8904" y="6"/>
                  <a:pt x="8903" y="6"/>
                </a:cubicBezTo>
                <a:cubicBezTo>
                  <a:pt x="8902" y="6"/>
                  <a:pt x="8902" y="6"/>
                  <a:pt x="8901" y="6"/>
                </a:cubicBezTo>
                <a:cubicBezTo>
                  <a:pt x="8900" y="6"/>
                  <a:pt x="8900" y="6"/>
                  <a:pt x="8900" y="6"/>
                </a:cubicBezTo>
                <a:cubicBezTo>
                  <a:pt x="8895" y="8"/>
                  <a:pt x="8887" y="8"/>
                  <a:pt x="8880" y="8"/>
                </a:cubicBezTo>
                <a:cubicBezTo>
                  <a:pt x="8877" y="8"/>
                  <a:pt x="8874" y="8"/>
                  <a:pt x="8873" y="7"/>
                </a:cubicBezTo>
                <a:cubicBezTo>
                  <a:pt x="8871" y="7"/>
                  <a:pt x="8871" y="6"/>
                  <a:pt x="8869" y="6"/>
                </a:cubicBezTo>
                <a:cubicBezTo>
                  <a:pt x="8867" y="5"/>
                  <a:pt x="8865" y="6"/>
                  <a:pt x="8864" y="6"/>
                </a:cubicBezTo>
                <a:cubicBezTo>
                  <a:pt x="8859" y="7"/>
                  <a:pt x="8855" y="5"/>
                  <a:pt x="8849" y="5"/>
                </a:cubicBezTo>
                <a:cubicBezTo>
                  <a:pt x="8844" y="5"/>
                  <a:pt x="8839" y="5"/>
                  <a:pt x="8834" y="5"/>
                </a:cubicBezTo>
                <a:cubicBezTo>
                  <a:pt x="8830" y="5"/>
                  <a:pt x="8811" y="4"/>
                  <a:pt x="8809" y="6"/>
                </a:cubicBezTo>
                <a:cubicBezTo>
                  <a:pt x="8808" y="6"/>
                  <a:pt x="8809" y="6"/>
                  <a:pt x="8809" y="6"/>
                </a:cubicBezTo>
                <a:cubicBezTo>
                  <a:pt x="8808" y="8"/>
                  <a:pt x="8800" y="7"/>
                  <a:pt x="8797" y="7"/>
                </a:cubicBezTo>
                <a:cubicBezTo>
                  <a:pt x="8791" y="7"/>
                  <a:pt x="8789" y="7"/>
                  <a:pt x="8784" y="6"/>
                </a:cubicBezTo>
                <a:cubicBezTo>
                  <a:pt x="8782" y="6"/>
                  <a:pt x="8780" y="6"/>
                  <a:pt x="8778" y="5"/>
                </a:cubicBezTo>
                <a:cubicBezTo>
                  <a:pt x="8776" y="5"/>
                  <a:pt x="8773" y="6"/>
                  <a:pt x="8773" y="6"/>
                </a:cubicBezTo>
                <a:cubicBezTo>
                  <a:pt x="8772" y="6"/>
                  <a:pt x="8772" y="7"/>
                  <a:pt x="8772" y="7"/>
                </a:cubicBezTo>
                <a:cubicBezTo>
                  <a:pt x="8772" y="7"/>
                  <a:pt x="8771" y="7"/>
                  <a:pt x="8770" y="7"/>
                </a:cubicBezTo>
                <a:cubicBezTo>
                  <a:pt x="8768" y="7"/>
                  <a:pt x="8765" y="7"/>
                  <a:pt x="8763" y="7"/>
                </a:cubicBezTo>
                <a:cubicBezTo>
                  <a:pt x="8760" y="7"/>
                  <a:pt x="8758" y="6"/>
                  <a:pt x="8757" y="6"/>
                </a:cubicBezTo>
                <a:cubicBezTo>
                  <a:pt x="8757" y="5"/>
                  <a:pt x="8757" y="5"/>
                  <a:pt x="8755" y="5"/>
                </a:cubicBezTo>
                <a:cubicBezTo>
                  <a:pt x="8752" y="5"/>
                  <a:pt x="8750" y="5"/>
                  <a:pt x="8747" y="5"/>
                </a:cubicBezTo>
                <a:cubicBezTo>
                  <a:pt x="8728" y="5"/>
                  <a:pt x="8684" y="4"/>
                  <a:pt x="8673" y="4"/>
                </a:cubicBezTo>
                <a:cubicBezTo>
                  <a:pt x="8670" y="4"/>
                  <a:pt x="8662" y="4"/>
                  <a:pt x="8655" y="4"/>
                </a:cubicBezTo>
                <a:cubicBezTo>
                  <a:pt x="8648" y="4"/>
                  <a:pt x="8636" y="4"/>
                  <a:pt x="8628" y="4"/>
                </a:cubicBezTo>
                <a:cubicBezTo>
                  <a:pt x="8620" y="3"/>
                  <a:pt x="8606" y="3"/>
                  <a:pt x="8597" y="3"/>
                </a:cubicBezTo>
                <a:cubicBezTo>
                  <a:pt x="8584" y="3"/>
                  <a:pt x="8569" y="2"/>
                  <a:pt x="8557" y="3"/>
                </a:cubicBezTo>
                <a:cubicBezTo>
                  <a:pt x="8554" y="3"/>
                  <a:pt x="8552" y="3"/>
                  <a:pt x="8548" y="3"/>
                </a:cubicBezTo>
                <a:cubicBezTo>
                  <a:pt x="8540" y="3"/>
                  <a:pt x="8531" y="3"/>
                  <a:pt x="8523" y="3"/>
                </a:cubicBezTo>
                <a:cubicBezTo>
                  <a:pt x="8505" y="3"/>
                  <a:pt x="8482" y="4"/>
                  <a:pt x="8471" y="4"/>
                </a:cubicBezTo>
                <a:cubicBezTo>
                  <a:pt x="8465" y="4"/>
                  <a:pt x="8459" y="4"/>
                  <a:pt x="8453" y="4"/>
                </a:cubicBezTo>
                <a:cubicBezTo>
                  <a:pt x="8451" y="4"/>
                  <a:pt x="8449" y="4"/>
                  <a:pt x="8449" y="5"/>
                </a:cubicBezTo>
                <a:cubicBezTo>
                  <a:pt x="8449" y="5"/>
                  <a:pt x="8452" y="6"/>
                  <a:pt x="8452" y="6"/>
                </a:cubicBezTo>
                <a:cubicBezTo>
                  <a:pt x="8449" y="6"/>
                  <a:pt x="8446" y="6"/>
                  <a:pt x="8444" y="6"/>
                </a:cubicBezTo>
                <a:cubicBezTo>
                  <a:pt x="8442" y="6"/>
                  <a:pt x="8441" y="6"/>
                  <a:pt x="8441" y="6"/>
                </a:cubicBezTo>
                <a:cubicBezTo>
                  <a:pt x="8441" y="5"/>
                  <a:pt x="8441" y="5"/>
                  <a:pt x="8441" y="5"/>
                </a:cubicBezTo>
                <a:cubicBezTo>
                  <a:pt x="8441" y="5"/>
                  <a:pt x="8441" y="5"/>
                  <a:pt x="8440" y="5"/>
                </a:cubicBezTo>
                <a:cubicBezTo>
                  <a:pt x="8436" y="4"/>
                  <a:pt x="8429" y="4"/>
                  <a:pt x="8425" y="4"/>
                </a:cubicBezTo>
                <a:cubicBezTo>
                  <a:pt x="8422" y="4"/>
                  <a:pt x="8415" y="5"/>
                  <a:pt x="8413" y="5"/>
                </a:cubicBezTo>
                <a:cubicBezTo>
                  <a:pt x="8410" y="4"/>
                  <a:pt x="8407" y="5"/>
                  <a:pt x="8407" y="5"/>
                </a:cubicBezTo>
                <a:cubicBezTo>
                  <a:pt x="8405" y="7"/>
                  <a:pt x="8404" y="7"/>
                  <a:pt x="8400" y="6"/>
                </a:cubicBezTo>
                <a:cubicBezTo>
                  <a:pt x="8399" y="6"/>
                  <a:pt x="8397" y="6"/>
                  <a:pt x="8397" y="5"/>
                </a:cubicBezTo>
                <a:cubicBezTo>
                  <a:pt x="8396" y="5"/>
                  <a:pt x="8394" y="4"/>
                  <a:pt x="8393" y="4"/>
                </a:cubicBezTo>
                <a:cubicBezTo>
                  <a:pt x="8390" y="4"/>
                  <a:pt x="8381" y="4"/>
                  <a:pt x="8379" y="3"/>
                </a:cubicBezTo>
                <a:cubicBezTo>
                  <a:pt x="8379" y="3"/>
                  <a:pt x="8379" y="3"/>
                  <a:pt x="8378" y="3"/>
                </a:cubicBezTo>
                <a:cubicBezTo>
                  <a:pt x="8378" y="3"/>
                  <a:pt x="8376" y="3"/>
                  <a:pt x="8374" y="3"/>
                </a:cubicBezTo>
                <a:cubicBezTo>
                  <a:pt x="8371" y="3"/>
                  <a:pt x="8368" y="3"/>
                  <a:pt x="8364" y="4"/>
                </a:cubicBezTo>
                <a:cubicBezTo>
                  <a:pt x="8361" y="4"/>
                  <a:pt x="8357" y="4"/>
                  <a:pt x="8353" y="4"/>
                </a:cubicBezTo>
                <a:cubicBezTo>
                  <a:pt x="8343" y="4"/>
                  <a:pt x="8334" y="4"/>
                  <a:pt x="8325" y="4"/>
                </a:cubicBezTo>
                <a:cubicBezTo>
                  <a:pt x="8306" y="4"/>
                  <a:pt x="8287" y="4"/>
                  <a:pt x="8268" y="4"/>
                </a:cubicBezTo>
                <a:cubicBezTo>
                  <a:pt x="8215" y="4"/>
                  <a:pt x="8163" y="4"/>
                  <a:pt x="8152" y="4"/>
                </a:cubicBezTo>
                <a:cubicBezTo>
                  <a:pt x="8142" y="4"/>
                  <a:pt x="8100" y="4"/>
                  <a:pt x="8059" y="4"/>
                </a:cubicBezTo>
                <a:cubicBezTo>
                  <a:pt x="8018" y="4"/>
                  <a:pt x="7950" y="4"/>
                  <a:pt x="7909" y="4"/>
                </a:cubicBezTo>
                <a:cubicBezTo>
                  <a:pt x="7867" y="4"/>
                  <a:pt x="7758" y="4"/>
                  <a:pt x="7667" y="4"/>
                </a:cubicBezTo>
                <a:cubicBezTo>
                  <a:pt x="7636" y="4"/>
                  <a:pt x="7604" y="4"/>
                  <a:pt x="7573" y="4"/>
                </a:cubicBezTo>
                <a:cubicBezTo>
                  <a:pt x="7557" y="4"/>
                  <a:pt x="7542" y="4"/>
                  <a:pt x="7526" y="4"/>
                </a:cubicBezTo>
                <a:cubicBezTo>
                  <a:pt x="7519" y="4"/>
                  <a:pt x="7511" y="3"/>
                  <a:pt x="7504" y="4"/>
                </a:cubicBezTo>
                <a:cubicBezTo>
                  <a:pt x="7498" y="4"/>
                  <a:pt x="7497" y="5"/>
                  <a:pt x="7492" y="4"/>
                </a:cubicBezTo>
                <a:cubicBezTo>
                  <a:pt x="7487" y="3"/>
                  <a:pt x="7480" y="4"/>
                  <a:pt x="7475" y="4"/>
                </a:cubicBezTo>
                <a:cubicBezTo>
                  <a:pt x="7468" y="4"/>
                  <a:pt x="7462" y="4"/>
                  <a:pt x="7455" y="4"/>
                </a:cubicBezTo>
                <a:cubicBezTo>
                  <a:pt x="7442" y="4"/>
                  <a:pt x="7428" y="4"/>
                  <a:pt x="7415" y="4"/>
                </a:cubicBezTo>
                <a:cubicBezTo>
                  <a:pt x="7401" y="4"/>
                  <a:pt x="7387" y="4"/>
                  <a:pt x="7373" y="4"/>
                </a:cubicBezTo>
                <a:cubicBezTo>
                  <a:pt x="7363" y="4"/>
                  <a:pt x="7348" y="4"/>
                  <a:pt x="7340" y="5"/>
                </a:cubicBezTo>
                <a:cubicBezTo>
                  <a:pt x="7338" y="5"/>
                  <a:pt x="7335" y="5"/>
                  <a:pt x="7332" y="5"/>
                </a:cubicBezTo>
                <a:cubicBezTo>
                  <a:pt x="7324" y="4"/>
                  <a:pt x="7314" y="4"/>
                  <a:pt x="7306" y="4"/>
                </a:cubicBezTo>
                <a:cubicBezTo>
                  <a:pt x="7290" y="4"/>
                  <a:pt x="7251" y="4"/>
                  <a:pt x="7218" y="4"/>
                </a:cubicBezTo>
                <a:cubicBezTo>
                  <a:pt x="7200" y="4"/>
                  <a:pt x="7181" y="5"/>
                  <a:pt x="7163" y="4"/>
                </a:cubicBezTo>
                <a:cubicBezTo>
                  <a:pt x="7160" y="4"/>
                  <a:pt x="7158" y="4"/>
                  <a:pt x="7156" y="4"/>
                </a:cubicBezTo>
                <a:cubicBezTo>
                  <a:pt x="7155" y="4"/>
                  <a:pt x="7154" y="3"/>
                  <a:pt x="7153" y="3"/>
                </a:cubicBezTo>
                <a:cubicBezTo>
                  <a:pt x="7149" y="3"/>
                  <a:pt x="7141" y="3"/>
                  <a:pt x="7136" y="3"/>
                </a:cubicBezTo>
                <a:cubicBezTo>
                  <a:pt x="7132" y="3"/>
                  <a:pt x="7127" y="4"/>
                  <a:pt x="7122" y="4"/>
                </a:cubicBezTo>
                <a:cubicBezTo>
                  <a:pt x="7118" y="4"/>
                  <a:pt x="7114" y="4"/>
                  <a:pt x="7111" y="4"/>
                </a:cubicBezTo>
                <a:cubicBezTo>
                  <a:pt x="7108" y="5"/>
                  <a:pt x="7107" y="5"/>
                  <a:pt x="7104" y="5"/>
                </a:cubicBezTo>
                <a:cubicBezTo>
                  <a:pt x="7100" y="5"/>
                  <a:pt x="7096" y="4"/>
                  <a:pt x="7092" y="4"/>
                </a:cubicBezTo>
                <a:cubicBezTo>
                  <a:pt x="7087" y="4"/>
                  <a:pt x="7084" y="5"/>
                  <a:pt x="7080" y="5"/>
                </a:cubicBezTo>
                <a:cubicBezTo>
                  <a:pt x="7078" y="5"/>
                  <a:pt x="7077" y="5"/>
                  <a:pt x="7075" y="5"/>
                </a:cubicBezTo>
                <a:cubicBezTo>
                  <a:pt x="7068" y="4"/>
                  <a:pt x="7057" y="4"/>
                  <a:pt x="7049" y="4"/>
                </a:cubicBezTo>
                <a:cubicBezTo>
                  <a:pt x="7041" y="4"/>
                  <a:pt x="7033" y="4"/>
                  <a:pt x="7025" y="4"/>
                </a:cubicBezTo>
                <a:cubicBezTo>
                  <a:pt x="7021" y="4"/>
                  <a:pt x="7012" y="5"/>
                  <a:pt x="7009" y="4"/>
                </a:cubicBezTo>
                <a:cubicBezTo>
                  <a:pt x="7006" y="3"/>
                  <a:pt x="7007" y="3"/>
                  <a:pt x="7006" y="3"/>
                </a:cubicBezTo>
                <a:cubicBezTo>
                  <a:pt x="7005" y="2"/>
                  <a:pt x="7004" y="2"/>
                  <a:pt x="7003" y="2"/>
                </a:cubicBezTo>
                <a:cubicBezTo>
                  <a:pt x="6999" y="2"/>
                  <a:pt x="6995" y="1"/>
                  <a:pt x="6991" y="2"/>
                </a:cubicBezTo>
                <a:cubicBezTo>
                  <a:pt x="6990" y="2"/>
                  <a:pt x="6988" y="2"/>
                  <a:pt x="6988" y="2"/>
                </a:cubicBezTo>
                <a:cubicBezTo>
                  <a:pt x="6987" y="3"/>
                  <a:pt x="6989" y="3"/>
                  <a:pt x="6989" y="3"/>
                </a:cubicBezTo>
                <a:cubicBezTo>
                  <a:pt x="6989" y="3"/>
                  <a:pt x="6988" y="4"/>
                  <a:pt x="6986" y="4"/>
                </a:cubicBezTo>
                <a:cubicBezTo>
                  <a:pt x="6980" y="5"/>
                  <a:pt x="6972" y="5"/>
                  <a:pt x="6965" y="5"/>
                </a:cubicBezTo>
                <a:cubicBezTo>
                  <a:pt x="6956" y="4"/>
                  <a:pt x="6948" y="3"/>
                  <a:pt x="6940" y="3"/>
                </a:cubicBezTo>
                <a:cubicBezTo>
                  <a:pt x="6931" y="3"/>
                  <a:pt x="6921" y="2"/>
                  <a:pt x="6912" y="3"/>
                </a:cubicBezTo>
                <a:cubicBezTo>
                  <a:pt x="6905" y="3"/>
                  <a:pt x="6900" y="4"/>
                  <a:pt x="6892" y="3"/>
                </a:cubicBezTo>
                <a:cubicBezTo>
                  <a:pt x="6888" y="3"/>
                  <a:pt x="6884" y="3"/>
                  <a:pt x="6880" y="3"/>
                </a:cubicBezTo>
                <a:cubicBezTo>
                  <a:pt x="6876" y="3"/>
                  <a:pt x="6873" y="3"/>
                  <a:pt x="6869" y="3"/>
                </a:cubicBezTo>
                <a:cubicBezTo>
                  <a:pt x="6865" y="2"/>
                  <a:pt x="6860" y="2"/>
                  <a:pt x="6856" y="2"/>
                </a:cubicBezTo>
                <a:cubicBezTo>
                  <a:pt x="6849" y="2"/>
                  <a:pt x="6842" y="2"/>
                  <a:pt x="6835" y="2"/>
                </a:cubicBezTo>
                <a:cubicBezTo>
                  <a:pt x="6827" y="2"/>
                  <a:pt x="6816" y="1"/>
                  <a:pt x="6808" y="2"/>
                </a:cubicBezTo>
                <a:cubicBezTo>
                  <a:pt x="6803" y="3"/>
                  <a:pt x="6807" y="4"/>
                  <a:pt x="6802" y="4"/>
                </a:cubicBezTo>
                <a:cubicBezTo>
                  <a:pt x="6797" y="5"/>
                  <a:pt x="6790" y="5"/>
                  <a:pt x="6785" y="5"/>
                </a:cubicBezTo>
                <a:cubicBezTo>
                  <a:pt x="6780" y="5"/>
                  <a:pt x="6748" y="3"/>
                  <a:pt x="6747" y="5"/>
                </a:cubicBezTo>
                <a:cubicBezTo>
                  <a:pt x="6747" y="5"/>
                  <a:pt x="6747" y="5"/>
                  <a:pt x="6746" y="5"/>
                </a:cubicBezTo>
                <a:cubicBezTo>
                  <a:pt x="6738" y="5"/>
                  <a:pt x="6731" y="5"/>
                  <a:pt x="6723" y="5"/>
                </a:cubicBezTo>
                <a:cubicBezTo>
                  <a:pt x="6688" y="4"/>
                  <a:pt x="6663" y="3"/>
                  <a:pt x="6625" y="4"/>
                </a:cubicBezTo>
                <a:cubicBezTo>
                  <a:pt x="6612" y="4"/>
                  <a:pt x="6598" y="4"/>
                  <a:pt x="6584" y="4"/>
                </a:cubicBezTo>
                <a:cubicBezTo>
                  <a:pt x="6584" y="4"/>
                  <a:pt x="6584" y="4"/>
                  <a:pt x="6584" y="3"/>
                </a:cubicBezTo>
                <a:cubicBezTo>
                  <a:pt x="6583" y="3"/>
                  <a:pt x="6583" y="3"/>
                  <a:pt x="6582" y="3"/>
                </a:cubicBezTo>
                <a:cubicBezTo>
                  <a:pt x="6580" y="3"/>
                  <a:pt x="6578" y="3"/>
                  <a:pt x="6576" y="3"/>
                </a:cubicBezTo>
                <a:cubicBezTo>
                  <a:pt x="6570" y="4"/>
                  <a:pt x="6567" y="3"/>
                  <a:pt x="6561" y="3"/>
                </a:cubicBezTo>
                <a:cubicBezTo>
                  <a:pt x="6556" y="2"/>
                  <a:pt x="6550" y="2"/>
                  <a:pt x="6547" y="3"/>
                </a:cubicBezTo>
                <a:cubicBezTo>
                  <a:pt x="6546" y="3"/>
                  <a:pt x="6546" y="3"/>
                  <a:pt x="6546" y="3"/>
                </a:cubicBezTo>
                <a:cubicBezTo>
                  <a:pt x="6543" y="4"/>
                  <a:pt x="6532" y="4"/>
                  <a:pt x="6528" y="4"/>
                </a:cubicBezTo>
                <a:cubicBezTo>
                  <a:pt x="6522" y="4"/>
                  <a:pt x="6516" y="4"/>
                  <a:pt x="6510" y="4"/>
                </a:cubicBezTo>
                <a:cubicBezTo>
                  <a:pt x="6490" y="4"/>
                  <a:pt x="6471" y="4"/>
                  <a:pt x="6467" y="4"/>
                </a:cubicBezTo>
                <a:cubicBezTo>
                  <a:pt x="6459" y="4"/>
                  <a:pt x="6452" y="4"/>
                  <a:pt x="6444" y="4"/>
                </a:cubicBezTo>
                <a:cubicBezTo>
                  <a:pt x="6443" y="3"/>
                  <a:pt x="6441" y="3"/>
                  <a:pt x="6441" y="3"/>
                </a:cubicBezTo>
                <a:cubicBezTo>
                  <a:pt x="6439" y="3"/>
                  <a:pt x="6438" y="3"/>
                  <a:pt x="6433" y="3"/>
                </a:cubicBezTo>
                <a:cubicBezTo>
                  <a:pt x="6429" y="3"/>
                  <a:pt x="6424" y="3"/>
                  <a:pt x="6420" y="3"/>
                </a:cubicBezTo>
                <a:cubicBezTo>
                  <a:pt x="6418" y="3"/>
                  <a:pt x="6417" y="3"/>
                  <a:pt x="6416" y="3"/>
                </a:cubicBezTo>
                <a:cubicBezTo>
                  <a:pt x="6414" y="3"/>
                  <a:pt x="6415" y="3"/>
                  <a:pt x="6414" y="3"/>
                </a:cubicBezTo>
                <a:cubicBezTo>
                  <a:pt x="6411" y="4"/>
                  <a:pt x="6405" y="3"/>
                  <a:pt x="6401" y="4"/>
                </a:cubicBezTo>
                <a:cubicBezTo>
                  <a:pt x="6393" y="4"/>
                  <a:pt x="6385" y="4"/>
                  <a:pt x="6377" y="3"/>
                </a:cubicBezTo>
                <a:cubicBezTo>
                  <a:pt x="6369" y="3"/>
                  <a:pt x="6362" y="3"/>
                  <a:pt x="6355" y="4"/>
                </a:cubicBezTo>
                <a:cubicBezTo>
                  <a:pt x="6351" y="4"/>
                  <a:pt x="6348" y="5"/>
                  <a:pt x="6344" y="5"/>
                </a:cubicBezTo>
                <a:cubicBezTo>
                  <a:pt x="6338" y="6"/>
                  <a:pt x="6333" y="5"/>
                  <a:pt x="6328" y="5"/>
                </a:cubicBezTo>
                <a:cubicBezTo>
                  <a:pt x="6313" y="4"/>
                  <a:pt x="6295" y="5"/>
                  <a:pt x="6280" y="5"/>
                </a:cubicBezTo>
                <a:cubicBezTo>
                  <a:pt x="6255" y="5"/>
                  <a:pt x="6229" y="6"/>
                  <a:pt x="6221" y="6"/>
                </a:cubicBezTo>
                <a:cubicBezTo>
                  <a:pt x="6215" y="6"/>
                  <a:pt x="6206" y="6"/>
                  <a:pt x="6202" y="7"/>
                </a:cubicBezTo>
                <a:cubicBezTo>
                  <a:pt x="6201" y="7"/>
                  <a:pt x="6201" y="7"/>
                  <a:pt x="6200" y="7"/>
                </a:cubicBezTo>
                <a:cubicBezTo>
                  <a:pt x="6200" y="7"/>
                  <a:pt x="6199" y="7"/>
                  <a:pt x="6199" y="7"/>
                </a:cubicBezTo>
                <a:cubicBezTo>
                  <a:pt x="6197" y="7"/>
                  <a:pt x="6195" y="7"/>
                  <a:pt x="6193" y="7"/>
                </a:cubicBezTo>
                <a:cubicBezTo>
                  <a:pt x="6192" y="7"/>
                  <a:pt x="6191" y="7"/>
                  <a:pt x="6189" y="6"/>
                </a:cubicBezTo>
                <a:cubicBezTo>
                  <a:pt x="6181" y="5"/>
                  <a:pt x="6168" y="6"/>
                  <a:pt x="6158" y="6"/>
                </a:cubicBezTo>
                <a:cubicBezTo>
                  <a:pt x="6147" y="6"/>
                  <a:pt x="6136" y="6"/>
                  <a:pt x="6124" y="6"/>
                </a:cubicBezTo>
                <a:cubicBezTo>
                  <a:pt x="6111" y="6"/>
                  <a:pt x="6099" y="6"/>
                  <a:pt x="6086" y="5"/>
                </a:cubicBezTo>
                <a:cubicBezTo>
                  <a:pt x="6079" y="5"/>
                  <a:pt x="6073" y="5"/>
                  <a:pt x="6066" y="5"/>
                </a:cubicBezTo>
                <a:cubicBezTo>
                  <a:pt x="6062" y="5"/>
                  <a:pt x="6059" y="6"/>
                  <a:pt x="6055" y="6"/>
                </a:cubicBezTo>
                <a:cubicBezTo>
                  <a:pt x="6054" y="6"/>
                  <a:pt x="6053" y="6"/>
                  <a:pt x="6051" y="6"/>
                </a:cubicBezTo>
                <a:cubicBezTo>
                  <a:pt x="6050" y="6"/>
                  <a:pt x="6049" y="7"/>
                  <a:pt x="6047" y="7"/>
                </a:cubicBezTo>
                <a:cubicBezTo>
                  <a:pt x="6039" y="6"/>
                  <a:pt x="6032" y="5"/>
                  <a:pt x="6024" y="5"/>
                </a:cubicBezTo>
                <a:cubicBezTo>
                  <a:pt x="6015" y="5"/>
                  <a:pt x="6007" y="5"/>
                  <a:pt x="5998" y="5"/>
                </a:cubicBezTo>
                <a:cubicBezTo>
                  <a:pt x="5991" y="5"/>
                  <a:pt x="5984" y="6"/>
                  <a:pt x="5977" y="6"/>
                </a:cubicBezTo>
                <a:cubicBezTo>
                  <a:pt x="5971" y="6"/>
                  <a:pt x="5966" y="6"/>
                  <a:pt x="5962" y="7"/>
                </a:cubicBezTo>
                <a:cubicBezTo>
                  <a:pt x="5960" y="8"/>
                  <a:pt x="5957" y="8"/>
                  <a:pt x="5954" y="8"/>
                </a:cubicBezTo>
                <a:cubicBezTo>
                  <a:pt x="5949" y="8"/>
                  <a:pt x="5943" y="8"/>
                  <a:pt x="5937" y="8"/>
                </a:cubicBezTo>
                <a:cubicBezTo>
                  <a:pt x="5932" y="8"/>
                  <a:pt x="5926" y="8"/>
                  <a:pt x="5920" y="8"/>
                </a:cubicBezTo>
                <a:cubicBezTo>
                  <a:pt x="5918" y="8"/>
                  <a:pt x="5916" y="8"/>
                  <a:pt x="5914" y="8"/>
                </a:cubicBezTo>
                <a:cubicBezTo>
                  <a:pt x="5913" y="9"/>
                  <a:pt x="5913" y="9"/>
                  <a:pt x="5913" y="9"/>
                </a:cubicBezTo>
                <a:cubicBezTo>
                  <a:pt x="5912" y="9"/>
                  <a:pt x="5912" y="9"/>
                  <a:pt x="5911" y="9"/>
                </a:cubicBezTo>
                <a:cubicBezTo>
                  <a:pt x="5909" y="9"/>
                  <a:pt x="5906" y="9"/>
                  <a:pt x="5904" y="8"/>
                </a:cubicBezTo>
                <a:cubicBezTo>
                  <a:pt x="5900" y="8"/>
                  <a:pt x="5895" y="8"/>
                  <a:pt x="5890" y="8"/>
                </a:cubicBezTo>
                <a:cubicBezTo>
                  <a:pt x="5885" y="7"/>
                  <a:pt x="5880" y="7"/>
                  <a:pt x="5876" y="7"/>
                </a:cubicBezTo>
                <a:cubicBezTo>
                  <a:pt x="5875" y="7"/>
                  <a:pt x="5873" y="7"/>
                  <a:pt x="5872" y="7"/>
                </a:cubicBezTo>
                <a:cubicBezTo>
                  <a:pt x="5864" y="7"/>
                  <a:pt x="5855" y="7"/>
                  <a:pt x="5848" y="7"/>
                </a:cubicBezTo>
                <a:cubicBezTo>
                  <a:pt x="5843" y="7"/>
                  <a:pt x="5839" y="7"/>
                  <a:pt x="5834" y="7"/>
                </a:cubicBezTo>
                <a:cubicBezTo>
                  <a:pt x="5829" y="7"/>
                  <a:pt x="5825" y="7"/>
                  <a:pt x="5820" y="6"/>
                </a:cubicBezTo>
                <a:cubicBezTo>
                  <a:pt x="5817" y="6"/>
                  <a:pt x="5815" y="5"/>
                  <a:pt x="5811" y="5"/>
                </a:cubicBezTo>
                <a:cubicBezTo>
                  <a:pt x="5804" y="5"/>
                  <a:pt x="5797" y="5"/>
                  <a:pt x="5790" y="5"/>
                </a:cubicBezTo>
                <a:cubicBezTo>
                  <a:pt x="5771" y="5"/>
                  <a:pt x="5753" y="6"/>
                  <a:pt x="5734" y="6"/>
                </a:cubicBezTo>
                <a:cubicBezTo>
                  <a:pt x="5733" y="6"/>
                  <a:pt x="5732" y="6"/>
                  <a:pt x="5731" y="6"/>
                </a:cubicBezTo>
                <a:cubicBezTo>
                  <a:pt x="5729" y="6"/>
                  <a:pt x="5727" y="5"/>
                  <a:pt x="5726" y="5"/>
                </a:cubicBezTo>
                <a:cubicBezTo>
                  <a:pt x="5723" y="5"/>
                  <a:pt x="5720" y="4"/>
                  <a:pt x="5716" y="4"/>
                </a:cubicBezTo>
                <a:cubicBezTo>
                  <a:pt x="5714" y="4"/>
                  <a:pt x="5710" y="4"/>
                  <a:pt x="5707" y="4"/>
                </a:cubicBezTo>
                <a:cubicBezTo>
                  <a:pt x="5700" y="4"/>
                  <a:pt x="5694" y="4"/>
                  <a:pt x="5687" y="4"/>
                </a:cubicBezTo>
                <a:cubicBezTo>
                  <a:pt x="5680" y="4"/>
                  <a:pt x="5674" y="4"/>
                  <a:pt x="5668" y="4"/>
                </a:cubicBezTo>
                <a:cubicBezTo>
                  <a:pt x="5665" y="4"/>
                  <a:pt x="5663" y="4"/>
                  <a:pt x="5660" y="4"/>
                </a:cubicBezTo>
                <a:cubicBezTo>
                  <a:pt x="5658" y="4"/>
                  <a:pt x="5655" y="4"/>
                  <a:pt x="5653" y="4"/>
                </a:cubicBezTo>
                <a:cubicBezTo>
                  <a:pt x="5650" y="4"/>
                  <a:pt x="5643" y="7"/>
                  <a:pt x="5638" y="6"/>
                </a:cubicBezTo>
                <a:cubicBezTo>
                  <a:pt x="5635" y="5"/>
                  <a:pt x="5640" y="4"/>
                  <a:pt x="5638" y="3"/>
                </a:cubicBezTo>
                <a:cubicBezTo>
                  <a:pt x="5636" y="3"/>
                  <a:pt x="5627" y="3"/>
                  <a:pt x="5625" y="3"/>
                </a:cubicBezTo>
                <a:cubicBezTo>
                  <a:pt x="5624" y="3"/>
                  <a:pt x="5625" y="3"/>
                  <a:pt x="5627" y="3"/>
                </a:cubicBezTo>
                <a:cubicBezTo>
                  <a:pt x="5629" y="3"/>
                  <a:pt x="5631" y="4"/>
                  <a:pt x="5631" y="4"/>
                </a:cubicBezTo>
                <a:cubicBezTo>
                  <a:pt x="5631" y="5"/>
                  <a:pt x="5630" y="5"/>
                  <a:pt x="5630" y="5"/>
                </a:cubicBezTo>
                <a:cubicBezTo>
                  <a:pt x="5626" y="5"/>
                  <a:pt x="5621" y="5"/>
                  <a:pt x="5617" y="5"/>
                </a:cubicBezTo>
                <a:cubicBezTo>
                  <a:pt x="5614" y="5"/>
                  <a:pt x="5612" y="5"/>
                  <a:pt x="5609" y="5"/>
                </a:cubicBezTo>
                <a:cubicBezTo>
                  <a:pt x="5608" y="5"/>
                  <a:pt x="5606" y="5"/>
                  <a:pt x="5603" y="5"/>
                </a:cubicBezTo>
                <a:cubicBezTo>
                  <a:pt x="5603" y="4"/>
                  <a:pt x="5602" y="4"/>
                  <a:pt x="5600" y="4"/>
                </a:cubicBezTo>
                <a:cubicBezTo>
                  <a:pt x="5599" y="4"/>
                  <a:pt x="5598" y="5"/>
                  <a:pt x="5598" y="5"/>
                </a:cubicBezTo>
                <a:cubicBezTo>
                  <a:pt x="5598" y="5"/>
                  <a:pt x="5598" y="5"/>
                  <a:pt x="5598" y="5"/>
                </a:cubicBezTo>
                <a:cubicBezTo>
                  <a:pt x="5600" y="7"/>
                  <a:pt x="5590" y="6"/>
                  <a:pt x="5586" y="6"/>
                </a:cubicBezTo>
                <a:cubicBezTo>
                  <a:pt x="5579" y="6"/>
                  <a:pt x="5570" y="5"/>
                  <a:pt x="5566" y="4"/>
                </a:cubicBezTo>
                <a:cubicBezTo>
                  <a:pt x="5559" y="3"/>
                  <a:pt x="5552" y="3"/>
                  <a:pt x="5545" y="3"/>
                </a:cubicBezTo>
                <a:cubicBezTo>
                  <a:pt x="5539" y="3"/>
                  <a:pt x="5533" y="3"/>
                  <a:pt x="5528" y="3"/>
                </a:cubicBezTo>
                <a:cubicBezTo>
                  <a:pt x="5522" y="3"/>
                  <a:pt x="5517" y="3"/>
                  <a:pt x="5511" y="3"/>
                </a:cubicBezTo>
                <a:cubicBezTo>
                  <a:pt x="5509" y="3"/>
                  <a:pt x="5501" y="3"/>
                  <a:pt x="5501" y="3"/>
                </a:cubicBezTo>
                <a:cubicBezTo>
                  <a:pt x="5500" y="3"/>
                  <a:pt x="5498" y="3"/>
                  <a:pt x="5497" y="3"/>
                </a:cubicBezTo>
                <a:cubicBezTo>
                  <a:pt x="5497" y="4"/>
                  <a:pt x="5497" y="4"/>
                  <a:pt x="5497" y="4"/>
                </a:cubicBezTo>
                <a:cubicBezTo>
                  <a:pt x="5497" y="4"/>
                  <a:pt x="5498" y="4"/>
                  <a:pt x="5498" y="5"/>
                </a:cubicBezTo>
                <a:cubicBezTo>
                  <a:pt x="5497" y="5"/>
                  <a:pt x="5489" y="5"/>
                  <a:pt x="5489" y="5"/>
                </a:cubicBezTo>
                <a:cubicBezTo>
                  <a:pt x="5489" y="4"/>
                  <a:pt x="5491" y="4"/>
                  <a:pt x="5491" y="4"/>
                </a:cubicBezTo>
                <a:cubicBezTo>
                  <a:pt x="5491" y="3"/>
                  <a:pt x="5480" y="3"/>
                  <a:pt x="5478" y="3"/>
                </a:cubicBezTo>
                <a:cubicBezTo>
                  <a:pt x="5474" y="3"/>
                  <a:pt x="5471" y="3"/>
                  <a:pt x="5467" y="3"/>
                </a:cubicBezTo>
                <a:cubicBezTo>
                  <a:pt x="5466" y="3"/>
                  <a:pt x="5465" y="3"/>
                  <a:pt x="5464" y="3"/>
                </a:cubicBezTo>
                <a:cubicBezTo>
                  <a:pt x="5463" y="3"/>
                  <a:pt x="5461" y="3"/>
                  <a:pt x="5460" y="3"/>
                </a:cubicBezTo>
                <a:cubicBezTo>
                  <a:pt x="5458" y="3"/>
                  <a:pt x="5456" y="3"/>
                  <a:pt x="5455" y="3"/>
                </a:cubicBezTo>
                <a:cubicBezTo>
                  <a:pt x="5454" y="3"/>
                  <a:pt x="5453" y="3"/>
                  <a:pt x="5453" y="3"/>
                </a:cubicBezTo>
                <a:cubicBezTo>
                  <a:pt x="5449" y="4"/>
                  <a:pt x="5461" y="5"/>
                  <a:pt x="5463" y="5"/>
                </a:cubicBezTo>
                <a:cubicBezTo>
                  <a:pt x="5465" y="4"/>
                  <a:pt x="5469" y="4"/>
                  <a:pt x="5469" y="5"/>
                </a:cubicBezTo>
                <a:cubicBezTo>
                  <a:pt x="5469" y="6"/>
                  <a:pt x="5468" y="6"/>
                  <a:pt x="5464" y="6"/>
                </a:cubicBezTo>
                <a:cubicBezTo>
                  <a:pt x="5459" y="6"/>
                  <a:pt x="5455" y="6"/>
                  <a:pt x="5450" y="6"/>
                </a:cubicBezTo>
                <a:cubicBezTo>
                  <a:pt x="5441" y="6"/>
                  <a:pt x="5432" y="6"/>
                  <a:pt x="5423" y="6"/>
                </a:cubicBezTo>
                <a:cubicBezTo>
                  <a:pt x="5412" y="6"/>
                  <a:pt x="5402" y="6"/>
                  <a:pt x="5391" y="5"/>
                </a:cubicBezTo>
                <a:cubicBezTo>
                  <a:pt x="5387" y="5"/>
                  <a:pt x="5383" y="5"/>
                  <a:pt x="5379" y="5"/>
                </a:cubicBezTo>
                <a:cubicBezTo>
                  <a:pt x="5376" y="5"/>
                  <a:pt x="5373" y="5"/>
                  <a:pt x="5370" y="5"/>
                </a:cubicBezTo>
                <a:cubicBezTo>
                  <a:pt x="5371" y="5"/>
                  <a:pt x="5371" y="5"/>
                  <a:pt x="5371" y="5"/>
                </a:cubicBezTo>
                <a:cubicBezTo>
                  <a:pt x="5369" y="5"/>
                  <a:pt x="5368" y="5"/>
                  <a:pt x="5366" y="5"/>
                </a:cubicBezTo>
                <a:cubicBezTo>
                  <a:pt x="5364" y="4"/>
                  <a:pt x="5372" y="4"/>
                  <a:pt x="5373" y="3"/>
                </a:cubicBezTo>
                <a:cubicBezTo>
                  <a:pt x="5375" y="3"/>
                  <a:pt x="5371" y="3"/>
                  <a:pt x="5368" y="3"/>
                </a:cubicBezTo>
                <a:cubicBezTo>
                  <a:pt x="5366" y="3"/>
                  <a:pt x="5366" y="4"/>
                  <a:pt x="5363" y="4"/>
                </a:cubicBezTo>
                <a:cubicBezTo>
                  <a:pt x="5360" y="4"/>
                  <a:pt x="5359" y="3"/>
                  <a:pt x="5358" y="3"/>
                </a:cubicBezTo>
                <a:cubicBezTo>
                  <a:pt x="5355" y="3"/>
                  <a:pt x="5352" y="3"/>
                  <a:pt x="5349" y="3"/>
                </a:cubicBezTo>
                <a:cubicBezTo>
                  <a:pt x="5343" y="3"/>
                  <a:pt x="5337" y="3"/>
                  <a:pt x="5331" y="3"/>
                </a:cubicBezTo>
                <a:cubicBezTo>
                  <a:pt x="5318" y="3"/>
                  <a:pt x="5307" y="3"/>
                  <a:pt x="5305" y="3"/>
                </a:cubicBezTo>
                <a:cubicBezTo>
                  <a:pt x="5300" y="3"/>
                  <a:pt x="5291" y="3"/>
                  <a:pt x="5287" y="2"/>
                </a:cubicBezTo>
                <a:cubicBezTo>
                  <a:pt x="5285" y="2"/>
                  <a:pt x="5283" y="2"/>
                  <a:pt x="5281" y="3"/>
                </a:cubicBezTo>
                <a:cubicBezTo>
                  <a:pt x="5281" y="3"/>
                  <a:pt x="5281" y="3"/>
                  <a:pt x="5281" y="3"/>
                </a:cubicBezTo>
                <a:cubicBezTo>
                  <a:pt x="5281" y="4"/>
                  <a:pt x="5281" y="4"/>
                  <a:pt x="5279" y="4"/>
                </a:cubicBezTo>
                <a:cubicBezTo>
                  <a:pt x="5276" y="4"/>
                  <a:pt x="5273" y="3"/>
                  <a:pt x="5271" y="3"/>
                </a:cubicBezTo>
                <a:cubicBezTo>
                  <a:pt x="5268" y="3"/>
                  <a:pt x="5265" y="3"/>
                  <a:pt x="5262" y="3"/>
                </a:cubicBezTo>
                <a:cubicBezTo>
                  <a:pt x="5256" y="3"/>
                  <a:pt x="5250" y="3"/>
                  <a:pt x="5243" y="3"/>
                </a:cubicBezTo>
                <a:cubicBezTo>
                  <a:pt x="5241" y="3"/>
                  <a:pt x="5239" y="3"/>
                  <a:pt x="5236" y="3"/>
                </a:cubicBezTo>
                <a:cubicBezTo>
                  <a:pt x="5236" y="3"/>
                  <a:pt x="5236" y="3"/>
                  <a:pt x="5236" y="4"/>
                </a:cubicBezTo>
                <a:cubicBezTo>
                  <a:pt x="5223" y="4"/>
                  <a:pt x="5211" y="3"/>
                  <a:pt x="5199" y="3"/>
                </a:cubicBezTo>
                <a:cubicBezTo>
                  <a:pt x="5191" y="3"/>
                  <a:pt x="5184" y="3"/>
                  <a:pt x="5177" y="3"/>
                </a:cubicBezTo>
                <a:cubicBezTo>
                  <a:pt x="5175" y="3"/>
                  <a:pt x="5173" y="3"/>
                  <a:pt x="5170" y="3"/>
                </a:cubicBezTo>
                <a:cubicBezTo>
                  <a:pt x="5169" y="3"/>
                  <a:pt x="5162" y="4"/>
                  <a:pt x="5164" y="3"/>
                </a:cubicBezTo>
                <a:cubicBezTo>
                  <a:pt x="5165" y="3"/>
                  <a:pt x="5173" y="3"/>
                  <a:pt x="5172" y="2"/>
                </a:cubicBezTo>
                <a:cubicBezTo>
                  <a:pt x="5172" y="1"/>
                  <a:pt x="5166" y="2"/>
                  <a:pt x="5165" y="2"/>
                </a:cubicBezTo>
                <a:cubicBezTo>
                  <a:pt x="5163" y="3"/>
                  <a:pt x="5159" y="3"/>
                  <a:pt x="5157" y="3"/>
                </a:cubicBezTo>
                <a:cubicBezTo>
                  <a:pt x="5155" y="3"/>
                  <a:pt x="5153" y="3"/>
                  <a:pt x="5153" y="3"/>
                </a:cubicBezTo>
                <a:cubicBezTo>
                  <a:pt x="5153" y="3"/>
                  <a:pt x="5153" y="3"/>
                  <a:pt x="5152" y="3"/>
                </a:cubicBezTo>
                <a:cubicBezTo>
                  <a:pt x="5145" y="2"/>
                  <a:pt x="5136" y="2"/>
                  <a:pt x="5129" y="2"/>
                </a:cubicBezTo>
                <a:cubicBezTo>
                  <a:pt x="5115" y="1"/>
                  <a:pt x="5101" y="2"/>
                  <a:pt x="5087" y="2"/>
                </a:cubicBezTo>
                <a:cubicBezTo>
                  <a:pt x="5080" y="2"/>
                  <a:pt x="5073" y="3"/>
                  <a:pt x="5066" y="3"/>
                </a:cubicBezTo>
                <a:cubicBezTo>
                  <a:pt x="5060" y="3"/>
                  <a:pt x="5053" y="3"/>
                  <a:pt x="5047" y="3"/>
                </a:cubicBezTo>
                <a:cubicBezTo>
                  <a:pt x="5046" y="3"/>
                  <a:pt x="5046" y="3"/>
                  <a:pt x="5045" y="3"/>
                </a:cubicBezTo>
                <a:cubicBezTo>
                  <a:pt x="5045" y="3"/>
                  <a:pt x="5044" y="3"/>
                  <a:pt x="5044" y="3"/>
                </a:cubicBezTo>
                <a:cubicBezTo>
                  <a:pt x="5041" y="3"/>
                  <a:pt x="5038" y="3"/>
                  <a:pt x="5035" y="3"/>
                </a:cubicBezTo>
                <a:cubicBezTo>
                  <a:pt x="5034" y="3"/>
                  <a:pt x="5031" y="3"/>
                  <a:pt x="5031" y="3"/>
                </a:cubicBezTo>
                <a:cubicBezTo>
                  <a:pt x="5030" y="4"/>
                  <a:pt x="5031" y="4"/>
                  <a:pt x="5028" y="4"/>
                </a:cubicBezTo>
                <a:cubicBezTo>
                  <a:pt x="5025" y="5"/>
                  <a:pt x="5021" y="4"/>
                  <a:pt x="5019" y="4"/>
                </a:cubicBezTo>
                <a:cubicBezTo>
                  <a:pt x="5016" y="4"/>
                  <a:pt x="5012" y="3"/>
                  <a:pt x="5007" y="4"/>
                </a:cubicBezTo>
                <a:cubicBezTo>
                  <a:pt x="5005" y="4"/>
                  <a:pt x="5002" y="5"/>
                  <a:pt x="4998" y="5"/>
                </a:cubicBezTo>
                <a:cubicBezTo>
                  <a:pt x="4995" y="5"/>
                  <a:pt x="4990" y="5"/>
                  <a:pt x="4987" y="5"/>
                </a:cubicBezTo>
                <a:cubicBezTo>
                  <a:pt x="4978" y="5"/>
                  <a:pt x="4964" y="5"/>
                  <a:pt x="4956" y="4"/>
                </a:cubicBezTo>
                <a:cubicBezTo>
                  <a:pt x="4953" y="4"/>
                  <a:pt x="4950" y="4"/>
                  <a:pt x="4946" y="3"/>
                </a:cubicBezTo>
                <a:cubicBezTo>
                  <a:pt x="4944" y="3"/>
                  <a:pt x="4942" y="3"/>
                  <a:pt x="4938" y="4"/>
                </a:cubicBezTo>
                <a:cubicBezTo>
                  <a:pt x="4937" y="4"/>
                  <a:pt x="4936" y="4"/>
                  <a:pt x="4935" y="3"/>
                </a:cubicBezTo>
                <a:cubicBezTo>
                  <a:pt x="4929" y="3"/>
                  <a:pt x="4925" y="4"/>
                  <a:pt x="4922" y="5"/>
                </a:cubicBezTo>
                <a:cubicBezTo>
                  <a:pt x="4921" y="5"/>
                  <a:pt x="4917" y="5"/>
                  <a:pt x="4916" y="5"/>
                </a:cubicBezTo>
                <a:cubicBezTo>
                  <a:pt x="4914" y="5"/>
                  <a:pt x="4913" y="4"/>
                  <a:pt x="4911" y="4"/>
                </a:cubicBezTo>
                <a:cubicBezTo>
                  <a:pt x="4908" y="3"/>
                  <a:pt x="4905" y="3"/>
                  <a:pt x="4901" y="3"/>
                </a:cubicBezTo>
                <a:cubicBezTo>
                  <a:pt x="4900" y="3"/>
                  <a:pt x="4899" y="3"/>
                  <a:pt x="4897" y="3"/>
                </a:cubicBezTo>
                <a:cubicBezTo>
                  <a:pt x="4895" y="3"/>
                  <a:pt x="4896" y="3"/>
                  <a:pt x="4894" y="3"/>
                </a:cubicBezTo>
                <a:cubicBezTo>
                  <a:pt x="4893" y="3"/>
                  <a:pt x="4892" y="3"/>
                  <a:pt x="4891" y="3"/>
                </a:cubicBezTo>
                <a:cubicBezTo>
                  <a:pt x="4891" y="3"/>
                  <a:pt x="4890" y="3"/>
                  <a:pt x="4888" y="3"/>
                </a:cubicBezTo>
                <a:cubicBezTo>
                  <a:pt x="4886" y="3"/>
                  <a:pt x="4885" y="3"/>
                  <a:pt x="4884" y="4"/>
                </a:cubicBezTo>
                <a:cubicBezTo>
                  <a:pt x="4883" y="4"/>
                  <a:pt x="4883" y="5"/>
                  <a:pt x="4884" y="5"/>
                </a:cubicBezTo>
                <a:cubicBezTo>
                  <a:pt x="4882" y="5"/>
                  <a:pt x="4880" y="5"/>
                  <a:pt x="4878" y="5"/>
                </a:cubicBezTo>
                <a:cubicBezTo>
                  <a:pt x="4875" y="5"/>
                  <a:pt x="4872" y="5"/>
                  <a:pt x="4870" y="5"/>
                </a:cubicBezTo>
                <a:cubicBezTo>
                  <a:pt x="4860" y="5"/>
                  <a:pt x="4850" y="4"/>
                  <a:pt x="4840" y="4"/>
                </a:cubicBezTo>
                <a:cubicBezTo>
                  <a:pt x="4836" y="4"/>
                  <a:pt x="4832" y="4"/>
                  <a:pt x="4828" y="3"/>
                </a:cubicBezTo>
                <a:cubicBezTo>
                  <a:pt x="4825" y="3"/>
                  <a:pt x="4821" y="3"/>
                  <a:pt x="4819" y="3"/>
                </a:cubicBezTo>
                <a:cubicBezTo>
                  <a:pt x="4815" y="3"/>
                  <a:pt x="4812" y="3"/>
                  <a:pt x="4807" y="3"/>
                </a:cubicBezTo>
                <a:cubicBezTo>
                  <a:pt x="4803" y="3"/>
                  <a:pt x="4798" y="3"/>
                  <a:pt x="4795" y="3"/>
                </a:cubicBezTo>
                <a:cubicBezTo>
                  <a:pt x="4793" y="3"/>
                  <a:pt x="4792" y="3"/>
                  <a:pt x="4791" y="4"/>
                </a:cubicBezTo>
                <a:cubicBezTo>
                  <a:pt x="4790" y="4"/>
                  <a:pt x="4790" y="4"/>
                  <a:pt x="4789" y="4"/>
                </a:cubicBezTo>
                <a:cubicBezTo>
                  <a:pt x="4788" y="5"/>
                  <a:pt x="4786" y="5"/>
                  <a:pt x="4784" y="5"/>
                </a:cubicBezTo>
                <a:cubicBezTo>
                  <a:pt x="4772" y="5"/>
                  <a:pt x="4761" y="2"/>
                  <a:pt x="4749" y="3"/>
                </a:cubicBezTo>
                <a:cubicBezTo>
                  <a:pt x="4748" y="3"/>
                  <a:pt x="4747" y="3"/>
                  <a:pt x="4745" y="3"/>
                </a:cubicBezTo>
                <a:cubicBezTo>
                  <a:pt x="4741" y="4"/>
                  <a:pt x="4736" y="4"/>
                  <a:pt x="4730" y="4"/>
                </a:cubicBezTo>
                <a:cubicBezTo>
                  <a:pt x="4727" y="4"/>
                  <a:pt x="4724" y="4"/>
                  <a:pt x="4720" y="4"/>
                </a:cubicBezTo>
                <a:cubicBezTo>
                  <a:pt x="4718" y="4"/>
                  <a:pt x="4717" y="5"/>
                  <a:pt x="4715" y="5"/>
                </a:cubicBezTo>
                <a:cubicBezTo>
                  <a:pt x="4713" y="5"/>
                  <a:pt x="4712" y="6"/>
                  <a:pt x="4709" y="6"/>
                </a:cubicBezTo>
                <a:cubicBezTo>
                  <a:pt x="4705" y="6"/>
                  <a:pt x="4701" y="6"/>
                  <a:pt x="4697" y="6"/>
                </a:cubicBezTo>
                <a:cubicBezTo>
                  <a:pt x="4695" y="5"/>
                  <a:pt x="4693" y="5"/>
                  <a:pt x="4690" y="5"/>
                </a:cubicBezTo>
                <a:cubicBezTo>
                  <a:pt x="4687" y="4"/>
                  <a:pt x="4681" y="4"/>
                  <a:pt x="4677" y="4"/>
                </a:cubicBezTo>
                <a:cubicBezTo>
                  <a:pt x="4672" y="4"/>
                  <a:pt x="4668" y="4"/>
                  <a:pt x="4663" y="4"/>
                </a:cubicBezTo>
                <a:cubicBezTo>
                  <a:pt x="4658" y="4"/>
                  <a:pt x="4653" y="4"/>
                  <a:pt x="4648" y="4"/>
                </a:cubicBezTo>
                <a:cubicBezTo>
                  <a:pt x="4645" y="4"/>
                  <a:pt x="4641" y="4"/>
                  <a:pt x="4638" y="4"/>
                </a:cubicBezTo>
                <a:cubicBezTo>
                  <a:pt x="4634" y="5"/>
                  <a:pt x="4635" y="7"/>
                  <a:pt x="4630" y="7"/>
                </a:cubicBezTo>
                <a:cubicBezTo>
                  <a:pt x="4625" y="7"/>
                  <a:pt x="4620" y="6"/>
                  <a:pt x="4616" y="6"/>
                </a:cubicBezTo>
                <a:cubicBezTo>
                  <a:pt x="4611" y="6"/>
                  <a:pt x="4605" y="6"/>
                  <a:pt x="4600" y="6"/>
                </a:cubicBezTo>
                <a:cubicBezTo>
                  <a:pt x="4593" y="6"/>
                  <a:pt x="4586" y="6"/>
                  <a:pt x="4579" y="6"/>
                </a:cubicBezTo>
                <a:cubicBezTo>
                  <a:pt x="4563" y="6"/>
                  <a:pt x="4547" y="6"/>
                  <a:pt x="4531" y="6"/>
                </a:cubicBezTo>
                <a:cubicBezTo>
                  <a:pt x="4527" y="6"/>
                  <a:pt x="4522" y="6"/>
                  <a:pt x="4518" y="6"/>
                </a:cubicBezTo>
                <a:cubicBezTo>
                  <a:pt x="4514" y="6"/>
                  <a:pt x="4511" y="5"/>
                  <a:pt x="4507" y="5"/>
                </a:cubicBezTo>
                <a:cubicBezTo>
                  <a:pt x="4506" y="5"/>
                  <a:pt x="4505" y="5"/>
                  <a:pt x="4504" y="5"/>
                </a:cubicBezTo>
                <a:cubicBezTo>
                  <a:pt x="4503" y="5"/>
                  <a:pt x="4503" y="5"/>
                  <a:pt x="4503" y="5"/>
                </a:cubicBezTo>
                <a:cubicBezTo>
                  <a:pt x="4500" y="6"/>
                  <a:pt x="4496" y="6"/>
                  <a:pt x="4493" y="6"/>
                </a:cubicBezTo>
                <a:cubicBezTo>
                  <a:pt x="4490" y="6"/>
                  <a:pt x="4486" y="6"/>
                  <a:pt x="4482" y="6"/>
                </a:cubicBezTo>
                <a:cubicBezTo>
                  <a:pt x="4476" y="6"/>
                  <a:pt x="4469" y="6"/>
                  <a:pt x="4463" y="6"/>
                </a:cubicBezTo>
                <a:cubicBezTo>
                  <a:pt x="4460" y="6"/>
                  <a:pt x="4453" y="7"/>
                  <a:pt x="4450" y="6"/>
                </a:cubicBezTo>
                <a:cubicBezTo>
                  <a:pt x="4449" y="6"/>
                  <a:pt x="4449" y="5"/>
                  <a:pt x="4448" y="5"/>
                </a:cubicBezTo>
                <a:cubicBezTo>
                  <a:pt x="4446" y="5"/>
                  <a:pt x="4445" y="5"/>
                  <a:pt x="4443" y="5"/>
                </a:cubicBezTo>
                <a:cubicBezTo>
                  <a:pt x="4443" y="5"/>
                  <a:pt x="4444" y="6"/>
                  <a:pt x="4444" y="6"/>
                </a:cubicBezTo>
                <a:cubicBezTo>
                  <a:pt x="4449" y="7"/>
                  <a:pt x="4438" y="9"/>
                  <a:pt x="4434" y="8"/>
                </a:cubicBezTo>
                <a:cubicBezTo>
                  <a:pt x="4431" y="8"/>
                  <a:pt x="4432" y="7"/>
                  <a:pt x="4430" y="6"/>
                </a:cubicBezTo>
                <a:cubicBezTo>
                  <a:pt x="4428" y="6"/>
                  <a:pt x="4426" y="6"/>
                  <a:pt x="4424" y="6"/>
                </a:cubicBezTo>
                <a:cubicBezTo>
                  <a:pt x="4420" y="6"/>
                  <a:pt x="4417" y="6"/>
                  <a:pt x="4414" y="6"/>
                </a:cubicBezTo>
                <a:cubicBezTo>
                  <a:pt x="4411" y="6"/>
                  <a:pt x="4406" y="5"/>
                  <a:pt x="4403" y="5"/>
                </a:cubicBezTo>
                <a:cubicBezTo>
                  <a:pt x="4402" y="5"/>
                  <a:pt x="4402" y="6"/>
                  <a:pt x="4401" y="6"/>
                </a:cubicBezTo>
                <a:cubicBezTo>
                  <a:pt x="4397" y="7"/>
                  <a:pt x="4396" y="6"/>
                  <a:pt x="4393" y="6"/>
                </a:cubicBezTo>
                <a:cubicBezTo>
                  <a:pt x="4390" y="5"/>
                  <a:pt x="4386" y="6"/>
                  <a:pt x="4384" y="7"/>
                </a:cubicBezTo>
                <a:cubicBezTo>
                  <a:pt x="4381" y="7"/>
                  <a:pt x="4380" y="7"/>
                  <a:pt x="4377" y="7"/>
                </a:cubicBezTo>
                <a:cubicBezTo>
                  <a:pt x="4377" y="7"/>
                  <a:pt x="4376" y="7"/>
                  <a:pt x="4375" y="7"/>
                </a:cubicBezTo>
                <a:cubicBezTo>
                  <a:pt x="4374" y="7"/>
                  <a:pt x="4373" y="7"/>
                  <a:pt x="4372" y="6"/>
                </a:cubicBezTo>
                <a:cubicBezTo>
                  <a:pt x="4368" y="6"/>
                  <a:pt x="4360" y="6"/>
                  <a:pt x="4356" y="6"/>
                </a:cubicBezTo>
                <a:cubicBezTo>
                  <a:pt x="4296" y="6"/>
                  <a:pt x="4270" y="7"/>
                  <a:pt x="4267" y="7"/>
                </a:cubicBezTo>
                <a:cubicBezTo>
                  <a:pt x="4266" y="7"/>
                  <a:pt x="4234" y="7"/>
                  <a:pt x="4227" y="7"/>
                </a:cubicBezTo>
                <a:cubicBezTo>
                  <a:pt x="4224" y="7"/>
                  <a:pt x="4219" y="6"/>
                  <a:pt x="4216" y="6"/>
                </a:cubicBezTo>
                <a:cubicBezTo>
                  <a:pt x="4213" y="5"/>
                  <a:pt x="4211" y="5"/>
                  <a:pt x="4208" y="5"/>
                </a:cubicBezTo>
                <a:cubicBezTo>
                  <a:pt x="4205" y="5"/>
                  <a:pt x="4203" y="5"/>
                  <a:pt x="4200" y="5"/>
                </a:cubicBezTo>
                <a:cubicBezTo>
                  <a:pt x="4199" y="5"/>
                  <a:pt x="4197" y="5"/>
                  <a:pt x="4196" y="5"/>
                </a:cubicBezTo>
                <a:cubicBezTo>
                  <a:pt x="4195" y="4"/>
                  <a:pt x="4197" y="4"/>
                  <a:pt x="4195" y="4"/>
                </a:cubicBezTo>
                <a:cubicBezTo>
                  <a:pt x="4194" y="3"/>
                  <a:pt x="4190" y="3"/>
                  <a:pt x="4187" y="3"/>
                </a:cubicBezTo>
                <a:cubicBezTo>
                  <a:pt x="4184" y="3"/>
                  <a:pt x="4179" y="4"/>
                  <a:pt x="4176" y="4"/>
                </a:cubicBezTo>
                <a:cubicBezTo>
                  <a:pt x="4171" y="4"/>
                  <a:pt x="4165" y="5"/>
                  <a:pt x="4158" y="4"/>
                </a:cubicBezTo>
                <a:cubicBezTo>
                  <a:pt x="4158" y="4"/>
                  <a:pt x="4157" y="3"/>
                  <a:pt x="4156" y="3"/>
                </a:cubicBezTo>
                <a:cubicBezTo>
                  <a:pt x="4152" y="3"/>
                  <a:pt x="4151" y="4"/>
                  <a:pt x="4149" y="4"/>
                </a:cubicBezTo>
                <a:cubicBezTo>
                  <a:pt x="4147" y="5"/>
                  <a:pt x="4143" y="5"/>
                  <a:pt x="4140" y="5"/>
                </a:cubicBezTo>
                <a:cubicBezTo>
                  <a:pt x="4134" y="5"/>
                  <a:pt x="4128" y="5"/>
                  <a:pt x="4122" y="5"/>
                </a:cubicBezTo>
                <a:cubicBezTo>
                  <a:pt x="4104" y="5"/>
                  <a:pt x="4086" y="5"/>
                  <a:pt x="4080" y="5"/>
                </a:cubicBezTo>
                <a:cubicBezTo>
                  <a:pt x="4075" y="5"/>
                  <a:pt x="4068" y="5"/>
                  <a:pt x="4064" y="6"/>
                </a:cubicBezTo>
                <a:cubicBezTo>
                  <a:pt x="4061" y="6"/>
                  <a:pt x="4058" y="6"/>
                  <a:pt x="4056" y="6"/>
                </a:cubicBezTo>
                <a:cubicBezTo>
                  <a:pt x="4054" y="7"/>
                  <a:pt x="4053" y="7"/>
                  <a:pt x="4051" y="7"/>
                </a:cubicBezTo>
                <a:cubicBezTo>
                  <a:pt x="4046" y="8"/>
                  <a:pt x="4039" y="7"/>
                  <a:pt x="4034" y="7"/>
                </a:cubicBezTo>
                <a:cubicBezTo>
                  <a:pt x="4031" y="7"/>
                  <a:pt x="4027" y="6"/>
                  <a:pt x="4023" y="6"/>
                </a:cubicBezTo>
                <a:cubicBezTo>
                  <a:pt x="4020" y="6"/>
                  <a:pt x="4018" y="6"/>
                  <a:pt x="4015" y="6"/>
                </a:cubicBezTo>
                <a:cubicBezTo>
                  <a:pt x="4006" y="6"/>
                  <a:pt x="3998" y="6"/>
                  <a:pt x="3989" y="6"/>
                </a:cubicBezTo>
                <a:cubicBezTo>
                  <a:pt x="3971" y="7"/>
                  <a:pt x="3946" y="7"/>
                  <a:pt x="3918" y="7"/>
                </a:cubicBezTo>
                <a:cubicBezTo>
                  <a:pt x="3864" y="7"/>
                  <a:pt x="3806" y="7"/>
                  <a:pt x="3791" y="7"/>
                </a:cubicBezTo>
                <a:cubicBezTo>
                  <a:pt x="3785" y="7"/>
                  <a:pt x="3779" y="7"/>
                  <a:pt x="3773" y="7"/>
                </a:cubicBezTo>
                <a:cubicBezTo>
                  <a:pt x="3769" y="7"/>
                  <a:pt x="3763" y="7"/>
                  <a:pt x="3760" y="8"/>
                </a:cubicBezTo>
                <a:cubicBezTo>
                  <a:pt x="3758" y="8"/>
                  <a:pt x="3757" y="8"/>
                  <a:pt x="3756" y="8"/>
                </a:cubicBezTo>
                <a:cubicBezTo>
                  <a:pt x="3755" y="8"/>
                  <a:pt x="3754" y="8"/>
                  <a:pt x="3752" y="8"/>
                </a:cubicBezTo>
                <a:cubicBezTo>
                  <a:pt x="3752" y="8"/>
                  <a:pt x="3751" y="8"/>
                  <a:pt x="3751" y="8"/>
                </a:cubicBezTo>
                <a:cubicBezTo>
                  <a:pt x="3746" y="8"/>
                  <a:pt x="3741" y="8"/>
                  <a:pt x="3737" y="8"/>
                </a:cubicBezTo>
                <a:cubicBezTo>
                  <a:pt x="3732" y="8"/>
                  <a:pt x="3728" y="8"/>
                  <a:pt x="3723" y="8"/>
                </a:cubicBezTo>
                <a:cubicBezTo>
                  <a:pt x="3718" y="8"/>
                  <a:pt x="3713" y="7"/>
                  <a:pt x="3708" y="8"/>
                </a:cubicBezTo>
                <a:cubicBezTo>
                  <a:pt x="3708" y="8"/>
                  <a:pt x="3707" y="8"/>
                  <a:pt x="3706" y="8"/>
                </a:cubicBezTo>
                <a:cubicBezTo>
                  <a:pt x="3700" y="9"/>
                  <a:pt x="3695" y="9"/>
                  <a:pt x="3687" y="9"/>
                </a:cubicBezTo>
                <a:cubicBezTo>
                  <a:pt x="3687" y="9"/>
                  <a:pt x="3686" y="9"/>
                  <a:pt x="3686" y="9"/>
                </a:cubicBezTo>
                <a:cubicBezTo>
                  <a:pt x="3684" y="8"/>
                  <a:pt x="3685" y="8"/>
                  <a:pt x="3685" y="7"/>
                </a:cubicBezTo>
                <a:cubicBezTo>
                  <a:pt x="3680" y="6"/>
                  <a:pt x="3672" y="7"/>
                  <a:pt x="3666" y="7"/>
                </a:cubicBezTo>
                <a:cubicBezTo>
                  <a:pt x="3659" y="7"/>
                  <a:pt x="3652" y="8"/>
                  <a:pt x="3644" y="8"/>
                </a:cubicBezTo>
                <a:cubicBezTo>
                  <a:pt x="3637" y="7"/>
                  <a:pt x="3630" y="7"/>
                  <a:pt x="3622" y="7"/>
                </a:cubicBezTo>
                <a:cubicBezTo>
                  <a:pt x="3617" y="7"/>
                  <a:pt x="3598" y="7"/>
                  <a:pt x="3579" y="7"/>
                </a:cubicBezTo>
                <a:cubicBezTo>
                  <a:pt x="3573" y="7"/>
                  <a:pt x="3566" y="7"/>
                  <a:pt x="3560" y="7"/>
                </a:cubicBezTo>
                <a:cubicBezTo>
                  <a:pt x="3555" y="8"/>
                  <a:pt x="3549" y="8"/>
                  <a:pt x="3545" y="8"/>
                </a:cubicBezTo>
                <a:cubicBezTo>
                  <a:pt x="3543" y="8"/>
                  <a:pt x="3541" y="9"/>
                  <a:pt x="3539" y="9"/>
                </a:cubicBezTo>
                <a:cubicBezTo>
                  <a:pt x="3536" y="9"/>
                  <a:pt x="3532" y="8"/>
                  <a:pt x="3529" y="8"/>
                </a:cubicBezTo>
                <a:cubicBezTo>
                  <a:pt x="3520" y="7"/>
                  <a:pt x="3510" y="8"/>
                  <a:pt x="3501" y="7"/>
                </a:cubicBezTo>
                <a:cubicBezTo>
                  <a:pt x="3491" y="7"/>
                  <a:pt x="3481" y="7"/>
                  <a:pt x="3471" y="7"/>
                </a:cubicBezTo>
                <a:cubicBezTo>
                  <a:pt x="3460" y="7"/>
                  <a:pt x="3449" y="7"/>
                  <a:pt x="3438" y="7"/>
                </a:cubicBezTo>
                <a:cubicBezTo>
                  <a:pt x="3433" y="7"/>
                  <a:pt x="3429" y="7"/>
                  <a:pt x="3424" y="7"/>
                </a:cubicBezTo>
                <a:cubicBezTo>
                  <a:pt x="3419" y="8"/>
                  <a:pt x="3415" y="7"/>
                  <a:pt x="3410" y="8"/>
                </a:cubicBezTo>
                <a:cubicBezTo>
                  <a:pt x="3404" y="8"/>
                  <a:pt x="3399" y="9"/>
                  <a:pt x="3393" y="9"/>
                </a:cubicBezTo>
                <a:cubicBezTo>
                  <a:pt x="3385" y="9"/>
                  <a:pt x="3377" y="9"/>
                  <a:pt x="3369" y="8"/>
                </a:cubicBezTo>
                <a:cubicBezTo>
                  <a:pt x="3361" y="8"/>
                  <a:pt x="3353" y="8"/>
                  <a:pt x="3345" y="8"/>
                </a:cubicBezTo>
                <a:cubicBezTo>
                  <a:pt x="3326" y="8"/>
                  <a:pt x="3308" y="8"/>
                  <a:pt x="3290" y="8"/>
                </a:cubicBezTo>
                <a:cubicBezTo>
                  <a:pt x="3276" y="8"/>
                  <a:pt x="3263" y="8"/>
                  <a:pt x="3250" y="8"/>
                </a:cubicBezTo>
                <a:cubicBezTo>
                  <a:pt x="3238" y="8"/>
                  <a:pt x="3227" y="8"/>
                  <a:pt x="3216" y="8"/>
                </a:cubicBezTo>
                <a:cubicBezTo>
                  <a:pt x="3213" y="9"/>
                  <a:pt x="3209" y="9"/>
                  <a:pt x="3206" y="9"/>
                </a:cubicBezTo>
                <a:cubicBezTo>
                  <a:pt x="3205" y="9"/>
                  <a:pt x="3204" y="9"/>
                  <a:pt x="3202" y="9"/>
                </a:cubicBezTo>
                <a:cubicBezTo>
                  <a:pt x="3200" y="9"/>
                  <a:pt x="3198" y="9"/>
                  <a:pt x="3196" y="9"/>
                </a:cubicBezTo>
                <a:cubicBezTo>
                  <a:pt x="3195" y="10"/>
                  <a:pt x="3193" y="9"/>
                  <a:pt x="3193" y="9"/>
                </a:cubicBezTo>
                <a:cubicBezTo>
                  <a:pt x="3191" y="8"/>
                  <a:pt x="3180" y="8"/>
                  <a:pt x="3176" y="8"/>
                </a:cubicBezTo>
                <a:cubicBezTo>
                  <a:pt x="3173" y="7"/>
                  <a:pt x="3163" y="7"/>
                  <a:pt x="3160" y="7"/>
                </a:cubicBezTo>
                <a:cubicBezTo>
                  <a:pt x="3160" y="8"/>
                  <a:pt x="3160" y="8"/>
                  <a:pt x="3159" y="8"/>
                </a:cubicBezTo>
                <a:cubicBezTo>
                  <a:pt x="3159" y="8"/>
                  <a:pt x="3158" y="8"/>
                  <a:pt x="3157" y="8"/>
                </a:cubicBezTo>
                <a:cubicBezTo>
                  <a:pt x="3152" y="8"/>
                  <a:pt x="3147" y="8"/>
                  <a:pt x="3142" y="8"/>
                </a:cubicBezTo>
                <a:cubicBezTo>
                  <a:pt x="3133" y="8"/>
                  <a:pt x="3117" y="8"/>
                  <a:pt x="3108" y="8"/>
                </a:cubicBezTo>
                <a:cubicBezTo>
                  <a:pt x="3092" y="8"/>
                  <a:pt x="3051" y="8"/>
                  <a:pt x="3027" y="8"/>
                </a:cubicBezTo>
                <a:cubicBezTo>
                  <a:pt x="3022" y="8"/>
                  <a:pt x="3011" y="8"/>
                  <a:pt x="3001" y="8"/>
                </a:cubicBezTo>
                <a:cubicBezTo>
                  <a:pt x="2994" y="8"/>
                  <a:pt x="2987" y="9"/>
                  <a:pt x="2980" y="8"/>
                </a:cubicBezTo>
                <a:cubicBezTo>
                  <a:pt x="2977" y="7"/>
                  <a:pt x="2976" y="7"/>
                  <a:pt x="2973" y="7"/>
                </a:cubicBezTo>
                <a:cubicBezTo>
                  <a:pt x="2969" y="7"/>
                  <a:pt x="2965" y="7"/>
                  <a:pt x="2962" y="7"/>
                </a:cubicBezTo>
                <a:cubicBezTo>
                  <a:pt x="2955" y="8"/>
                  <a:pt x="2944" y="8"/>
                  <a:pt x="2938" y="7"/>
                </a:cubicBezTo>
                <a:cubicBezTo>
                  <a:pt x="2934" y="7"/>
                  <a:pt x="2931" y="7"/>
                  <a:pt x="2928" y="7"/>
                </a:cubicBezTo>
                <a:cubicBezTo>
                  <a:pt x="2927" y="6"/>
                  <a:pt x="2925" y="6"/>
                  <a:pt x="2924" y="7"/>
                </a:cubicBezTo>
                <a:cubicBezTo>
                  <a:pt x="2923" y="7"/>
                  <a:pt x="2923" y="7"/>
                  <a:pt x="2922" y="7"/>
                </a:cubicBezTo>
                <a:cubicBezTo>
                  <a:pt x="2919" y="8"/>
                  <a:pt x="2915" y="7"/>
                  <a:pt x="2911" y="7"/>
                </a:cubicBezTo>
                <a:cubicBezTo>
                  <a:pt x="2906" y="7"/>
                  <a:pt x="2901" y="7"/>
                  <a:pt x="2896" y="7"/>
                </a:cubicBezTo>
                <a:cubicBezTo>
                  <a:pt x="2886" y="7"/>
                  <a:pt x="2876" y="7"/>
                  <a:pt x="2866" y="7"/>
                </a:cubicBezTo>
                <a:cubicBezTo>
                  <a:pt x="2848" y="7"/>
                  <a:pt x="2830" y="7"/>
                  <a:pt x="2813" y="7"/>
                </a:cubicBezTo>
                <a:cubicBezTo>
                  <a:pt x="2810" y="8"/>
                  <a:pt x="2807" y="8"/>
                  <a:pt x="2804" y="8"/>
                </a:cubicBezTo>
                <a:cubicBezTo>
                  <a:pt x="2803" y="9"/>
                  <a:pt x="2801" y="9"/>
                  <a:pt x="2799" y="9"/>
                </a:cubicBezTo>
                <a:cubicBezTo>
                  <a:pt x="2798" y="9"/>
                  <a:pt x="2797" y="9"/>
                  <a:pt x="2797" y="9"/>
                </a:cubicBezTo>
                <a:cubicBezTo>
                  <a:pt x="2793" y="9"/>
                  <a:pt x="2791" y="9"/>
                  <a:pt x="2788" y="8"/>
                </a:cubicBezTo>
                <a:cubicBezTo>
                  <a:pt x="2784" y="8"/>
                  <a:pt x="2780" y="8"/>
                  <a:pt x="2776" y="8"/>
                </a:cubicBezTo>
                <a:cubicBezTo>
                  <a:pt x="2772" y="7"/>
                  <a:pt x="2763" y="7"/>
                  <a:pt x="2761" y="8"/>
                </a:cubicBezTo>
                <a:cubicBezTo>
                  <a:pt x="2760" y="8"/>
                  <a:pt x="2760" y="9"/>
                  <a:pt x="2759" y="9"/>
                </a:cubicBezTo>
                <a:cubicBezTo>
                  <a:pt x="2759" y="9"/>
                  <a:pt x="2757" y="9"/>
                  <a:pt x="2756" y="9"/>
                </a:cubicBezTo>
                <a:cubicBezTo>
                  <a:pt x="2755" y="9"/>
                  <a:pt x="2754" y="9"/>
                  <a:pt x="2751" y="8"/>
                </a:cubicBezTo>
                <a:cubicBezTo>
                  <a:pt x="2750" y="7"/>
                  <a:pt x="2742" y="7"/>
                  <a:pt x="2738" y="7"/>
                </a:cubicBezTo>
                <a:cubicBezTo>
                  <a:pt x="2732" y="7"/>
                  <a:pt x="2726" y="7"/>
                  <a:pt x="2720" y="6"/>
                </a:cubicBezTo>
                <a:cubicBezTo>
                  <a:pt x="2720" y="6"/>
                  <a:pt x="2719" y="6"/>
                  <a:pt x="2718" y="6"/>
                </a:cubicBezTo>
                <a:cubicBezTo>
                  <a:pt x="2716" y="6"/>
                  <a:pt x="2714" y="6"/>
                  <a:pt x="2713" y="6"/>
                </a:cubicBezTo>
                <a:cubicBezTo>
                  <a:pt x="2712" y="7"/>
                  <a:pt x="2710" y="7"/>
                  <a:pt x="2710" y="7"/>
                </a:cubicBezTo>
                <a:cubicBezTo>
                  <a:pt x="2709" y="7"/>
                  <a:pt x="2707" y="7"/>
                  <a:pt x="2706" y="7"/>
                </a:cubicBezTo>
                <a:cubicBezTo>
                  <a:pt x="2705" y="8"/>
                  <a:pt x="2703" y="7"/>
                  <a:pt x="2702" y="7"/>
                </a:cubicBezTo>
                <a:cubicBezTo>
                  <a:pt x="2702" y="7"/>
                  <a:pt x="2702" y="6"/>
                  <a:pt x="2702" y="6"/>
                </a:cubicBezTo>
                <a:cubicBezTo>
                  <a:pt x="2700" y="6"/>
                  <a:pt x="2699" y="5"/>
                  <a:pt x="2698" y="5"/>
                </a:cubicBezTo>
                <a:cubicBezTo>
                  <a:pt x="2693" y="5"/>
                  <a:pt x="2691" y="7"/>
                  <a:pt x="2687" y="7"/>
                </a:cubicBezTo>
                <a:cubicBezTo>
                  <a:pt x="2684" y="7"/>
                  <a:pt x="2682" y="7"/>
                  <a:pt x="2679" y="7"/>
                </a:cubicBezTo>
                <a:cubicBezTo>
                  <a:pt x="2674" y="7"/>
                  <a:pt x="2669" y="7"/>
                  <a:pt x="2664" y="7"/>
                </a:cubicBezTo>
                <a:cubicBezTo>
                  <a:pt x="2650" y="7"/>
                  <a:pt x="2633" y="7"/>
                  <a:pt x="2626" y="7"/>
                </a:cubicBezTo>
                <a:cubicBezTo>
                  <a:pt x="2623" y="6"/>
                  <a:pt x="2618" y="6"/>
                  <a:pt x="2615" y="6"/>
                </a:cubicBezTo>
                <a:cubicBezTo>
                  <a:pt x="2615" y="6"/>
                  <a:pt x="2614" y="6"/>
                  <a:pt x="2614" y="5"/>
                </a:cubicBezTo>
                <a:cubicBezTo>
                  <a:pt x="2613" y="5"/>
                  <a:pt x="2611" y="4"/>
                  <a:pt x="2608" y="5"/>
                </a:cubicBezTo>
                <a:cubicBezTo>
                  <a:pt x="2606" y="5"/>
                  <a:pt x="2609" y="6"/>
                  <a:pt x="2605" y="7"/>
                </a:cubicBezTo>
                <a:cubicBezTo>
                  <a:pt x="2601" y="7"/>
                  <a:pt x="2594" y="7"/>
                  <a:pt x="2590" y="6"/>
                </a:cubicBezTo>
                <a:cubicBezTo>
                  <a:pt x="2577" y="6"/>
                  <a:pt x="2564" y="6"/>
                  <a:pt x="2551" y="6"/>
                </a:cubicBezTo>
                <a:cubicBezTo>
                  <a:pt x="2546" y="6"/>
                  <a:pt x="2541" y="6"/>
                  <a:pt x="2536" y="6"/>
                </a:cubicBezTo>
                <a:cubicBezTo>
                  <a:pt x="2534" y="6"/>
                  <a:pt x="2531" y="6"/>
                  <a:pt x="2529" y="6"/>
                </a:cubicBezTo>
                <a:cubicBezTo>
                  <a:pt x="2528" y="6"/>
                  <a:pt x="2526" y="5"/>
                  <a:pt x="2525" y="5"/>
                </a:cubicBezTo>
                <a:cubicBezTo>
                  <a:pt x="2524" y="5"/>
                  <a:pt x="2522" y="5"/>
                  <a:pt x="2521" y="5"/>
                </a:cubicBezTo>
                <a:cubicBezTo>
                  <a:pt x="2520" y="5"/>
                  <a:pt x="2518" y="5"/>
                  <a:pt x="2517" y="5"/>
                </a:cubicBezTo>
                <a:cubicBezTo>
                  <a:pt x="2514" y="5"/>
                  <a:pt x="2515" y="6"/>
                  <a:pt x="2514" y="6"/>
                </a:cubicBezTo>
                <a:cubicBezTo>
                  <a:pt x="2513" y="7"/>
                  <a:pt x="2510" y="7"/>
                  <a:pt x="2508" y="7"/>
                </a:cubicBezTo>
                <a:cubicBezTo>
                  <a:pt x="2501" y="8"/>
                  <a:pt x="2493" y="8"/>
                  <a:pt x="2486" y="8"/>
                </a:cubicBezTo>
                <a:cubicBezTo>
                  <a:pt x="2481" y="8"/>
                  <a:pt x="2476" y="8"/>
                  <a:pt x="2471" y="8"/>
                </a:cubicBezTo>
                <a:cubicBezTo>
                  <a:pt x="2468" y="7"/>
                  <a:pt x="2464" y="7"/>
                  <a:pt x="2460" y="7"/>
                </a:cubicBezTo>
                <a:cubicBezTo>
                  <a:pt x="2458" y="6"/>
                  <a:pt x="2455" y="6"/>
                  <a:pt x="2454" y="6"/>
                </a:cubicBezTo>
                <a:cubicBezTo>
                  <a:pt x="2453" y="6"/>
                  <a:pt x="2453" y="6"/>
                  <a:pt x="2453" y="6"/>
                </a:cubicBezTo>
                <a:cubicBezTo>
                  <a:pt x="2451" y="5"/>
                  <a:pt x="2450" y="5"/>
                  <a:pt x="2449" y="6"/>
                </a:cubicBezTo>
                <a:cubicBezTo>
                  <a:pt x="2448" y="6"/>
                  <a:pt x="2447" y="6"/>
                  <a:pt x="2447" y="6"/>
                </a:cubicBezTo>
                <a:cubicBezTo>
                  <a:pt x="2447" y="6"/>
                  <a:pt x="2446" y="6"/>
                  <a:pt x="2445" y="6"/>
                </a:cubicBezTo>
                <a:cubicBezTo>
                  <a:pt x="2440" y="6"/>
                  <a:pt x="2434" y="5"/>
                  <a:pt x="2429" y="6"/>
                </a:cubicBezTo>
                <a:cubicBezTo>
                  <a:pt x="2428" y="6"/>
                  <a:pt x="2428" y="6"/>
                  <a:pt x="2426" y="6"/>
                </a:cubicBezTo>
                <a:cubicBezTo>
                  <a:pt x="2422" y="5"/>
                  <a:pt x="2417" y="6"/>
                  <a:pt x="2414" y="6"/>
                </a:cubicBezTo>
                <a:cubicBezTo>
                  <a:pt x="2411" y="7"/>
                  <a:pt x="2408" y="7"/>
                  <a:pt x="2405" y="7"/>
                </a:cubicBezTo>
                <a:cubicBezTo>
                  <a:pt x="2402" y="8"/>
                  <a:pt x="2400" y="8"/>
                  <a:pt x="2398" y="9"/>
                </a:cubicBezTo>
                <a:cubicBezTo>
                  <a:pt x="2394" y="9"/>
                  <a:pt x="2391" y="9"/>
                  <a:pt x="2388" y="8"/>
                </a:cubicBezTo>
                <a:cubicBezTo>
                  <a:pt x="2384" y="8"/>
                  <a:pt x="2381" y="7"/>
                  <a:pt x="2378" y="7"/>
                </a:cubicBezTo>
                <a:cubicBezTo>
                  <a:pt x="2370" y="7"/>
                  <a:pt x="2363" y="6"/>
                  <a:pt x="2356" y="6"/>
                </a:cubicBezTo>
                <a:cubicBezTo>
                  <a:pt x="2350" y="6"/>
                  <a:pt x="2344" y="6"/>
                  <a:pt x="2338" y="6"/>
                </a:cubicBezTo>
                <a:cubicBezTo>
                  <a:pt x="2334" y="5"/>
                  <a:pt x="2329" y="5"/>
                  <a:pt x="2326" y="5"/>
                </a:cubicBezTo>
                <a:cubicBezTo>
                  <a:pt x="2325" y="5"/>
                  <a:pt x="2324" y="4"/>
                  <a:pt x="2323" y="4"/>
                </a:cubicBezTo>
                <a:cubicBezTo>
                  <a:pt x="2322" y="4"/>
                  <a:pt x="2321" y="4"/>
                  <a:pt x="2321" y="5"/>
                </a:cubicBezTo>
                <a:cubicBezTo>
                  <a:pt x="2320" y="5"/>
                  <a:pt x="2319" y="5"/>
                  <a:pt x="2318" y="5"/>
                </a:cubicBezTo>
                <a:cubicBezTo>
                  <a:pt x="2318" y="5"/>
                  <a:pt x="2317" y="5"/>
                  <a:pt x="2317" y="5"/>
                </a:cubicBezTo>
                <a:cubicBezTo>
                  <a:pt x="2317" y="4"/>
                  <a:pt x="2315" y="5"/>
                  <a:pt x="2315" y="5"/>
                </a:cubicBezTo>
                <a:cubicBezTo>
                  <a:pt x="2314" y="5"/>
                  <a:pt x="2313" y="5"/>
                  <a:pt x="2312" y="5"/>
                </a:cubicBezTo>
                <a:cubicBezTo>
                  <a:pt x="2311" y="5"/>
                  <a:pt x="2310" y="5"/>
                  <a:pt x="2309" y="5"/>
                </a:cubicBezTo>
                <a:cubicBezTo>
                  <a:pt x="2308" y="5"/>
                  <a:pt x="2307" y="5"/>
                  <a:pt x="2302" y="5"/>
                </a:cubicBezTo>
                <a:cubicBezTo>
                  <a:pt x="2287" y="5"/>
                  <a:pt x="2273" y="6"/>
                  <a:pt x="2258" y="6"/>
                </a:cubicBezTo>
                <a:cubicBezTo>
                  <a:pt x="2252" y="6"/>
                  <a:pt x="2246" y="6"/>
                  <a:pt x="2240" y="6"/>
                </a:cubicBezTo>
                <a:cubicBezTo>
                  <a:pt x="2235" y="6"/>
                  <a:pt x="2233" y="6"/>
                  <a:pt x="2229" y="5"/>
                </a:cubicBezTo>
                <a:cubicBezTo>
                  <a:pt x="2227" y="5"/>
                  <a:pt x="2226" y="4"/>
                  <a:pt x="2224" y="4"/>
                </a:cubicBezTo>
                <a:lnTo>
                  <a:pt x="2212" y="3"/>
                </a:lnTo>
                <a:cubicBezTo>
                  <a:pt x="2209" y="3"/>
                  <a:pt x="2203" y="3"/>
                  <a:pt x="2200" y="3"/>
                </a:cubicBezTo>
                <a:cubicBezTo>
                  <a:pt x="2200" y="5"/>
                  <a:pt x="2191" y="4"/>
                  <a:pt x="2189" y="3"/>
                </a:cubicBezTo>
                <a:cubicBezTo>
                  <a:pt x="2182" y="3"/>
                  <a:pt x="2175" y="3"/>
                  <a:pt x="2168" y="3"/>
                </a:cubicBezTo>
                <a:cubicBezTo>
                  <a:pt x="2165" y="3"/>
                  <a:pt x="2162" y="3"/>
                  <a:pt x="2159" y="3"/>
                </a:cubicBezTo>
                <a:cubicBezTo>
                  <a:pt x="2156" y="3"/>
                  <a:pt x="2154" y="4"/>
                  <a:pt x="2152" y="4"/>
                </a:cubicBezTo>
                <a:cubicBezTo>
                  <a:pt x="2150" y="4"/>
                  <a:pt x="2147" y="5"/>
                  <a:pt x="2144" y="4"/>
                </a:cubicBezTo>
                <a:cubicBezTo>
                  <a:pt x="2144" y="4"/>
                  <a:pt x="2143" y="4"/>
                  <a:pt x="2142" y="4"/>
                </a:cubicBezTo>
                <a:cubicBezTo>
                  <a:pt x="2144" y="3"/>
                  <a:pt x="2139" y="3"/>
                  <a:pt x="2137" y="3"/>
                </a:cubicBezTo>
                <a:cubicBezTo>
                  <a:pt x="2135" y="3"/>
                  <a:pt x="2133" y="3"/>
                  <a:pt x="2131" y="3"/>
                </a:cubicBezTo>
                <a:cubicBezTo>
                  <a:pt x="2129" y="3"/>
                  <a:pt x="2123" y="3"/>
                  <a:pt x="2122" y="3"/>
                </a:cubicBezTo>
                <a:cubicBezTo>
                  <a:pt x="2121" y="3"/>
                  <a:pt x="2121" y="4"/>
                  <a:pt x="2121" y="4"/>
                </a:cubicBezTo>
                <a:cubicBezTo>
                  <a:pt x="2121" y="4"/>
                  <a:pt x="2120" y="4"/>
                  <a:pt x="2119" y="5"/>
                </a:cubicBezTo>
                <a:cubicBezTo>
                  <a:pt x="2116" y="5"/>
                  <a:pt x="2112" y="5"/>
                  <a:pt x="2108" y="5"/>
                </a:cubicBezTo>
                <a:cubicBezTo>
                  <a:pt x="2103" y="5"/>
                  <a:pt x="2098" y="5"/>
                  <a:pt x="2093" y="4"/>
                </a:cubicBezTo>
                <a:cubicBezTo>
                  <a:pt x="2080" y="4"/>
                  <a:pt x="2048" y="3"/>
                  <a:pt x="2024" y="3"/>
                </a:cubicBezTo>
                <a:cubicBezTo>
                  <a:pt x="2015" y="3"/>
                  <a:pt x="2007" y="3"/>
                  <a:pt x="1999" y="3"/>
                </a:cubicBezTo>
                <a:cubicBezTo>
                  <a:pt x="1992" y="3"/>
                  <a:pt x="1984" y="4"/>
                  <a:pt x="1977" y="3"/>
                </a:cubicBezTo>
                <a:cubicBezTo>
                  <a:pt x="1974" y="3"/>
                  <a:pt x="1972" y="3"/>
                  <a:pt x="1969" y="3"/>
                </a:cubicBezTo>
                <a:cubicBezTo>
                  <a:pt x="1968" y="3"/>
                  <a:pt x="1968" y="3"/>
                  <a:pt x="1967" y="3"/>
                </a:cubicBezTo>
                <a:cubicBezTo>
                  <a:pt x="1966" y="3"/>
                  <a:pt x="1964" y="3"/>
                  <a:pt x="1963" y="3"/>
                </a:cubicBezTo>
                <a:cubicBezTo>
                  <a:pt x="1962" y="3"/>
                  <a:pt x="1962" y="3"/>
                  <a:pt x="1961" y="4"/>
                </a:cubicBezTo>
                <a:cubicBezTo>
                  <a:pt x="1961" y="4"/>
                  <a:pt x="1961" y="4"/>
                  <a:pt x="1958" y="4"/>
                </a:cubicBezTo>
                <a:cubicBezTo>
                  <a:pt x="1955" y="4"/>
                  <a:pt x="1952" y="4"/>
                  <a:pt x="1949" y="4"/>
                </a:cubicBezTo>
                <a:cubicBezTo>
                  <a:pt x="1944" y="3"/>
                  <a:pt x="1934" y="3"/>
                  <a:pt x="1927" y="3"/>
                </a:cubicBezTo>
                <a:cubicBezTo>
                  <a:pt x="1924" y="3"/>
                  <a:pt x="1921" y="3"/>
                  <a:pt x="1918" y="3"/>
                </a:cubicBezTo>
                <a:cubicBezTo>
                  <a:pt x="1916" y="3"/>
                  <a:pt x="1913" y="3"/>
                  <a:pt x="1910" y="3"/>
                </a:cubicBezTo>
                <a:cubicBezTo>
                  <a:pt x="1910" y="3"/>
                  <a:pt x="1909" y="3"/>
                  <a:pt x="1908" y="3"/>
                </a:cubicBezTo>
                <a:cubicBezTo>
                  <a:pt x="1908" y="3"/>
                  <a:pt x="1908" y="3"/>
                  <a:pt x="1910" y="3"/>
                </a:cubicBezTo>
                <a:cubicBezTo>
                  <a:pt x="1910" y="3"/>
                  <a:pt x="1910" y="4"/>
                  <a:pt x="1909" y="4"/>
                </a:cubicBezTo>
                <a:cubicBezTo>
                  <a:pt x="1908" y="4"/>
                  <a:pt x="1907" y="4"/>
                  <a:pt x="1906" y="4"/>
                </a:cubicBezTo>
                <a:cubicBezTo>
                  <a:pt x="1901" y="4"/>
                  <a:pt x="1896" y="4"/>
                  <a:pt x="1891" y="4"/>
                </a:cubicBezTo>
                <a:cubicBezTo>
                  <a:pt x="1880" y="3"/>
                  <a:pt x="1866" y="3"/>
                  <a:pt x="1859" y="3"/>
                </a:cubicBezTo>
                <a:cubicBezTo>
                  <a:pt x="1852" y="4"/>
                  <a:pt x="1834" y="4"/>
                  <a:pt x="1820" y="4"/>
                </a:cubicBezTo>
                <a:cubicBezTo>
                  <a:pt x="1806" y="4"/>
                  <a:pt x="1770" y="4"/>
                  <a:pt x="1740" y="3"/>
                </a:cubicBezTo>
                <a:cubicBezTo>
                  <a:pt x="1730" y="3"/>
                  <a:pt x="1720" y="3"/>
                  <a:pt x="1711" y="3"/>
                </a:cubicBezTo>
                <a:cubicBezTo>
                  <a:pt x="1705" y="3"/>
                  <a:pt x="1700" y="3"/>
                  <a:pt x="1695" y="3"/>
                </a:cubicBezTo>
                <a:cubicBezTo>
                  <a:pt x="1693" y="3"/>
                  <a:pt x="1686" y="4"/>
                  <a:pt x="1685" y="3"/>
                </a:cubicBezTo>
                <a:cubicBezTo>
                  <a:pt x="1685" y="3"/>
                  <a:pt x="1684" y="3"/>
                  <a:pt x="1683" y="3"/>
                </a:cubicBezTo>
                <a:cubicBezTo>
                  <a:pt x="1681" y="2"/>
                  <a:pt x="1673" y="2"/>
                  <a:pt x="1669" y="3"/>
                </a:cubicBezTo>
                <a:cubicBezTo>
                  <a:pt x="1664" y="3"/>
                  <a:pt x="1660" y="3"/>
                  <a:pt x="1656" y="2"/>
                </a:cubicBezTo>
                <a:cubicBezTo>
                  <a:pt x="1655" y="2"/>
                  <a:pt x="1653" y="2"/>
                  <a:pt x="1652" y="2"/>
                </a:cubicBezTo>
                <a:cubicBezTo>
                  <a:pt x="1650" y="2"/>
                  <a:pt x="1650" y="2"/>
                  <a:pt x="1649" y="2"/>
                </a:cubicBezTo>
                <a:cubicBezTo>
                  <a:pt x="1648" y="2"/>
                  <a:pt x="1647" y="2"/>
                  <a:pt x="1646" y="2"/>
                </a:cubicBezTo>
                <a:cubicBezTo>
                  <a:pt x="1645" y="2"/>
                  <a:pt x="1645" y="2"/>
                  <a:pt x="1643" y="3"/>
                </a:cubicBezTo>
                <a:cubicBezTo>
                  <a:pt x="1641" y="3"/>
                  <a:pt x="1634" y="3"/>
                  <a:pt x="1629" y="3"/>
                </a:cubicBezTo>
                <a:cubicBezTo>
                  <a:pt x="1624" y="3"/>
                  <a:pt x="1613" y="3"/>
                  <a:pt x="1605" y="3"/>
                </a:cubicBezTo>
                <a:cubicBezTo>
                  <a:pt x="1602" y="4"/>
                  <a:pt x="1599" y="4"/>
                  <a:pt x="1597" y="4"/>
                </a:cubicBezTo>
                <a:cubicBezTo>
                  <a:pt x="1594" y="4"/>
                  <a:pt x="1593" y="4"/>
                  <a:pt x="1590" y="4"/>
                </a:cubicBezTo>
                <a:cubicBezTo>
                  <a:pt x="1588" y="4"/>
                  <a:pt x="1588" y="3"/>
                  <a:pt x="1587" y="3"/>
                </a:cubicBezTo>
                <a:cubicBezTo>
                  <a:pt x="1583" y="3"/>
                  <a:pt x="1578" y="3"/>
                  <a:pt x="1574" y="3"/>
                </a:cubicBezTo>
                <a:cubicBezTo>
                  <a:pt x="1571" y="3"/>
                  <a:pt x="1567" y="3"/>
                  <a:pt x="1564" y="3"/>
                </a:cubicBezTo>
                <a:cubicBezTo>
                  <a:pt x="1561" y="3"/>
                  <a:pt x="1558" y="3"/>
                  <a:pt x="1555" y="3"/>
                </a:cubicBezTo>
                <a:cubicBezTo>
                  <a:pt x="1553" y="3"/>
                  <a:pt x="1551" y="2"/>
                  <a:pt x="1548" y="2"/>
                </a:cubicBezTo>
                <a:cubicBezTo>
                  <a:pt x="1546" y="2"/>
                  <a:pt x="1545" y="3"/>
                  <a:pt x="1544" y="3"/>
                </a:cubicBezTo>
                <a:cubicBezTo>
                  <a:pt x="1540" y="3"/>
                  <a:pt x="1536" y="3"/>
                  <a:pt x="1533" y="3"/>
                </a:cubicBezTo>
                <a:cubicBezTo>
                  <a:pt x="1527" y="3"/>
                  <a:pt x="1519" y="3"/>
                  <a:pt x="1516" y="3"/>
                </a:cubicBezTo>
                <a:cubicBezTo>
                  <a:pt x="1509" y="4"/>
                  <a:pt x="1504" y="4"/>
                  <a:pt x="1496" y="4"/>
                </a:cubicBezTo>
                <a:cubicBezTo>
                  <a:pt x="1488" y="4"/>
                  <a:pt x="1481" y="3"/>
                  <a:pt x="1474" y="3"/>
                </a:cubicBezTo>
                <a:cubicBezTo>
                  <a:pt x="1471" y="3"/>
                  <a:pt x="1467" y="3"/>
                  <a:pt x="1464" y="3"/>
                </a:cubicBezTo>
                <a:cubicBezTo>
                  <a:pt x="1463" y="3"/>
                  <a:pt x="1461" y="3"/>
                  <a:pt x="1461" y="3"/>
                </a:cubicBezTo>
                <a:cubicBezTo>
                  <a:pt x="1459" y="3"/>
                  <a:pt x="1460" y="4"/>
                  <a:pt x="1458" y="4"/>
                </a:cubicBezTo>
                <a:cubicBezTo>
                  <a:pt x="1457" y="4"/>
                  <a:pt x="1455" y="4"/>
                  <a:pt x="1454" y="4"/>
                </a:cubicBezTo>
                <a:cubicBezTo>
                  <a:pt x="1452" y="4"/>
                  <a:pt x="1448" y="4"/>
                  <a:pt x="1446" y="4"/>
                </a:cubicBezTo>
                <a:cubicBezTo>
                  <a:pt x="1444" y="3"/>
                  <a:pt x="1444" y="3"/>
                  <a:pt x="1443" y="3"/>
                </a:cubicBezTo>
                <a:cubicBezTo>
                  <a:pt x="1442" y="3"/>
                  <a:pt x="1440" y="3"/>
                  <a:pt x="1439" y="2"/>
                </a:cubicBezTo>
                <a:cubicBezTo>
                  <a:pt x="1438" y="2"/>
                  <a:pt x="1436" y="1"/>
                  <a:pt x="1435" y="1"/>
                </a:cubicBezTo>
                <a:cubicBezTo>
                  <a:pt x="1432" y="1"/>
                  <a:pt x="1431" y="2"/>
                  <a:pt x="1428" y="2"/>
                </a:cubicBezTo>
                <a:cubicBezTo>
                  <a:pt x="1428" y="2"/>
                  <a:pt x="1428" y="2"/>
                  <a:pt x="1428" y="2"/>
                </a:cubicBezTo>
                <a:cubicBezTo>
                  <a:pt x="1428" y="2"/>
                  <a:pt x="1428" y="1"/>
                  <a:pt x="1428" y="1"/>
                </a:cubicBezTo>
                <a:cubicBezTo>
                  <a:pt x="1428" y="1"/>
                  <a:pt x="1427" y="1"/>
                  <a:pt x="1427" y="1"/>
                </a:cubicBezTo>
                <a:cubicBezTo>
                  <a:pt x="1425" y="0"/>
                  <a:pt x="1423" y="0"/>
                  <a:pt x="1422" y="1"/>
                </a:cubicBezTo>
                <a:cubicBezTo>
                  <a:pt x="1421" y="1"/>
                  <a:pt x="1421" y="1"/>
                  <a:pt x="1421" y="1"/>
                </a:cubicBezTo>
                <a:cubicBezTo>
                  <a:pt x="1421" y="2"/>
                  <a:pt x="1421" y="2"/>
                  <a:pt x="1421" y="2"/>
                </a:cubicBezTo>
                <a:cubicBezTo>
                  <a:pt x="1422" y="2"/>
                  <a:pt x="1423" y="3"/>
                  <a:pt x="1424" y="3"/>
                </a:cubicBezTo>
                <a:cubicBezTo>
                  <a:pt x="1425" y="3"/>
                  <a:pt x="1423" y="3"/>
                  <a:pt x="1421" y="4"/>
                </a:cubicBezTo>
                <a:cubicBezTo>
                  <a:pt x="1420" y="4"/>
                  <a:pt x="1419" y="4"/>
                  <a:pt x="1417" y="4"/>
                </a:cubicBezTo>
                <a:cubicBezTo>
                  <a:pt x="1416" y="4"/>
                  <a:pt x="1415" y="3"/>
                  <a:pt x="1413" y="3"/>
                </a:cubicBezTo>
                <a:cubicBezTo>
                  <a:pt x="1411" y="3"/>
                  <a:pt x="1410" y="2"/>
                  <a:pt x="1407" y="2"/>
                </a:cubicBezTo>
                <a:cubicBezTo>
                  <a:pt x="1405" y="2"/>
                  <a:pt x="1402" y="2"/>
                  <a:pt x="1400" y="2"/>
                </a:cubicBezTo>
                <a:cubicBezTo>
                  <a:pt x="1395" y="2"/>
                  <a:pt x="1382" y="1"/>
                  <a:pt x="1371" y="1"/>
                </a:cubicBezTo>
                <a:cubicBezTo>
                  <a:pt x="1367" y="1"/>
                  <a:pt x="1364" y="1"/>
                  <a:pt x="1360" y="1"/>
                </a:cubicBezTo>
                <a:cubicBezTo>
                  <a:pt x="1359" y="1"/>
                  <a:pt x="1354" y="1"/>
                  <a:pt x="1352" y="1"/>
                </a:cubicBezTo>
                <a:cubicBezTo>
                  <a:pt x="1351" y="1"/>
                  <a:pt x="1350" y="2"/>
                  <a:pt x="1351" y="2"/>
                </a:cubicBezTo>
                <a:cubicBezTo>
                  <a:pt x="1348" y="2"/>
                  <a:pt x="1345" y="2"/>
                  <a:pt x="1342" y="2"/>
                </a:cubicBezTo>
                <a:cubicBezTo>
                  <a:pt x="1339" y="3"/>
                  <a:pt x="1335" y="3"/>
                  <a:pt x="1332" y="3"/>
                </a:cubicBezTo>
                <a:cubicBezTo>
                  <a:pt x="1327" y="3"/>
                  <a:pt x="1320" y="3"/>
                  <a:pt x="1316" y="3"/>
                </a:cubicBezTo>
                <a:cubicBezTo>
                  <a:pt x="1315" y="3"/>
                  <a:pt x="1313" y="2"/>
                  <a:pt x="1312" y="2"/>
                </a:cubicBezTo>
                <a:cubicBezTo>
                  <a:pt x="1311" y="2"/>
                  <a:pt x="1309" y="1"/>
                  <a:pt x="1309" y="1"/>
                </a:cubicBezTo>
                <a:cubicBezTo>
                  <a:pt x="1310" y="1"/>
                  <a:pt x="1311" y="1"/>
                  <a:pt x="1309" y="0"/>
                </a:cubicBezTo>
                <a:cubicBezTo>
                  <a:pt x="1305" y="0"/>
                  <a:pt x="1301" y="0"/>
                  <a:pt x="1297" y="0"/>
                </a:cubicBezTo>
                <a:cubicBezTo>
                  <a:pt x="1295" y="0"/>
                  <a:pt x="1292" y="1"/>
                  <a:pt x="1289" y="1"/>
                </a:cubicBezTo>
                <a:cubicBezTo>
                  <a:pt x="1287" y="1"/>
                  <a:pt x="1285" y="1"/>
                  <a:pt x="1284" y="1"/>
                </a:cubicBezTo>
                <a:cubicBezTo>
                  <a:pt x="1283" y="1"/>
                  <a:pt x="1283" y="1"/>
                  <a:pt x="1282" y="1"/>
                </a:cubicBezTo>
                <a:cubicBezTo>
                  <a:pt x="1280" y="2"/>
                  <a:pt x="1277" y="2"/>
                  <a:pt x="1275" y="3"/>
                </a:cubicBezTo>
                <a:cubicBezTo>
                  <a:pt x="1274" y="3"/>
                  <a:pt x="1273" y="3"/>
                  <a:pt x="1272" y="3"/>
                </a:cubicBezTo>
                <a:cubicBezTo>
                  <a:pt x="1272" y="3"/>
                  <a:pt x="1269" y="3"/>
                  <a:pt x="1269" y="3"/>
                </a:cubicBezTo>
                <a:cubicBezTo>
                  <a:pt x="1268" y="3"/>
                  <a:pt x="1268" y="3"/>
                  <a:pt x="1266" y="2"/>
                </a:cubicBezTo>
                <a:cubicBezTo>
                  <a:pt x="1266" y="2"/>
                  <a:pt x="1264" y="2"/>
                  <a:pt x="1263" y="2"/>
                </a:cubicBezTo>
                <a:cubicBezTo>
                  <a:pt x="1256" y="2"/>
                  <a:pt x="1250" y="2"/>
                  <a:pt x="1243" y="2"/>
                </a:cubicBezTo>
                <a:cubicBezTo>
                  <a:pt x="1240" y="2"/>
                  <a:pt x="1233" y="3"/>
                  <a:pt x="1231" y="2"/>
                </a:cubicBezTo>
                <a:cubicBezTo>
                  <a:pt x="1229" y="2"/>
                  <a:pt x="1217" y="2"/>
                  <a:pt x="1202" y="2"/>
                </a:cubicBezTo>
                <a:cubicBezTo>
                  <a:pt x="1198" y="2"/>
                  <a:pt x="1193" y="2"/>
                  <a:pt x="1188" y="2"/>
                </a:cubicBezTo>
                <a:cubicBezTo>
                  <a:pt x="1184" y="2"/>
                  <a:pt x="1179" y="1"/>
                  <a:pt x="1176" y="2"/>
                </a:cubicBezTo>
                <a:cubicBezTo>
                  <a:pt x="1175" y="2"/>
                  <a:pt x="1173" y="2"/>
                  <a:pt x="1171" y="3"/>
                </a:cubicBezTo>
                <a:cubicBezTo>
                  <a:pt x="1169" y="3"/>
                  <a:pt x="1165" y="3"/>
                  <a:pt x="1161" y="3"/>
                </a:cubicBezTo>
                <a:cubicBezTo>
                  <a:pt x="1160" y="3"/>
                  <a:pt x="1157" y="3"/>
                  <a:pt x="1156" y="3"/>
                </a:cubicBezTo>
                <a:cubicBezTo>
                  <a:pt x="1155" y="3"/>
                  <a:pt x="1154" y="3"/>
                  <a:pt x="1152" y="2"/>
                </a:cubicBezTo>
                <a:cubicBezTo>
                  <a:pt x="1150" y="2"/>
                  <a:pt x="1147" y="2"/>
                  <a:pt x="1145" y="2"/>
                </a:cubicBezTo>
                <a:cubicBezTo>
                  <a:pt x="1142" y="2"/>
                  <a:pt x="1138" y="2"/>
                  <a:pt x="1135" y="2"/>
                </a:cubicBezTo>
                <a:cubicBezTo>
                  <a:pt x="1128" y="2"/>
                  <a:pt x="1120" y="2"/>
                  <a:pt x="1115" y="3"/>
                </a:cubicBezTo>
                <a:cubicBezTo>
                  <a:pt x="1112" y="3"/>
                  <a:pt x="1106" y="4"/>
                  <a:pt x="1102" y="3"/>
                </a:cubicBezTo>
                <a:cubicBezTo>
                  <a:pt x="1099" y="3"/>
                  <a:pt x="1095" y="3"/>
                  <a:pt x="1093" y="3"/>
                </a:cubicBezTo>
                <a:cubicBezTo>
                  <a:pt x="1092" y="3"/>
                  <a:pt x="1091" y="2"/>
                  <a:pt x="1088" y="2"/>
                </a:cubicBezTo>
                <a:cubicBezTo>
                  <a:pt x="1084" y="2"/>
                  <a:pt x="1079" y="2"/>
                  <a:pt x="1075" y="2"/>
                </a:cubicBezTo>
                <a:cubicBezTo>
                  <a:pt x="1067" y="2"/>
                  <a:pt x="1056" y="2"/>
                  <a:pt x="1052" y="1"/>
                </a:cubicBezTo>
                <a:cubicBezTo>
                  <a:pt x="1048" y="1"/>
                  <a:pt x="1034" y="1"/>
                  <a:pt x="1020" y="1"/>
                </a:cubicBezTo>
                <a:cubicBezTo>
                  <a:pt x="1013" y="1"/>
                  <a:pt x="1006" y="1"/>
                  <a:pt x="998" y="1"/>
                </a:cubicBezTo>
                <a:cubicBezTo>
                  <a:pt x="998" y="1"/>
                  <a:pt x="997" y="1"/>
                  <a:pt x="997" y="1"/>
                </a:cubicBezTo>
                <a:cubicBezTo>
                  <a:pt x="996" y="1"/>
                  <a:pt x="996" y="2"/>
                  <a:pt x="997" y="2"/>
                </a:cubicBezTo>
                <a:cubicBezTo>
                  <a:pt x="997" y="2"/>
                  <a:pt x="996" y="2"/>
                  <a:pt x="995" y="2"/>
                </a:cubicBezTo>
                <a:cubicBezTo>
                  <a:pt x="994" y="2"/>
                  <a:pt x="993" y="2"/>
                  <a:pt x="992" y="2"/>
                </a:cubicBezTo>
                <a:cubicBezTo>
                  <a:pt x="988" y="3"/>
                  <a:pt x="986" y="3"/>
                  <a:pt x="982" y="3"/>
                </a:cubicBezTo>
                <a:cubicBezTo>
                  <a:pt x="980" y="3"/>
                  <a:pt x="977" y="3"/>
                  <a:pt x="975" y="3"/>
                </a:cubicBezTo>
                <a:cubicBezTo>
                  <a:pt x="970" y="3"/>
                  <a:pt x="965" y="3"/>
                  <a:pt x="959" y="3"/>
                </a:cubicBezTo>
                <a:cubicBezTo>
                  <a:pt x="952" y="3"/>
                  <a:pt x="944" y="3"/>
                  <a:pt x="937" y="3"/>
                </a:cubicBezTo>
                <a:cubicBezTo>
                  <a:pt x="933" y="3"/>
                  <a:pt x="930" y="3"/>
                  <a:pt x="926" y="3"/>
                </a:cubicBezTo>
                <a:cubicBezTo>
                  <a:pt x="925" y="3"/>
                  <a:pt x="922" y="3"/>
                  <a:pt x="921" y="3"/>
                </a:cubicBezTo>
                <a:cubicBezTo>
                  <a:pt x="920" y="3"/>
                  <a:pt x="921" y="3"/>
                  <a:pt x="921" y="3"/>
                </a:cubicBezTo>
                <a:cubicBezTo>
                  <a:pt x="920" y="2"/>
                  <a:pt x="919" y="2"/>
                  <a:pt x="917" y="2"/>
                </a:cubicBezTo>
                <a:cubicBezTo>
                  <a:pt x="915" y="2"/>
                  <a:pt x="912" y="2"/>
                  <a:pt x="909" y="2"/>
                </a:cubicBezTo>
                <a:cubicBezTo>
                  <a:pt x="902" y="2"/>
                  <a:pt x="892" y="2"/>
                  <a:pt x="886" y="2"/>
                </a:cubicBezTo>
                <a:cubicBezTo>
                  <a:pt x="882" y="2"/>
                  <a:pt x="876" y="1"/>
                  <a:pt x="873" y="2"/>
                </a:cubicBezTo>
                <a:cubicBezTo>
                  <a:pt x="872" y="2"/>
                  <a:pt x="871" y="2"/>
                  <a:pt x="871" y="3"/>
                </a:cubicBezTo>
                <a:cubicBezTo>
                  <a:pt x="871" y="3"/>
                  <a:pt x="871" y="3"/>
                  <a:pt x="871" y="3"/>
                </a:cubicBezTo>
                <a:cubicBezTo>
                  <a:pt x="870" y="3"/>
                  <a:pt x="869" y="3"/>
                  <a:pt x="868" y="3"/>
                </a:cubicBezTo>
                <a:cubicBezTo>
                  <a:pt x="860" y="3"/>
                  <a:pt x="852" y="3"/>
                  <a:pt x="844" y="3"/>
                </a:cubicBezTo>
                <a:cubicBezTo>
                  <a:pt x="838" y="3"/>
                  <a:pt x="832" y="3"/>
                  <a:pt x="826" y="3"/>
                </a:cubicBezTo>
                <a:cubicBezTo>
                  <a:pt x="824" y="3"/>
                  <a:pt x="822" y="3"/>
                  <a:pt x="821" y="3"/>
                </a:cubicBezTo>
                <a:cubicBezTo>
                  <a:pt x="821" y="3"/>
                  <a:pt x="822" y="3"/>
                  <a:pt x="820" y="3"/>
                </a:cubicBezTo>
                <a:cubicBezTo>
                  <a:pt x="820" y="3"/>
                  <a:pt x="819" y="3"/>
                  <a:pt x="818" y="3"/>
                </a:cubicBezTo>
                <a:cubicBezTo>
                  <a:pt x="814" y="3"/>
                  <a:pt x="806" y="4"/>
                  <a:pt x="802" y="3"/>
                </a:cubicBezTo>
                <a:cubicBezTo>
                  <a:pt x="802" y="3"/>
                  <a:pt x="802" y="3"/>
                  <a:pt x="802" y="3"/>
                </a:cubicBezTo>
                <a:cubicBezTo>
                  <a:pt x="802" y="3"/>
                  <a:pt x="802" y="3"/>
                  <a:pt x="802" y="2"/>
                </a:cubicBezTo>
                <a:cubicBezTo>
                  <a:pt x="802" y="2"/>
                  <a:pt x="801" y="1"/>
                  <a:pt x="800" y="1"/>
                </a:cubicBezTo>
                <a:cubicBezTo>
                  <a:pt x="799" y="1"/>
                  <a:pt x="797" y="1"/>
                  <a:pt x="796" y="1"/>
                </a:cubicBezTo>
                <a:cubicBezTo>
                  <a:pt x="794" y="1"/>
                  <a:pt x="793" y="1"/>
                  <a:pt x="792" y="1"/>
                </a:cubicBezTo>
                <a:cubicBezTo>
                  <a:pt x="791" y="1"/>
                  <a:pt x="791" y="1"/>
                  <a:pt x="790" y="2"/>
                </a:cubicBezTo>
                <a:cubicBezTo>
                  <a:pt x="788" y="2"/>
                  <a:pt x="787" y="0"/>
                  <a:pt x="785" y="0"/>
                </a:cubicBezTo>
                <a:cubicBezTo>
                  <a:pt x="781" y="0"/>
                  <a:pt x="776" y="0"/>
                  <a:pt x="772" y="0"/>
                </a:cubicBezTo>
                <a:cubicBezTo>
                  <a:pt x="761" y="0"/>
                  <a:pt x="751" y="0"/>
                  <a:pt x="740" y="0"/>
                </a:cubicBezTo>
                <a:cubicBezTo>
                  <a:pt x="731" y="0"/>
                  <a:pt x="723" y="0"/>
                  <a:pt x="714" y="0"/>
                </a:cubicBezTo>
                <a:cubicBezTo>
                  <a:pt x="710" y="0"/>
                  <a:pt x="705" y="0"/>
                  <a:pt x="701" y="0"/>
                </a:cubicBezTo>
                <a:cubicBezTo>
                  <a:pt x="698" y="0"/>
                  <a:pt x="693" y="0"/>
                  <a:pt x="692" y="1"/>
                </a:cubicBezTo>
                <a:cubicBezTo>
                  <a:pt x="691" y="2"/>
                  <a:pt x="690" y="2"/>
                  <a:pt x="687" y="2"/>
                </a:cubicBezTo>
                <a:cubicBezTo>
                  <a:pt x="685" y="2"/>
                  <a:pt x="681" y="3"/>
                  <a:pt x="679" y="3"/>
                </a:cubicBezTo>
                <a:cubicBezTo>
                  <a:pt x="676" y="4"/>
                  <a:pt x="675" y="4"/>
                  <a:pt x="669" y="4"/>
                </a:cubicBezTo>
                <a:cubicBezTo>
                  <a:pt x="665" y="4"/>
                  <a:pt x="661" y="4"/>
                  <a:pt x="657" y="4"/>
                </a:cubicBezTo>
                <a:cubicBezTo>
                  <a:pt x="652" y="4"/>
                  <a:pt x="645" y="4"/>
                  <a:pt x="639" y="4"/>
                </a:cubicBezTo>
                <a:cubicBezTo>
                  <a:pt x="638" y="4"/>
                  <a:pt x="637" y="4"/>
                  <a:pt x="636" y="4"/>
                </a:cubicBezTo>
                <a:cubicBezTo>
                  <a:pt x="634" y="4"/>
                  <a:pt x="634" y="4"/>
                  <a:pt x="633" y="4"/>
                </a:cubicBezTo>
                <a:cubicBezTo>
                  <a:pt x="632" y="4"/>
                  <a:pt x="631" y="4"/>
                  <a:pt x="630" y="4"/>
                </a:cubicBezTo>
                <a:cubicBezTo>
                  <a:pt x="627" y="4"/>
                  <a:pt x="624" y="4"/>
                  <a:pt x="621" y="4"/>
                </a:cubicBezTo>
                <a:cubicBezTo>
                  <a:pt x="618" y="4"/>
                  <a:pt x="614" y="4"/>
                  <a:pt x="610" y="4"/>
                </a:cubicBezTo>
                <a:cubicBezTo>
                  <a:pt x="610" y="4"/>
                  <a:pt x="609" y="4"/>
                  <a:pt x="608" y="4"/>
                </a:cubicBezTo>
                <a:cubicBezTo>
                  <a:pt x="608" y="3"/>
                  <a:pt x="608" y="3"/>
                  <a:pt x="606" y="3"/>
                </a:cubicBezTo>
                <a:cubicBezTo>
                  <a:pt x="605" y="3"/>
                  <a:pt x="603" y="3"/>
                  <a:pt x="602" y="3"/>
                </a:cubicBezTo>
                <a:cubicBezTo>
                  <a:pt x="600" y="3"/>
                  <a:pt x="599" y="3"/>
                  <a:pt x="597" y="3"/>
                </a:cubicBezTo>
                <a:cubicBezTo>
                  <a:pt x="597" y="3"/>
                  <a:pt x="596" y="3"/>
                  <a:pt x="596" y="3"/>
                </a:cubicBezTo>
                <a:cubicBezTo>
                  <a:pt x="595" y="3"/>
                  <a:pt x="596" y="3"/>
                  <a:pt x="596" y="3"/>
                </a:cubicBezTo>
                <a:cubicBezTo>
                  <a:pt x="600" y="5"/>
                  <a:pt x="594" y="4"/>
                  <a:pt x="590" y="4"/>
                </a:cubicBezTo>
                <a:cubicBezTo>
                  <a:pt x="586" y="5"/>
                  <a:pt x="582" y="4"/>
                  <a:pt x="579" y="3"/>
                </a:cubicBezTo>
                <a:cubicBezTo>
                  <a:pt x="576" y="3"/>
                  <a:pt x="572" y="3"/>
                  <a:pt x="568" y="3"/>
                </a:cubicBezTo>
                <a:cubicBezTo>
                  <a:pt x="566" y="3"/>
                  <a:pt x="563" y="3"/>
                  <a:pt x="561" y="3"/>
                </a:cubicBezTo>
                <a:cubicBezTo>
                  <a:pt x="561" y="3"/>
                  <a:pt x="560" y="3"/>
                  <a:pt x="560" y="3"/>
                </a:cubicBezTo>
                <a:cubicBezTo>
                  <a:pt x="560" y="3"/>
                  <a:pt x="560" y="4"/>
                  <a:pt x="560" y="4"/>
                </a:cubicBezTo>
                <a:cubicBezTo>
                  <a:pt x="560" y="4"/>
                  <a:pt x="559" y="4"/>
                  <a:pt x="558" y="4"/>
                </a:cubicBezTo>
                <a:cubicBezTo>
                  <a:pt x="552" y="5"/>
                  <a:pt x="544" y="5"/>
                  <a:pt x="537" y="5"/>
                </a:cubicBezTo>
                <a:cubicBezTo>
                  <a:pt x="530" y="5"/>
                  <a:pt x="523" y="5"/>
                  <a:pt x="516" y="5"/>
                </a:cubicBezTo>
                <a:cubicBezTo>
                  <a:pt x="507" y="5"/>
                  <a:pt x="498" y="5"/>
                  <a:pt x="489" y="5"/>
                </a:cubicBezTo>
                <a:cubicBezTo>
                  <a:pt x="485" y="5"/>
                  <a:pt x="481" y="5"/>
                  <a:pt x="476" y="5"/>
                </a:cubicBezTo>
                <a:cubicBezTo>
                  <a:pt x="475" y="5"/>
                  <a:pt x="474" y="5"/>
                  <a:pt x="473" y="5"/>
                </a:cubicBezTo>
                <a:cubicBezTo>
                  <a:pt x="473" y="4"/>
                  <a:pt x="474" y="4"/>
                  <a:pt x="472" y="3"/>
                </a:cubicBezTo>
                <a:cubicBezTo>
                  <a:pt x="469" y="3"/>
                  <a:pt x="459" y="4"/>
                  <a:pt x="457" y="3"/>
                </a:cubicBezTo>
                <a:cubicBezTo>
                  <a:pt x="457" y="3"/>
                  <a:pt x="458" y="3"/>
                  <a:pt x="458" y="3"/>
                </a:cubicBezTo>
                <a:cubicBezTo>
                  <a:pt x="458" y="3"/>
                  <a:pt x="457" y="3"/>
                  <a:pt x="457" y="3"/>
                </a:cubicBezTo>
                <a:cubicBezTo>
                  <a:pt x="456" y="3"/>
                  <a:pt x="455" y="3"/>
                  <a:pt x="454" y="3"/>
                </a:cubicBezTo>
                <a:cubicBezTo>
                  <a:pt x="439" y="3"/>
                  <a:pt x="425" y="3"/>
                  <a:pt x="410" y="3"/>
                </a:cubicBezTo>
                <a:cubicBezTo>
                  <a:pt x="407" y="3"/>
                  <a:pt x="404" y="3"/>
                  <a:pt x="400" y="3"/>
                </a:cubicBezTo>
                <a:cubicBezTo>
                  <a:pt x="396" y="4"/>
                  <a:pt x="395" y="4"/>
                  <a:pt x="392" y="5"/>
                </a:cubicBezTo>
                <a:cubicBezTo>
                  <a:pt x="389" y="6"/>
                  <a:pt x="387" y="6"/>
                  <a:pt x="383" y="7"/>
                </a:cubicBezTo>
                <a:cubicBezTo>
                  <a:pt x="380" y="7"/>
                  <a:pt x="377" y="7"/>
                  <a:pt x="374" y="7"/>
                </a:cubicBezTo>
                <a:cubicBezTo>
                  <a:pt x="371" y="7"/>
                  <a:pt x="368" y="7"/>
                  <a:pt x="365" y="7"/>
                </a:cubicBezTo>
                <a:cubicBezTo>
                  <a:pt x="365" y="7"/>
                  <a:pt x="364" y="7"/>
                  <a:pt x="364" y="6"/>
                </a:cubicBezTo>
                <a:cubicBezTo>
                  <a:pt x="364" y="6"/>
                  <a:pt x="363" y="5"/>
                  <a:pt x="362" y="5"/>
                </a:cubicBezTo>
                <a:cubicBezTo>
                  <a:pt x="359" y="5"/>
                  <a:pt x="356" y="5"/>
                  <a:pt x="353" y="5"/>
                </a:cubicBezTo>
                <a:cubicBezTo>
                  <a:pt x="349" y="5"/>
                  <a:pt x="348" y="5"/>
                  <a:pt x="345" y="4"/>
                </a:cubicBezTo>
                <a:cubicBezTo>
                  <a:pt x="343" y="3"/>
                  <a:pt x="340" y="3"/>
                  <a:pt x="336" y="3"/>
                </a:cubicBezTo>
                <a:cubicBezTo>
                  <a:pt x="333" y="3"/>
                  <a:pt x="329" y="3"/>
                  <a:pt x="326" y="3"/>
                </a:cubicBezTo>
                <a:cubicBezTo>
                  <a:pt x="322" y="3"/>
                  <a:pt x="316" y="3"/>
                  <a:pt x="312" y="3"/>
                </a:cubicBezTo>
                <a:cubicBezTo>
                  <a:pt x="310" y="3"/>
                  <a:pt x="309" y="4"/>
                  <a:pt x="307" y="4"/>
                </a:cubicBezTo>
                <a:cubicBezTo>
                  <a:pt x="304" y="5"/>
                  <a:pt x="301" y="4"/>
                  <a:pt x="299" y="4"/>
                </a:cubicBezTo>
                <a:cubicBezTo>
                  <a:pt x="294" y="4"/>
                  <a:pt x="278" y="4"/>
                  <a:pt x="263" y="4"/>
                </a:cubicBezTo>
                <a:cubicBezTo>
                  <a:pt x="257" y="4"/>
                  <a:pt x="252" y="4"/>
                  <a:pt x="246" y="4"/>
                </a:cubicBezTo>
                <a:cubicBezTo>
                  <a:pt x="217" y="5"/>
                  <a:pt x="190" y="3"/>
                  <a:pt x="160" y="3"/>
                </a:cubicBezTo>
                <a:cubicBezTo>
                  <a:pt x="160" y="3"/>
                  <a:pt x="160" y="3"/>
                  <a:pt x="160" y="3"/>
                </a:cubicBezTo>
                <a:cubicBezTo>
                  <a:pt x="160" y="3"/>
                  <a:pt x="159" y="3"/>
                  <a:pt x="159" y="3"/>
                </a:cubicBezTo>
                <a:cubicBezTo>
                  <a:pt x="159" y="3"/>
                  <a:pt x="158" y="3"/>
                  <a:pt x="158" y="3"/>
                </a:cubicBezTo>
                <a:cubicBezTo>
                  <a:pt x="158" y="3"/>
                  <a:pt x="158" y="3"/>
                  <a:pt x="157" y="3"/>
                </a:cubicBezTo>
                <a:cubicBezTo>
                  <a:pt x="157" y="3"/>
                  <a:pt x="157" y="3"/>
                  <a:pt x="157" y="3"/>
                </a:cubicBezTo>
                <a:cubicBezTo>
                  <a:pt x="146" y="3"/>
                  <a:pt x="134" y="3"/>
                  <a:pt x="121" y="3"/>
                </a:cubicBezTo>
                <a:cubicBezTo>
                  <a:pt x="121" y="3"/>
                  <a:pt x="121" y="3"/>
                  <a:pt x="121" y="3"/>
                </a:cubicBezTo>
                <a:cubicBezTo>
                  <a:pt x="120" y="3"/>
                  <a:pt x="120" y="3"/>
                  <a:pt x="120" y="3"/>
                </a:cubicBezTo>
                <a:cubicBezTo>
                  <a:pt x="119" y="3"/>
                  <a:pt x="117" y="3"/>
                  <a:pt x="116" y="3"/>
                </a:cubicBezTo>
                <a:cubicBezTo>
                  <a:pt x="111" y="3"/>
                  <a:pt x="107" y="3"/>
                  <a:pt x="102" y="3"/>
                </a:cubicBezTo>
                <a:cubicBezTo>
                  <a:pt x="84" y="3"/>
                  <a:pt x="59" y="3"/>
                  <a:pt x="37" y="3"/>
                </a:cubicBezTo>
                <a:cubicBezTo>
                  <a:pt x="34" y="3"/>
                  <a:pt x="30" y="3"/>
                  <a:pt x="27" y="3"/>
                </a:cubicBezTo>
                <a:cubicBezTo>
                  <a:pt x="19" y="3"/>
                  <a:pt x="7" y="1"/>
                  <a:pt x="1" y="7"/>
                </a:cubicBezTo>
                <a:cubicBezTo>
                  <a:pt x="0" y="9"/>
                  <a:pt x="0" y="11"/>
                  <a:pt x="0" y="14"/>
                </a:cubicBezTo>
                <a:cubicBezTo>
                  <a:pt x="0" y="14"/>
                  <a:pt x="0" y="15"/>
                  <a:pt x="0" y="15"/>
                </a:cubicBezTo>
                <a:cubicBezTo>
                  <a:pt x="0" y="19"/>
                  <a:pt x="0" y="24"/>
                  <a:pt x="0" y="27"/>
                </a:cubicBezTo>
                <a:cubicBezTo>
                  <a:pt x="0" y="31"/>
                  <a:pt x="2" y="34"/>
                  <a:pt x="3" y="38"/>
                </a:cubicBezTo>
                <a:cubicBezTo>
                  <a:pt x="3" y="39"/>
                  <a:pt x="3" y="43"/>
                  <a:pt x="4" y="44"/>
                </a:cubicBezTo>
                <a:cubicBezTo>
                  <a:pt x="5" y="46"/>
                  <a:pt x="6" y="46"/>
                  <a:pt x="7" y="47"/>
                </a:cubicBezTo>
                <a:cubicBezTo>
                  <a:pt x="12" y="49"/>
                  <a:pt x="14" y="50"/>
                  <a:pt x="19" y="51"/>
                </a:cubicBezTo>
                <a:cubicBezTo>
                  <a:pt x="24" y="52"/>
                  <a:pt x="29" y="53"/>
                  <a:pt x="34" y="53"/>
                </a:cubicBezTo>
                <a:cubicBezTo>
                  <a:pt x="38" y="54"/>
                  <a:pt x="43" y="54"/>
                  <a:pt x="48" y="54"/>
                </a:cubicBezTo>
                <a:cubicBezTo>
                  <a:pt x="49" y="54"/>
                  <a:pt x="50" y="54"/>
                  <a:pt x="52" y="53"/>
                </a:cubicBezTo>
                <a:cubicBezTo>
                  <a:pt x="53" y="53"/>
                  <a:pt x="54" y="53"/>
                  <a:pt x="55" y="53"/>
                </a:cubicBezTo>
                <a:cubicBezTo>
                  <a:pt x="56" y="53"/>
                  <a:pt x="58" y="54"/>
                  <a:pt x="59" y="54"/>
                </a:cubicBezTo>
                <a:cubicBezTo>
                  <a:pt x="61" y="54"/>
                  <a:pt x="62" y="54"/>
                  <a:pt x="63" y="54"/>
                </a:cubicBezTo>
                <a:cubicBezTo>
                  <a:pt x="66" y="54"/>
                  <a:pt x="68" y="55"/>
                  <a:pt x="70" y="55"/>
                </a:cubicBezTo>
                <a:cubicBezTo>
                  <a:pt x="72" y="55"/>
                  <a:pt x="74" y="54"/>
                  <a:pt x="76" y="54"/>
                </a:cubicBezTo>
                <a:cubicBezTo>
                  <a:pt x="78" y="54"/>
                  <a:pt x="81" y="54"/>
                  <a:pt x="83" y="54"/>
                </a:cubicBezTo>
                <a:cubicBezTo>
                  <a:pt x="84" y="54"/>
                  <a:pt x="86" y="53"/>
                  <a:pt x="87" y="53"/>
                </a:cubicBezTo>
                <a:cubicBezTo>
                  <a:pt x="89" y="52"/>
                  <a:pt x="91" y="52"/>
                  <a:pt x="93" y="53"/>
                </a:cubicBezTo>
                <a:cubicBezTo>
                  <a:pt x="98" y="53"/>
                  <a:pt x="104" y="53"/>
                  <a:pt x="111" y="53"/>
                </a:cubicBezTo>
                <a:cubicBezTo>
                  <a:pt x="117" y="53"/>
                  <a:pt x="123" y="53"/>
                  <a:pt x="129" y="53"/>
                </a:cubicBezTo>
                <a:cubicBezTo>
                  <a:pt x="146" y="54"/>
                  <a:pt x="164" y="54"/>
                  <a:pt x="181" y="54"/>
                </a:cubicBezTo>
                <a:cubicBezTo>
                  <a:pt x="187" y="54"/>
                  <a:pt x="192" y="54"/>
                  <a:pt x="198" y="53"/>
                </a:cubicBezTo>
                <a:cubicBezTo>
                  <a:pt x="201" y="53"/>
                  <a:pt x="205" y="53"/>
                  <a:pt x="209" y="53"/>
                </a:cubicBezTo>
                <a:cubicBezTo>
                  <a:pt x="214" y="53"/>
                  <a:pt x="220" y="54"/>
                  <a:pt x="226" y="54"/>
                </a:cubicBezTo>
                <a:cubicBezTo>
                  <a:pt x="231" y="54"/>
                  <a:pt x="236" y="54"/>
                  <a:pt x="241" y="54"/>
                </a:cubicBezTo>
                <a:cubicBezTo>
                  <a:pt x="249" y="54"/>
                  <a:pt x="257" y="55"/>
                  <a:pt x="264" y="55"/>
                </a:cubicBezTo>
                <a:cubicBezTo>
                  <a:pt x="272" y="55"/>
                  <a:pt x="280" y="54"/>
                  <a:pt x="288" y="54"/>
                </a:cubicBezTo>
                <a:cubicBezTo>
                  <a:pt x="297" y="54"/>
                  <a:pt x="306" y="54"/>
                  <a:pt x="315" y="54"/>
                </a:cubicBezTo>
                <a:cubicBezTo>
                  <a:pt x="321" y="54"/>
                  <a:pt x="325" y="53"/>
                  <a:pt x="330" y="53"/>
                </a:cubicBezTo>
                <a:cubicBezTo>
                  <a:pt x="337" y="52"/>
                  <a:pt x="345" y="52"/>
                  <a:pt x="352" y="53"/>
                </a:cubicBezTo>
                <a:cubicBezTo>
                  <a:pt x="490" y="54"/>
                  <a:pt x="829" y="54"/>
                  <a:pt x="894" y="53"/>
                </a:cubicBezTo>
                <a:cubicBezTo>
                  <a:pt x="908" y="53"/>
                  <a:pt x="939" y="53"/>
                  <a:pt x="962" y="53"/>
                </a:cubicBezTo>
                <a:cubicBezTo>
                  <a:pt x="985" y="53"/>
                  <a:pt x="1020" y="53"/>
                  <a:pt x="1041" y="52"/>
                </a:cubicBezTo>
                <a:cubicBezTo>
                  <a:pt x="1151" y="52"/>
                  <a:pt x="1195" y="51"/>
                  <a:pt x="1306" y="51"/>
                </a:cubicBezTo>
                <a:cubicBezTo>
                  <a:pt x="1314" y="51"/>
                  <a:pt x="1323" y="51"/>
                  <a:pt x="1332" y="51"/>
                </a:cubicBezTo>
                <a:cubicBezTo>
                  <a:pt x="1339" y="51"/>
                  <a:pt x="1350" y="51"/>
                  <a:pt x="1356" y="51"/>
                </a:cubicBezTo>
                <a:cubicBezTo>
                  <a:pt x="1357" y="50"/>
                  <a:pt x="1357" y="50"/>
                  <a:pt x="1358" y="50"/>
                </a:cubicBezTo>
                <a:cubicBezTo>
                  <a:pt x="1361" y="50"/>
                  <a:pt x="1363" y="51"/>
                  <a:pt x="1366" y="51"/>
                </a:cubicBezTo>
                <a:cubicBezTo>
                  <a:pt x="1368" y="52"/>
                  <a:pt x="1371" y="52"/>
                  <a:pt x="1375" y="52"/>
                </a:cubicBezTo>
                <a:cubicBezTo>
                  <a:pt x="1376" y="52"/>
                  <a:pt x="1376" y="51"/>
                  <a:pt x="1377" y="51"/>
                </a:cubicBezTo>
                <a:cubicBezTo>
                  <a:pt x="1380" y="50"/>
                  <a:pt x="1385" y="50"/>
                  <a:pt x="1390" y="50"/>
                </a:cubicBezTo>
                <a:cubicBezTo>
                  <a:pt x="1396" y="50"/>
                  <a:pt x="1403" y="50"/>
                  <a:pt x="1410" y="50"/>
                </a:cubicBezTo>
                <a:cubicBezTo>
                  <a:pt x="1424" y="50"/>
                  <a:pt x="1439" y="50"/>
                  <a:pt x="1454" y="50"/>
                </a:cubicBezTo>
                <a:cubicBezTo>
                  <a:pt x="1468" y="50"/>
                  <a:pt x="1483" y="50"/>
                  <a:pt x="1497" y="50"/>
                </a:cubicBezTo>
                <a:cubicBezTo>
                  <a:pt x="1503" y="50"/>
                  <a:pt x="1509" y="50"/>
                  <a:pt x="1514" y="50"/>
                </a:cubicBezTo>
                <a:cubicBezTo>
                  <a:pt x="1520" y="50"/>
                  <a:pt x="1528" y="50"/>
                  <a:pt x="1533" y="51"/>
                </a:cubicBezTo>
                <a:cubicBezTo>
                  <a:pt x="1537" y="52"/>
                  <a:pt x="1541" y="53"/>
                  <a:pt x="1546" y="51"/>
                </a:cubicBezTo>
                <a:cubicBezTo>
                  <a:pt x="1547" y="51"/>
                  <a:pt x="1547" y="51"/>
                  <a:pt x="1548" y="51"/>
                </a:cubicBezTo>
                <a:cubicBezTo>
                  <a:pt x="1549" y="51"/>
                  <a:pt x="1550" y="51"/>
                  <a:pt x="1551" y="51"/>
                </a:cubicBezTo>
                <a:cubicBezTo>
                  <a:pt x="1565" y="50"/>
                  <a:pt x="1582" y="50"/>
                  <a:pt x="1596" y="50"/>
                </a:cubicBezTo>
                <a:cubicBezTo>
                  <a:pt x="1613" y="50"/>
                  <a:pt x="1629" y="50"/>
                  <a:pt x="1645" y="50"/>
                </a:cubicBezTo>
                <a:cubicBezTo>
                  <a:pt x="1678" y="50"/>
                  <a:pt x="1711" y="51"/>
                  <a:pt x="1744" y="51"/>
                </a:cubicBezTo>
                <a:cubicBezTo>
                  <a:pt x="1771" y="51"/>
                  <a:pt x="1799" y="51"/>
                  <a:pt x="1826" y="51"/>
                </a:cubicBezTo>
                <a:cubicBezTo>
                  <a:pt x="1891" y="51"/>
                  <a:pt x="1957" y="51"/>
                  <a:pt x="2022" y="51"/>
                </a:cubicBezTo>
                <a:cubicBezTo>
                  <a:pt x="2036" y="51"/>
                  <a:pt x="2051" y="51"/>
                  <a:pt x="2065" y="51"/>
                </a:cubicBezTo>
                <a:cubicBezTo>
                  <a:pt x="2072" y="51"/>
                  <a:pt x="2079" y="51"/>
                  <a:pt x="2087" y="51"/>
                </a:cubicBezTo>
                <a:cubicBezTo>
                  <a:pt x="2092" y="51"/>
                  <a:pt x="2098" y="52"/>
                  <a:pt x="2103" y="51"/>
                </a:cubicBezTo>
                <a:cubicBezTo>
                  <a:pt x="2108" y="50"/>
                  <a:pt x="2108" y="51"/>
                  <a:pt x="2112" y="51"/>
                </a:cubicBezTo>
                <a:cubicBezTo>
                  <a:pt x="2113" y="51"/>
                  <a:pt x="2122" y="52"/>
                  <a:pt x="2123" y="51"/>
                </a:cubicBezTo>
                <a:cubicBezTo>
                  <a:pt x="2124" y="51"/>
                  <a:pt x="2129" y="51"/>
                  <a:pt x="2130" y="51"/>
                </a:cubicBezTo>
                <a:cubicBezTo>
                  <a:pt x="2137" y="51"/>
                  <a:pt x="2143" y="51"/>
                  <a:pt x="2149" y="51"/>
                </a:cubicBezTo>
                <a:cubicBezTo>
                  <a:pt x="2163" y="51"/>
                  <a:pt x="2177" y="51"/>
                  <a:pt x="2191" y="51"/>
                </a:cubicBezTo>
                <a:cubicBezTo>
                  <a:pt x="2192" y="51"/>
                  <a:pt x="2193" y="51"/>
                  <a:pt x="2195" y="51"/>
                </a:cubicBezTo>
                <a:cubicBezTo>
                  <a:pt x="2196" y="51"/>
                  <a:pt x="2197" y="51"/>
                  <a:pt x="2198" y="50"/>
                </a:cubicBezTo>
                <a:cubicBezTo>
                  <a:pt x="2202" y="49"/>
                  <a:pt x="2210" y="49"/>
                  <a:pt x="2215" y="49"/>
                </a:cubicBezTo>
                <a:cubicBezTo>
                  <a:pt x="2217" y="49"/>
                  <a:pt x="2221" y="49"/>
                  <a:pt x="2221" y="49"/>
                </a:cubicBezTo>
                <a:cubicBezTo>
                  <a:pt x="2222" y="50"/>
                  <a:pt x="2216" y="51"/>
                  <a:pt x="2223" y="51"/>
                </a:cubicBezTo>
                <a:cubicBezTo>
                  <a:pt x="2225" y="51"/>
                  <a:pt x="2227" y="51"/>
                  <a:pt x="2229" y="50"/>
                </a:cubicBezTo>
                <a:cubicBezTo>
                  <a:pt x="2231" y="50"/>
                  <a:pt x="2234" y="50"/>
                  <a:pt x="2235" y="51"/>
                </a:cubicBezTo>
                <a:cubicBezTo>
                  <a:pt x="2235" y="51"/>
                  <a:pt x="2236" y="51"/>
                  <a:pt x="2237" y="51"/>
                </a:cubicBezTo>
                <a:cubicBezTo>
                  <a:pt x="2246" y="51"/>
                  <a:pt x="2254" y="51"/>
                  <a:pt x="2263" y="51"/>
                </a:cubicBezTo>
                <a:cubicBezTo>
                  <a:pt x="2270" y="51"/>
                  <a:pt x="2282" y="51"/>
                  <a:pt x="2289" y="50"/>
                </a:cubicBezTo>
                <a:cubicBezTo>
                  <a:pt x="2291" y="50"/>
                  <a:pt x="2292" y="50"/>
                  <a:pt x="2294" y="50"/>
                </a:cubicBezTo>
                <a:cubicBezTo>
                  <a:pt x="2297" y="49"/>
                  <a:pt x="2302" y="49"/>
                  <a:pt x="2305" y="49"/>
                </a:cubicBezTo>
                <a:cubicBezTo>
                  <a:pt x="2311" y="50"/>
                  <a:pt x="2317" y="50"/>
                  <a:pt x="2322" y="50"/>
                </a:cubicBezTo>
                <a:cubicBezTo>
                  <a:pt x="2328" y="51"/>
                  <a:pt x="2334" y="51"/>
                  <a:pt x="2339" y="50"/>
                </a:cubicBezTo>
                <a:cubicBezTo>
                  <a:pt x="2340" y="50"/>
                  <a:pt x="2341" y="50"/>
                  <a:pt x="2342" y="50"/>
                </a:cubicBezTo>
                <a:cubicBezTo>
                  <a:pt x="2342" y="50"/>
                  <a:pt x="2343" y="50"/>
                  <a:pt x="2344" y="50"/>
                </a:cubicBezTo>
                <a:cubicBezTo>
                  <a:pt x="2346" y="50"/>
                  <a:pt x="2348" y="50"/>
                  <a:pt x="2351" y="50"/>
                </a:cubicBezTo>
                <a:cubicBezTo>
                  <a:pt x="2352" y="51"/>
                  <a:pt x="2369" y="51"/>
                  <a:pt x="2372" y="51"/>
                </a:cubicBezTo>
                <a:cubicBezTo>
                  <a:pt x="2380" y="51"/>
                  <a:pt x="2389" y="51"/>
                  <a:pt x="2398" y="51"/>
                </a:cubicBezTo>
                <a:cubicBezTo>
                  <a:pt x="2420" y="51"/>
                  <a:pt x="2443" y="52"/>
                  <a:pt x="2465" y="52"/>
                </a:cubicBezTo>
                <a:cubicBezTo>
                  <a:pt x="2474" y="52"/>
                  <a:pt x="2483" y="51"/>
                  <a:pt x="2492" y="51"/>
                </a:cubicBezTo>
                <a:cubicBezTo>
                  <a:pt x="2496" y="51"/>
                  <a:pt x="2501" y="52"/>
                  <a:pt x="2506" y="51"/>
                </a:cubicBezTo>
                <a:cubicBezTo>
                  <a:pt x="2509" y="51"/>
                  <a:pt x="2512" y="51"/>
                  <a:pt x="2516" y="51"/>
                </a:cubicBezTo>
                <a:cubicBezTo>
                  <a:pt x="2520" y="51"/>
                  <a:pt x="2525" y="51"/>
                  <a:pt x="2529" y="51"/>
                </a:cubicBezTo>
                <a:cubicBezTo>
                  <a:pt x="2531" y="51"/>
                  <a:pt x="2533" y="51"/>
                  <a:pt x="2535" y="51"/>
                </a:cubicBezTo>
                <a:cubicBezTo>
                  <a:pt x="2537" y="51"/>
                  <a:pt x="2539" y="50"/>
                  <a:pt x="2542" y="50"/>
                </a:cubicBezTo>
                <a:cubicBezTo>
                  <a:pt x="2545" y="50"/>
                  <a:pt x="2548" y="51"/>
                  <a:pt x="2551" y="51"/>
                </a:cubicBezTo>
                <a:cubicBezTo>
                  <a:pt x="2560" y="52"/>
                  <a:pt x="2568" y="51"/>
                  <a:pt x="2578" y="52"/>
                </a:cubicBezTo>
                <a:cubicBezTo>
                  <a:pt x="2590" y="52"/>
                  <a:pt x="2603" y="52"/>
                  <a:pt x="2606" y="52"/>
                </a:cubicBezTo>
                <a:cubicBezTo>
                  <a:pt x="2609" y="52"/>
                  <a:pt x="2628" y="52"/>
                  <a:pt x="2649" y="52"/>
                </a:cubicBezTo>
                <a:cubicBezTo>
                  <a:pt x="2656" y="52"/>
                  <a:pt x="2663" y="52"/>
                  <a:pt x="2671" y="52"/>
                </a:cubicBezTo>
                <a:cubicBezTo>
                  <a:pt x="2674" y="52"/>
                  <a:pt x="2677" y="52"/>
                  <a:pt x="2680" y="52"/>
                </a:cubicBezTo>
                <a:cubicBezTo>
                  <a:pt x="2683" y="52"/>
                  <a:pt x="2686" y="52"/>
                  <a:pt x="2688" y="52"/>
                </a:cubicBezTo>
                <a:cubicBezTo>
                  <a:pt x="2689" y="51"/>
                  <a:pt x="2690" y="51"/>
                  <a:pt x="2691" y="51"/>
                </a:cubicBezTo>
                <a:cubicBezTo>
                  <a:pt x="2692" y="51"/>
                  <a:pt x="2692" y="51"/>
                  <a:pt x="2692" y="52"/>
                </a:cubicBezTo>
                <a:cubicBezTo>
                  <a:pt x="2694" y="52"/>
                  <a:pt x="2699" y="52"/>
                  <a:pt x="2702" y="51"/>
                </a:cubicBezTo>
                <a:cubicBezTo>
                  <a:pt x="2708" y="51"/>
                  <a:pt x="2714" y="52"/>
                  <a:pt x="2720" y="52"/>
                </a:cubicBezTo>
                <a:cubicBezTo>
                  <a:pt x="2743" y="52"/>
                  <a:pt x="2754" y="52"/>
                  <a:pt x="2770" y="53"/>
                </a:cubicBezTo>
                <a:cubicBezTo>
                  <a:pt x="2783" y="54"/>
                  <a:pt x="2834" y="54"/>
                  <a:pt x="2863" y="53"/>
                </a:cubicBezTo>
                <a:cubicBezTo>
                  <a:pt x="2871" y="53"/>
                  <a:pt x="2885" y="53"/>
                  <a:pt x="2891" y="52"/>
                </a:cubicBezTo>
                <a:cubicBezTo>
                  <a:pt x="2893" y="51"/>
                  <a:pt x="2895" y="51"/>
                  <a:pt x="2897" y="51"/>
                </a:cubicBezTo>
                <a:cubicBezTo>
                  <a:pt x="2899" y="52"/>
                  <a:pt x="2898" y="52"/>
                  <a:pt x="2902" y="53"/>
                </a:cubicBezTo>
                <a:cubicBezTo>
                  <a:pt x="2903" y="53"/>
                  <a:pt x="2910" y="53"/>
                  <a:pt x="2912" y="53"/>
                </a:cubicBezTo>
                <a:cubicBezTo>
                  <a:pt x="2916" y="53"/>
                  <a:pt x="2926" y="53"/>
                  <a:pt x="2927" y="52"/>
                </a:cubicBezTo>
                <a:cubicBezTo>
                  <a:pt x="2928" y="52"/>
                  <a:pt x="2928" y="51"/>
                  <a:pt x="2930" y="51"/>
                </a:cubicBezTo>
                <a:cubicBezTo>
                  <a:pt x="2931" y="51"/>
                  <a:pt x="2932" y="51"/>
                  <a:pt x="2932" y="51"/>
                </a:cubicBezTo>
                <a:cubicBezTo>
                  <a:pt x="2935" y="51"/>
                  <a:pt x="2938" y="51"/>
                  <a:pt x="2942" y="51"/>
                </a:cubicBezTo>
                <a:cubicBezTo>
                  <a:pt x="2943" y="51"/>
                  <a:pt x="2943" y="51"/>
                  <a:pt x="2942" y="52"/>
                </a:cubicBezTo>
                <a:cubicBezTo>
                  <a:pt x="2941" y="52"/>
                  <a:pt x="2939" y="52"/>
                  <a:pt x="2940" y="52"/>
                </a:cubicBezTo>
                <a:cubicBezTo>
                  <a:pt x="2940" y="53"/>
                  <a:pt x="2942" y="53"/>
                  <a:pt x="2944" y="53"/>
                </a:cubicBezTo>
                <a:cubicBezTo>
                  <a:pt x="2945" y="53"/>
                  <a:pt x="2947" y="53"/>
                  <a:pt x="2948" y="52"/>
                </a:cubicBezTo>
                <a:cubicBezTo>
                  <a:pt x="2952" y="52"/>
                  <a:pt x="2957" y="51"/>
                  <a:pt x="2961" y="51"/>
                </a:cubicBezTo>
                <a:cubicBezTo>
                  <a:pt x="2965" y="51"/>
                  <a:pt x="2969" y="51"/>
                  <a:pt x="2974" y="51"/>
                </a:cubicBezTo>
                <a:cubicBezTo>
                  <a:pt x="2978" y="51"/>
                  <a:pt x="2983" y="50"/>
                  <a:pt x="2985" y="52"/>
                </a:cubicBezTo>
                <a:cubicBezTo>
                  <a:pt x="2988" y="53"/>
                  <a:pt x="2986" y="53"/>
                  <a:pt x="2991" y="53"/>
                </a:cubicBezTo>
                <a:cubicBezTo>
                  <a:pt x="2994" y="53"/>
                  <a:pt x="2994" y="52"/>
                  <a:pt x="2997" y="52"/>
                </a:cubicBezTo>
                <a:cubicBezTo>
                  <a:pt x="3004" y="53"/>
                  <a:pt x="3011" y="53"/>
                  <a:pt x="3019" y="53"/>
                </a:cubicBezTo>
                <a:cubicBezTo>
                  <a:pt x="3026" y="53"/>
                  <a:pt x="3037" y="54"/>
                  <a:pt x="3043" y="52"/>
                </a:cubicBezTo>
                <a:cubicBezTo>
                  <a:pt x="3045" y="52"/>
                  <a:pt x="3046" y="52"/>
                  <a:pt x="3047" y="51"/>
                </a:cubicBezTo>
                <a:cubicBezTo>
                  <a:pt x="3051" y="50"/>
                  <a:pt x="3063" y="50"/>
                  <a:pt x="3066" y="52"/>
                </a:cubicBezTo>
                <a:cubicBezTo>
                  <a:pt x="3066" y="52"/>
                  <a:pt x="3066" y="52"/>
                  <a:pt x="3067" y="52"/>
                </a:cubicBezTo>
                <a:cubicBezTo>
                  <a:pt x="3067" y="53"/>
                  <a:pt x="3070" y="53"/>
                  <a:pt x="3074" y="54"/>
                </a:cubicBezTo>
                <a:cubicBezTo>
                  <a:pt x="3075" y="54"/>
                  <a:pt x="3076" y="54"/>
                  <a:pt x="3076" y="53"/>
                </a:cubicBezTo>
                <a:cubicBezTo>
                  <a:pt x="3077" y="53"/>
                  <a:pt x="3079" y="52"/>
                  <a:pt x="3081" y="53"/>
                </a:cubicBezTo>
                <a:cubicBezTo>
                  <a:pt x="3081" y="53"/>
                  <a:pt x="3083" y="53"/>
                  <a:pt x="3085" y="53"/>
                </a:cubicBezTo>
                <a:cubicBezTo>
                  <a:pt x="3085" y="54"/>
                  <a:pt x="3086" y="54"/>
                  <a:pt x="3087" y="54"/>
                </a:cubicBezTo>
                <a:cubicBezTo>
                  <a:pt x="3118" y="54"/>
                  <a:pt x="3149" y="53"/>
                  <a:pt x="3180" y="54"/>
                </a:cubicBezTo>
                <a:cubicBezTo>
                  <a:pt x="3183" y="54"/>
                  <a:pt x="3191" y="54"/>
                  <a:pt x="3198" y="54"/>
                </a:cubicBezTo>
                <a:cubicBezTo>
                  <a:pt x="3205" y="54"/>
                  <a:pt x="3217" y="54"/>
                  <a:pt x="3225" y="55"/>
                </a:cubicBezTo>
                <a:cubicBezTo>
                  <a:pt x="3233" y="55"/>
                  <a:pt x="3247" y="55"/>
                  <a:pt x="3256" y="55"/>
                </a:cubicBezTo>
                <a:cubicBezTo>
                  <a:pt x="3262" y="56"/>
                  <a:pt x="3268" y="56"/>
                  <a:pt x="3274" y="56"/>
                </a:cubicBezTo>
                <a:cubicBezTo>
                  <a:pt x="3279" y="56"/>
                  <a:pt x="3284" y="57"/>
                  <a:pt x="3289" y="56"/>
                </a:cubicBezTo>
                <a:cubicBezTo>
                  <a:pt x="3295" y="56"/>
                  <a:pt x="3298" y="55"/>
                  <a:pt x="3305" y="55"/>
                </a:cubicBezTo>
                <a:cubicBezTo>
                  <a:pt x="3313" y="55"/>
                  <a:pt x="3322" y="55"/>
                  <a:pt x="3330" y="55"/>
                </a:cubicBezTo>
                <a:cubicBezTo>
                  <a:pt x="3342" y="55"/>
                  <a:pt x="3354" y="55"/>
                  <a:pt x="3367" y="55"/>
                </a:cubicBezTo>
                <a:cubicBezTo>
                  <a:pt x="3378" y="55"/>
                  <a:pt x="3390" y="55"/>
                  <a:pt x="3401" y="55"/>
                </a:cubicBezTo>
                <a:cubicBezTo>
                  <a:pt x="3401" y="54"/>
                  <a:pt x="3403" y="54"/>
                  <a:pt x="3405" y="53"/>
                </a:cubicBezTo>
                <a:cubicBezTo>
                  <a:pt x="3407" y="53"/>
                  <a:pt x="3409" y="53"/>
                  <a:pt x="3411" y="53"/>
                </a:cubicBezTo>
                <a:cubicBezTo>
                  <a:pt x="3411" y="55"/>
                  <a:pt x="3424" y="54"/>
                  <a:pt x="3428" y="54"/>
                </a:cubicBezTo>
                <a:cubicBezTo>
                  <a:pt x="3432" y="54"/>
                  <a:pt x="3440" y="54"/>
                  <a:pt x="3443" y="54"/>
                </a:cubicBezTo>
                <a:cubicBezTo>
                  <a:pt x="3445" y="54"/>
                  <a:pt x="3449" y="52"/>
                  <a:pt x="3451" y="53"/>
                </a:cubicBezTo>
                <a:cubicBezTo>
                  <a:pt x="3449" y="53"/>
                  <a:pt x="3450" y="54"/>
                  <a:pt x="3452" y="54"/>
                </a:cubicBezTo>
                <a:cubicBezTo>
                  <a:pt x="3453" y="54"/>
                  <a:pt x="3455" y="54"/>
                  <a:pt x="3457" y="54"/>
                </a:cubicBezTo>
                <a:cubicBezTo>
                  <a:pt x="3461" y="54"/>
                  <a:pt x="3468" y="54"/>
                  <a:pt x="3472" y="55"/>
                </a:cubicBezTo>
                <a:cubicBezTo>
                  <a:pt x="3475" y="55"/>
                  <a:pt x="3474" y="58"/>
                  <a:pt x="3481" y="57"/>
                </a:cubicBezTo>
                <a:cubicBezTo>
                  <a:pt x="3483" y="56"/>
                  <a:pt x="3484" y="56"/>
                  <a:pt x="3486" y="55"/>
                </a:cubicBezTo>
                <a:cubicBezTo>
                  <a:pt x="3490" y="54"/>
                  <a:pt x="3497" y="54"/>
                  <a:pt x="3503" y="54"/>
                </a:cubicBezTo>
                <a:cubicBezTo>
                  <a:pt x="3512" y="54"/>
                  <a:pt x="3522" y="54"/>
                  <a:pt x="3531" y="54"/>
                </a:cubicBezTo>
                <a:cubicBezTo>
                  <a:pt x="3549" y="54"/>
                  <a:pt x="3567" y="54"/>
                  <a:pt x="3585" y="54"/>
                </a:cubicBezTo>
                <a:cubicBezTo>
                  <a:pt x="3638" y="54"/>
                  <a:pt x="3690" y="55"/>
                  <a:pt x="3701" y="55"/>
                </a:cubicBezTo>
                <a:cubicBezTo>
                  <a:pt x="3712" y="55"/>
                  <a:pt x="3754" y="54"/>
                  <a:pt x="3795" y="54"/>
                </a:cubicBezTo>
                <a:cubicBezTo>
                  <a:pt x="3835" y="54"/>
                  <a:pt x="3903" y="54"/>
                  <a:pt x="3945" y="54"/>
                </a:cubicBezTo>
                <a:cubicBezTo>
                  <a:pt x="3986" y="54"/>
                  <a:pt x="4095" y="54"/>
                  <a:pt x="4186" y="55"/>
                </a:cubicBezTo>
                <a:cubicBezTo>
                  <a:pt x="4215" y="55"/>
                  <a:pt x="4243" y="55"/>
                  <a:pt x="4272" y="55"/>
                </a:cubicBezTo>
                <a:cubicBezTo>
                  <a:pt x="4286" y="55"/>
                  <a:pt x="4300" y="55"/>
                  <a:pt x="4315" y="55"/>
                </a:cubicBezTo>
                <a:cubicBezTo>
                  <a:pt x="4327" y="55"/>
                  <a:pt x="4343" y="55"/>
                  <a:pt x="4355" y="54"/>
                </a:cubicBezTo>
                <a:cubicBezTo>
                  <a:pt x="4356" y="54"/>
                  <a:pt x="4356" y="54"/>
                  <a:pt x="4357" y="54"/>
                </a:cubicBezTo>
                <a:cubicBezTo>
                  <a:pt x="4362" y="54"/>
                  <a:pt x="4367" y="55"/>
                  <a:pt x="4372" y="54"/>
                </a:cubicBezTo>
                <a:cubicBezTo>
                  <a:pt x="4379" y="54"/>
                  <a:pt x="4387" y="54"/>
                  <a:pt x="4394" y="54"/>
                </a:cubicBezTo>
                <a:cubicBezTo>
                  <a:pt x="4409" y="54"/>
                  <a:pt x="4423" y="54"/>
                  <a:pt x="4438" y="54"/>
                </a:cubicBezTo>
                <a:cubicBezTo>
                  <a:pt x="4451" y="54"/>
                  <a:pt x="4464" y="54"/>
                  <a:pt x="4477" y="54"/>
                </a:cubicBezTo>
                <a:cubicBezTo>
                  <a:pt x="4484" y="54"/>
                  <a:pt x="4490" y="54"/>
                  <a:pt x="4497" y="54"/>
                </a:cubicBezTo>
                <a:cubicBezTo>
                  <a:pt x="4502" y="54"/>
                  <a:pt x="4509" y="54"/>
                  <a:pt x="4514" y="54"/>
                </a:cubicBezTo>
                <a:cubicBezTo>
                  <a:pt x="4515" y="54"/>
                  <a:pt x="4518" y="54"/>
                  <a:pt x="4520" y="54"/>
                </a:cubicBezTo>
                <a:cubicBezTo>
                  <a:pt x="4524" y="54"/>
                  <a:pt x="4528" y="54"/>
                  <a:pt x="4532" y="54"/>
                </a:cubicBezTo>
                <a:cubicBezTo>
                  <a:pt x="4537" y="54"/>
                  <a:pt x="4542" y="54"/>
                  <a:pt x="4547" y="54"/>
                </a:cubicBezTo>
                <a:cubicBezTo>
                  <a:pt x="4563" y="54"/>
                  <a:pt x="4602" y="54"/>
                  <a:pt x="4635" y="54"/>
                </a:cubicBezTo>
                <a:cubicBezTo>
                  <a:pt x="4645" y="54"/>
                  <a:pt x="4654" y="54"/>
                  <a:pt x="4664" y="54"/>
                </a:cubicBezTo>
                <a:cubicBezTo>
                  <a:pt x="4672" y="54"/>
                  <a:pt x="4683" y="53"/>
                  <a:pt x="4691" y="54"/>
                </a:cubicBezTo>
                <a:cubicBezTo>
                  <a:pt x="4691" y="54"/>
                  <a:pt x="4692" y="54"/>
                  <a:pt x="4692" y="54"/>
                </a:cubicBezTo>
                <a:cubicBezTo>
                  <a:pt x="4692" y="54"/>
                  <a:pt x="4692" y="54"/>
                  <a:pt x="4692" y="55"/>
                </a:cubicBezTo>
                <a:cubicBezTo>
                  <a:pt x="4693" y="55"/>
                  <a:pt x="4695" y="56"/>
                  <a:pt x="4697" y="56"/>
                </a:cubicBezTo>
                <a:cubicBezTo>
                  <a:pt x="4700" y="56"/>
                  <a:pt x="4702" y="56"/>
                  <a:pt x="4704" y="56"/>
                </a:cubicBezTo>
                <a:cubicBezTo>
                  <a:pt x="4710" y="55"/>
                  <a:pt x="4715" y="55"/>
                  <a:pt x="4720" y="55"/>
                </a:cubicBezTo>
                <a:cubicBezTo>
                  <a:pt x="4723" y="55"/>
                  <a:pt x="4725" y="55"/>
                  <a:pt x="4727" y="55"/>
                </a:cubicBezTo>
                <a:cubicBezTo>
                  <a:pt x="4729" y="55"/>
                  <a:pt x="4730" y="54"/>
                  <a:pt x="4731" y="54"/>
                </a:cubicBezTo>
                <a:cubicBezTo>
                  <a:pt x="4733" y="54"/>
                  <a:pt x="4734" y="55"/>
                  <a:pt x="4736" y="54"/>
                </a:cubicBezTo>
                <a:cubicBezTo>
                  <a:pt x="4736" y="54"/>
                  <a:pt x="4737" y="54"/>
                  <a:pt x="4737" y="54"/>
                </a:cubicBezTo>
                <a:cubicBezTo>
                  <a:pt x="4741" y="53"/>
                  <a:pt x="4750" y="54"/>
                  <a:pt x="4754" y="54"/>
                </a:cubicBezTo>
                <a:cubicBezTo>
                  <a:pt x="4759" y="54"/>
                  <a:pt x="4762" y="55"/>
                  <a:pt x="4769" y="54"/>
                </a:cubicBezTo>
                <a:cubicBezTo>
                  <a:pt x="4771" y="55"/>
                  <a:pt x="4782" y="54"/>
                  <a:pt x="4785" y="54"/>
                </a:cubicBezTo>
                <a:cubicBezTo>
                  <a:pt x="4791" y="54"/>
                  <a:pt x="4798" y="54"/>
                  <a:pt x="4804" y="54"/>
                </a:cubicBezTo>
                <a:cubicBezTo>
                  <a:pt x="4812" y="54"/>
                  <a:pt x="4819" y="54"/>
                  <a:pt x="4827" y="54"/>
                </a:cubicBezTo>
                <a:cubicBezTo>
                  <a:pt x="4831" y="54"/>
                  <a:pt x="4840" y="54"/>
                  <a:pt x="4843" y="55"/>
                </a:cubicBezTo>
                <a:cubicBezTo>
                  <a:pt x="4844" y="55"/>
                  <a:pt x="4844" y="55"/>
                  <a:pt x="4845" y="55"/>
                </a:cubicBezTo>
                <a:cubicBezTo>
                  <a:pt x="4847" y="56"/>
                  <a:pt x="4849" y="56"/>
                  <a:pt x="4851" y="56"/>
                </a:cubicBezTo>
                <a:cubicBezTo>
                  <a:pt x="4853" y="56"/>
                  <a:pt x="4855" y="55"/>
                  <a:pt x="4856" y="55"/>
                </a:cubicBezTo>
                <a:cubicBezTo>
                  <a:pt x="4863" y="54"/>
                  <a:pt x="4870" y="54"/>
                  <a:pt x="4877" y="54"/>
                </a:cubicBezTo>
                <a:cubicBezTo>
                  <a:pt x="4880" y="54"/>
                  <a:pt x="4883" y="54"/>
                  <a:pt x="4885" y="53"/>
                </a:cubicBezTo>
                <a:cubicBezTo>
                  <a:pt x="4895" y="54"/>
                  <a:pt x="4904" y="55"/>
                  <a:pt x="4914" y="55"/>
                </a:cubicBezTo>
                <a:cubicBezTo>
                  <a:pt x="4919" y="56"/>
                  <a:pt x="4924" y="56"/>
                  <a:pt x="4929" y="56"/>
                </a:cubicBezTo>
                <a:cubicBezTo>
                  <a:pt x="4932" y="57"/>
                  <a:pt x="4936" y="57"/>
                  <a:pt x="4940" y="57"/>
                </a:cubicBezTo>
                <a:cubicBezTo>
                  <a:pt x="4943" y="57"/>
                  <a:pt x="4945" y="56"/>
                  <a:pt x="4948" y="56"/>
                </a:cubicBezTo>
                <a:cubicBezTo>
                  <a:pt x="4950" y="55"/>
                  <a:pt x="4954" y="55"/>
                  <a:pt x="4958" y="55"/>
                </a:cubicBezTo>
                <a:cubicBezTo>
                  <a:pt x="4963" y="55"/>
                  <a:pt x="4962" y="56"/>
                  <a:pt x="4966" y="57"/>
                </a:cubicBezTo>
                <a:cubicBezTo>
                  <a:pt x="4969" y="57"/>
                  <a:pt x="4973" y="55"/>
                  <a:pt x="4977" y="56"/>
                </a:cubicBezTo>
                <a:cubicBezTo>
                  <a:pt x="4977" y="56"/>
                  <a:pt x="4978" y="56"/>
                  <a:pt x="4979" y="56"/>
                </a:cubicBezTo>
                <a:cubicBezTo>
                  <a:pt x="4981" y="56"/>
                  <a:pt x="4982" y="57"/>
                  <a:pt x="4984" y="57"/>
                </a:cubicBezTo>
                <a:cubicBezTo>
                  <a:pt x="4985" y="57"/>
                  <a:pt x="4985" y="57"/>
                  <a:pt x="4986" y="57"/>
                </a:cubicBezTo>
                <a:cubicBezTo>
                  <a:pt x="4987" y="58"/>
                  <a:pt x="4987" y="58"/>
                  <a:pt x="4988" y="58"/>
                </a:cubicBezTo>
                <a:cubicBezTo>
                  <a:pt x="4990" y="58"/>
                  <a:pt x="4992" y="58"/>
                  <a:pt x="4994" y="58"/>
                </a:cubicBezTo>
                <a:cubicBezTo>
                  <a:pt x="4997" y="58"/>
                  <a:pt x="5001" y="57"/>
                  <a:pt x="5005" y="57"/>
                </a:cubicBezTo>
                <a:cubicBezTo>
                  <a:pt x="5009" y="57"/>
                  <a:pt x="5014" y="57"/>
                  <a:pt x="5018" y="57"/>
                </a:cubicBezTo>
                <a:cubicBezTo>
                  <a:pt x="5027" y="57"/>
                  <a:pt x="5040" y="58"/>
                  <a:pt x="5048" y="57"/>
                </a:cubicBezTo>
                <a:cubicBezTo>
                  <a:pt x="5054" y="56"/>
                  <a:pt x="5049" y="55"/>
                  <a:pt x="5049" y="54"/>
                </a:cubicBezTo>
                <a:cubicBezTo>
                  <a:pt x="5049" y="53"/>
                  <a:pt x="5051" y="53"/>
                  <a:pt x="5052" y="53"/>
                </a:cubicBezTo>
                <a:cubicBezTo>
                  <a:pt x="5054" y="53"/>
                  <a:pt x="5057" y="54"/>
                  <a:pt x="5059" y="54"/>
                </a:cubicBezTo>
                <a:cubicBezTo>
                  <a:pt x="5062" y="54"/>
                  <a:pt x="5065" y="54"/>
                  <a:pt x="5068" y="54"/>
                </a:cubicBezTo>
                <a:cubicBezTo>
                  <a:pt x="5076" y="54"/>
                  <a:pt x="5084" y="54"/>
                  <a:pt x="5092" y="54"/>
                </a:cubicBezTo>
                <a:cubicBezTo>
                  <a:pt x="5097" y="54"/>
                  <a:pt x="5113" y="56"/>
                  <a:pt x="5116" y="54"/>
                </a:cubicBezTo>
                <a:cubicBezTo>
                  <a:pt x="5116" y="54"/>
                  <a:pt x="5116" y="53"/>
                  <a:pt x="5116" y="53"/>
                </a:cubicBezTo>
                <a:cubicBezTo>
                  <a:pt x="5118" y="52"/>
                  <a:pt x="5128" y="53"/>
                  <a:pt x="5130" y="53"/>
                </a:cubicBezTo>
                <a:cubicBezTo>
                  <a:pt x="5165" y="55"/>
                  <a:pt x="5190" y="55"/>
                  <a:pt x="5228" y="55"/>
                </a:cubicBezTo>
                <a:cubicBezTo>
                  <a:pt x="5237" y="55"/>
                  <a:pt x="5247" y="54"/>
                  <a:pt x="5255" y="54"/>
                </a:cubicBezTo>
                <a:cubicBezTo>
                  <a:pt x="5259" y="54"/>
                  <a:pt x="5260" y="55"/>
                  <a:pt x="5263" y="55"/>
                </a:cubicBezTo>
                <a:cubicBezTo>
                  <a:pt x="5266" y="56"/>
                  <a:pt x="5270" y="56"/>
                  <a:pt x="5274" y="56"/>
                </a:cubicBezTo>
                <a:cubicBezTo>
                  <a:pt x="5279" y="56"/>
                  <a:pt x="5284" y="55"/>
                  <a:pt x="5289" y="56"/>
                </a:cubicBezTo>
                <a:cubicBezTo>
                  <a:pt x="5292" y="56"/>
                  <a:pt x="5294" y="57"/>
                  <a:pt x="5298" y="57"/>
                </a:cubicBezTo>
                <a:cubicBezTo>
                  <a:pt x="5302" y="58"/>
                  <a:pt x="5306" y="57"/>
                  <a:pt x="5309" y="56"/>
                </a:cubicBezTo>
                <a:cubicBezTo>
                  <a:pt x="5314" y="54"/>
                  <a:pt x="5316" y="54"/>
                  <a:pt x="5322" y="55"/>
                </a:cubicBezTo>
                <a:cubicBezTo>
                  <a:pt x="5329" y="55"/>
                  <a:pt x="5337" y="54"/>
                  <a:pt x="5343" y="54"/>
                </a:cubicBezTo>
                <a:cubicBezTo>
                  <a:pt x="5363" y="54"/>
                  <a:pt x="5382" y="54"/>
                  <a:pt x="5386" y="54"/>
                </a:cubicBezTo>
                <a:cubicBezTo>
                  <a:pt x="5389" y="54"/>
                  <a:pt x="5393" y="54"/>
                  <a:pt x="5396" y="54"/>
                </a:cubicBezTo>
                <a:cubicBezTo>
                  <a:pt x="5399" y="54"/>
                  <a:pt x="5401" y="55"/>
                  <a:pt x="5403" y="56"/>
                </a:cubicBezTo>
                <a:cubicBezTo>
                  <a:pt x="5405" y="56"/>
                  <a:pt x="5409" y="56"/>
                  <a:pt x="5412" y="57"/>
                </a:cubicBezTo>
                <a:cubicBezTo>
                  <a:pt x="5417" y="57"/>
                  <a:pt x="5423" y="57"/>
                  <a:pt x="5429" y="57"/>
                </a:cubicBezTo>
                <a:cubicBezTo>
                  <a:pt x="5431" y="57"/>
                  <a:pt x="5432" y="57"/>
                  <a:pt x="5434" y="57"/>
                </a:cubicBezTo>
                <a:cubicBezTo>
                  <a:pt x="5436" y="57"/>
                  <a:pt x="5437" y="56"/>
                  <a:pt x="5439" y="56"/>
                </a:cubicBezTo>
                <a:cubicBezTo>
                  <a:pt x="5447" y="54"/>
                  <a:pt x="5460" y="54"/>
                  <a:pt x="5471" y="55"/>
                </a:cubicBezTo>
                <a:cubicBezTo>
                  <a:pt x="5477" y="56"/>
                  <a:pt x="5485" y="56"/>
                  <a:pt x="5492" y="56"/>
                </a:cubicBezTo>
                <a:cubicBezTo>
                  <a:pt x="5494" y="56"/>
                  <a:pt x="5497" y="55"/>
                  <a:pt x="5499" y="55"/>
                </a:cubicBezTo>
                <a:cubicBezTo>
                  <a:pt x="5500" y="55"/>
                  <a:pt x="5501" y="54"/>
                  <a:pt x="5502" y="54"/>
                </a:cubicBezTo>
                <a:cubicBezTo>
                  <a:pt x="5505" y="53"/>
                  <a:pt x="5510" y="53"/>
                  <a:pt x="5515" y="53"/>
                </a:cubicBezTo>
                <a:cubicBezTo>
                  <a:pt x="5519" y="53"/>
                  <a:pt x="5523" y="54"/>
                  <a:pt x="5528" y="54"/>
                </a:cubicBezTo>
                <a:cubicBezTo>
                  <a:pt x="5535" y="54"/>
                  <a:pt x="5542" y="54"/>
                  <a:pt x="5549" y="54"/>
                </a:cubicBezTo>
                <a:cubicBezTo>
                  <a:pt x="5557" y="53"/>
                  <a:pt x="5565" y="53"/>
                  <a:pt x="5573" y="53"/>
                </a:cubicBezTo>
                <a:cubicBezTo>
                  <a:pt x="5598" y="53"/>
                  <a:pt x="5625" y="52"/>
                  <a:pt x="5633" y="52"/>
                </a:cubicBezTo>
                <a:cubicBezTo>
                  <a:pt x="5639" y="52"/>
                  <a:pt x="5648" y="53"/>
                  <a:pt x="5653" y="52"/>
                </a:cubicBezTo>
                <a:cubicBezTo>
                  <a:pt x="5654" y="52"/>
                  <a:pt x="5655" y="51"/>
                  <a:pt x="5655" y="51"/>
                </a:cubicBezTo>
                <a:cubicBezTo>
                  <a:pt x="5661" y="51"/>
                  <a:pt x="5667" y="52"/>
                  <a:pt x="5672" y="52"/>
                </a:cubicBezTo>
                <a:cubicBezTo>
                  <a:pt x="5677" y="53"/>
                  <a:pt x="5682" y="53"/>
                  <a:pt x="5687" y="53"/>
                </a:cubicBezTo>
                <a:cubicBezTo>
                  <a:pt x="5701" y="53"/>
                  <a:pt x="5715" y="53"/>
                  <a:pt x="5729" y="52"/>
                </a:cubicBezTo>
                <a:cubicBezTo>
                  <a:pt x="5740" y="52"/>
                  <a:pt x="5752" y="53"/>
                  <a:pt x="5763" y="53"/>
                </a:cubicBezTo>
                <a:cubicBezTo>
                  <a:pt x="5772" y="53"/>
                  <a:pt x="5788" y="54"/>
                  <a:pt x="5796" y="53"/>
                </a:cubicBezTo>
                <a:cubicBezTo>
                  <a:pt x="5797" y="52"/>
                  <a:pt x="5799" y="52"/>
                  <a:pt x="5801" y="52"/>
                </a:cubicBezTo>
                <a:cubicBezTo>
                  <a:pt x="5801" y="52"/>
                  <a:pt x="5802" y="52"/>
                  <a:pt x="5803" y="52"/>
                </a:cubicBezTo>
                <a:cubicBezTo>
                  <a:pt x="5808" y="52"/>
                  <a:pt x="5811" y="52"/>
                  <a:pt x="5815" y="53"/>
                </a:cubicBezTo>
                <a:cubicBezTo>
                  <a:pt x="5819" y="53"/>
                  <a:pt x="5823" y="53"/>
                  <a:pt x="5828" y="54"/>
                </a:cubicBezTo>
                <a:cubicBezTo>
                  <a:pt x="5837" y="54"/>
                  <a:pt x="5846" y="53"/>
                  <a:pt x="5855" y="53"/>
                </a:cubicBezTo>
                <a:cubicBezTo>
                  <a:pt x="5863" y="53"/>
                  <a:pt x="5870" y="53"/>
                  <a:pt x="5878" y="53"/>
                </a:cubicBezTo>
                <a:cubicBezTo>
                  <a:pt x="5881" y="53"/>
                  <a:pt x="5884" y="53"/>
                  <a:pt x="5887" y="52"/>
                </a:cubicBezTo>
                <a:cubicBezTo>
                  <a:pt x="5890" y="52"/>
                  <a:pt x="5891" y="51"/>
                  <a:pt x="5894" y="51"/>
                </a:cubicBezTo>
                <a:cubicBezTo>
                  <a:pt x="5896" y="50"/>
                  <a:pt x="5899" y="50"/>
                  <a:pt x="5902" y="50"/>
                </a:cubicBezTo>
                <a:cubicBezTo>
                  <a:pt x="5914" y="50"/>
                  <a:pt x="5927" y="51"/>
                  <a:pt x="5939" y="50"/>
                </a:cubicBezTo>
                <a:cubicBezTo>
                  <a:pt x="5951" y="50"/>
                  <a:pt x="5962" y="51"/>
                  <a:pt x="5974" y="51"/>
                </a:cubicBezTo>
                <a:cubicBezTo>
                  <a:pt x="5988" y="51"/>
                  <a:pt x="6001" y="51"/>
                  <a:pt x="6015" y="51"/>
                </a:cubicBezTo>
                <a:cubicBezTo>
                  <a:pt x="6027" y="51"/>
                  <a:pt x="6037" y="53"/>
                  <a:pt x="6049" y="53"/>
                </a:cubicBezTo>
                <a:cubicBezTo>
                  <a:pt x="6060" y="53"/>
                  <a:pt x="6071" y="53"/>
                  <a:pt x="6082" y="53"/>
                </a:cubicBezTo>
                <a:cubicBezTo>
                  <a:pt x="6088" y="53"/>
                  <a:pt x="6093" y="53"/>
                  <a:pt x="6099" y="53"/>
                </a:cubicBezTo>
                <a:cubicBezTo>
                  <a:pt x="6103" y="53"/>
                  <a:pt x="6107" y="52"/>
                  <a:pt x="6112" y="53"/>
                </a:cubicBezTo>
                <a:cubicBezTo>
                  <a:pt x="6114" y="53"/>
                  <a:pt x="6116" y="53"/>
                  <a:pt x="6118" y="53"/>
                </a:cubicBezTo>
                <a:cubicBezTo>
                  <a:pt x="6126" y="53"/>
                  <a:pt x="6135" y="54"/>
                  <a:pt x="6143" y="54"/>
                </a:cubicBezTo>
                <a:cubicBezTo>
                  <a:pt x="6154" y="54"/>
                  <a:pt x="6165" y="55"/>
                  <a:pt x="6177" y="55"/>
                </a:cubicBezTo>
                <a:cubicBezTo>
                  <a:pt x="6183" y="55"/>
                  <a:pt x="6190" y="55"/>
                  <a:pt x="6196" y="54"/>
                </a:cubicBezTo>
                <a:cubicBezTo>
                  <a:pt x="6203" y="54"/>
                  <a:pt x="6207" y="53"/>
                  <a:pt x="6214" y="53"/>
                </a:cubicBezTo>
                <a:cubicBezTo>
                  <a:pt x="6215" y="53"/>
                  <a:pt x="6217" y="53"/>
                  <a:pt x="6218" y="53"/>
                </a:cubicBezTo>
                <a:cubicBezTo>
                  <a:pt x="6220" y="54"/>
                  <a:pt x="6222" y="54"/>
                  <a:pt x="6224" y="53"/>
                </a:cubicBezTo>
                <a:cubicBezTo>
                  <a:pt x="6231" y="53"/>
                  <a:pt x="6237" y="53"/>
                  <a:pt x="6243" y="53"/>
                </a:cubicBezTo>
                <a:cubicBezTo>
                  <a:pt x="6245" y="52"/>
                  <a:pt x="6246" y="52"/>
                  <a:pt x="6248" y="52"/>
                </a:cubicBezTo>
                <a:cubicBezTo>
                  <a:pt x="6249" y="52"/>
                  <a:pt x="6251" y="52"/>
                  <a:pt x="6252" y="52"/>
                </a:cubicBezTo>
                <a:cubicBezTo>
                  <a:pt x="6260" y="52"/>
                  <a:pt x="6268" y="52"/>
                  <a:pt x="6275" y="52"/>
                </a:cubicBezTo>
                <a:cubicBezTo>
                  <a:pt x="6284" y="53"/>
                  <a:pt x="6293" y="53"/>
                  <a:pt x="6301" y="54"/>
                </a:cubicBezTo>
                <a:cubicBezTo>
                  <a:pt x="6311" y="54"/>
                  <a:pt x="6320" y="55"/>
                  <a:pt x="6329" y="55"/>
                </a:cubicBezTo>
                <a:cubicBezTo>
                  <a:pt x="6338" y="55"/>
                  <a:pt x="6345" y="55"/>
                  <a:pt x="6354" y="55"/>
                </a:cubicBezTo>
                <a:cubicBezTo>
                  <a:pt x="6355" y="55"/>
                  <a:pt x="6356" y="55"/>
                  <a:pt x="6357" y="55"/>
                </a:cubicBezTo>
                <a:cubicBezTo>
                  <a:pt x="6358" y="55"/>
                  <a:pt x="6359" y="55"/>
                  <a:pt x="6360" y="55"/>
                </a:cubicBezTo>
                <a:cubicBezTo>
                  <a:pt x="6361" y="55"/>
                  <a:pt x="6362" y="55"/>
                  <a:pt x="6364" y="55"/>
                </a:cubicBezTo>
                <a:cubicBezTo>
                  <a:pt x="6370" y="55"/>
                  <a:pt x="6377" y="56"/>
                  <a:pt x="6383" y="56"/>
                </a:cubicBezTo>
                <a:cubicBezTo>
                  <a:pt x="6388" y="56"/>
                  <a:pt x="6391" y="56"/>
                  <a:pt x="6395" y="56"/>
                </a:cubicBezTo>
                <a:cubicBezTo>
                  <a:pt x="6399" y="56"/>
                  <a:pt x="6404" y="56"/>
                  <a:pt x="6407" y="56"/>
                </a:cubicBezTo>
                <a:cubicBezTo>
                  <a:pt x="6410" y="55"/>
                  <a:pt x="6402" y="54"/>
                  <a:pt x="6405" y="53"/>
                </a:cubicBezTo>
                <a:cubicBezTo>
                  <a:pt x="6407" y="52"/>
                  <a:pt x="6416" y="52"/>
                  <a:pt x="6420" y="52"/>
                </a:cubicBezTo>
                <a:cubicBezTo>
                  <a:pt x="6427" y="52"/>
                  <a:pt x="6434" y="52"/>
                  <a:pt x="6441" y="52"/>
                </a:cubicBezTo>
                <a:cubicBezTo>
                  <a:pt x="6448" y="53"/>
                  <a:pt x="6455" y="53"/>
                  <a:pt x="6463" y="53"/>
                </a:cubicBezTo>
                <a:cubicBezTo>
                  <a:pt x="6470" y="53"/>
                  <a:pt x="6474" y="52"/>
                  <a:pt x="6475" y="54"/>
                </a:cubicBezTo>
                <a:cubicBezTo>
                  <a:pt x="6475" y="55"/>
                  <a:pt x="6478" y="56"/>
                  <a:pt x="6482" y="56"/>
                </a:cubicBezTo>
                <a:cubicBezTo>
                  <a:pt x="6483" y="56"/>
                  <a:pt x="6484" y="56"/>
                  <a:pt x="6485" y="56"/>
                </a:cubicBezTo>
                <a:cubicBezTo>
                  <a:pt x="6486" y="56"/>
                  <a:pt x="6487" y="56"/>
                  <a:pt x="6488" y="56"/>
                </a:cubicBezTo>
                <a:cubicBezTo>
                  <a:pt x="6489" y="56"/>
                  <a:pt x="6490" y="56"/>
                  <a:pt x="6491" y="56"/>
                </a:cubicBezTo>
                <a:cubicBezTo>
                  <a:pt x="6494" y="57"/>
                  <a:pt x="6498" y="57"/>
                  <a:pt x="6501" y="56"/>
                </a:cubicBezTo>
                <a:cubicBezTo>
                  <a:pt x="6502" y="56"/>
                  <a:pt x="6503" y="56"/>
                  <a:pt x="6504" y="56"/>
                </a:cubicBezTo>
                <a:cubicBezTo>
                  <a:pt x="6505" y="56"/>
                  <a:pt x="6506" y="57"/>
                  <a:pt x="6507" y="57"/>
                </a:cubicBezTo>
                <a:cubicBezTo>
                  <a:pt x="6511" y="57"/>
                  <a:pt x="6516" y="56"/>
                  <a:pt x="6521" y="56"/>
                </a:cubicBezTo>
                <a:cubicBezTo>
                  <a:pt x="6528" y="57"/>
                  <a:pt x="6534" y="56"/>
                  <a:pt x="6541" y="56"/>
                </a:cubicBezTo>
                <a:cubicBezTo>
                  <a:pt x="6547" y="56"/>
                  <a:pt x="6554" y="57"/>
                  <a:pt x="6560" y="57"/>
                </a:cubicBezTo>
                <a:cubicBezTo>
                  <a:pt x="6564" y="57"/>
                  <a:pt x="6567" y="57"/>
                  <a:pt x="6570" y="57"/>
                </a:cubicBezTo>
                <a:cubicBezTo>
                  <a:pt x="6572" y="57"/>
                  <a:pt x="6574" y="57"/>
                  <a:pt x="6576" y="57"/>
                </a:cubicBezTo>
                <a:cubicBezTo>
                  <a:pt x="6583" y="56"/>
                  <a:pt x="6591" y="56"/>
                  <a:pt x="6598" y="56"/>
                </a:cubicBezTo>
                <a:cubicBezTo>
                  <a:pt x="6605" y="56"/>
                  <a:pt x="6611" y="56"/>
                  <a:pt x="6617" y="55"/>
                </a:cubicBezTo>
                <a:cubicBezTo>
                  <a:pt x="6624" y="55"/>
                  <a:pt x="6629" y="55"/>
                  <a:pt x="6636" y="55"/>
                </a:cubicBezTo>
                <a:cubicBezTo>
                  <a:pt x="6643" y="55"/>
                  <a:pt x="6650" y="55"/>
                  <a:pt x="6657" y="56"/>
                </a:cubicBezTo>
                <a:cubicBezTo>
                  <a:pt x="6660" y="56"/>
                  <a:pt x="6664" y="56"/>
                  <a:pt x="6668" y="56"/>
                </a:cubicBezTo>
                <a:cubicBezTo>
                  <a:pt x="6671" y="56"/>
                  <a:pt x="6676" y="55"/>
                  <a:pt x="6679" y="56"/>
                </a:cubicBezTo>
                <a:cubicBezTo>
                  <a:pt x="6680" y="56"/>
                  <a:pt x="6679" y="56"/>
                  <a:pt x="6678" y="56"/>
                </a:cubicBezTo>
                <a:cubicBezTo>
                  <a:pt x="6677" y="56"/>
                  <a:pt x="6678" y="57"/>
                  <a:pt x="6679" y="57"/>
                </a:cubicBezTo>
                <a:cubicBezTo>
                  <a:pt x="6679" y="57"/>
                  <a:pt x="6680" y="58"/>
                  <a:pt x="6681" y="58"/>
                </a:cubicBezTo>
                <a:cubicBezTo>
                  <a:pt x="6682" y="58"/>
                  <a:pt x="6684" y="58"/>
                  <a:pt x="6685" y="58"/>
                </a:cubicBezTo>
                <a:cubicBezTo>
                  <a:pt x="6686" y="57"/>
                  <a:pt x="6687" y="57"/>
                  <a:pt x="6688" y="57"/>
                </a:cubicBezTo>
                <a:cubicBezTo>
                  <a:pt x="6689" y="57"/>
                  <a:pt x="6689" y="57"/>
                  <a:pt x="6690" y="57"/>
                </a:cubicBezTo>
                <a:cubicBezTo>
                  <a:pt x="6691" y="57"/>
                  <a:pt x="6691" y="57"/>
                  <a:pt x="6691" y="57"/>
                </a:cubicBezTo>
                <a:cubicBezTo>
                  <a:pt x="6692" y="57"/>
                  <a:pt x="6693" y="58"/>
                  <a:pt x="6694" y="58"/>
                </a:cubicBezTo>
                <a:cubicBezTo>
                  <a:pt x="6695" y="58"/>
                  <a:pt x="6696" y="57"/>
                  <a:pt x="6696" y="57"/>
                </a:cubicBezTo>
                <a:cubicBezTo>
                  <a:pt x="6699" y="57"/>
                  <a:pt x="6703" y="57"/>
                  <a:pt x="6706" y="57"/>
                </a:cubicBezTo>
                <a:cubicBezTo>
                  <a:pt x="6711" y="57"/>
                  <a:pt x="6719" y="57"/>
                  <a:pt x="6723" y="57"/>
                </a:cubicBezTo>
                <a:cubicBezTo>
                  <a:pt x="6736" y="58"/>
                  <a:pt x="6749" y="58"/>
                  <a:pt x="6762" y="57"/>
                </a:cubicBezTo>
                <a:cubicBezTo>
                  <a:pt x="6769" y="57"/>
                  <a:pt x="6776" y="57"/>
                  <a:pt x="6783" y="57"/>
                </a:cubicBezTo>
                <a:cubicBezTo>
                  <a:pt x="6785" y="56"/>
                  <a:pt x="6788" y="56"/>
                  <a:pt x="6791" y="56"/>
                </a:cubicBezTo>
                <a:cubicBezTo>
                  <a:pt x="6794" y="56"/>
                  <a:pt x="6796" y="55"/>
                  <a:pt x="6801" y="55"/>
                </a:cubicBezTo>
                <a:cubicBezTo>
                  <a:pt x="6802" y="55"/>
                  <a:pt x="6802" y="55"/>
                  <a:pt x="6803" y="55"/>
                </a:cubicBezTo>
                <a:cubicBezTo>
                  <a:pt x="6803" y="55"/>
                  <a:pt x="6804" y="56"/>
                  <a:pt x="6804" y="56"/>
                </a:cubicBezTo>
                <a:cubicBezTo>
                  <a:pt x="6806" y="56"/>
                  <a:pt x="6809" y="57"/>
                  <a:pt x="6812" y="57"/>
                </a:cubicBezTo>
                <a:cubicBezTo>
                  <a:pt x="6813" y="57"/>
                  <a:pt x="6814" y="57"/>
                  <a:pt x="6815" y="57"/>
                </a:cubicBezTo>
                <a:cubicBezTo>
                  <a:pt x="6818" y="57"/>
                  <a:pt x="6818" y="56"/>
                  <a:pt x="6819" y="56"/>
                </a:cubicBezTo>
                <a:cubicBezTo>
                  <a:pt x="6821" y="55"/>
                  <a:pt x="6823" y="55"/>
                  <a:pt x="6826" y="55"/>
                </a:cubicBezTo>
                <a:cubicBezTo>
                  <a:pt x="6828" y="54"/>
                  <a:pt x="6830" y="54"/>
                  <a:pt x="6833" y="54"/>
                </a:cubicBezTo>
                <a:cubicBezTo>
                  <a:pt x="6836" y="54"/>
                  <a:pt x="6839" y="55"/>
                  <a:pt x="6843" y="55"/>
                </a:cubicBezTo>
                <a:cubicBezTo>
                  <a:pt x="6848" y="54"/>
                  <a:pt x="6848" y="54"/>
                  <a:pt x="6851" y="53"/>
                </a:cubicBezTo>
                <a:cubicBezTo>
                  <a:pt x="6854" y="53"/>
                  <a:pt x="6862" y="53"/>
                  <a:pt x="6866" y="53"/>
                </a:cubicBezTo>
                <a:cubicBezTo>
                  <a:pt x="6873" y="53"/>
                  <a:pt x="6880" y="53"/>
                  <a:pt x="6887" y="54"/>
                </a:cubicBezTo>
                <a:cubicBezTo>
                  <a:pt x="6889" y="54"/>
                  <a:pt x="6893" y="54"/>
                  <a:pt x="6896" y="54"/>
                </a:cubicBezTo>
                <a:cubicBezTo>
                  <a:pt x="6898" y="54"/>
                  <a:pt x="6900" y="55"/>
                  <a:pt x="6903" y="56"/>
                </a:cubicBezTo>
                <a:cubicBezTo>
                  <a:pt x="6905" y="56"/>
                  <a:pt x="6908" y="56"/>
                  <a:pt x="6910" y="55"/>
                </a:cubicBezTo>
                <a:cubicBezTo>
                  <a:pt x="6911" y="55"/>
                  <a:pt x="6911" y="55"/>
                  <a:pt x="6912" y="54"/>
                </a:cubicBezTo>
                <a:cubicBezTo>
                  <a:pt x="6913" y="54"/>
                  <a:pt x="6915" y="54"/>
                  <a:pt x="6916" y="55"/>
                </a:cubicBezTo>
                <a:cubicBezTo>
                  <a:pt x="6916" y="55"/>
                  <a:pt x="6917" y="55"/>
                  <a:pt x="6918" y="56"/>
                </a:cubicBezTo>
                <a:cubicBezTo>
                  <a:pt x="6919" y="56"/>
                  <a:pt x="6921" y="56"/>
                  <a:pt x="6922" y="55"/>
                </a:cubicBezTo>
                <a:cubicBezTo>
                  <a:pt x="6924" y="55"/>
                  <a:pt x="6924" y="54"/>
                  <a:pt x="6927" y="54"/>
                </a:cubicBezTo>
                <a:cubicBezTo>
                  <a:pt x="6929" y="53"/>
                  <a:pt x="6932" y="54"/>
                  <a:pt x="6935" y="54"/>
                </a:cubicBezTo>
                <a:cubicBezTo>
                  <a:pt x="6936" y="54"/>
                  <a:pt x="6936" y="54"/>
                  <a:pt x="6936" y="54"/>
                </a:cubicBezTo>
                <a:cubicBezTo>
                  <a:pt x="6938" y="55"/>
                  <a:pt x="6943" y="54"/>
                  <a:pt x="6946" y="55"/>
                </a:cubicBezTo>
                <a:cubicBezTo>
                  <a:pt x="6948" y="55"/>
                  <a:pt x="6949" y="56"/>
                  <a:pt x="6952" y="56"/>
                </a:cubicBezTo>
                <a:cubicBezTo>
                  <a:pt x="6955" y="56"/>
                  <a:pt x="6957" y="56"/>
                  <a:pt x="6960" y="56"/>
                </a:cubicBezTo>
                <a:cubicBezTo>
                  <a:pt x="6961" y="56"/>
                  <a:pt x="6963" y="56"/>
                  <a:pt x="6964" y="56"/>
                </a:cubicBezTo>
                <a:cubicBezTo>
                  <a:pt x="6965" y="56"/>
                  <a:pt x="6966" y="55"/>
                  <a:pt x="6968" y="55"/>
                </a:cubicBezTo>
                <a:cubicBezTo>
                  <a:pt x="6969" y="55"/>
                  <a:pt x="6969" y="55"/>
                  <a:pt x="6970" y="55"/>
                </a:cubicBezTo>
                <a:cubicBezTo>
                  <a:pt x="6970" y="54"/>
                  <a:pt x="6970" y="54"/>
                  <a:pt x="6971" y="54"/>
                </a:cubicBezTo>
                <a:cubicBezTo>
                  <a:pt x="6972" y="53"/>
                  <a:pt x="6974" y="54"/>
                  <a:pt x="6975" y="54"/>
                </a:cubicBezTo>
                <a:cubicBezTo>
                  <a:pt x="6978" y="54"/>
                  <a:pt x="6980" y="53"/>
                  <a:pt x="6982" y="53"/>
                </a:cubicBezTo>
                <a:cubicBezTo>
                  <a:pt x="6985" y="53"/>
                  <a:pt x="6989" y="53"/>
                  <a:pt x="6992" y="53"/>
                </a:cubicBezTo>
                <a:cubicBezTo>
                  <a:pt x="6999" y="54"/>
                  <a:pt x="7006" y="54"/>
                  <a:pt x="7013" y="54"/>
                </a:cubicBezTo>
                <a:cubicBezTo>
                  <a:pt x="7017" y="54"/>
                  <a:pt x="7032" y="55"/>
                  <a:pt x="7035" y="56"/>
                </a:cubicBezTo>
                <a:cubicBezTo>
                  <a:pt x="7035" y="56"/>
                  <a:pt x="7040" y="56"/>
                  <a:pt x="7046" y="56"/>
                </a:cubicBezTo>
                <a:cubicBezTo>
                  <a:pt x="7049" y="56"/>
                  <a:pt x="7053" y="56"/>
                  <a:pt x="7056" y="56"/>
                </a:cubicBezTo>
                <a:cubicBezTo>
                  <a:pt x="7061" y="56"/>
                  <a:pt x="7063" y="53"/>
                  <a:pt x="7068" y="53"/>
                </a:cubicBezTo>
                <a:cubicBezTo>
                  <a:pt x="7071" y="53"/>
                  <a:pt x="7076" y="54"/>
                  <a:pt x="7079" y="54"/>
                </a:cubicBezTo>
                <a:cubicBezTo>
                  <a:pt x="7084" y="55"/>
                  <a:pt x="7090" y="55"/>
                  <a:pt x="7095" y="56"/>
                </a:cubicBezTo>
                <a:cubicBezTo>
                  <a:pt x="7098" y="56"/>
                  <a:pt x="7103" y="57"/>
                  <a:pt x="7106" y="56"/>
                </a:cubicBezTo>
                <a:cubicBezTo>
                  <a:pt x="7107" y="56"/>
                  <a:pt x="7107" y="55"/>
                  <a:pt x="7107" y="55"/>
                </a:cubicBezTo>
                <a:cubicBezTo>
                  <a:pt x="7108" y="55"/>
                  <a:pt x="7111" y="54"/>
                  <a:pt x="7113" y="54"/>
                </a:cubicBezTo>
                <a:cubicBezTo>
                  <a:pt x="7116" y="54"/>
                  <a:pt x="7120" y="54"/>
                  <a:pt x="7123" y="54"/>
                </a:cubicBezTo>
                <a:cubicBezTo>
                  <a:pt x="7127" y="54"/>
                  <a:pt x="7137" y="54"/>
                  <a:pt x="7140" y="53"/>
                </a:cubicBezTo>
                <a:cubicBezTo>
                  <a:pt x="7140" y="53"/>
                  <a:pt x="7141" y="53"/>
                  <a:pt x="7141" y="53"/>
                </a:cubicBezTo>
                <a:cubicBezTo>
                  <a:pt x="7144" y="53"/>
                  <a:pt x="7146" y="53"/>
                  <a:pt x="7148" y="53"/>
                </a:cubicBezTo>
                <a:cubicBezTo>
                  <a:pt x="7149" y="53"/>
                  <a:pt x="7149" y="53"/>
                  <a:pt x="7150" y="53"/>
                </a:cubicBezTo>
                <a:cubicBezTo>
                  <a:pt x="7152" y="53"/>
                  <a:pt x="7154" y="53"/>
                  <a:pt x="7156" y="53"/>
                </a:cubicBezTo>
                <a:cubicBezTo>
                  <a:pt x="7157" y="53"/>
                  <a:pt x="7157" y="53"/>
                  <a:pt x="7158" y="53"/>
                </a:cubicBezTo>
                <a:cubicBezTo>
                  <a:pt x="7162" y="54"/>
                  <a:pt x="7168" y="54"/>
                  <a:pt x="7172" y="54"/>
                </a:cubicBezTo>
                <a:cubicBezTo>
                  <a:pt x="7178" y="54"/>
                  <a:pt x="7184" y="54"/>
                  <a:pt x="7190" y="54"/>
                </a:cubicBezTo>
                <a:cubicBezTo>
                  <a:pt x="7196" y="54"/>
                  <a:pt x="7202" y="54"/>
                  <a:pt x="7207" y="54"/>
                </a:cubicBezTo>
                <a:cubicBezTo>
                  <a:pt x="7211" y="54"/>
                  <a:pt x="7213" y="53"/>
                  <a:pt x="7216" y="53"/>
                </a:cubicBezTo>
                <a:cubicBezTo>
                  <a:pt x="7218" y="53"/>
                  <a:pt x="7220" y="53"/>
                  <a:pt x="7222" y="53"/>
                </a:cubicBezTo>
                <a:cubicBezTo>
                  <a:pt x="7224" y="53"/>
                  <a:pt x="7226" y="52"/>
                  <a:pt x="7228" y="52"/>
                </a:cubicBezTo>
                <a:cubicBezTo>
                  <a:pt x="7229" y="52"/>
                  <a:pt x="7229" y="52"/>
                  <a:pt x="7230" y="52"/>
                </a:cubicBezTo>
                <a:cubicBezTo>
                  <a:pt x="7230" y="52"/>
                  <a:pt x="7231" y="52"/>
                  <a:pt x="7231" y="52"/>
                </a:cubicBezTo>
                <a:cubicBezTo>
                  <a:pt x="7233" y="52"/>
                  <a:pt x="7234" y="53"/>
                  <a:pt x="7235" y="53"/>
                </a:cubicBezTo>
                <a:cubicBezTo>
                  <a:pt x="7240" y="53"/>
                  <a:pt x="7248" y="53"/>
                  <a:pt x="7253" y="52"/>
                </a:cubicBezTo>
                <a:cubicBezTo>
                  <a:pt x="7260" y="52"/>
                  <a:pt x="7266" y="52"/>
                  <a:pt x="7273" y="52"/>
                </a:cubicBezTo>
                <a:cubicBezTo>
                  <a:pt x="7289" y="52"/>
                  <a:pt x="7304" y="52"/>
                  <a:pt x="7320" y="52"/>
                </a:cubicBezTo>
                <a:cubicBezTo>
                  <a:pt x="7328" y="52"/>
                  <a:pt x="7335" y="52"/>
                  <a:pt x="7343" y="53"/>
                </a:cubicBezTo>
                <a:cubicBezTo>
                  <a:pt x="7345" y="54"/>
                  <a:pt x="7347" y="54"/>
                  <a:pt x="7350" y="54"/>
                </a:cubicBezTo>
                <a:cubicBezTo>
                  <a:pt x="7353" y="53"/>
                  <a:pt x="7354" y="53"/>
                  <a:pt x="7356" y="52"/>
                </a:cubicBezTo>
                <a:cubicBezTo>
                  <a:pt x="7361" y="52"/>
                  <a:pt x="7367" y="53"/>
                  <a:pt x="7371" y="53"/>
                </a:cubicBezTo>
                <a:cubicBezTo>
                  <a:pt x="7381" y="53"/>
                  <a:pt x="7390" y="52"/>
                  <a:pt x="7400" y="53"/>
                </a:cubicBezTo>
                <a:cubicBezTo>
                  <a:pt x="7400" y="53"/>
                  <a:pt x="7401" y="53"/>
                  <a:pt x="7402" y="54"/>
                </a:cubicBezTo>
                <a:cubicBezTo>
                  <a:pt x="7405" y="54"/>
                  <a:pt x="7409" y="54"/>
                  <a:pt x="7413" y="54"/>
                </a:cubicBezTo>
                <a:cubicBezTo>
                  <a:pt x="7415" y="54"/>
                  <a:pt x="7418" y="54"/>
                  <a:pt x="7420" y="53"/>
                </a:cubicBezTo>
                <a:cubicBezTo>
                  <a:pt x="7421" y="53"/>
                  <a:pt x="7418" y="52"/>
                  <a:pt x="7419" y="52"/>
                </a:cubicBezTo>
                <a:cubicBezTo>
                  <a:pt x="7421" y="51"/>
                  <a:pt x="7423" y="52"/>
                  <a:pt x="7425" y="52"/>
                </a:cubicBezTo>
                <a:cubicBezTo>
                  <a:pt x="7428" y="52"/>
                  <a:pt x="7429" y="52"/>
                  <a:pt x="7433" y="52"/>
                </a:cubicBezTo>
                <a:cubicBezTo>
                  <a:pt x="7438" y="52"/>
                  <a:pt x="7441" y="54"/>
                  <a:pt x="7446" y="54"/>
                </a:cubicBezTo>
                <a:cubicBezTo>
                  <a:pt x="7449" y="54"/>
                  <a:pt x="7451" y="53"/>
                  <a:pt x="7454" y="53"/>
                </a:cubicBezTo>
                <a:cubicBezTo>
                  <a:pt x="7456" y="53"/>
                  <a:pt x="7458" y="53"/>
                  <a:pt x="7461" y="53"/>
                </a:cubicBezTo>
                <a:cubicBezTo>
                  <a:pt x="7464" y="53"/>
                  <a:pt x="7466" y="52"/>
                  <a:pt x="7469" y="52"/>
                </a:cubicBezTo>
                <a:cubicBezTo>
                  <a:pt x="7470" y="52"/>
                  <a:pt x="7472" y="52"/>
                  <a:pt x="7475" y="52"/>
                </a:cubicBezTo>
                <a:cubicBezTo>
                  <a:pt x="7476" y="52"/>
                  <a:pt x="7477" y="52"/>
                  <a:pt x="7478" y="52"/>
                </a:cubicBezTo>
                <a:cubicBezTo>
                  <a:pt x="7484" y="53"/>
                  <a:pt x="7491" y="52"/>
                  <a:pt x="7497" y="52"/>
                </a:cubicBezTo>
                <a:cubicBezTo>
                  <a:pt x="7557" y="52"/>
                  <a:pt x="7584" y="52"/>
                  <a:pt x="7586" y="51"/>
                </a:cubicBezTo>
                <a:cubicBezTo>
                  <a:pt x="7587" y="51"/>
                  <a:pt x="7619" y="51"/>
                  <a:pt x="7626" y="52"/>
                </a:cubicBezTo>
                <a:cubicBezTo>
                  <a:pt x="7633" y="52"/>
                  <a:pt x="7640" y="53"/>
                  <a:pt x="7647" y="53"/>
                </a:cubicBezTo>
                <a:cubicBezTo>
                  <a:pt x="7649" y="54"/>
                  <a:pt x="7655" y="53"/>
                  <a:pt x="7656" y="53"/>
                </a:cubicBezTo>
                <a:cubicBezTo>
                  <a:pt x="7659" y="54"/>
                  <a:pt x="7654" y="55"/>
                  <a:pt x="7653" y="55"/>
                </a:cubicBezTo>
                <a:cubicBezTo>
                  <a:pt x="7653" y="56"/>
                  <a:pt x="7653" y="56"/>
                  <a:pt x="7655" y="56"/>
                </a:cubicBezTo>
                <a:cubicBezTo>
                  <a:pt x="7657" y="56"/>
                  <a:pt x="7660" y="56"/>
                  <a:pt x="7662" y="56"/>
                </a:cubicBezTo>
                <a:cubicBezTo>
                  <a:pt x="7665" y="55"/>
                  <a:pt x="7668" y="55"/>
                  <a:pt x="7671" y="55"/>
                </a:cubicBezTo>
                <a:cubicBezTo>
                  <a:pt x="7677" y="54"/>
                  <a:pt x="7682" y="54"/>
                  <a:pt x="7688" y="54"/>
                </a:cubicBezTo>
                <a:cubicBezTo>
                  <a:pt x="7689" y="54"/>
                  <a:pt x="7691" y="54"/>
                  <a:pt x="7692" y="54"/>
                </a:cubicBezTo>
                <a:cubicBezTo>
                  <a:pt x="7694" y="55"/>
                  <a:pt x="7694" y="55"/>
                  <a:pt x="7696" y="55"/>
                </a:cubicBezTo>
                <a:cubicBezTo>
                  <a:pt x="7697" y="56"/>
                  <a:pt x="7699" y="56"/>
                  <a:pt x="7701" y="56"/>
                </a:cubicBezTo>
                <a:cubicBezTo>
                  <a:pt x="7702" y="56"/>
                  <a:pt x="7702" y="56"/>
                  <a:pt x="7703" y="55"/>
                </a:cubicBezTo>
                <a:cubicBezTo>
                  <a:pt x="7707" y="53"/>
                  <a:pt x="7723" y="53"/>
                  <a:pt x="7732" y="53"/>
                </a:cubicBezTo>
                <a:cubicBezTo>
                  <a:pt x="7749" y="53"/>
                  <a:pt x="7767" y="53"/>
                  <a:pt x="7773" y="53"/>
                </a:cubicBezTo>
                <a:cubicBezTo>
                  <a:pt x="7783" y="53"/>
                  <a:pt x="7791" y="53"/>
                  <a:pt x="7801" y="51"/>
                </a:cubicBezTo>
                <a:cubicBezTo>
                  <a:pt x="7805" y="51"/>
                  <a:pt x="7811" y="51"/>
                  <a:pt x="7816" y="51"/>
                </a:cubicBezTo>
                <a:cubicBezTo>
                  <a:pt x="7820" y="52"/>
                  <a:pt x="7825" y="52"/>
                  <a:pt x="7830" y="52"/>
                </a:cubicBezTo>
                <a:cubicBezTo>
                  <a:pt x="7833" y="53"/>
                  <a:pt x="7837" y="53"/>
                  <a:pt x="7840" y="52"/>
                </a:cubicBezTo>
                <a:cubicBezTo>
                  <a:pt x="7855" y="52"/>
                  <a:pt x="7870" y="52"/>
                  <a:pt x="7885" y="52"/>
                </a:cubicBezTo>
                <a:cubicBezTo>
                  <a:pt x="7902" y="52"/>
                  <a:pt x="7918" y="52"/>
                  <a:pt x="7935" y="52"/>
                </a:cubicBezTo>
                <a:cubicBezTo>
                  <a:pt x="7990" y="52"/>
                  <a:pt x="8047" y="51"/>
                  <a:pt x="8063" y="51"/>
                </a:cubicBezTo>
                <a:cubicBezTo>
                  <a:pt x="8069" y="51"/>
                  <a:pt x="8075" y="51"/>
                  <a:pt x="8081" y="51"/>
                </a:cubicBezTo>
                <a:cubicBezTo>
                  <a:pt x="8086" y="51"/>
                  <a:pt x="8092" y="52"/>
                  <a:pt x="8095" y="51"/>
                </a:cubicBezTo>
                <a:cubicBezTo>
                  <a:pt x="8096" y="51"/>
                  <a:pt x="8096" y="51"/>
                  <a:pt x="8096" y="51"/>
                </a:cubicBezTo>
                <a:cubicBezTo>
                  <a:pt x="8096" y="52"/>
                  <a:pt x="8098" y="52"/>
                  <a:pt x="8100" y="52"/>
                </a:cubicBezTo>
                <a:cubicBezTo>
                  <a:pt x="8101" y="52"/>
                  <a:pt x="8103" y="52"/>
                  <a:pt x="8104" y="51"/>
                </a:cubicBezTo>
                <a:cubicBezTo>
                  <a:pt x="8105" y="51"/>
                  <a:pt x="8106" y="51"/>
                  <a:pt x="8107" y="50"/>
                </a:cubicBezTo>
                <a:cubicBezTo>
                  <a:pt x="8112" y="50"/>
                  <a:pt x="8124" y="50"/>
                  <a:pt x="8130" y="51"/>
                </a:cubicBezTo>
                <a:cubicBezTo>
                  <a:pt x="8134" y="51"/>
                  <a:pt x="8143" y="51"/>
                  <a:pt x="8147" y="51"/>
                </a:cubicBezTo>
                <a:cubicBezTo>
                  <a:pt x="8147" y="51"/>
                  <a:pt x="8148" y="51"/>
                  <a:pt x="8149" y="50"/>
                </a:cubicBezTo>
                <a:cubicBezTo>
                  <a:pt x="8150" y="50"/>
                  <a:pt x="8152" y="50"/>
                  <a:pt x="8153" y="50"/>
                </a:cubicBezTo>
                <a:cubicBezTo>
                  <a:pt x="8155" y="50"/>
                  <a:pt x="8155" y="49"/>
                  <a:pt x="8157" y="49"/>
                </a:cubicBezTo>
                <a:cubicBezTo>
                  <a:pt x="8160" y="49"/>
                  <a:pt x="8165" y="50"/>
                  <a:pt x="8164" y="51"/>
                </a:cubicBezTo>
                <a:cubicBezTo>
                  <a:pt x="8163" y="51"/>
                  <a:pt x="8162" y="51"/>
                  <a:pt x="8162" y="52"/>
                </a:cubicBezTo>
                <a:cubicBezTo>
                  <a:pt x="8162" y="52"/>
                  <a:pt x="8164" y="52"/>
                  <a:pt x="8165" y="52"/>
                </a:cubicBezTo>
                <a:cubicBezTo>
                  <a:pt x="8166" y="52"/>
                  <a:pt x="8167" y="52"/>
                  <a:pt x="8168" y="52"/>
                </a:cubicBezTo>
                <a:cubicBezTo>
                  <a:pt x="8173" y="51"/>
                  <a:pt x="8181" y="51"/>
                  <a:pt x="8187" y="51"/>
                </a:cubicBezTo>
                <a:cubicBezTo>
                  <a:pt x="8192" y="51"/>
                  <a:pt x="8204" y="50"/>
                  <a:pt x="8209" y="51"/>
                </a:cubicBezTo>
                <a:cubicBezTo>
                  <a:pt x="8210" y="51"/>
                  <a:pt x="8210" y="51"/>
                  <a:pt x="8211" y="51"/>
                </a:cubicBezTo>
                <a:cubicBezTo>
                  <a:pt x="8213" y="51"/>
                  <a:pt x="8214" y="51"/>
                  <a:pt x="8216" y="51"/>
                </a:cubicBezTo>
                <a:cubicBezTo>
                  <a:pt x="8221" y="51"/>
                  <a:pt x="8226" y="52"/>
                  <a:pt x="8231" y="51"/>
                </a:cubicBezTo>
                <a:cubicBezTo>
                  <a:pt x="8236" y="51"/>
                  <a:pt x="8256" y="51"/>
                  <a:pt x="8274" y="51"/>
                </a:cubicBezTo>
                <a:cubicBezTo>
                  <a:pt x="8281" y="51"/>
                  <a:pt x="8288" y="51"/>
                  <a:pt x="8295" y="51"/>
                </a:cubicBezTo>
                <a:cubicBezTo>
                  <a:pt x="8299" y="51"/>
                  <a:pt x="8303" y="51"/>
                  <a:pt x="8307" y="51"/>
                </a:cubicBezTo>
                <a:cubicBezTo>
                  <a:pt x="8309" y="50"/>
                  <a:pt x="8310" y="50"/>
                  <a:pt x="8312" y="50"/>
                </a:cubicBezTo>
                <a:cubicBezTo>
                  <a:pt x="8315" y="49"/>
                  <a:pt x="8318" y="49"/>
                  <a:pt x="8321" y="49"/>
                </a:cubicBezTo>
                <a:cubicBezTo>
                  <a:pt x="8320" y="49"/>
                  <a:pt x="8323" y="50"/>
                  <a:pt x="8324" y="51"/>
                </a:cubicBezTo>
                <a:cubicBezTo>
                  <a:pt x="8326" y="51"/>
                  <a:pt x="8328" y="51"/>
                  <a:pt x="8329" y="51"/>
                </a:cubicBezTo>
                <a:cubicBezTo>
                  <a:pt x="8335" y="51"/>
                  <a:pt x="8340" y="51"/>
                  <a:pt x="8346" y="51"/>
                </a:cubicBezTo>
                <a:cubicBezTo>
                  <a:pt x="8358" y="51"/>
                  <a:pt x="8370" y="51"/>
                  <a:pt x="8382" y="51"/>
                </a:cubicBezTo>
                <a:cubicBezTo>
                  <a:pt x="8393" y="51"/>
                  <a:pt x="8404" y="51"/>
                  <a:pt x="8416" y="51"/>
                </a:cubicBezTo>
                <a:cubicBezTo>
                  <a:pt x="8425" y="51"/>
                  <a:pt x="8437" y="52"/>
                  <a:pt x="8445" y="50"/>
                </a:cubicBezTo>
                <a:cubicBezTo>
                  <a:pt x="8446" y="50"/>
                  <a:pt x="8447" y="50"/>
                  <a:pt x="8448" y="50"/>
                </a:cubicBezTo>
                <a:cubicBezTo>
                  <a:pt x="8449" y="50"/>
                  <a:pt x="8451" y="50"/>
                  <a:pt x="8452" y="50"/>
                </a:cubicBezTo>
                <a:cubicBezTo>
                  <a:pt x="8453" y="50"/>
                  <a:pt x="8454" y="50"/>
                  <a:pt x="8455" y="50"/>
                </a:cubicBezTo>
                <a:cubicBezTo>
                  <a:pt x="8457" y="50"/>
                  <a:pt x="8458" y="50"/>
                  <a:pt x="8460" y="50"/>
                </a:cubicBezTo>
                <a:cubicBezTo>
                  <a:pt x="8468" y="50"/>
                  <a:pt x="8476" y="50"/>
                  <a:pt x="8484" y="50"/>
                </a:cubicBezTo>
                <a:cubicBezTo>
                  <a:pt x="8492" y="50"/>
                  <a:pt x="8501" y="50"/>
                  <a:pt x="8509" y="51"/>
                </a:cubicBezTo>
                <a:cubicBezTo>
                  <a:pt x="8527" y="51"/>
                  <a:pt x="8545" y="50"/>
                  <a:pt x="8563" y="50"/>
                </a:cubicBezTo>
                <a:cubicBezTo>
                  <a:pt x="8595" y="50"/>
                  <a:pt x="8626" y="50"/>
                  <a:pt x="8659" y="49"/>
                </a:cubicBezTo>
                <a:cubicBezTo>
                  <a:pt x="8659" y="49"/>
                  <a:pt x="8659" y="50"/>
                  <a:pt x="8659" y="50"/>
                </a:cubicBezTo>
                <a:cubicBezTo>
                  <a:pt x="8659" y="50"/>
                  <a:pt x="8660" y="50"/>
                  <a:pt x="8660" y="50"/>
                </a:cubicBezTo>
                <a:cubicBezTo>
                  <a:pt x="8661" y="50"/>
                  <a:pt x="8662" y="50"/>
                  <a:pt x="8663" y="50"/>
                </a:cubicBezTo>
                <a:cubicBezTo>
                  <a:pt x="8667" y="50"/>
                  <a:pt x="8670" y="51"/>
                  <a:pt x="8674" y="51"/>
                </a:cubicBezTo>
                <a:cubicBezTo>
                  <a:pt x="8678" y="51"/>
                  <a:pt x="8682" y="51"/>
                  <a:pt x="8686" y="51"/>
                </a:cubicBezTo>
                <a:cubicBezTo>
                  <a:pt x="8688" y="51"/>
                  <a:pt x="8690" y="52"/>
                  <a:pt x="8693" y="52"/>
                </a:cubicBezTo>
                <a:cubicBezTo>
                  <a:pt x="8696" y="51"/>
                  <a:pt x="8698" y="50"/>
                  <a:pt x="8700" y="50"/>
                </a:cubicBezTo>
                <a:cubicBezTo>
                  <a:pt x="8703" y="50"/>
                  <a:pt x="8708" y="50"/>
                  <a:pt x="8711" y="50"/>
                </a:cubicBezTo>
                <a:cubicBezTo>
                  <a:pt x="8720" y="50"/>
                  <a:pt x="8736" y="51"/>
                  <a:pt x="8746" y="50"/>
                </a:cubicBezTo>
                <a:cubicBezTo>
                  <a:pt x="8761" y="50"/>
                  <a:pt x="8803" y="50"/>
                  <a:pt x="8826" y="50"/>
                </a:cubicBezTo>
                <a:cubicBezTo>
                  <a:pt x="8831" y="51"/>
                  <a:pt x="8842" y="50"/>
                  <a:pt x="8852" y="50"/>
                </a:cubicBezTo>
                <a:cubicBezTo>
                  <a:pt x="8858" y="50"/>
                  <a:pt x="8863" y="50"/>
                  <a:pt x="8869" y="50"/>
                </a:cubicBezTo>
                <a:cubicBezTo>
                  <a:pt x="8869" y="51"/>
                  <a:pt x="8870" y="51"/>
                  <a:pt x="8872" y="51"/>
                </a:cubicBezTo>
                <a:cubicBezTo>
                  <a:pt x="8873" y="51"/>
                  <a:pt x="8875" y="51"/>
                  <a:pt x="8876" y="51"/>
                </a:cubicBezTo>
                <a:cubicBezTo>
                  <a:pt x="8879" y="52"/>
                  <a:pt x="8882" y="52"/>
                  <a:pt x="8884" y="52"/>
                </a:cubicBezTo>
                <a:cubicBezTo>
                  <a:pt x="8886" y="51"/>
                  <a:pt x="8887" y="51"/>
                  <a:pt x="8888" y="51"/>
                </a:cubicBezTo>
                <a:cubicBezTo>
                  <a:pt x="8893" y="51"/>
                  <a:pt x="8901" y="50"/>
                  <a:pt x="8906" y="51"/>
                </a:cubicBezTo>
                <a:cubicBezTo>
                  <a:pt x="8912" y="51"/>
                  <a:pt x="8915" y="53"/>
                  <a:pt x="8918" y="54"/>
                </a:cubicBezTo>
                <a:cubicBezTo>
                  <a:pt x="8920" y="54"/>
                  <a:pt x="8922" y="55"/>
                  <a:pt x="8924" y="54"/>
                </a:cubicBezTo>
                <a:cubicBezTo>
                  <a:pt x="8927" y="53"/>
                  <a:pt x="8931" y="53"/>
                  <a:pt x="8934" y="52"/>
                </a:cubicBezTo>
                <a:cubicBezTo>
                  <a:pt x="8934" y="51"/>
                  <a:pt x="8935" y="51"/>
                  <a:pt x="8935" y="51"/>
                </a:cubicBezTo>
                <a:cubicBezTo>
                  <a:pt x="8936" y="51"/>
                  <a:pt x="8938" y="51"/>
                  <a:pt x="8939" y="51"/>
                </a:cubicBezTo>
                <a:cubicBezTo>
                  <a:pt x="8940" y="51"/>
                  <a:pt x="8940" y="51"/>
                  <a:pt x="8941" y="51"/>
                </a:cubicBezTo>
                <a:cubicBezTo>
                  <a:pt x="8945" y="50"/>
                  <a:pt x="8955" y="51"/>
                  <a:pt x="8959" y="51"/>
                </a:cubicBezTo>
                <a:cubicBezTo>
                  <a:pt x="8969" y="51"/>
                  <a:pt x="8978" y="51"/>
                  <a:pt x="8987" y="51"/>
                </a:cubicBezTo>
                <a:cubicBezTo>
                  <a:pt x="9005" y="51"/>
                  <a:pt x="9024" y="51"/>
                  <a:pt x="9042" y="51"/>
                </a:cubicBezTo>
                <a:cubicBezTo>
                  <a:pt x="9044" y="51"/>
                  <a:pt x="9046" y="51"/>
                  <a:pt x="9048" y="51"/>
                </a:cubicBezTo>
                <a:cubicBezTo>
                  <a:pt x="9048" y="50"/>
                  <a:pt x="9049" y="50"/>
                  <a:pt x="9049" y="50"/>
                </a:cubicBezTo>
                <a:cubicBezTo>
                  <a:pt x="9050" y="50"/>
                  <a:pt x="9051" y="50"/>
                  <a:pt x="9052" y="50"/>
                </a:cubicBezTo>
                <a:cubicBezTo>
                  <a:pt x="9052" y="50"/>
                  <a:pt x="9053" y="50"/>
                  <a:pt x="9053" y="50"/>
                </a:cubicBezTo>
                <a:cubicBezTo>
                  <a:pt x="9055" y="50"/>
                  <a:pt x="9063" y="50"/>
                  <a:pt x="9065" y="50"/>
                </a:cubicBezTo>
                <a:cubicBezTo>
                  <a:pt x="9068" y="50"/>
                  <a:pt x="9072" y="50"/>
                  <a:pt x="9077" y="51"/>
                </a:cubicBezTo>
                <a:cubicBezTo>
                  <a:pt x="9082" y="51"/>
                  <a:pt x="9087" y="51"/>
                  <a:pt x="9092" y="51"/>
                </a:cubicBezTo>
                <a:cubicBezTo>
                  <a:pt x="9092" y="51"/>
                  <a:pt x="9093" y="51"/>
                  <a:pt x="9093" y="51"/>
                </a:cubicBezTo>
                <a:cubicBezTo>
                  <a:pt x="9094" y="51"/>
                  <a:pt x="9095" y="51"/>
                  <a:pt x="9095" y="51"/>
                </a:cubicBezTo>
                <a:cubicBezTo>
                  <a:pt x="9097" y="50"/>
                  <a:pt x="9100" y="50"/>
                  <a:pt x="9102" y="50"/>
                </a:cubicBezTo>
                <a:cubicBezTo>
                  <a:pt x="9102" y="51"/>
                  <a:pt x="9103" y="51"/>
                  <a:pt x="9104" y="51"/>
                </a:cubicBezTo>
                <a:cubicBezTo>
                  <a:pt x="9108" y="51"/>
                  <a:pt x="9112" y="51"/>
                  <a:pt x="9116" y="51"/>
                </a:cubicBezTo>
                <a:cubicBezTo>
                  <a:pt x="9119" y="51"/>
                  <a:pt x="9124" y="51"/>
                  <a:pt x="9128" y="52"/>
                </a:cubicBezTo>
                <a:cubicBezTo>
                  <a:pt x="9130" y="52"/>
                  <a:pt x="9132" y="53"/>
                  <a:pt x="9135" y="53"/>
                </a:cubicBezTo>
                <a:cubicBezTo>
                  <a:pt x="9139" y="53"/>
                  <a:pt x="9146" y="50"/>
                  <a:pt x="9150" y="51"/>
                </a:cubicBezTo>
                <a:cubicBezTo>
                  <a:pt x="9151" y="51"/>
                  <a:pt x="9150" y="52"/>
                  <a:pt x="9150" y="52"/>
                </a:cubicBezTo>
                <a:cubicBezTo>
                  <a:pt x="9150" y="52"/>
                  <a:pt x="9149" y="52"/>
                  <a:pt x="9149" y="53"/>
                </a:cubicBezTo>
                <a:cubicBezTo>
                  <a:pt x="9150" y="53"/>
                  <a:pt x="9150" y="53"/>
                  <a:pt x="9151" y="53"/>
                </a:cubicBezTo>
                <a:cubicBezTo>
                  <a:pt x="9154" y="53"/>
                  <a:pt x="9157" y="53"/>
                  <a:pt x="9159" y="52"/>
                </a:cubicBezTo>
                <a:cubicBezTo>
                  <a:pt x="9159" y="52"/>
                  <a:pt x="9160" y="52"/>
                  <a:pt x="9161" y="52"/>
                </a:cubicBezTo>
                <a:cubicBezTo>
                  <a:pt x="9169" y="51"/>
                  <a:pt x="9180" y="51"/>
                  <a:pt x="9189" y="51"/>
                </a:cubicBezTo>
                <a:cubicBezTo>
                  <a:pt x="9198" y="51"/>
                  <a:pt x="9206" y="51"/>
                  <a:pt x="9214" y="51"/>
                </a:cubicBezTo>
                <a:cubicBezTo>
                  <a:pt x="9218" y="51"/>
                  <a:pt x="9223" y="51"/>
                  <a:pt x="9227" y="52"/>
                </a:cubicBezTo>
                <a:cubicBezTo>
                  <a:pt x="9232" y="52"/>
                  <a:pt x="9230" y="52"/>
                  <a:pt x="9233" y="53"/>
                </a:cubicBezTo>
                <a:cubicBezTo>
                  <a:pt x="9234" y="54"/>
                  <a:pt x="9235" y="54"/>
                  <a:pt x="9235" y="55"/>
                </a:cubicBezTo>
                <a:cubicBezTo>
                  <a:pt x="9237" y="55"/>
                  <a:pt x="9238" y="55"/>
                  <a:pt x="9239" y="55"/>
                </a:cubicBezTo>
                <a:cubicBezTo>
                  <a:pt x="9241" y="55"/>
                  <a:pt x="9243" y="54"/>
                  <a:pt x="9243" y="54"/>
                </a:cubicBezTo>
                <a:cubicBezTo>
                  <a:pt x="9244" y="53"/>
                  <a:pt x="9245" y="53"/>
                  <a:pt x="9248" y="52"/>
                </a:cubicBezTo>
                <a:cubicBezTo>
                  <a:pt x="9252" y="52"/>
                  <a:pt x="9257" y="52"/>
                  <a:pt x="9261" y="52"/>
                </a:cubicBezTo>
                <a:cubicBezTo>
                  <a:pt x="9267" y="52"/>
                  <a:pt x="9272" y="53"/>
                  <a:pt x="9278" y="53"/>
                </a:cubicBezTo>
                <a:cubicBezTo>
                  <a:pt x="9286" y="53"/>
                  <a:pt x="9294" y="53"/>
                  <a:pt x="9302" y="53"/>
                </a:cubicBezTo>
                <a:cubicBezTo>
                  <a:pt x="9306" y="52"/>
                  <a:pt x="9310" y="52"/>
                  <a:pt x="9314" y="52"/>
                </a:cubicBezTo>
                <a:cubicBezTo>
                  <a:pt x="9316" y="52"/>
                  <a:pt x="9318" y="52"/>
                  <a:pt x="9319" y="52"/>
                </a:cubicBezTo>
                <a:cubicBezTo>
                  <a:pt x="9322" y="52"/>
                  <a:pt x="9321" y="53"/>
                  <a:pt x="9323" y="53"/>
                </a:cubicBezTo>
                <a:cubicBezTo>
                  <a:pt x="9325" y="53"/>
                  <a:pt x="9326" y="53"/>
                  <a:pt x="9328" y="54"/>
                </a:cubicBezTo>
                <a:cubicBezTo>
                  <a:pt x="9328" y="54"/>
                  <a:pt x="9329" y="54"/>
                  <a:pt x="9329" y="54"/>
                </a:cubicBezTo>
                <a:cubicBezTo>
                  <a:pt x="9330" y="54"/>
                  <a:pt x="9330" y="53"/>
                  <a:pt x="9331" y="53"/>
                </a:cubicBezTo>
                <a:cubicBezTo>
                  <a:pt x="9332" y="53"/>
                  <a:pt x="9335" y="53"/>
                  <a:pt x="9338" y="52"/>
                </a:cubicBezTo>
                <a:cubicBezTo>
                  <a:pt x="9340" y="52"/>
                  <a:pt x="9342" y="51"/>
                  <a:pt x="9346" y="51"/>
                </a:cubicBezTo>
                <a:cubicBezTo>
                  <a:pt x="9348" y="51"/>
                  <a:pt x="9349" y="51"/>
                  <a:pt x="9351" y="51"/>
                </a:cubicBezTo>
                <a:cubicBezTo>
                  <a:pt x="9361" y="51"/>
                  <a:pt x="9372" y="51"/>
                  <a:pt x="9382" y="51"/>
                </a:cubicBezTo>
                <a:cubicBezTo>
                  <a:pt x="9390" y="51"/>
                  <a:pt x="9394" y="52"/>
                  <a:pt x="9400" y="53"/>
                </a:cubicBezTo>
                <a:cubicBezTo>
                  <a:pt x="9401" y="54"/>
                  <a:pt x="9402" y="54"/>
                  <a:pt x="9403" y="54"/>
                </a:cubicBezTo>
                <a:cubicBezTo>
                  <a:pt x="9406" y="54"/>
                  <a:pt x="9408" y="52"/>
                  <a:pt x="9411" y="52"/>
                </a:cubicBezTo>
                <a:cubicBezTo>
                  <a:pt x="9413" y="52"/>
                  <a:pt x="9415" y="52"/>
                  <a:pt x="9417" y="53"/>
                </a:cubicBezTo>
                <a:cubicBezTo>
                  <a:pt x="9425" y="54"/>
                  <a:pt x="9432" y="53"/>
                  <a:pt x="9439" y="52"/>
                </a:cubicBezTo>
                <a:cubicBezTo>
                  <a:pt x="9443" y="52"/>
                  <a:pt x="9446" y="51"/>
                  <a:pt x="9449" y="51"/>
                </a:cubicBezTo>
                <a:cubicBezTo>
                  <a:pt x="9456" y="51"/>
                  <a:pt x="9463" y="51"/>
                  <a:pt x="9471" y="51"/>
                </a:cubicBezTo>
                <a:cubicBezTo>
                  <a:pt x="9472" y="51"/>
                  <a:pt x="9474" y="51"/>
                  <a:pt x="9476" y="51"/>
                </a:cubicBezTo>
                <a:cubicBezTo>
                  <a:pt x="9483" y="52"/>
                  <a:pt x="9490" y="52"/>
                  <a:pt x="9498" y="52"/>
                </a:cubicBezTo>
                <a:cubicBezTo>
                  <a:pt x="9503" y="52"/>
                  <a:pt x="9509" y="52"/>
                  <a:pt x="9515" y="53"/>
                </a:cubicBezTo>
                <a:cubicBezTo>
                  <a:pt x="9520" y="53"/>
                  <a:pt x="9525" y="54"/>
                  <a:pt x="9530" y="55"/>
                </a:cubicBezTo>
                <a:cubicBezTo>
                  <a:pt x="9530" y="55"/>
                  <a:pt x="9531" y="55"/>
                  <a:pt x="9533" y="55"/>
                </a:cubicBezTo>
                <a:cubicBezTo>
                  <a:pt x="9534" y="55"/>
                  <a:pt x="9535" y="55"/>
                  <a:pt x="9535" y="55"/>
                </a:cubicBezTo>
                <a:cubicBezTo>
                  <a:pt x="9536" y="55"/>
                  <a:pt x="9536" y="54"/>
                  <a:pt x="9536" y="54"/>
                </a:cubicBezTo>
                <a:cubicBezTo>
                  <a:pt x="9536" y="54"/>
                  <a:pt x="9537" y="54"/>
                  <a:pt x="9538" y="54"/>
                </a:cubicBezTo>
                <a:cubicBezTo>
                  <a:pt x="9539" y="54"/>
                  <a:pt x="9538" y="55"/>
                  <a:pt x="9540" y="55"/>
                </a:cubicBezTo>
                <a:cubicBezTo>
                  <a:pt x="9541" y="54"/>
                  <a:pt x="9542" y="54"/>
                  <a:pt x="9543" y="54"/>
                </a:cubicBezTo>
                <a:cubicBezTo>
                  <a:pt x="9544" y="54"/>
                  <a:pt x="9544" y="54"/>
                  <a:pt x="9545" y="54"/>
                </a:cubicBezTo>
                <a:cubicBezTo>
                  <a:pt x="9546" y="53"/>
                  <a:pt x="9547" y="54"/>
                  <a:pt x="9548" y="54"/>
                </a:cubicBezTo>
                <a:cubicBezTo>
                  <a:pt x="9550" y="55"/>
                  <a:pt x="9553" y="54"/>
                  <a:pt x="9555" y="54"/>
                </a:cubicBezTo>
                <a:cubicBezTo>
                  <a:pt x="9563" y="51"/>
                  <a:pt x="9583" y="52"/>
                  <a:pt x="9595" y="52"/>
                </a:cubicBezTo>
                <a:cubicBezTo>
                  <a:pt x="9601" y="52"/>
                  <a:pt x="9609" y="51"/>
                  <a:pt x="9615" y="52"/>
                </a:cubicBezTo>
                <a:cubicBezTo>
                  <a:pt x="9616" y="52"/>
                  <a:pt x="9617" y="52"/>
                  <a:pt x="9618" y="52"/>
                </a:cubicBezTo>
                <a:cubicBezTo>
                  <a:pt x="9620" y="53"/>
                  <a:pt x="9623" y="53"/>
                  <a:pt x="9624" y="53"/>
                </a:cubicBezTo>
                <a:cubicBezTo>
                  <a:pt x="9625" y="53"/>
                  <a:pt x="9626" y="54"/>
                  <a:pt x="9627" y="54"/>
                </a:cubicBezTo>
                <a:cubicBezTo>
                  <a:pt x="9630" y="55"/>
                  <a:pt x="9637" y="55"/>
                  <a:pt x="9642" y="55"/>
                </a:cubicBezTo>
                <a:cubicBezTo>
                  <a:pt x="9646" y="55"/>
                  <a:pt x="9653" y="56"/>
                  <a:pt x="9657" y="55"/>
                </a:cubicBezTo>
                <a:cubicBezTo>
                  <a:pt x="9659" y="54"/>
                  <a:pt x="9666" y="55"/>
                  <a:pt x="9669" y="55"/>
                </a:cubicBezTo>
                <a:cubicBezTo>
                  <a:pt x="9675" y="55"/>
                  <a:pt x="9681" y="55"/>
                  <a:pt x="9688" y="55"/>
                </a:cubicBezTo>
                <a:cubicBezTo>
                  <a:pt x="9690" y="55"/>
                  <a:pt x="9694" y="55"/>
                  <a:pt x="9697" y="55"/>
                </a:cubicBezTo>
                <a:cubicBezTo>
                  <a:pt x="9700" y="55"/>
                  <a:pt x="9701" y="54"/>
                  <a:pt x="9705" y="54"/>
                </a:cubicBezTo>
                <a:cubicBezTo>
                  <a:pt x="9707" y="53"/>
                  <a:pt x="9710" y="54"/>
                  <a:pt x="9710" y="54"/>
                </a:cubicBezTo>
                <a:cubicBezTo>
                  <a:pt x="9710" y="55"/>
                  <a:pt x="9709" y="55"/>
                  <a:pt x="9710" y="55"/>
                </a:cubicBezTo>
                <a:cubicBezTo>
                  <a:pt x="9711" y="56"/>
                  <a:pt x="9721" y="55"/>
                  <a:pt x="9723" y="55"/>
                </a:cubicBezTo>
                <a:cubicBezTo>
                  <a:pt x="9726" y="55"/>
                  <a:pt x="9737" y="56"/>
                  <a:pt x="9738" y="55"/>
                </a:cubicBezTo>
                <a:cubicBezTo>
                  <a:pt x="9738" y="54"/>
                  <a:pt x="9738" y="54"/>
                  <a:pt x="9738" y="54"/>
                </a:cubicBezTo>
                <a:cubicBezTo>
                  <a:pt x="9740" y="53"/>
                  <a:pt x="9746" y="53"/>
                  <a:pt x="9748" y="53"/>
                </a:cubicBezTo>
                <a:cubicBezTo>
                  <a:pt x="9752" y="53"/>
                  <a:pt x="9756" y="54"/>
                  <a:pt x="9760" y="54"/>
                </a:cubicBezTo>
                <a:cubicBezTo>
                  <a:pt x="9774" y="54"/>
                  <a:pt x="9805" y="55"/>
                  <a:pt x="9830" y="55"/>
                </a:cubicBezTo>
                <a:cubicBezTo>
                  <a:pt x="9838" y="55"/>
                  <a:pt x="9846" y="55"/>
                  <a:pt x="9855" y="55"/>
                </a:cubicBezTo>
                <a:cubicBezTo>
                  <a:pt x="9861" y="55"/>
                  <a:pt x="9872" y="54"/>
                  <a:pt x="9878" y="55"/>
                </a:cubicBezTo>
                <a:cubicBezTo>
                  <a:pt x="9879" y="55"/>
                  <a:pt x="9880" y="55"/>
                  <a:pt x="9881" y="56"/>
                </a:cubicBezTo>
                <a:cubicBezTo>
                  <a:pt x="9883" y="56"/>
                  <a:pt x="9886" y="56"/>
                  <a:pt x="9889" y="56"/>
                </a:cubicBezTo>
                <a:cubicBezTo>
                  <a:pt x="9892" y="55"/>
                  <a:pt x="9895" y="55"/>
                  <a:pt x="9897" y="55"/>
                </a:cubicBezTo>
                <a:cubicBezTo>
                  <a:pt x="9898" y="54"/>
                  <a:pt x="9898" y="54"/>
                  <a:pt x="9899" y="54"/>
                </a:cubicBezTo>
                <a:cubicBezTo>
                  <a:pt x="9901" y="54"/>
                  <a:pt x="9903" y="55"/>
                  <a:pt x="9905" y="55"/>
                </a:cubicBezTo>
                <a:cubicBezTo>
                  <a:pt x="9916" y="55"/>
                  <a:pt x="9930" y="56"/>
                  <a:pt x="9941" y="56"/>
                </a:cubicBezTo>
                <a:cubicBezTo>
                  <a:pt x="9942" y="56"/>
                  <a:pt x="9943" y="56"/>
                  <a:pt x="9943" y="55"/>
                </a:cubicBezTo>
                <a:cubicBezTo>
                  <a:pt x="9944" y="53"/>
                  <a:pt x="9958" y="54"/>
                  <a:pt x="9962" y="55"/>
                </a:cubicBezTo>
                <a:cubicBezTo>
                  <a:pt x="9973" y="55"/>
                  <a:pt x="9987" y="55"/>
                  <a:pt x="9994" y="55"/>
                </a:cubicBezTo>
                <a:cubicBezTo>
                  <a:pt x="10001" y="55"/>
                  <a:pt x="10019" y="55"/>
                  <a:pt x="10033" y="55"/>
                </a:cubicBezTo>
                <a:cubicBezTo>
                  <a:pt x="10047" y="55"/>
                  <a:pt x="10083" y="55"/>
                  <a:pt x="10113" y="55"/>
                </a:cubicBezTo>
                <a:cubicBezTo>
                  <a:pt x="10123" y="55"/>
                  <a:pt x="10132" y="55"/>
                  <a:pt x="10142" y="55"/>
                </a:cubicBezTo>
                <a:cubicBezTo>
                  <a:pt x="10145" y="55"/>
                  <a:pt x="10165" y="54"/>
                  <a:pt x="10165" y="55"/>
                </a:cubicBezTo>
                <a:cubicBezTo>
                  <a:pt x="10165" y="56"/>
                  <a:pt x="10164" y="56"/>
                  <a:pt x="10164" y="56"/>
                </a:cubicBezTo>
                <a:cubicBezTo>
                  <a:pt x="10163" y="56"/>
                  <a:pt x="10165" y="57"/>
                  <a:pt x="10166" y="57"/>
                </a:cubicBezTo>
                <a:cubicBezTo>
                  <a:pt x="10169" y="57"/>
                  <a:pt x="10171" y="57"/>
                  <a:pt x="10174" y="57"/>
                </a:cubicBezTo>
                <a:cubicBezTo>
                  <a:pt x="10177" y="57"/>
                  <a:pt x="10181" y="57"/>
                  <a:pt x="10185" y="57"/>
                </a:cubicBezTo>
                <a:cubicBezTo>
                  <a:pt x="10189" y="57"/>
                  <a:pt x="10194" y="57"/>
                  <a:pt x="10199" y="57"/>
                </a:cubicBezTo>
                <a:cubicBezTo>
                  <a:pt x="10202" y="57"/>
                  <a:pt x="10205" y="58"/>
                  <a:pt x="10209" y="57"/>
                </a:cubicBezTo>
                <a:cubicBezTo>
                  <a:pt x="10212" y="57"/>
                  <a:pt x="10214" y="56"/>
                  <a:pt x="10216" y="56"/>
                </a:cubicBezTo>
                <a:cubicBezTo>
                  <a:pt x="10219" y="55"/>
                  <a:pt x="10221" y="55"/>
                  <a:pt x="10225" y="55"/>
                </a:cubicBezTo>
                <a:cubicBezTo>
                  <a:pt x="10229" y="55"/>
                  <a:pt x="10240" y="55"/>
                  <a:pt x="10249" y="55"/>
                </a:cubicBezTo>
                <a:cubicBezTo>
                  <a:pt x="10254" y="55"/>
                  <a:pt x="10261" y="54"/>
                  <a:pt x="10266" y="55"/>
                </a:cubicBezTo>
                <a:cubicBezTo>
                  <a:pt x="10270" y="55"/>
                  <a:pt x="10274" y="55"/>
                  <a:pt x="10279" y="55"/>
                </a:cubicBezTo>
                <a:cubicBezTo>
                  <a:pt x="10284" y="55"/>
                  <a:pt x="10289" y="55"/>
                  <a:pt x="10293" y="55"/>
                </a:cubicBezTo>
                <a:cubicBezTo>
                  <a:pt x="10297" y="56"/>
                  <a:pt x="10299" y="56"/>
                  <a:pt x="10303" y="57"/>
                </a:cubicBezTo>
                <a:cubicBezTo>
                  <a:pt x="10308" y="57"/>
                  <a:pt x="10315" y="56"/>
                  <a:pt x="10320" y="56"/>
                </a:cubicBezTo>
                <a:cubicBezTo>
                  <a:pt x="10329" y="56"/>
                  <a:pt x="10335" y="55"/>
                  <a:pt x="10343" y="54"/>
                </a:cubicBezTo>
                <a:cubicBezTo>
                  <a:pt x="10348" y="54"/>
                  <a:pt x="10353" y="54"/>
                  <a:pt x="10357" y="54"/>
                </a:cubicBezTo>
                <a:cubicBezTo>
                  <a:pt x="10363" y="54"/>
                  <a:pt x="10370" y="55"/>
                  <a:pt x="10376" y="55"/>
                </a:cubicBezTo>
                <a:cubicBezTo>
                  <a:pt x="10381" y="55"/>
                  <a:pt x="10384" y="56"/>
                  <a:pt x="10392" y="56"/>
                </a:cubicBezTo>
                <a:cubicBezTo>
                  <a:pt x="10392" y="56"/>
                  <a:pt x="10392" y="56"/>
                  <a:pt x="10392" y="55"/>
                </a:cubicBezTo>
                <a:cubicBezTo>
                  <a:pt x="10394" y="54"/>
                  <a:pt x="10399" y="54"/>
                  <a:pt x="10402" y="55"/>
                </a:cubicBezTo>
                <a:cubicBezTo>
                  <a:pt x="10404" y="55"/>
                  <a:pt x="10413" y="55"/>
                  <a:pt x="10409" y="56"/>
                </a:cubicBezTo>
                <a:cubicBezTo>
                  <a:pt x="10409" y="56"/>
                  <a:pt x="10410" y="56"/>
                  <a:pt x="10411" y="57"/>
                </a:cubicBezTo>
                <a:cubicBezTo>
                  <a:pt x="10412" y="57"/>
                  <a:pt x="10413" y="57"/>
                  <a:pt x="10413" y="58"/>
                </a:cubicBezTo>
                <a:cubicBezTo>
                  <a:pt x="10414" y="58"/>
                  <a:pt x="10415" y="58"/>
                  <a:pt x="10417" y="58"/>
                </a:cubicBezTo>
                <a:cubicBezTo>
                  <a:pt x="10418" y="58"/>
                  <a:pt x="10418" y="58"/>
                  <a:pt x="10420" y="58"/>
                </a:cubicBezTo>
                <a:cubicBezTo>
                  <a:pt x="10422" y="58"/>
                  <a:pt x="10423" y="58"/>
                  <a:pt x="10425" y="59"/>
                </a:cubicBezTo>
                <a:cubicBezTo>
                  <a:pt x="10426" y="59"/>
                  <a:pt x="10429" y="59"/>
                  <a:pt x="10431" y="59"/>
                </a:cubicBezTo>
                <a:cubicBezTo>
                  <a:pt x="10432" y="59"/>
                  <a:pt x="10434" y="58"/>
                  <a:pt x="10433" y="57"/>
                </a:cubicBezTo>
                <a:cubicBezTo>
                  <a:pt x="10432" y="57"/>
                  <a:pt x="10432" y="57"/>
                  <a:pt x="10432" y="57"/>
                </a:cubicBezTo>
                <a:cubicBezTo>
                  <a:pt x="10432" y="56"/>
                  <a:pt x="10434" y="56"/>
                  <a:pt x="10437" y="56"/>
                </a:cubicBezTo>
                <a:cubicBezTo>
                  <a:pt x="10438" y="56"/>
                  <a:pt x="10439" y="56"/>
                  <a:pt x="10439" y="56"/>
                </a:cubicBezTo>
                <a:cubicBezTo>
                  <a:pt x="10440" y="57"/>
                  <a:pt x="10439" y="57"/>
                  <a:pt x="10441" y="57"/>
                </a:cubicBezTo>
                <a:cubicBezTo>
                  <a:pt x="10446" y="57"/>
                  <a:pt x="10451" y="58"/>
                  <a:pt x="10457" y="58"/>
                </a:cubicBezTo>
                <a:cubicBezTo>
                  <a:pt x="10462" y="58"/>
                  <a:pt x="10467" y="58"/>
                  <a:pt x="10473" y="58"/>
                </a:cubicBezTo>
                <a:cubicBezTo>
                  <a:pt x="10476" y="58"/>
                  <a:pt x="10480" y="58"/>
                  <a:pt x="10483" y="58"/>
                </a:cubicBezTo>
                <a:cubicBezTo>
                  <a:pt x="10487" y="58"/>
                  <a:pt x="10491" y="58"/>
                  <a:pt x="10495" y="58"/>
                </a:cubicBezTo>
                <a:cubicBezTo>
                  <a:pt x="10498" y="58"/>
                  <a:pt x="10501" y="58"/>
                  <a:pt x="10505" y="58"/>
                </a:cubicBezTo>
                <a:cubicBezTo>
                  <a:pt x="10507" y="58"/>
                  <a:pt x="10506" y="57"/>
                  <a:pt x="10508" y="57"/>
                </a:cubicBezTo>
                <a:cubicBezTo>
                  <a:pt x="10509" y="57"/>
                  <a:pt x="10513" y="57"/>
                  <a:pt x="10515" y="57"/>
                </a:cubicBezTo>
                <a:cubicBezTo>
                  <a:pt x="10520" y="57"/>
                  <a:pt x="10525" y="56"/>
                  <a:pt x="10531" y="56"/>
                </a:cubicBezTo>
                <a:cubicBezTo>
                  <a:pt x="10532" y="56"/>
                  <a:pt x="10533" y="56"/>
                  <a:pt x="10534" y="56"/>
                </a:cubicBezTo>
                <a:cubicBezTo>
                  <a:pt x="10535" y="56"/>
                  <a:pt x="10536" y="57"/>
                  <a:pt x="10536" y="57"/>
                </a:cubicBezTo>
                <a:cubicBezTo>
                  <a:pt x="10536" y="57"/>
                  <a:pt x="10535" y="57"/>
                  <a:pt x="10535" y="58"/>
                </a:cubicBezTo>
                <a:cubicBezTo>
                  <a:pt x="10535" y="58"/>
                  <a:pt x="10536" y="59"/>
                  <a:pt x="10538" y="59"/>
                </a:cubicBezTo>
                <a:cubicBezTo>
                  <a:pt x="10539" y="59"/>
                  <a:pt x="10541" y="59"/>
                  <a:pt x="10543" y="59"/>
                </a:cubicBezTo>
                <a:cubicBezTo>
                  <a:pt x="10545" y="60"/>
                  <a:pt x="10552" y="59"/>
                  <a:pt x="10555" y="59"/>
                </a:cubicBezTo>
                <a:cubicBezTo>
                  <a:pt x="10560" y="58"/>
                  <a:pt x="10566" y="59"/>
                  <a:pt x="10572" y="58"/>
                </a:cubicBezTo>
                <a:cubicBezTo>
                  <a:pt x="10573" y="58"/>
                  <a:pt x="10575" y="57"/>
                  <a:pt x="10576" y="57"/>
                </a:cubicBezTo>
                <a:cubicBezTo>
                  <a:pt x="10577" y="57"/>
                  <a:pt x="10578" y="57"/>
                  <a:pt x="10580" y="57"/>
                </a:cubicBezTo>
                <a:cubicBezTo>
                  <a:pt x="10581" y="57"/>
                  <a:pt x="10583" y="56"/>
                  <a:pt x="10584" y="57"/>
                </a:cubicBezTo>
                <a:cubicBezTo>
                  <a:pt x="10588" y="59"/>
                  <a:pt x="10599" y="58"/>
                  <a:pt x="10604" y="57"/>
                </a:cubicBezTo>
                <a:cubicBezTo>
                  <a:pt x="10613" y="57"/>
                  <a:pt x="10621" y="57"/>
                  <a:pt x="10623" y="57"/>
                </a:cubicBezTo>
                <a:cubicBezTo>
                  <a:pt x="10624" y="57"/>
                  <a:pt x="10636" y="57"/>
                  <a:pt x="10651" y="57"/>
                </a:cubicBezTo>
                <a:cubicBezTo>
                  <a:pt x="10656" y="57"/>
                  <a:pt x="10661" y="57"/>
                  <a:pt x="10666" y="58"/>
                </a:cubicBezTo>
                <a:cubicBezTo>
                  <a:pt x="10669" y="58"/>
                  <a:pt x="10673" y="58"/>
                  <a:pt x="10677" y="57"/>
                </a:cubicBezTo>
                <a:cubicBezTo>
                  <a:pt x="10678" y="57"/>
                  <a:pt x="10680" y="57"/>
                  <a:pt x="10681" y="56"/>
                </a:cubicBezTo>
                <a:cubicBezTo>
                  <a:pt x="10683" y="56"/>
                  <a:pt x="10684" y="56"/>
                  <a:pt x="10686" y="56"/>
                </a:cubicBezTo>
                <a:cubicBezTo>
                  <a:pt x="10689" y="55"/>
                  <a:pt x="10690" y="55"/>
                  <a:pt x="10693" y="56"/>
                </a:cubicBezTo>
                <a:cubicBezTo>
                  <a:pt x="10697" y="56"/>
                  <a:pt x="10702" y="57"/>
                  <a:pt x="10703" y="57"/>
                </a:cubicBezTo>
                <a:cubicBezTo>
                  <a:pt x="10706" y="58"/>
                  <a:pt x="10730" y="58"/>
                  <a:pt x="10738" y="56"/>
                </a:cubicBezTo>
                <a:cubicBezTo>
                  <a:pt x="10742" y="56"/>
                  <a:pt x="10751" y="54"/>
                  <a:pt x="10755" y="56"/>
                </a:cubicBezTo>
                <a:cubicBezTo>
                  <a:pt x="10756" y="56"/>
                  <a:pt x="10756" y="56"/>
                  <a:pt x="10756" y="56"/>
                </a:cubicBezTo>
                <a:cubicBezTo>
                  <a:pt x="10757" y="56"/>
                  <a:pt x="10759" y="56"/>
                  <a:pt x="10760" y="57"/>
                </a:cubicBezTo>
                <a:cubicBezTo>
                  <a:pt x="10766" y="57"/>
                  <a:pt x="10772" y="57"/>
                  <a:pt x="10778" y="57"/>
                </a:cubicBezTo>
                <a:cubicBezTo>
                  <a:pt x="10787" y="57"/>
                  <a:pt x="10797" y="58"/>
                  <a:pt x="10801" y="58"/>
                </a:cubicBezTo>
                <a:cubicBezTo>
                  <a:pt x="10805" y="58"/>
                  <a:pt x="10819" y="58"/>
                  <a:pt x="10833" y="58"/>
                </a:cubicBezTo>
                <a:cubicBezTo>
                  <a:pt x="10842" y="58"/>
                  <a:pt x="10859" y="59"/>
                  <a:pt x="10864" y="56"/>
                </a:cubicBezTo>
                <a:cubicBezTo>
                  <a:pt x="10864" y="56"/>
                  <a:pt x="10864" y="56"/>
                  <a:pt x="10865" y="56"/>
                </a:cubicBezTo>
                <a:cubicBezTo>
                  <a:pt x="10866" y="56"/>
                  <a:pt x="10867" y="56"/>
                  <a:pt x="10868" y="56"/>
                </a:cubicBezTo>
                <a:cubicBezTo>
                  <a:pt x="10872" y="56"/>
                  <a:pt x="10875" y="55"/>
                  <a:pt x="10879" y="55"/>
                </a:cubicBezTo>
                <a:cubicBezTo>
                  <a:pt x="10884" y="55"/>
                  <a:pt x="10889" y="55"/>
                  <a:pt x="10894" y="56"/>
                </a:cubicBezTo>
                <a:cubicBezTo>
                  <a:pt x="10900" y="56"/>
                  <a:pt x="10907" y="56"/>
                  <a:pt x="10914" y="56"/>
                </a:cubicBezTo>
                <a:cubicBezTo>
                  <a:pt x="10917" y="56"/>
                  <a:pt x="10927" y="56"/>
                  <a:pt x="10930" y="56"/>
                </a:cubicBezTo>
                <a:cubicBezTo>
                  <a:pt x="10930" y="56"/>
                  <a:pt x="10930" y="56"/>
                  <a:pt x="10931" y="56"/>
                </a:cubicBezTo>
                <a:cubicBezTo>
                  <a:pt x="10934" y="57"/>
                  <a:pt x="10940" y="57"/>
                  <a:pt x="10944" y="57"/>
                </a:cubicBezTo>
                <a:cubicBezTo>
                  <a:pt x="10951" y="57"/>
                  <a:pt x="10961" y="58"/>
                  <a:pt x="10967" y="58"/>
                </a:cubicBezTo>
                <a:cubicBezTo>
                  <a:pt x="10972" y="58"/>
                  <a:pt x="10976" y="58"/>
                  <a:pt x="10981" y="57"/>
                </a:cubicBezTo>
                <a:cubicBezTo>
                  <a:pt x="10984" y="56"/>
                  <a:pt x="10986" y="56"/>
                  <a:pt x="10991" y="56"/>
                </a:cubicBezTo>
                <a:cubicBezTo>
                  <a:pt x="10997" y="55"/>
                  <a:pt x="11003" y="56"/>
                  <a:pt x="11009" y="55"/>
                </a:cubicBezTo>
                <a:cubicBezTo>
                  <a:pt x="11016" y="55"/>
                  <a:pt x="11023" y="55"/>
                  <a:pt x="11030" y="55"/>
                </a:cubicBezTo>
                <a:cubicBezTo>
                  <a:pt x="11030" y="56"/>
                  <a:pt x="11030" y="56"/>
                  <a:pt x="11030" y="56"/>
                </a:cubicBezTo>
                <a:cubicBezTo>
                  <a:pt x="11030" y="57"/>
                  <a:pt x="11031" y="57"/>
                  <a:pt x="11032" y="57"/>
                </a:cubicBezTo>
                <a:cubicBezTo>
                  <a:pt x="11033" y="57"/>
                  <a:pt x="11033" y="57"/>
                  <a:pt x="11034" y="57"/>
                </a:cubicBezTo>
                <a:cubicBezTo>
                  <a:pt x="11038" y="56"/>
                  <a:pt x="11046" y="54"/>
                  <a:pt x="11050" y="56"/>
                </a:cubicBezTo>
                <a:cubicBezTo>
                  <a:pt x="11051" y="56"/>
                  <a:pt x="11051" y="57"/>
                  <a:pt x="11050" y="57"/>
                </a:cubicBezTo>
                <a:cubicBezTo>
                  <a:pt x="11050" y="57"/>
                  <a:pt x="11049" y="57"/>
                  <a:pt x="11049" y="58"/>
                </a:cubicBezTo>
                <a:cubicBezTo>
                  <a:pt x="11049" y="58"/>
                  <a:pt x="11051" y="59"/>
                  <a:pt x="11053" y="59"/>
                </a:cubicBezTo>
                <a:cubicBezTo>
                  <a:pt x="11055" y="59"/>
                  <a:pt x="11057" y="59"/>
                  <a:pt x="11059" y="59"/>
                </a:cubicBezTo>
                <a:cubicBezTo>
                  <a:pt x="11061" y="59"/>
                  <a:pt x="11062" y="58"/>
                  <a:pt x="11065" y="57"/>
                </a:cubicBezTo>
                <a:cubicBezTo>
                  <a:pt x="11066" y="57"/>
                  <a:pt x="11066" y="58"/>
                  <a:pt x="11066" y="58"/>
                </a:cubicBezTo>
                <a:cubicBezTo>
                  <a:pt x="11066" y="58"/>
                  <a:pt x="11066" y="58"/>
                  <a:pt x="11065" y="58"/>
                </a:cubicBezTo>
                <a:cubicBezTo>
                  <a:pt x="11065" y="60"/>
                  <a:pt x="11081" y="59"/>
                  <a:pt x="11084" y="59"/>
                </a:cubicBezTo>
                <a:cubicBezTo>
                  <a:pt x="11093" y="59"/>
                  <a:pt x="11103" y="59"/>
                  <a:pt x="11113" y="59"/>
                </a:cubicBezTo>
                <a:cubicBezTo>
                  <a:pt x="11122" y="59"/>
                  <a:pt x="11131" y="59"/>
                  <a:pt x="11140" y="59"/>
                </a:cubicBezTo>
                <a:cubicBezTo>
                  <a:pt x="11145" y="59"/>
                  <a:pt x="11155" y="60"/>
                  <a:pt x="11160" y="59"/>
                </a:cubicBezTo>
                <a:cubicBezTo>
                  <a:pt x="11161" y="58"/>
                  <a:pt x="11161" y="58"/>
                  <a:pt x="11163" y="57"/>
                </a:cubicBezTo>
                <a:cubicBezTo>
                  <a:pt x="11164" y="57"/>
                  <a:pt x="11166" y="57"/>
                  <a:pt x="11168" y="57"/>
                </a:cubicBezTo>
                <a:cubicBezTo>
                  <a:pt x="11171" y="56"/>
                  <a:pt x="11175" y="56"/>
                  <a:pt x="11178" y="55"/>
                </a:cubicBezTo>
                <a:cubicBezTo>
                  <a:pt x="11181" y="55"/>
                  <a:pt x="11182" y="54"/>
                  <a:pt x="11185" y="54"/>
                </a:cubicBezTo>
                <a:cubicBezTo>
                  <a:pt x="11189" y="54"/>
                  <a:pt x="11193" y="54"/>
                  <a:pt x="11196" y="54"/>
                </a:cubicBezTo>
                <a:cubicBezTo>
                  <a:pt x="11199" y="54"/>
                  <a:pt x="11212" y="54"/>
                  <a:pt x="11214" y="55"/>
                </a:cubicBezTo>
                <a:cubicBezTo>
                  <a:pt x="11214" y="55"/>
                  <a:pt x="11214" y="55"/>
                  <a:pt x="11214" y="55"/>
                </a:cubicBezTo>
                <a:cubicBezTo>
                  <a:pt x="11214" y="56"/>
                  <a:pt x="11216" y="56"/>
                  <a:pt x="11219" y="56"/>
                </a:cubicBezTo>
                <a:cubicBezTo>
                  <a:pt x="11220" y="56"/>
                  <a:pt x="11221" y="56"/>
                  <a:pt x="11221" y="55"/>
                </a:cubicBezTo>
                <a:cubicBezTo>
                  <a:pt x="11221" y="55"/>
                  <a:pt x="11221" y="54"/>
                  <a:pt x="11223" y="54"/>
                </a:cubicBezTo>
                <a:cubicBezTo>
                  <a:pt x="11229" y="54"/>
                  <a:pt x="11237" y="54"/>
                  <a:pt x="11243" y="54"/>
                </a:cubicBezTo>
                <a:cubicBezTo>
                  <a:pt x="11244" y="54"/>
                  <a:pt x="11244" y="54"/>
                  <a:pt x="11245" y="54"/>
                </a:cubicBezTo>
                <a:cubicBezTo>
                  <a:pt x="11246" y="54"/>
                  <a:pt x="11245" y="55"/>
                  <a:pt x="11245" y="55"/>
                </a:cubicBezTo>
                <a:cubicBezTo>
                  <a:pt x="11245" y="56"/>
                  <a:pt x="11252" y="59"/>
                  <a:pt x="11257" y="57"/>
                </a:cubicBezTo>
                <a:cubicBezTo>
                  <a:pt x="11259" y="57"/>
                  <a:pt x="11257" y="56"/>
                  <a:pt x="11257" y="56"/>
                </a:cubicBezTo>
                <a:cubicBezTo>
                  <a:pt x="11258" y="55"/>
                  <a:pt x="11258" y="55"/>
                  <a:pt x="11259" y="55"/>
                </a:cubicBezTo>
                <a:cubicBezTo>
                  <a:pt x="11259" y="55"/>
                  <a:pt x="11259" y="54"/>
                  <a:pt x="11259" y="54"/>
                </a:cubicBezTo>
                <a:cubicBezTo>
                  <a:pt x="11261" y="53"/>
                  <a:pt x="11267" y="54"/>
                  <a:pt x="11269" y="54"/>
                </a:cubicBezTo>
                <a:cubicBezTo>
                  <a:pt x="11272" y="54"/>
                  <a:pt x="11271" y="55"/>
                  <a:pt x="11273" y="56"/>
                </a:cubicBezTo>
                <a:cubicBezTo>
                  <a:pt x="11275" y="56"/>
                  <a:pt x="11280" y="55"/>
                  <a:pt x="11282" y="55"/>
                </a:cubicBezTo>
                <a:cubicBezTo>
                  <a:pt x="11286" y="55"/>
                  <a:pt x="11292" y="56"/>
                  <a:pt x="11296" y="55"/>
                </a:cubicBezTo>
                <a:cubicBezTo>
                  <a:pt x="11300" y="55"/>
                  <a:pt x="11301" y="54"/>
                  <a:pt x="11305" y="54"/>
                </a:cubicBezTo>
                <a:cubicBezTo>
                  <a:pt x="11314" y="53"/>
                  <a:pt x="11327" y="53"/>
                  <a:pt x="11337" y="53"/>
                </a:cubicBezTo>
                <a:cubicBezTo>
                  <a:pt x="11342" y="53"/>
                  <a:pt x="11373" y="52"/>
                  <a:pt x="11374" y="54"/>
                </a:cubicBezTo>
                <a:cubicBezTo>
                  <a:pt x="11375" y="54"/>
                  <a:pt x="11374" y="54"/>
                  <a:pt x="11375" y="54"/>
                </a:cubicBezTo>
                <a:cubicBezTo>
                  <a:pt x="11375" y="55"/>
                  <a:pt x="11376" y="55"/>
                  <a:pt x="11377" y="55"/>
                </a:cubicBezTo>
                <a:cubicBezTo>
                  <a:pt x="11379" y="55"/>
                  <a:pt x="11392" y="54"/>
                  <a:pt x="11386" y="56"/>
                </a:cubicBezTo>
                <a:cubicBezTo>
                  <a:pt x="11385" y="56"/>
                  <a:pt x="11384" y="56"/>
                  <a:pt x="11384" y="57"/>
                </a:cubicBezTo>
                <a:cubicBezTo>
                  <a:pt x="11385" y="57"/>
                  <a:pt x="11387" y="57"/>
                  <a:pt x="11389" y="57"/>
                </a:cubicBezTo>
                <a:cubicBezTo>
                  <a:pt x="11390" y="56"/>
                  <a:pt x="11392" y="56"/>
                  <a:pt x="11393" y="56"/>
                </a:cubicBezTo>
                <a:cubicBezTo>
                  <a:pt x="11396" y="56"/>
                  <a:pt x="11398" y="56"/>
                  <a:pt x="11401" y="56"/>
                </a:cubicBezTo>
                <a:cubicBezTo>
                  <a:pt x="11403" y="56"/>
                  <a:pt x="11406" y="56"/>
                  <a:pt x="11408" y="56"/>
                </a:cubicBezTo>
                <a:cubicBezTo>
                  <a:pt x="11416" y="56"/>
                  <a:pt x="11424" y="56"/>
                  <a:pt x="11432" y="55"/>
                </a:cubicBezTo>
                <a:cubicBezTo>
                  <a:pt x="11435" y="55"/>
                  <a:pt x="11438" y="55"/>
                  <a:pt x="11441" y="55"/>
                </a:cubicBezTo>
                <a:cubicBezTo>
                  <a:pt x="11444" y="55"/>
                  <a:pt x="11447" y="56"/>
                  <a:pt x="11450" y="56"/>
                </a:cubicBezTo>
                <a:cubicBezTo>
                  <a:pt x="11451" y="55"/>
                  <a:pt x="11454" y="55"/>
                  <a:pt x="11456" y="55"/>
                </a:cubicBezTo>
                <a:cubicBezTo>
                  <a:pt x="11457" y="55"/>
                  <a:pt x="11459" y="54"/>
                  <a:pt x="11460" y="54"/>
                </a:cubicBezTo>
                <a:cubicBezTo>
                  <a:pt x="11463" y="53"/>
                  <a:pt x="11467" y="53"/>
                  <a:pt x="11468" y="52"/>
                </a:cubicBezTo>
                <a:cubicBezTo>
                  <a:pt x="11468" y="52"/>
                  <a:pt x="11468" y="52"/>
                  <a:pt x="11468" y="52"/>
                </a:cubicBezTo>
                <a:cubicBezTo>
                  <a:pt x="11469" y="52"/>
                  <a:pt x="11470" y="51"/>
                  <a:pt x="11471" y="51"/>
                </a:cubicBezTo>
                <a:cubicBezTo>
                  <a:pt x="11474" y="51"/>
                  <a:pt x="11477" y="51"/>
                  <a:pt x="11479" y="51"/>
                </a:cubicBezTo>
                <a:cubicBezTo>
                  <a:pt x="11482" y="51"/>
                  <a:pt x="11486" y="51"/>
                  <a:pt x="11487" y="52"/>
                </a:cubicBezTo>
                <a:cubicBezTo>
                  <a:pt x="11487" y="53"/>
                  <a:pt x="11487" y="53"/>
                  <a:pt x="11488" y="54"/>
                </a:cubicBezTo>
                <a:cubicBezTo>
                  <a:pt x="11490" y="54"/>
                  <a:pt x="11497" y="53"/>
                  <a:pt x="11500" y="53"/>
                </a:cubicBezTo>
                <a:cubicBezTo>
                  <a:pt x="11505" y="53"/>
                  <a:pt x="11508" y="55"/>
                  <a:pt x="11513" y="56"/>
                </a:cubicBezTo>
                <a:cubicBezTo>
                  <a:pt x="11518" y="57"/>
                  <a:pt x="11526" y="56"/>
                  <a:pt x="11532" y="56"/>
                </a:cubicBezTo>
                <a:cubicBezTo>
                  <a:pt x="11535" y="56"/>
                  <a:pt x="11539" y="56"/>
                  <a:pt x="11541" y="55"/>
                </a:cubicBezTo>
                <a:cubicBezTo>
                  <a:pt x="11543" y="55"/>
                  <a:pt x="11545" y="55"/>
                  <a:pt x="11547" y="54"/>
                </a:cubicBezTo>
                <a:cubicBezTo>
                  <a:pt x="11553" y="54"/>
                  <a:pt x="11561" y="54"/>
                  <a:pt x="11567" y="54"/>
                </a:cubicBezTo>
                <a:cubicBezTo>
                  <a:pt x="11575" y="54"/>
                  <a:pt x="11583" y="54"/>
                  <a:pt x="11591" y="54"/>
                </a:cubicBezTo>
                <a:cubicBezTo>
                  <a:pt x="11596" y="54"/>
                  <a:pt x="11602" y="54"/>
                  <a:pt x="11607" y="54"/>
                </a:cubicBezTo>
                <a:cubicBezTo>
                  <a:pt x="11614" y="54"/>
                  <a:pt x="11620" y="54"/>
                  <a:pt x="11627" y="54"/>
                </a:cubicBezTo>
                <a:lnTo>
                  <a:pt x="11627" y="56"/>
                </a:lnTo>
                <a:cubicBezTo>
                  <a:pt x="11630" y="56"/>
                  <a:pt x="11634" y="56"/>
                  <a:pt x="11638" y="56"/>
                </a:cubicBezTo>
                <a:cubicBezTo>
                  <a:pt x="11640" y="55"/>
                  <a:pt x="11643" y="55"/>
                  <a:pt x="11645" y="55"/>
                </a:cubicBezTo>
                <a:cubicBezTo>
                  <a:pt x="11646" y="55"/>
                  <a:pt x="11646" y="56"/>
                  <a:pt x="11647" y="56"/>
                </a:cubicBezTo>
                <a:cubicBezTo>
                  <a:pt x="11648" y="57"/>
                  <a:pt x="11649" y="57"/>
                  <a:pt x="11650" y="57"/>
                </a:cubicBezTo>
                <a:cubicBezTo>
                  <a:pt x="11651" y="57"/>
                  <a:pt x="11653" y="56"/>
                  <a:pt x="11654" y="57"/>
                </a:cubicBezTo>
                <a:cubicBezTo>
                  <a:pt x="11655" y="57"/>
                  <a:pt x="11656" y="58"/>
                  <a:pt x="11656" y="58"/>
                </a:cubicBezTo>
                <a:cubicBezTo>
                  <a:pt x="11658" y="59"/>
                  <a:pt x="11659" y="58"/>
                  <a:pt x="11659" y="57"/>
                </a:cubicBezTo>
                <a:cubicBezTo>
                  <a:pt x="11661" y="55"/>
                  <a:pt x="11661" y="55"/>
                  <a:pt x="11663" y="55"/>
                </a:cubicBezTo>
                <a:cubicBezTo>
                  <a:pt x="11665" y="56"/>
                  <a:pt x="11666" y="55"/>
                  <a:pt x="11668" y="55"/>
                </a:cubicBezTo>
                <a:cubicBezTo>
                  <a:pt x="11673" y="56"/>
                  <a:pt x="11678" y="56"/>
                  <a:pt x="11684" y="56"/>
                </a:cubicBezTo>
                <a:cubicBezTo>
                  <a:pt x="11684" y="56"/>
                  <a:pt x="11684" y="56"/>
                  <a:pt x="11684" y="57"/>
                </a:cubicBezTo>
                <a:cubicBezTo>
                  <a:pt x="11685" y="57"/>
                  <a:pt x="11686" y="57"/>
                  <a:pt x="11687" y="57"/>
                </a:cubicBezTo>
                <a:cubicBezTo>
                  <a:pt x="11688" y="58"/>
                  <a:pt x="11690" y="58"/>
                  <a:pt x="11691" y="58"/>
                </a:cubicBezTo>
                <a:cubicBezTo>
                  <a:pt x="11692" y="58"/>
                  <a:pt x="11692" y="58"/>
                  <a:pt x="11693" y="58"/>
                </a:cubicBezTo>
                <a:cubicBezTo>
                  <a:pt x="11693" y="58"/>
                  <a:pt x="11693" y="57"/>
                  <a:pt x="11694" y="57"/>
                </a:cubicBezTo>
                <a:cubicBezTo>
                  <a:pt x="11694" y="57"/>
                  <a:pt x="11695" y="57"/>
                  <a:pt x="11695" y="56"/>
                </a:cubicBezTo>
                <a:cubicBezTo>
                  <a:pt x="11718" y="57"/>
                  <a:pt x="11741" y="58"/>
                  <a:pt x="11765" y="58"/>
                </a:cubicBezTo>
                <a:cubicBezTo>
                  <a:pt x="11776" y="57"/>
                  <a:pt x="11786" y="57"/>
                  <a:pt x="11797" y="56"/>
                </a:cubicBezTo>
                <a:cubicBezTo>
                  <a:pt x="11802" y="56"/>
                  <a:pt x="11807" y="57"/>
                  <a:pt x="11812" y="56"/>
                </a:cubicBezTo>
                <a:cubicBezTo>
                  <a:pt x="11816" y="56"/>
                  <a:pt x="11820" y="55"/>
                  <a:pt x="11824" y="54"/>
                </a:cubicBezTo>
                <a:cubicBezTo>
                  <a:pt x="11825" y="53"/>
                  <a:pt x="11827" y="52"/>
                  <a:pt x="11828" y="51"/>
                </a:cubicBezTo>
                <a:cubicBezTo>
                  <a:pt x="11829" y="50"/>
                  <a:pt x="11829" y="49"/>
                  <a:pt x="11829" y="48"/>
                </a:cubicBezTo>
                <a:cubicBezTo>
                  <a:pt x="11828" y="47"/>
                  <a:pt x="11828" y="47"/>
                  <a:pt x="11828" y="47"/>
                </a:cubicBez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3137690620"/>
      </p:ext>
    </p:extLst>
  </p:cSld>
  <p:clrMapOvr>
    <a:masterClrMapping/>
  </p:clrMapOvr>
  <p:extLst>
    <p:ext uri="{DCECCB84-F9BA-43D5-87BE-67443E8EF086}">
      <p15:sldGuideLst xmlns:p15="http://schemas.microsoft.com/office/powerpoint/2012/main">
        <p15:guide id="1" userDrawn="1">
          <p15:clr>
            <a:srgbClr val="41FB8C"/>
          </p15:clr>
        </p15:guide>
        <p15:guide id="2" pos="7680" userDrawn="1">
          <p15:clr>
            <a:srgbClr val="41FB8C"/>
          </p15:clr>
        </p15:guide>
        <p15:guide id="3" pos="288" userDrawn="1">
          <p15:clr>
            <a:srgbClr val="41FB8C"/>
          </p15:clr>
        </p15:guide>
        <p15:guide id="4" pos="1592" userDrawn="1">
          <p15:clr>
            <a:srgbClr val="41FB8C"/>
          </p15:clr>
        </p15:guide>
        <p15:guide id="5" pos="1737" userDrawn="1">
          <p15:clr>
            <a:srgbClr val="41FB8C"/>
          </p15:clr>
        </p15:guide>
        <p15:guide id="6" pos="3042" userDrawn="1">
          <p15:clr>
            <a:srgbClr val="41FB8C"/>
          </p15:clr>
        </p15:guide>
        <p15:guide id="7" pos="3187" userDrawn="1">
          <p15:clr>
            <a:srgbClr val="41FB8C"/>
          </p15:clr>
        </p15:guide>
        <p15:guide id="8" pos="4492" userDrawn="1">
          <p15:clr>
            <a:srgbClr val="41FB8C"/>
          </p15:clr>
        </p15:guide>
        <p15:guide id="9" pos="4637" userDrawn="1">
          <p15:clr>
            <a:srgbClr val="41FB8C"/>
          </p15:clr>
        </p15:guide>
        <p15:guide id="10" pos="5942" userDrawn="1">
          <p15:clr>
            <a:srgbClr val="41FB8C"/>
          </p15:clr>
        </p15:guide>
        <p15:guide id="11" pos="6087" userDrawn="1">
          <p15:clr>
            <a:srgbClr val="41FB8C"/>
          </p15:clr>
        </p15:guide>
        <p15:guide id="12" pos="7391" userDrawn="1">
          <p15:clr>
            <a:srgbClr val="41FB8C"/>
          </p15:clr>
        </p15:guide>
        <p15:guide id="13" orient="horz" userDrawn="1">
          <p15:clr>
            <a:srgbClr val="41FB8C"/>
          </p15:clr>
        </p15:guide>
        <p15:guide id="14" orient="horz" pos="4320" userDrawn="1">
          <p15:clr>
            <a:srgbClr val="41FB8C"/>
          </p15:clr>
        </p15:guide>
        <p15:guide id="15" orient="horz" pos="288" userDrawn="1">
          <p15:clr>
            <a:srgbClr val="41FB8C"/>
          </p15:clr>
        </p15:guide>
        <p15:guide id="16" orient="horz" pos="4032" userDrawn="1">
          <p15:clr>
            <a:srgbClr val="41FB8C"/>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About Q">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9541DB-9159-52E1-36ED-A2271EFDC027}"/>
              </a:ext>
            </a:extLst>
          </p:cNvPr>
          <p:cNvSpPr>
            <a:spLocks noGrp="1"/>
          </p:cNvSpPr>
          <p:nvPr>
            <p:ph type="title"/>
          </p:nvPr>
        </p:nvSpPr>
        <p:spPr>
          <a:xfrm>
            <a:off x="442914" y="404813"/>
            <a:ext cx="5553876" cy="382284"/>
          </a:xfrm>
        </p:spPr>
        <p:txBody>
          <a:bodyPr/>
          <a:lstStyle/>
          <a:p>
            <a:r>
              <a:rPr lang="en-GB"/>
              <a:t>Click to edit Master title style</a:t>
            </a:r>
          </a:p>
        </p:txBody>
      </p:sp>
      <p:sp>
        <p:nvSpPr>
          <p:cNvPr id="3" name="Content Placeholder 2">
            <a:extLst>
              <a:ext uri="{FF2B5EF4-FFF2-40B4-BE49-F238E27FC236}">
                <a16:creationId xmlns:a16="http://schemas.microsoft.com/office/drawing/2014/main" id="{D66370DB-D8BA-987C-5976-9F9A695233D7}"/>
              </a:ext>
            </a:extLst>
          </p:cNvPr>
          <p:cNvSpPr>
            <a:spLocks noGrp="1"/>
          </p:cNvSpPr>
          <p:nvPr>
            <p:ph idx="1"/>
          </p:nvPr>
        </p:nvSpPr>
        <p:spPr>
          <a:xfrm>
            <a:off x="457200" y="1484313"/>
            <a:ext cx="5524500" cy="4548187"/>
          </a:xfrm>
        </p:spPr>
        <p:txBody>
          <a:bodyPr/>
          <a:lstStyle>
            <a:lvl1pPr>
              <a:defRPr sz="1500"/>
            </a:lvl1pPr>
            <a:lvl2pPr>
              <a:defRPr sz="1500"/>
            </a:lvl2pPr>
            <a:lvl3pPr>
              <a:defRPr sz="1500"/>
            </a:lvl3pPr>
            <a:lvl4pPr>
              <a:defRPr sz="1500"/>
            </a:lvl4pPr>
            <a:lvl5pPr>
              <a:defRPr sz="15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31" name="Freeform 6">
            <a:extLst>
              <a:ext uri="{FF2B5EF4-FFF2-40B4-BE49-F238E27FC236}">
                <a16:creationId xmlns:a16="http://schemas.microsoft.com/office/drawing/2014/main" id="{2CEF8722-5A20-91F4-0D72-4BBE0AF9A785}"/>
              </a:ext>
            </a:extLst>
          </p:cNvPr>
          <p:cNvSpPr>
            <a:spLocks noChangeAspect="1"/>
          </p:cNvSpPr>
          <p:nvPr userDrawn="1"/>
        </p:nvSpPr>
        <p:spPr bwMode="auto">
          <a:xfrm rot="934269">
            <a:off x="7720310" y="1285668"/>
            <a:ext cx="733565" cy="2919491"/>
          </a:xfrm>
          <a:custGeom>
            <a:avLst/>
            <a:gdLst>
              <a:gd name="T0" fmla="*/ 460 w 770"/>
              <a:gd name="T1" fmla="*/ 1730 h 3061"/>
              <a:gd name="T2" fmla="*/ 435 w 770"/>
              <a:gd name="T3" fmla="*/ 1624 h 3061"/>
              <a:gd name="T4" fmla="*/ 400 w 770"/>
              <a:gd name="T5" fmla="*/ 1481 h 3061"/>
              <a:gd name="T6" fmla="*/ 378 w 770"/>
              <a:gd name="T7" fmla="*/ 1394 h 3061"/>
              <a:gd name="T8" fmla="*/ 368 w 770"/>
              <a:gd name="T9" fmla="*/ 1326 h 3061"/>
              <a:gd name="T10" fmla="*/ 351 w 770"/>
              <a:gd name="T11" fmla="*/ 1271 h 3061"/>
              <a:gd name="T12" fmla="*/ 339 w 770"/>
              <a:gd name="T13" fmla="*/ 1227 h 3061"/>
              <a:gd name="T14" fmla="*/ 322 w 770"/>
              <a:gd name="T15" fmla="*/ 1162 h 3061"/>
              <a:gd name="T16" fmla="*/ 306 w 770"/>
              <a:gd name="T17" fmla="*/ 1075 h 3061"/>
              <a:gd name="T18" fmla="*/ 270 w 770"/>
              <a:gd name="T19" fmla="*/ 949 h 3061"/>
              <a:gd name="T20" fmla="*/ 251 w 770"/>
              <a:gd name="T21" fmla="*/ 872 h 3061"/>
              <a:gd name="T22" fmla="*/ 223 w 770"/>
              <a:gd name="T23" fmla="*/ 754 h 3061"/>
              <a:gd name="T24" fmla="*/ 208 w 770"/>
              <a:gd name="T25" fmla="*/ 691 h 3061"/>
              <a:gd name="T26" fmla="*/ 196 w 770"/>
              <a:gd name="T27" fmla="*/ 640 h 3061"/>
              <a:gd name="T28" fmla="*/ 180 w 770"/>
              <a:gd name="T29" fmla="*/ 570 h 3061"/>
              <a:gd name="T30" fmla="*/ 165 w 770"/>
              <a:gd name="T31" fmla="*/ 495 h 3061"/>
              <a:gd name="T32" fmla="*/ 137 w 770"/>
              <a:gd name="T33" fmla="*/ 379 h 3061"/>
              <a:gd name="T34" fmla="*/ 127 w 770"/>
              <a:gd name="T35" fmla="*/ 334 h 3061"/>
              <a:gd name="T36" fmla="*/ 113 w 770"/>
              <a:gd name="T37" fmla="*/ 269 h 3061"/>
              <a:gd name="T38" fmla="*/ 98 w 770"/>
              <a:gd name="T39" fmla="*/ 197 h 3061"/>
              <a:gd name="T40" fmla="*/ 80 w 770"/>
              <a:gd name="T41" fmla="*/ 146 h 3061"/>
              <a:gd name="T42" fmla="*/ 64 w 770"/>
              <a:gd name="T43" fmla="*/ 90 h 3061"/>
              <a:gd name="T44" fmla="*/ 14 w 770"/>
              <a:gd name="T45" fmla="*/ 11 h 3061"/>
              <a:gd name="T46" fmla="*/ 84 w 770"/>
              <a:gd name="T47" fmla="*/ 359 h 3061"/>
              <a:gd name="T48" fmla="*/ 136 w 770"/>
              <a:gd name="T49" fmla="*/ 568 h 3061"/>
              <a:gd name="T50" fmla="*/ 158 w 770"/>
              <a:gd name="T51" fmla="*/ 664 h 3061"/>
              <a:gd name="T52" fmla="*/ 180 w 770"/>
              <a:gd name="T53" fmla="*/ 765 h 3061"/>
              <a:gd name="T54" fmla="*/ 195 w 770"/>
              <a:gd name="T55" fmla="*/ 844 h 3061"/>
              <a:gd name="T56" fmla="*/ 217 w 770"/>
              <a:gd name="T57" fmla="*/ 929 h 3061"/>
              <a:gd name="T58" fmla="*/ 290 w 770"/>
              <a:gd name="T59" fmla="*/ 1232 h 3061"/>
              <a:gd name="T60" fmla="*/ 313 w 770"/>
              <a:gd name="T61" fmla="*/ 1321 h 3061"/>
              <a:gd name="T62" fmla="*/ 341 w 770"/>
              <a:gd name="T63" fmla="*/ 1441 h 3061"/>
              <a:gd name="T64" fmla="*/ 368 w 770"/>
              <a:gd name="T65" fmla="*/ 1537 h 3061"/>
              <a:gd name="T66" fmla="*/ 382 w 770"/>
              <a:gd name="T67" fmla="*/ 1612 h 3061"/>
              <a:gd name="T68" fmla="*/ 391 w 770"/>
              <a:gd name="T69" fmla="*/ 1651 h 3061"/>
              <a:gd name="T70" fmla="*/ 405 w 770"/>
              <a:gd name="T71" fmla="*/ 1711 h 3061"/>
              <a:gd name="T72" fmla="*/ 422 w 770"/>
              <a:gd name="T73" fmla="*/ 1786 h 3061"/>
              <a:gd name="T74" fmla="*/ 434 w 770"/>
              <a:gd name="T75" fmla="*/ 1838 h 3061"/>
              <a:gd name="T76" fmla="*/ 454 w 770"/>
              <a:gd name="T77" fmla="*/ 1914 h 3061"/>
              <a:gd name="T78" fmla="*/ 472 w 770"/>
              <a:gd name="T79" fmla="*/ 1989 h 3061"/>
              <a:gd name="T80" fmla="*/ 505 w 770"/>
              <a:gd name="T81" fmla="*/ 2109 h 3061"/>
              <a:gd name="T82" fmla="*/ 536 w 770"/>
              <a:gd name="T83" fmla="*/ 2236 h 3061"/>
              <a:gd name="T84" fmla="*/ 560 w 770"/>
              <a:gd name="T85" fmla="*/ 2341 h 3061"/>
              <a:gd name="T86" fmla="*/ 573 w 770"/>
              <a:gd name="T87" fmla="*/ 2403 h 3061"/>
              <a:gd name="T88" fmla="*/ 586 w 770"/>
              <a:gd name="T89" fmla="*/ 2458 h 3061"/>
              <a:gd name="T90" fmla="*/ 597 w 770"/>
              <a:gd name="T91" fmla="*/ 2514 h 3061"/>
              <a:gd name="T92" fmla="*/ 621 w 770"/>
              <a:gd name="T93" fmla="*/ 2612 h 3061"/>
              <a:gd name="T94" fmla="*/ 636 w 770"/>
              <a:gd name="T95" fmla="*/ 2681 h 3061"/>
              <a:gd name="T96" fmla="*/ 641 w 770"/>
              <a:gd name="T97" fmla="*/ 2713 h 3061"/>
              <a:gd name="T98" fmla="*/ 656 w 770"/>
              <a:gd name="T99" fmla="*/ 2763 h 3061"/>
              <a:gd name="T100" fmla="*/ 670 w 770"/>
              <a:gd name="T101" fmla="*/ 2827 h 3061"/>
              <a:gd name="T102" fmla="*/ 684 w 770"/>
              <a:gd name="T103" fmla="*/ 2884 h 3061"/>
              <a:gd name="T104" fmla="*/ 698 w 770"/>
              <a:gd name="T105" fmla="*/ 2928 h 3061"/>
              <a:gd name="T106" fmla="*/ 712 w 770"/>
              <a:gd name="T107" fmla="*/ 2993 h 3061"/>
              <a:gd name="T108" fmla="*/ 692 w 770"/>
              <a:gd name="T109" fmla="*/ 2706 h 3061"/>
              <a:gd name="T110" fmla="*/ 644 w 770"/>
              <a:gd name="T111" fmla="*/ 2502 h 3061"/>
              <a:gd name="T112" fmla="*/ 621 w 770"/>
              <a:gd name="T113" fmla="*/ 2407 h 3061"/>
              <a:gd name="T114" fmla="*/ 593 w 770"/>
              <a:gd name="T115" fmla="*/ 2294 h 3061"/>
              <a:gd name="T116" fmla="*/ 578 w 770"/>
              <a:gd name="T117" fmla="*/ 2217 h 3061"/>
              <a:gd name="T118" fmla="*/ 519 w 770"/>
              <a:gd name="T119" fmla="*/ 1970 h 3061"/>
              <a:gd name="T120" fmla="*/ 485 w 770"/>
              <a:gd name="T121" fmla="*/ 1828 h 30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70" h="3061">
                <a:moveTo>
                  <a:pt x="475" y="1792"/>
                </a:moveTo>
                <a:lnTo>
                  <a:pt x="475" y="1792"/>
                </a:lnTo>
                <a:cubicBezTo>
                  <a:pt x="475" y="1791"/>
                  <a:pt x="475" y="1790"/>
                  <a:pt x="474" y="1790"/>
                </a:cubicBezTo>
                <a:cubicBezTo>
                  <a:pt x="474" y="1787"/>
                  <a:pt x="475" y="1784"/>
                  <a:pt x="475" y="1782"/>
                </a:cubicBezTo>
                <a:cubicBezTo>
                  <a:pt x="475" y="1781"/>
                  <a:pt x="475" y="1779"/>
                  <a:pt x="475" y="1778"/>
                </a:cubicBezTo>
                <a:cubicBezTo>
                  <a:pt x="475" y="1777"/>
                  <a:pt x="475" y="1776"/>
                  <a:pt x="475" y="1775"/>
                </a:cubicBezTo>
                <a:cubicBezTo>
                  <a:pt x="474" y="1774"/>
                  <a:pt x="473" y="1774"/>
                  <a:pt x="473" y="1773"/>
                </a:cubicBezTo>
                <a:cubicBezTo>
                  <a:pt x="472" y="1773"/>
                  <a:pt x="471" y="1772"/>
                  <a:pt x="471" y="1771"/>
                </a:cubicBezTo>
                <a:cubicBezTo>
                  <a:pt x="471" y="1769"/>
                  <a:pt x="472" y="1769"/>
                  <a:pt x="472" y="1768"/>
                </a:cubicBezTo>
                <a:cubicBezTo>
                  <a:pt x="473" y="1767"/>
                  <a:pt x="471" y="1767"/>
                  <a:pt x="471" y="1766"/>
                </a:cubicBezTo>
                <a:cubicBezTo>
                  <a:pt x="471" y="1765"/>
                  <a:pt x="471" y="1765"/>
                  <a:pt x="471" y="1765"/>
                </a:cubicBezTo>
                <a:cubicBezTo>
                  <a:pt x="472" y="1764"/>
                  <a:pt x="472" y="1764"/>
                  <a:pt x="472" y="1763"/>
                </a:cubicBezTo>
                <a:cubicBezTo>
                  <a:pt x="472" y="1763"/>
                  <a:pt x="472" y="1763"/>
                  <a:pt x="472" y="1763"/>
                </a:cubicBezTo>
                <a:cubicBezTo>
                  <a:pt x="472" y="1763"/>
                  <a:pt x="472" y="1762"/>
                  <a:pt x="472" y="1762"/>
                </a:cubicBezTo>
                <a:cubicBezTo>
                  <a:pt x="472" y="1762"/>
                  <a:pt x="472" y="1761"/>
                  <a:pt x="472" y="1761"/>
                </a:cubicBezTo>
                <a:cubicBezTo>
                  <a:pt x="472" y="1760"/>
                  <a:pt x="471" y="1759"/>
                  <a:pt x="471" y="1758"/>
                </a:cubicBezTo>
                <a:cubicBezTo>
                  <a:pt x="471" y="1757"/>
                  <a:pt x="470" y="1756"/>
                  <a:pt x="470" y="1754"/>
                </a:cubicBezTo>
                <a:cubicBezTo>
                  <a:pt x="469" y="1752"/>
                  <a:pt x="469" y="1749"/>
                  <a:pt x="467" y="1747"/>
                </a:cubicBezTo>
                <a:cubicBezTo>
                  <a:pt x="466" y="1746"/>
                  <a:pt x="466" y="1747"/>
                  <a:pt x="465" y="1747"/>
                </a:cubicBezTo>
                <a:cubicBezTo>
                  <a:pt x="464" y="1747"/>
                  <a:pt x="464" y="1747"/>
                  <a:pt x="464" y="1747"/>
                </a:cubicBezTo>
                <a:cubicBezTo>
                  <a:pt x="464" y="1746"/>
                  <a:pt x="464" y="1745"/>
                  <a:pt x="464" y="1745"/>
                </a:cubicBezTo>
                <a:cubicBezTo>
                  <a:pt x="464" y="1744"/>
                  <a:pt x="463" y="1743"/>
                  <a:pt x="463" y="1742"/>
                </a:cubicBezTo>
                <a:cubicBezTo>
                  <a:pt x="463" y="1740"/>
                  <a:pt x="462" y="1738"/>
                  <a:pt x="462" y="1736"/>
                </a:cubicBezTo>
                <a:cubicBezTo>
                  <a:pt x="462" y="1735"/>
                  <a:pt x="463" y="1730"/>
                  <a:pt x="460" y="1730"/>
                </a:cubicBezTo>
                <a:cubicBezTo>
                  <a:pt x="460" y="1730"/>
                  <a:pt x="460" y="1730"/>
                  <a:pt x="460" y="1730"/>
                </a:cubicBezTo>
                <a:cubicBezTo>
                  <a:pt x="459" y="1730"/>
                  <a:pt x="459" y="1727"/>
                  <a:pt x="459" y="1727"/>
                </a:cubicBezTo>
                <a:cubicBezTo>
                  <a:pt x="458" y="1717"/>
                  <a:pt x="457" y="1711"/>
                  <a:pt x="454" y="1701"/>
                </a:cubicBezTo>
                <a:cubicBezTo>
                  <a:pt x="454" y="1699"/>
                  <a:pt x="452" y="1696"/>
                  <a:pt x="452" y="1694"/>
                </a:cubicBezTo>
                <a:cubicBezTo>
                  <a:pt x="452" y="1693"/>
                  <a:pt x="453" y="1693"/>
                  <a:pt x="453" y="1692"/>
                </a:cubicBezTo>
                <a:cubicBezTo>
                  <a:pt x="453" y="1691"/>
                  <a:pt x="453" y="1690"/>
                  <a:pt x="453" y="1689"/>
                </a:cubicBezTo>
                <a:cubicBezTo>
                  <a:pt x="453" y="1688"/>
                  <a:pt x="452" y="1686"/>
                  <a:pt x="452" y="1685"/>
                </a:cubicBezTo>
                <a:cubicBezTo>
                  <a:pt x="452" y="1684"/>
                  <a:pt x="453" y="1683"/>
                  <a:pt x="453" y="1682"/>
                </a:cubicBezTo>
                <a:cubicBezTo>
                  <a:pt x="453" y="1681"/>
                  <a:pt x="452" y="1680"/>
                  <a:pt x="450" y="1680"/>
                </a:cubicBezTo>
                <a:cubicBezTo>
                  <a:pt x="449" y="1679"/>
                  <a:pt x="449" y="1678"/>
                  <a:pt x="448" y="1677"/>
                </a:cubicBezTo>
                <a:cubicBezTo>
                  <a:pt x="448" y="1675"/>
                  <a:pt x="448" y="1673"/>
                  <a:pt x="447" y="1671"/>
                </a:cubicBezTo>
                <a:cubicBezTo>
                  <a:pt x="446" y="1666"/>
                  <a:pt x="444" y="1661"/>
                  <a:pt x="444" y="1660"/>
                </a:cubicBezTo>
                <a:cubicBezTo>
                  <a:pt x="444" y="1660"/>
                  <a:pt x="444" y="1659"/>
                  <a:pt x="444" y="1658"/>
                </a:cubicBezTo>
                <a:cubicBezTo>
                  <a:pt x="444" y="1657"/>
                  <a:pt x="444" y="1656"/>
                  <a:pt x="445" y="1656"/>
                </a:cubicBezTo>
                <a:cubicBezTo>
                  <a:pt x="445" y="1655"/>
                  <a:pt x="445" y="1654"/>
                  <a:pt x="445" y="1653"/>
                </a:cubicBezTo>
                <a:cubicBezTo>
                  <a:pt x="445" y="1652"/>
                  <a:pt x="445" y="1650"/>
                  <a:pt x="444" y="1649"/>
                </a:cubicBezTo>
                <a:cubicBezTo>
                  <a:pt x="444" y="1648"/>
                  <a:pt x="444" y="1648"/>
                  <a:pt x="444" y="1647"/>
                </a:cubicBezTo>
                <a:cubicBezTo>
                  <a:pt x="444" y="1647"/>
                  <a:pt x="443" y="1647"/>
                  <a:pt x="443" y="1646"/>
                </a:cubicBezTo>
                <a:cubicBezTo>
                  <a:pt x="440" y="1645"/>
                  <a:pt x="440" y="1641"/>
                  <a:pt x="440" y="1638"/>
                </a:cubicBezTo>
                <a:cubicBezTo>
                  <a:pt x="440" y="1636"/>
                  <a:pt x="440" y="1635"/>
                  <a:pt x="439" y="1633"/>
                </a:cubicBezTo>
                <a:cubicBezTo>
                  <a:pt x="439" y="1632"/>
                  <a:pt x="439" y="1632"/>
                  <a:pt x="438" y="1631"/>
                </a:cubicBezTo>
                <a:cubicBezTo>
                  <a:pt x="438" y="1631"/>
                  <a:pt x="437" y="1631"/>
                  <a:pt x="437" y="1631"/>
                </a:cubicBezTo>
                <a:cubicBezTo>
                  <a:pt x="436" y="1630"/>
                  <a:pt x="435" y="1629"/>
                  <a:pt x="435" y="1627"/>
                </a:cubicBezTo>
                <a:cubicBezTo>
                  <a:pt x="435" y="1626"/>
                  <a:pt x="435" y="1625"/>
                  <a:pt x="435" y="1624"/>
                </a:cubicBezTo>
                <a:cubicBezTo>
                  <a:pt x="435" y="1622"/>
                  <a:pt x="434" y="1620"/>
                  <a:pt x="433" y="1619"/>
                </a:cubicBezTo>
                <a:cubicBezTo>
                  <a:pt x="433" y="1616"/>
                  <a:pt x="432" y="1614"/>
                  <a:pt x="432" y="1612"/>
                </a:cubicBezTo>
                <a:cubicBezTo>
                  <a:pt x="430" y="1606"/>
                  <a:pt x="428" y="1599"/>
                  <a:pt x="427" y="1597"/>
                </a:cubicBezTo>
                <a:cubicBezTo>
                  <a:pt x="427" y="1596"/>
                  <a:pt x="426" y="1593"/>
                  <a:pt x="425" y="1592"/>
                </a:cubicBezTo>
                <a:cubicBezTo>
                  <a:pt x="425" y="1592"/>
                  <a:pt x="425" y="1592"/>
                  <a:pt x="425" y="1592"/>
                </a:cubicBezTo>
                <a:cubicBezTo>
                  <a:pt x="424" y="1590"/>
                  <a:pt x="425" y="1588"/>
                  <a:pt x="425" y="1587"/>
                </a:cubicBezTo>
                <a:cubicBezTo>
                  <a:pt x="425" y="1586"/>
                  <a:pt x="424" y="1584"/>
                  <a:pt x="424" y="1583"/>
                </a:cubicBezTo>
                <a:cubicBezTo>
                  <a:pt x="423" y="1579"/>
                  <a:pt x="422" y="1576"/>
                  <a:pt x="421" y="1572"/>
                </a:cubicBezTo>
                <a:cubicBezTo>
                  <a:pt x="421" y="1569"/>
                  <a:pt x="420" y="1566"/>
                  <a:pt x="420" y="1563"/>
                </a:cubicBezTo>
                <a:cubicBezTo>
                  <a:pt x="419" y="1561"/>
                  <a:pt x="419" y="1557"/>
                  <a:pt x="417" y="1555"/>
                </a:cubicBezTo>
                <a:cubicBezTo>
                  <a:pt x="417" y="1555"/>
                  <a:pt x="416" y="1554"/>
                  <a:pt x="416" y="1554"/>
                </a:cubicBezTo>
                <a:cubicBezTo>
                  <a:pt x="416" y="1554"/>
                  <a:pt x="416" y="1554"/>
                  <a:pt x="416" y="1553"/>
                </a:cubicBezTo>
                <a:cubicBezTo>
                  <a:pt x="416" y="1552"/>
                  <a:pt x="416" y="1551"/>
                  <a:pt x="416" y="1550"/>
                </a:cubicBezTo>
                <a:cubicBezTo>
                  <a:pt x="416" y="1549"/>
                  <a:pt x="416" y="1548"/>
                  <a:pt x="416" y="1547"/>
                </a:cubicBezTo>
                <a:cubicBezTo>
                  <a:pt x="416" y="1544"/>
                  <a:pt x="415" y="1542"/>
                  <a:pt x="414" y="1540"/>
                </a:cubicBezTo>
                <a:cubicBezTo>
                  <a:pt x="413" y="1538"/>
                  <a:pt x="413" y="1536"/>
                  <a:pt x="412" y="1534"/>
                </a:cubicBezTo>
                <a:cubicBezTo>
                  <a:pt x="412" y="1533"/>
                  <a:pt x="412" y="1532"/>
                  <a:pt x="411" y="1532"/>
                </a:cubicBezTo>
                <a:cubicBezTo>
                  <a:pt x="411" y="1531"/>
                  <a:pt x="410" y="1531"/>
                  <a:pt x="409" y="1530"/>
                </a:cubicBezTo>
                <a:cubicBezTo>
                  <a:pt x="409" y="1530"/>
                  <a:pt x="409" y="1529"/>
                  <a:pt x="409" y="1528"/>
                </a:cubicBezTo>
                <a:cubicBezTo>
                  <a:pt x="408" y="1525"/>
                  <a:pt x="407" y="1522"/>
                  <a:pt x="406" y="1519"/>
                </a:cubicBezTo>
                <a:cubicBezTo>
                  <a:pt x="405" y="1516"/>
                  <a:pt x="405" y="1513"/>
                  <a:pt x="405" y="1509"/>
                </a:cubicBezTo>
                <a:cubicBezTo>
                  <a:pt x="404" y="1506"/>
                  <a:pt x="403" y="1502"/>
                  <a:pt x="402" y="1499"/>
                </a:cubicBezTo>
                <a:cubicBezTo>
                  <a:pt x="401" y="1496"/>
                  <a:pt x="403" y="1493"/>
                  <a:pt x="402" y="1490"/>
                </a:cubicBezTo>
                <a:cubicBezTo>
                  <a:pt x="402" y="1487"/>
                  <a:pt x="401" y="1484"/>
                  <a:pt x="400" y="1481"/>
                </a:cubicBezTo>
                <a:cubicBezTo>
                  <a:pt x="400" y="1480"/>
                  <a:pt x="399" y="1478"/>
                  <a:pt x="399" y="1477"/>
                </a:cubicBezTo>
                <a:cubicBezTo>
                  <a:pt x="398" y="1476"/>
                  <a:pt x="398" y="1475"/>
                  <a:pt x="398" y="1474"/>
                </a:cubicBezTo>
                <a:cubicBezTo>
                  <a:pt x="398" y="1473"/>
                  <a:pt x="398" y="1473"/>
                  <a:pt x="398" y="1472"/>
                </a:cubicBezTo>
                <a:cubicBezTo>
                  <a:pt x="398" y="1470"/>
                  <a:pt x="398" y="1467"/>
                  <a:pt x="397" y="1465"/>
                </a:cubicBezTo>
                <a:cubicBezTo>
                  <a:pt x="397" y="1462"/>
                  <a:pt x="396" y="1459"/>
                  <a:pt x="396" y="1456"/>
                </a:cubicBezTo>
                <a:cubicBezTo>
                  <a:pt x="396" y="1455"/>
                  <a:pt x="395" y="1453"/>
                  <a:pt x="394" y="1451"/>
                </a:cubicBezTo>
                <a:cubicBezTo>
                  <a:pt x="393" y="1450"/>
                  <a:pt x="392" y="1449"/>
                  <a:pt x="392" y="1447"/>
                </a:cubicBezTo>
                <a:cubicBezTo>
                  <a:pt x="392" y="1447"/>
                  <a:pt x="392" y="1446"/>
                  <a:pt x="392" y="1446"/>
                </a:cubicBezTo>
                <a:cubicBezTo>
                  <a:pt x="392" y="1446"/>
                  <a:pt x="392" y="1445"/>
                  <a:pt x="392" y="1444"/>
                </a:cubicBezTo>
                <a:cubicBezTo>
                  <a:pt x="391" y="1443"/>
                  <a:pt x="391" y="1441"/>
                  <a:pt x="390" y="1440"/>
                </a:cubicBezTo>
                <a:cubicBezTo>
                  <a:pt x="389" y="1439"/>
                  <a:pt x="389" y="1439"/>
                  <a:pt x="389" y="1439"/>
                </a:cubicBezTo>
                <a:cubicBezTo>
                  <a:pt x="389" y="1438"/>
                  <a:pt x="388" y="1438"/>
                  <a:pt x="388" y="1438"/>
                </a:cubicBezTo>
                <a:cubicBezTo>
                  <a:pt x="388" y="1436"/>
                  <a:pt x="387" y="1434"/>
                  <a:pt x="387" y="1432"/>
                </a:cubicBezTo>
                <a:cubicBezTo>
                  <a:pt x="387" y="1429"/>
                  <a:pt x="387" y="1427"/>
                  <a:pt x="387" y="1424"/>
                </a:cubicBezTo>
                <a:cubicBezTo>
                  <a:pt x="387" y="1422"/>
                  <a:pt x="387" y="1420"/>
                  <a:pt x="387" y="1417"/>
                </a:cubicBezTo>
                <a:cubicBezTo>
                  <a:pt x="386" y="1415"/>
                  <a:pt x="385" y="1413"/>
                  <a:pt x="385" y="1411"/>
                </a:cubicBezTo>
                <a:cubicBezTo>
                  <a:pt x="385" y="1410"/>
                  <a:pt x="385" y="1410"/>
                  <a:pt x="385" y="1410"/>
                </a:cubicBezTo>
                <a:cubicBezTo>
                  <a:pt x="385" y="1410"/>
                  <a:pt x="385" y="1409"/>
                  <a:pt x="385" y="1409"/>
                </a:cubicBezTo>
                <a:cubicBezTo>
                  <a:pt x="385" y="1409"/>
                  <a:pt x="385" y="1408"/>
                  <a:pt x="385" y="1408"/>
                </a:cubicBezTo>
                <a:cubicBezTo>
                  <a:pt x="384" y="1406"/>
                  <a:pt x="384" y="1405"/>
                  <a:pt x="384" y="1403"/>
                </a:cubicBezTo>
                <a:cubicBezTo>
                  <a:pt x="384" y="1402"/>
                  <a:pt x="384" y="1401"/>
                  <a:pt x="384" y="1400"/>
                </a:cubicBezTo>
                <a:cubicBezTo>
                  <a:pt x="384" y="1399"/>
                  <a:pt x="383" y="1397"/>
                  <a:pt x="382" y="1397"/>
                </a:cubicBezTo>
                <a:cubicBezTo>
                  <a:pt x="381" y="1396"/>
                  <a:pt x="382" y="1398"/>
                  <a:pt x="380" y="1398"/>
                </a:cubicBezTo>
                <a:cubicBezTo>
                  <a:pt x="379" y="1398"/>
                  <a:pt x="379" y="1395"/>
                  <a:pt x="378" y="1394"/>
                </a:cubicBezTo>
                <a:cubicBezTo>
                  <a:pt x="378" y="1392"/>
                  <a:pt x="378" y="1391"/>
                  <a:pt x="377" y="1389"/>
                </a:cubicBezTo>
                <a:cubicBezTo>
                  <a:pt x="377" y="1387"/>
                  <a:pt x="376" y="1385"/>
                  <a:pt x="376" y="1383"/>
                </a:cubicBezTo>
                <a:cubicBezTo>
                  <a:pt x="376" y="1381"/>
                  <a:pt x="375" y="1380"/>
                  <a:pt x="377" y="1380"/>
                </a:cubicBezTo>
                <a:cubicBezTo>
                  <a:pt x="378" y="1379"/>
                  <a:pt x="378" y="1378"/>
                  <a:pt x="378" y="1377"/>
                </a:cubicBezTo>
                <a:cubicBezTo>
                  <a:pt x="378" y="1377"/>
                  <a:pt x="378" y="1377"/>
                  <a:pt x="378" y="1377"/>
                </a:cubicBezTo>
                <a:cubicBezTo>
                  <a:pt x="378" y="1376"/>
                  <a:pt x="378" y="1376"/>
                  <a:pt x="378" y="1376"/>
                </a:cubicBezTo>
                <a:cubicBezTo>
                  <a:pt x="378" y="1376"/>
                  <a:pt x="378" y="1375"/>
                  <a:pt x="378" y="1375"/>
                </a:cubicBezTo>
                <a:cubicBezTo>
                  <a:pt x="378" y="1374"/>
                  <a:pt x="378" y="1373"/>
                  <a:pt x="377" y="1372"/>
                </a:cubicBezTo>
                <a:cubicBezTo>
                  <a:pt x="377" y="1372"/>
                  <a:pt x="377" y="1372"/>
                  <a:pt x="377" y="1372"/>
                </a:cubicBezTo>
                <a:cubicBezTo>
                  <a:pt x="377" y="1371"/>
                  <a:pt x="377" y="1371"/>
                  <a:pt x="377" y="1371"/>
                </a:cubicBezTo>
                <a:cubicBezTo>
                  <a:pt x="377" y="1370"/>
                  <a:pt x="376" y="1368"/>
                  <a:pt x="376" y="1367"/>
                </a:cubicBezTo>
                <a:cubicBezTo>
                  <a:pt x="376" y="1366"/>
                  <a:pt x="375" y="1364"/>
                  <a:pt x="375" y="1362"/>
                </a:cubicBezTo>
                <a:cubicBezTo>
                  <a:pt x="374" y="1360"/>
                  <a:pt x="375" y="1359"/>
                  <a:pt x="374" y="1357"/>
                </a:cubicBezTo>
                <a:cubicBezTo>
                  <a:pt x="374" y="1356"/>
                  <a:pt x="374" y="1355"/>
                  <a:pt x="374" y="1354"/>
                </a:cubicBezTo>
                <a:cubicBezTo>
                  <a:pt x="374" y="1354"/>
                  <a:pt x="373" y="1353"/>
                  <a:pt x="373" y="1353"/>
                </a:cubicBezTo>
                <a:cubicBezTo>
                  <a:pt x="372" y="1351"/>
                  <a:pt x="371" y="1349"/>
                  <a:pt x="371" y="1347"/>
                </a:cubicBezTo>
                <a:cubicBezTo>
                  <a:pt x="370" y="1346"/>
                  <a:pt x="370" y="1344"/>
                  <a:pt x="369" y="1343"/>
                </a:cubicBezTo>
                <a:cubicBezTo>
                  <a:pt x="368" y="1341"/>
                  <a:pt x="368" y="1340"/>
                  <a:pt x="368" y="1338"/>
                </a:cubicBezTo>
                <a:cubicBezTo>
                  <a:pt x="367" y="1336"/>
                  <a:pt x="367" y="1334"/>
                  <a:pt x="367" y="1332"/>
                </a:cubicBezTo>
                <a:cubicBezTo>
                  <a:pt x="367" y="1331"/>
                  <a:pt x="367" y="1330"/>
                  <a:pt x="366" y="1330"/>
                </a:cubicBezTo>
                <a:cubicBezTo>
                  <a:pt x="366" y="1329"/>
                  <a:pt x="365" y="1328"/>
                  <a:pt x="366" y="1327"/>
                </a:cubicBezTo>
                <a:cubicBezTo>
                  <a:pt x="366" y="1326"/>
                  <a:pt x="366" y="1327"/>
                  <a:pt x="366" y="1327"/>
                </a:cubicBezTo>
                <a:cubicBezTo>
                  <a:pt x="367" y="1327"/>
                  <a:pt x="367" y="1327"/>
                  <a:pt x="367" y="1326"/>
                </a:cubicBezTo>
                <a:cubicBezTo>
                  <a:pt x="367" y="1326"/>
                  <a:pt x="368" y="1326"/>
                  <a:pt x="368" y="1326"/>
                </a:cubicBezTo>
                <a:cubicBezTo>
                  <a:pt x="368" y="1325"/>
                  <a:pt x="367" y="1325"/>
                  <a:pt x="367" y="1325"/>
                </a:cubicBezTo>
                <a:cubicBezTo>
                  <a:pt x="367" y="1324"/>
                  <a:pt x="367" y="1324"/>
                  <a:pt x="366" y="1324"/>
                </a:cubicBezTo>
                <a:cubicBezTo>
                  <a:pt x="366" y="1324"/>
                  <a:pt x="366" y="1324"/>
                  <a:pt x="366" y="1324"/>
                </a:cubicBezTo>
                <a:cubicBezTo>
                  <a:pt x="366" y="1323"/>
                  <a:pt x="366" y="1323"/>
                  <a:pt x="366" y="1323"/>
                </a:cubicBezTo>
                <a:cubicBezTo>
                  <a:pt x="366" y="1323"/>
                  <a:pt x="367" y="1323"/>
                  <a:pt x="366" y="1322"/>
                </a:cubicBezTo>
                <a:cubicBezTo>
                  <a:pt x="366" y="1322"/>
                  <a:pt x="366" y="1322"/>
                  <a:pt x="366" y="1322"/>
                </a:cubicBezTo>
                <a:cubicBezTo>
                  <a:pt x="366" y="1321"/>
                  <a:pt x="366" y="1320"/>
                  <a:pt x="365" y="1319"/>
                </a:cubicBezTo>
                <a:cubicBezTo>
                  <a:pt x="365" y="1318"/>
                  <a:pt x="365" y="1316"/>
                  <a:pt x="365" y="1315"/>
                </a:cubicBezTo>
                <a:cubicBezTo>
                  <a:pt x="364" y="1311"/>
                  <a:pt x="363" y="1308"/>
                  <a:pt x="362" y="1305"/>
                </a:cubicBezTo>
                <a:cubicBezTo>
                  <a:pt x="361" y="1303"/>
                  <a:pt x="361" y="1301"/>
                  <a:pt x="360" y="1300"/>
                </a:cubicBezTo>
                <a:cubicBezTo>
                  <a:pt x="360" y="1299"/>
                  <a:pt x="360" y="1298"/>
                  <a:pt x="359" y="1298"/>
                </a:cubicBezTo>
                <a:cubicBezTo>
                  <a:pt x="358" y="1297"/>
                  <a:pt x="358" y="1297"/>
                  <a:pt x="358" y="1295"/>
                </a:cubicBezTo>
                <a:cubicBezTo>
                  <a:pt x="358" y="1295"/>
                  <a:pt x="358" y="1295"/>
                  <a:pt x="358" y="1295"/>
                </a:cubicBezTo>
                <a:cubicBezTo>
                  <a:pt x="358" y="1295"/>
                  <a:pt x="358" y="1294"/>
                  <a:pt x="358" y="1294"/>
                </a:cubicBezTo>
                <a:cubicBezTo>
                  <a:pt x="358" y="1294"/>
                  <a:pt x="359" y="1293"/>
                  <a:pt x="359" y="1292"/>
                </a:cubicBezTo>
                <a:cubicBezTo>
                  <a:pt x="359" y="1292"/>
                  <a:pt x="358" y="1291"/>
                  <a:pt x="358" y="1291"/>
                </a:cubicBezTo>
                <a:cubicBezTo>
                  <a:pt x="358" y="1291"/>
                  <a:pt x="357" y="1291"/>
                  <a:pt x="357" y="1291"/>
                </a:cubicBezTo>
                <a:cubicBezTo>
                  <a:pt x="356" y="1290"/>
                  <a:pt x="356" y="1290"/>
                  <a:pt x="355" y="1289"/>
                </a:cubicBezTo>
                <a:cubicBezTo>
                  <a:pt x="355" y="1288"/>
                  <a:pt x="355" y="1288"/>
                  <a:pt x="355" y="1287"/>
                </a:cubicBezTo>
                <a:cubicBezTo>
                  <a:pt x="354" y="1286"/>
                  <a:pt x="355" y="1285"/>
                  <a:pt x="354" y="1285"/>
                </a:cubicBezTo>
                <a:cubicBezTo>
                  <a:pt x="354" y="1283"/>
                  <a:pt x="353" y="1284"/>
                  <a:pt x="353" y="1283"/>
                </a:cubicBezTo>
                <a:cubicBezTo>
                  <a:pt x="352" y="1282"/>
                  <a:pt x="352" y="1280"/>
                  <a:pt x="351" y="1279"/>
                </a:cubicBezTo>
                <a:cubicBezTo>
                  <a:pt x="351" y="1277"/>
                  <a:pt x="351" y="1275"/>
                  <a:pt x="351" y="1274"/>
                </a:cubicBezTo>
                <a:cubicBezTo>
                  <a:pt x="351" y="1273"/>
                  <a:pt x="350" y="1272"/>
                  <a:pt x="351" y="1271"/>
                </a:cubicBezTo>
                <a:cubicBezTo>
                  <a:pt x="351" y="1270"/>
                  <a:pt x="352" y="1270"/>
                  <a:pt x="352" y="1269"/>
                </a:cubicBezTo>
                <a:cubicBezTo>
                  <a:pt x="352" y="1268"/>
                  <a:pt x="351" y="1267"/>
                  <a:pt x="351" y="1267"/>
                </a:cubicBezTo>
                <a:cubicBezTo>
                  <a:pt x="350" y="1267"/>
                  <a:pt x="350" y="1267"/>
                  <a:pt x="350" y="1267"/>
                </a:cubicBezTo>
                <a:cubicBezTo>
                  <a:pt x="349" y="1267"/>
                  <a:pt x="349" y="1266"/>
                  <a:pt x="350" y="1266"/>
                </a:cubicBezTo>
                <a:cubicBezTo>
                  <a:pt x="350" y="1266"/>
                  <a:pt x="351" y="1265"/>
                  <a:pt x="351" y="1265"/>
                </a:cubicBezTo>
                <a:cubicBezTo>
                  <a:pt x="351" y="1265"/>
                  <a:pt x="351" y="1264"/>
                  <a:pt x="350" y="1264"/>
                </a:cubicBezTo>
                <a:cubicBezTo>
                  <a:pt x="350" y="1264"/>
                  <a:pt x="349" y="1264"/>
                  <a:pt x="348" y="1263"/>
                </a:cubicBezTo>
                <a:cubicBezTo>
                  <a:pt x="348" y="1263"/>
                  <a:pt x="348" y="1262"/>
                  <a:pt x="348" y="1261"/>
                </a:cubicBezTo>
                <a:cubicBezTo>
                  <a:pt x="348" y="1261"/>
                  <a:pt x="348" y="1261"/>
                  <a:pt x="348" y="1261"/>
                </a:cubicBezTo>
                <a:cubicBezTo>
                  <a:pt x="348" y="1260"/>
                  <a:pt x="348" y="1259"/>
                  <a:pt x="348" y="1258"/>
                </a:cubicBezTo>
                <a:cubicBezTo>
                  <a:pt x="349" y="1257"/>
                  <a:pt x="349" y="1257"/>
                  <a:pt x="349" y="1256"/>
                </a:cubicBezTo>
                <a:cubicBezTo>
                  <a:pt x="349" y="1255"/>
                  <a:pt x="349" y="1255"/>
                  <a:pt x="349" y="1254"/>
                </a:cubicBezTo>
                <a:cubicBezTo>
                  <a:pt x="349" y="1254"/>
                  <a:pt x="349" y="1253"/>
                  <a:pt x="348" y="1253"/>
                </a:cubicBezTo>
                <a:cubicBezTo>
                  <a:pt x="348" y="1253"/>
                  <a:pt x="347" y="1253"/>
                  <a:pt x="347" y="1252"/>
                </a:cubicBezTo>
                <a:cubicBezTo>
                  <a:pt x="347" y="1252"/>
                  <a:pt x="347" y="1252"/>
                  <a:pt x="347" y="1252"/>
                </a:cubicBezTo>
                <a:cubicBezTo>
                  <a:pt x="346" y="1252"/>
                  <a:pt x="346" y="1252"/>
                  <a:pt x="346" y="1252"/>
                </a:cubicBezTo>
                <a:cubicBezTo>
                  <a:pt x="345" y="1252"/>
                  <a:pt x="345" y="1251"/>
                  <a:pt x="345" y="1251"/>
                </a:cubicBezTo>
                <a:cubicBezTo>
                  <a:pt x="345" y="1250"/>
                  <a:pt x="345" y="1250"/>
                  <a:pt x="344" y="1249"/>
                </a:cubicBezTo>
                <a:cubicBezTo>
                  <a:pt x="344" y="1248"/>
                  <a:pt x="344" y="1247"/>
                  <a:pt x="344" y="1247"/>
                </a:cubicBezTo>
                <a:cubicBezTo>
                  <a:pt x="344" y="1245"/>
                  <a:pt x="344" y="1243"/>
                  <a:pt x="343" y="1241"/>
                </a:cubicBezTo>
                <a:cubicBezTo>
                  <a:pt x="343" y="1240"/>
                  <a:pt x="343" y="1236"/>
                  <a:pt x="344" y="1235"/>
                </a:cubicBezTo>
                <a:cubicBezTo>
                  <a:pt x="344" y="1235"/>
                  <a:pt x="344" y="1233"/>
                  <a:pt x="343" y="1232"/>
                </a:cubicBezTo>
                <a:cubicBezTo>
                  <a:pt x="343" y="1231"/>
                  <a:pt x="343" y="1230"/>
                  <a:pt x="343" y="1229"/>
                </a:cubicBezTo>
                <a:cubicBezTo>
                  <a:pt x="342" y="1228"/>
                  <a:pt x="339" y="1228"/>
                  <a:pt x="339" y="1227"/>
                </a:cubicBezTo>
                <a:cubicBezTo>
                  <a:pt x="339" y="1226"/>
                  <a:pt x="339" y="1225"/>
                  <a:pt x="339" y="1224"/>
                </a:cubicBezTo>
                <a:cubicBezTo>
                  <a:pt x="340" y="1222"/>
                  <a:pt x="340" y="1221"/>
                  <a:pt x="340" y="1219"/>
                </a:cubicBezTo>
                <a:cubicBezTo>
                  <a:pt x="340" y="1218"/>
                  <a:pt x="341" y="1217"/>
                  <a:pt x="340" y="1216"/>
                </a:cubicBezTo>
                <a:cubicBezTo>
                  <a:pt x="339" y="1216"/>
                  <a:pt x="339" y="1216"/>
                  <a:pt x="339" y="1216"/>
                </a:cubicBezTo>
                <a:cubicBezTo>
                  <a:pt x="338" y="1216"/>
                  <a:pt x="337" y="1216"/>
                  <a:pt x="337" y="1215"/>
                </a:cubicBezTo>
                <a:cubicBezTo>
                  <a:pt x="337" y="1214"/>
                  <a:pt x="337" y="1213"/>
                  <a:pt x="337" y="1213"/>
                </a:cubicBezTo>
                <a:cubicBezTo>
                  <a:pt x="336" y="1212"/>
                  <a:pt x="336" y="1209"/>
                  <a:pt x="334" y="1209"/>
                </a:cubicBezTo>
                <a:cubicBezTo>
                  <a:pt x="334" y="1208"/>
                  <a:pt x="334" y="1208"/>
                  <a:pt x="334" y="1208"/>
                </a:cubicBezTo>
                <a:cubicBezTo>
                  <a:pt x="334" y="1208"/>
                  <a:pt x="334" y="1207"/>
                  <a:pt x="334" y="1206"/>
                </a:cubicBezTo>
                <a:cubicBezTo>
                  <a:pt x="334" y="1206"/>
                  <a:pt x="334" y="1206"/>
                  <a:pt x="334" y="1206"/>
                </a:cubicBezTo>
                <a:cubicBezTo>
                  <a:pt x="333" y="1205"/>
                  <a:pt x="333" y="1205"/>
                  <a:pt x="333" y="1204"/>
                </a:cubicBezTo>
                <a:cubicBezTo>
                  <a:pt x="334" y="1204"/>
                  <a:pt x="334" y="1204"/>
                  <a:pt x="334" y="1204"/>
                </a:cubicBezTo>
                <a:cubicBezTo>
                  <a:pt x="334" y="1203"/>
                  <a:pt x="333" y="1201"/>
                  <a:pt x="333" y="1200"/>
                </a:cubicBezTo>
                <a:cubicBezTo>
                  <a:pt x="333" y="1198"/>
                  <a:pt x="332" y="1197"/>
                  <a:pt x="332" y="1195"/>
                </a:cubicBezTo>
                <a:cubicBezTo>
                  <a:pt x="332" y="1194"/>
                  <a:pt x="332" y="1192"/>
                  <a:pt x="331" y="1191"/>
                </a:cubicBezTo>
                <a:cubicBezTo>
                  <a:pt x="331" y="1190"/>
                  <a:pt x="330" y="1190"/>
                  <a:pt x="330" y="1189"/>
                </a:cubicBezTo>
                <a:cubicBezTo>
                  <a:pt x="329" y="1188"/>
                  <a:pt x="329" y="1188"/>
                  <a:pt x="329" y="1187"/>
                </a:cubicBezTo>
                <a:cubicBezTo>
                  <a:pt x="329" y="1187"/>
                  <a:pt x="328" y="1186"/>
                  <a:pt x="328" y="1186"/>
                </a:cubicBezTo>
                <a:cubicBezTo>
                  <a:pt x="328" y="1186"/>
                  <a:pt x="328" y="1186"/>
                  <a:pt x="328" y="1185"/>
                </a:cubicBezTo>
                <a:cubicBezTo>
                  <a:pt x="328" y="1185"/>
                  <a:pt x="328" y="1185"/>
                  <a:pt x="328" y="1185"/>
                </a:cubicBezTo>
                <a:cubicBezTo>
                  <a:pt x="328" y="1185"/>
                  <a:pt x="328" y="1184"/>
                  <a:pt x="328" y="1184"/>
                </a:cubicBezTo>
                <a:cubicBezTo>
                  <a:pt x="328" y="1183"/>
                  <a:pt x="327" y="1181"/>
                  <a:pt x="327" y="1179"/>
                </a:cubicBezTo>
                <a:cubicBezTo>
                  <a:pt x="326" y="1178"/>
                  <a:pt x="326" y="1176"/>
                  <a:pt x="325" y="1174"/>
                </a:cubicBezTo>
                <a:cubicBezTo>
                  <a:pt x="324" y="1170"/>
                  <a:pt x="323" y="1166"/>
                  <a:pt x="322" y="1162"/>
                </a:cubicBezTo>
                <a:cubicBezTo>
                  <a:pt x="322" y="1160"/>
                  <a:pt x="322" y="1158"/>
                  <a:pt x="322" y="1156"/>
                </a:cubicBezTo>
                <a:cubicBezTo>
                  <a:pt x="322" y="1155"/>
                  <a:pt x="323" y="1155"/>
                  <a:pt x="322" y="1154"/>
                </a:cubicBezTo>
                <a:cubicBezTo>
                  <a:pt x="322" y="1153"/>
                  <a:pt x="321" y="1153"/>
                  <a:pt x="321" y="1153"/>
                </a:cubicBezTo>
                <a:cubicBezTo>
                  <a:pt x="320" y="1152"/>
                  <a:pt x="320" y="1150"/>
                  <a:pt x="320" y="1149"/>
                </a:cubicBezTo>
                <a:cubicBezTo>
                  <a:pt x="319" y="1146"/>
                  <a:pt x="318" y="1144"/>
                  <a:pt x="318" y="1141"/>
                </a:cubicBezTo>
                <a:cubicBezTo>
                  <a:pt x="318" y="1141"/>
                  <a:pt x="319" y="1141"/>
                  <a:pt x="319" y="1141"/>
                </a:cubicBezTo>
                <a:cubicBezTo>
                  <a:pt x="319" y="1140"/>
                  <a:pt x="319" y="1139"/>
                  <a:pt x="319" y="1138"/>
                </a:cubicBezTo>
                <a:cubicBezTo>
                  <a:pt x="318" y="1137"/>
                  <a:pt x="318" y="1137"/>
                  <a:pt x="318" y="1136"/>
                </a:cubicBezTo>
                <a:cubicBezTo>
                  <a:pt x="317" y="1136"/>
                  <a:pt x="316" y="1137"/>
                  <a:pt x="316" y="1137"/>
                </a:cubicBezTo>
                <a:cubicBezTo>
                  <a:pt x="315" y="1136"/>
                  <a:pt x="316" y="1136"/>
                  <a:pt x="316" y="1135"/>
                </a:cubicBezTo>
                <a:cubicBezTo>
                  <a:pt x="316" y="1134"/>
                  <a:pt x="315" y="1134"/>
                  <a:pt x="315" y="1133"/>
                </a:cubicBezTo>
                <a:cubicBezTo>
                  <a:pt x="315" y="1132"/>
                  <a:pt x="317" y="1131"/>
                  <a:pt x="316" y="1129"/>
                </a:cubicBezTo>
                <a:cubicBezTo>
                  <a:pt x="316" y="1129"/>
                  <a:pt x="315" y="1128"/>
                  <a:pt x="315" y="1127"/>
                </a:cubicBezTo>
                <a:cubicBezTo>
                  <a:pt x="315" y="1127"/>
                  <a:pt x="315" y="1126"/>
                  <a:pt x="315" y="1126"/>
                </a:cubicBezTo>
                <a:cubicBezTo>
                  <a:pt x="315" y="1125"/>
                  <a:pt x="314" y="1125"/>
                  <a:pt x="313" y="1124"/>
                </a:cubicBezTo>
                <a:cubicBezTo>
                  <a:pt x="313" y="1124"/>
                  <a:pt x="312" y="1123"/>
                  <a:pt x="313" y="1122"/>
                </a:cubicBezTo>
                <a:cubicBezTo>
                  <a:pt x="313" y="1122"/>
                  <a:pt x="313" y="1122"/>
                  <a:pt x="313" y="1121"/>
                </a:cubicBezTo>
                <a:cubicBezTo>
                  <a:pt x="313" y="1120"/>
                  <a:pt x="312" y="1118"/>
                  <a:pt x="312" y="1116"/>
                </a:cubicBezTo>
                <a:cubicBezTo>
                  <a:pt x="308" y="1101"/>
                  <a:pt x="306" y="1094"/>
                  <a:pt x="305" y="1094"/>
                </a:cubicBezTo>
                <a:cubicBezTo>
                  <a:pt x="305" y="1094"/>
                  <a:pt x="303" y="1085"/>
                  <a:pt x="303" y="1083"/>
                </a:cubicBezTo>
                <a:cubicBezTo>
                  <a:pt x="303" y="1082"/>
                  <a:pt x="304" y="1079"/>
                  <a:pt x="304" y="1078"/>
                </a:cubicBezTo>
                <a:cubicBezTo>
                  <a:pt x="303" y="1077"/>
                  <a:pt x="303" y="1076"/>
                  <a:pt x="303" y="1075"/>
                </a:cubicBezTo>
                <a:cubicBezTo>
                  <a:pt x="303" y="1075"/>
                  <a:pt x="304" y="1076"/>
                  <a:pt x="305" y="1076"/>
                </a:cubicBezTo>
                <a:cubicBezTo>
                  <a:pt x="305" y="1076"/>
                  <a:pt x="306" y="1075"/>
                  <a:pt x="306" y="1075"/>
                </a:cubicBezTo>
                <a:cubicBezTo>
                  <a:pt x="306" y="1074"/>
                  <a:pt x="305" y="1074"/>
                  <a:pt x="305" y="1073"/>
                </a:cubicBezTo>
                <a:cubicBezTo>
                  <a:pt x="304" y="1073"/>
                  <a:pt x="304" y="1072"/>
                  <a:pt x="303" y="1071"/>
                </a:cubicBezTo>
                <a:cubicBezTo>
                  <a:pt x="303" y="1070"/>
                  <a:pt x="302" y="1068"/>
                  <a:pt x="302" y="1067"/>
                </a:cubicBezTo>
                <a:cubicBezTo>
                  <a:pt x="302" y="1066"/>
                  <a:pt x="301" y="1066"/>
                  <a:pt x="302" y="1066"/>
                </a:cubicBezTo>
                <a:cubicBezTo>
                  <a:pt x="302" y="1065"/>
                  <a:pt x="302" y="1065"/>
                  <a:pt x="302" y="1065"/>
                </a:cubicBezTo>
                <a:cubicBezTo>
                  <a:pt x="303" y="1064"/>
                  <a:pt x="303" y="1064"/>
                  <a:pt x="303" y="1063"/>
                </a:cubicBezTo>
                <a:cubicBezTo>
                  <a:pt x="302" y="1063"/>
                  <a:pt x="302" y="1063"/>
                  <a:pt x="302" y="1063"/>
                </a:cubicBezTo>
                <a:cubicBezTo>
                  <a:pt x="299" y="1062"/>
                  <a:pt x="299" y="1058"/>
                  <a:pt x="298" y="1056"/>
                </a:cubicBezTo>
                <a:cubicBezTo>
                  <a:pt x="297" y="1051"/>
                  <a:pt x="296" y="1047"/>
                  <a:pt x="295" y="1045"/>
                </a:cubicBezTo>
                <a:cubicBezTo>
                  <a:pt x="294" y="1043"/>
                  <a:pt x="294" y="1041"/>
                  <a:pt x="292" y="1038"/>
                </a:cubicBezTo>
                <a:cubicBezTo>
                  <a:pt x="291" y="1037"/>
                  <a:pt x="291" y="1036"/>
                  <a:pt x="291" y="1035"/>
                </a:cubicBezTo>
                <a:cubicBezTo>
                  <a:pt x="291" y="1033"/>
                  <a:pt x="291" y="1032"/>
                  <a:pt x="291" y="1031"/>
                </a:cubicBezTo>
                <a:cubicBezTo>
                  <a:pt x="291" y="1030"/>
                  <a:pt x="291" y="1029"/>
                  <a:pt x="291" y="1028"/>
                </a:cubicBezTo>
                <a:cubicBezTo>
                  <a:pt x="290" y="1024"/>
                  <a:pt x="288" y="1020"/>
                  <a:pt x="287" y="1017"/>
                </a:cubicBezTo>
                <a:cubicBezTo>
                  <a:pt x="286" y="1012"/>
                  <a:pt x="285" y="1008"/>
                  <a:pt x="284" y="1004"/>
                </a:cubicBezTo>
                <a:cubicBezTo>
                  <a:pt x="280" y="990"/>
                  <a:pt x="277" y="975"/>
                  <a:pt x="276" y="971"/>
                </a:cubicBezTo>
                <a:cubicBezTo>
                  <a:pt x="275" y="969"/>
                  <a:pt x="275" y="968"/>
                  <a:pt x="274" y="966"/>
                </a:cubicBezTo>
                <a:cubicBezTo>
                  <a:pt x="274" y="965"/>
                  <a:pt x="274" y="963"/>
                  <a:pt x="273" y="963"/>
                </a:cubicBezTo>
                <a:cubicBezTo>
                  <a:pt x="273" y="962"/>
                  <a:pt x="273" y="962"/>
                  <a:pt x="274" y="962"/>
                </a:cubicBezTo>
                <a:cubicBezTo>
                  <a:pt x="274" y="962"/>
                  <a:pt x="274" y="962"/>
                  <a:pt x="274" y="961"/>
                </a:cubicBezTo>
                <a:cubicBezTo>
                  <a:pt x="274" y="961"/>
                  <a:pt x="273" y="961"/>
                  <a:pt x="273" y="960"/>
                </a:cubicBezTo>
                <a:cubicBezTo>
                  <a:pt x="273" y="960"/>
                  <a:pt x="272" y="960"/>
                  <a:pt x="272" y="960"/>
                </a:cubicBezTo>
                <a:cubicBezTo>
                  <a:pt x="271" y="958"/>
                  <a:pt x="271" y="955"/>
                  <a:pt x="271" y="954"/>
                </a:cubicBezTo>
                <a:cubicBezTo>
                  <a:pt x="271" y="953"/>
                  <a:pt x="271" y="950"/>
                  <a:pt x="270" y="949"/>
                </a:cubicBezTo>
                <a:cubicBezTo>
                  <a:pt x="270" y="949"/>
                  <a:pt x="270" y="949"/>
                  <a:pt x="270" y="949"/>
                </a:cubicBezTo>
                <a:cubicBezTo>
                  <a:pt x="269" y="949"/>
                  <a:pt x="269" y="948"/>
                  <a:pt x="269" y="948"/>
                </a:cubicBezTo>
                <a:cubicBezTo>
                  <a:pt x="268" y="948"/>
                  <a:pt x="268" y="948"/>
                  <a:pt x="268" y="947"/>
                </a:cubicBezTo>
                <a:cubicBezTo>
                  <a:pt x="267" y="946"/>
                  <a:pt x="268" y="945"/>
                  <a:pt x="269" y="945"/>
                </a:cubicBezTo>
                <a:cubicBezTo>
                  <a:pt x="269" y="945"/>
                  <a:pt x="270" y="945"/>
                  <a:pt x="270" y="945"/>
                </a:cubicBezTo>
                <a:cubicBezTo>
                  <a:pt x="270" y="945"/>
                  <a:pt x="270" y="945"/>
                  <a:pt x="270" y="944"/>
                </a:cubicBezTo>
                <a:cubicBezTo>
                  <a:pt x="270" y="944"/>
                  <a:pt x="270" y="944"/>
                  <a:pt x="269" y="944"/>
                </a:cubicBezTo>
                <a:cubicBezTo>
                  <a:pt x="268" y="942"/>
                  <a:pt x="268" y="940"/>
                  <a:pt x="268" y="939"/>
                </a:cubicBezTo>
                <a:cubicBezTo>
                  <a:pt x="267" y="938"/>
                  <a:pt x="266" y="935"/>
                  <a:pt x="266" y="933"/>
                </a:cubicBezTo>
                <a:cubicBezTo>
                  <a:pt x="266" y="933"/>
                  <a:pt x="266" y="933"/>
                  <a:pt x="266" y="933"/>
                </a:cubicBezTo>
                <a:cubicBezTo>
                  <a:pt x="266" y="932"/>
                  <a:pt x="266" y="932"/>
                  <a:pt x="266" y="931"/>
                </a:cubicBezTo>
                <a:cubicBezTo>
                  <a:pt x="266" y="930"/>
                  <a:pt x="266" y="929"/>
                  <a:pt x="265" y="927"/>
                </a:cubicBezTo>
                <a:cubicBezTo>
                  <a:pt x="265" y="926"/>
                  <a:pt x="264" y="921"/>
                  <a:pt x="262" y="917"/>
                </a:cubicBezTo>
                <a:cubicBezTo>
                  <a:pt x="262" y="915"/>
                  <a:pt x="261" y="913"/>
                  <a:pt x="261" y="911"/>
                </a:cubicBezTo>
                <a:cubicBezTo>
                  <a:pt x="260" y="910"/>
                  <a:pt x="261" y="909"/>
                  <a:pt x="260" y="908"/>
                </a:cubicBezTo>
                <a:cubicBezTo>
                  <a:pt x="260" y="908"/>
                  <a:pt x="259" y="907"/>
                  <a:pt x="259" y="907"/>
                </a:cubicBezTo>
                <a:cubicBezTo>
                  <a:pt x="258" y="906"/>
                  <a:pt x="258" y="906"/>
                  <a:pt x="258" y="905"/>
                </a:cubicBezTo>
                <a:cubicBezTo>
                  <a:pt x="258" y="905"/>
                  <a:pt x="259" y="904"/>
                  <a:pt x="259" y="904"/>
                </a:cubicBezTo>
                <a:cubicBezTo>
                  <a:pt x="259" y="903"/>
                  <a:pt x="259" y="903"/>
                  <a:pt x="259" y="902"/>
                </a:cubicBezTo>
                <a:cubicBezTo>
                  <a:pt x="258" y="901"/>
                  <a:pt x="258" y="899"/>
                  <a:pt x="258" y="898"/>
                </a:cubicBezTo>
                <a:cubicBezTo>
                  <a:pt x="257" y="895"/>
                  <a:pt x="256" y="892"/>
                  <a:pt x="255" y="889"/>
                </a:cubicBezTo>
                <a:cubicBezTo>
                  <a:pt x="255" y="886"/>
                  <a:pt x="254" y="883"/>
                  <a:pt x="254" y="880"/>
                </a:cubicBezTo>
                <a:cubicBezTo>
                  <a:pt x="253" y="878"/>
                  <a:pt x="253" y="874"/>
                  <a:pt x="251" y="872"/>
                </a:cubicBezTo>
                <a:cubicBezTo>
                  <a:pt x="251" y="872"/>
                  <a:pt x="251" y="872"/>
                  <a:pt x="251" y="872"/>
                </a:cubicBezTo>
                <a:cubicBezTo>
                  <a:pt x="250" y="872"/>
                  <a:pt x="250" y="871"/>
                  <a:pt x="250" y="871"/>
                </a:cubicBezTo>
                <a:cubicBezTo>
                  <a:pt x="250" y="870"/>
                  <a:pt x="250" y="870"/>
                  <a:pt x="250" y="870"/>
                </a:cubicBezTo>
                <a:cubicBezTo>
                  <a:pt x="250" y="870"/>
                  <a:pt x="250" y="869"/>
                  <a:pt x="249" y="869"/>
                </a:cubicBezTo>
                <a:cubicBezTo>
                  <a:pt x="249" y="867"/>
                  <a:pt x="248" y="865"/>
                  <a:pt x="248" y="863"/>
                </a:cubicBezTo>
                <a:cubicBezTo>
                  <a:pt x="248" y="860"/>
                  <a:pt x="248" y="858"/>
                  <a:pt x="247" y="856"/>
                </a:cubicBezTo>
                <a:cubicBezTo>
                  <a:pt x="246" y="851"/>
                  <a:pt x="245" y="847"/>
                  <a:pt x="244" y="842"/>
                </a:cubicBezTo>
                <a:cubicBezTo>
                  <a:pt x="242" y="834"/>
                  <a:pt x="239" y="826"/>
                  <a:pt x="237" y="818"/>
                </a:cubicBezTo>
                <a:cubicBezTo>
                  <a:pt x="237" y="818"/>
                  <a:pt x="237" y="818"/>
                  <a:pt x="237" y="818"/>
                </a:cubicBezTo>
                <a:cubicBezTo>
                  <a:pt x="237" y="818"/>
                  <a:pt x="238" y="817"/>
                  <a:pt x="238" y="817"/>
                </a:cubicBezTo>
                <a:cubicBezTo>
                  <a:pt x="238" y="817"/>
                  <a:pt x="238" y="817"/>
                  <a:pt x="237" y="816"/>
                </a:cubicBezTo>
                <a:cubicBezTo>
                  <a:pt x="237" y="815"/>
                  <a:pt x="237" y="814"/>
                  <a:pt x="237" y="813"/>
                </a:cubicBezTo>
                <a:cubicBezTo>
                  <a:pt x="237" y="812"/>
                  <a:pt x="237" y="811"/>
                  <a:pt x="237" y="810"/>
                </a:cubicBezTo>
                <a:cubicBezTo>
                  <a:pt x="237" y="810"/>
                  <a:pt x="237" y="809"/>
                  <a:pt x="237" y="808"/>
                </a:cubicBezTo>
                <a:cubicBezTo>
                  <a:pt x="237" y="808"/>
                  <a:pt x="236" y="807"/>
                  <a:pt x="235" y="807"/>
                </a:cubicBezTo>
                <a:cubicBezTo>
                  <a:pt x="234" y="806"/>
                  <a:pt x="235" y="805"/>
                  <a:pt x="234" y="804"/>
                </a:cubicBezTo>
                <a:cubicBezTo>
                  <a:pt x="234" y="802"/>
                  <a:pt x="233" y="797"/>
                  <a:pt x="233" y="795"/>
                </a:cubicBezTo>
                <a:cubicBezTo>
                  <a:pt x="232" y="791"/>
                  <a:pt x="229" y="780"/>
                  <a:pt x="228" y="774"/>
                </a:cubicBezTo>
                <a:cubicBezTo>
                  <a:pt x="227" y="773"/>
                  <a:pt x="227" y="770"/>
                  <a:pt x="226" y="768"/>
                </a:cubicBezTo>
                <a:cubicBezTo>
                  <a:pt x="225" y="766"/>
                  <a:pt x="225" y="765"/>
                  <a:pt x="225" y="763"/>
                </a:cubicBezTo>
                <a:cubicBezTo>
                  <a:pt x="225" y="763"/>
                  <a:pt x="225" y="763"/>
                  <a:pt x="225" y="762"/>
                </a:cubicBezTo>
                <a:cubicBezTo>
                  <a:pt x="226" y="762"/>
                  <a:pt x="226" y="761"/>
                  <a:pt x="225" y="761"/>
                </a:cubicBezTo>
                <a:cubicBezTo>
                  <a:pt x="225" y="760"/>
                  <a:pt x="225" y="760"/>
                  <a:pt x="225" y="759"/>
                </a:cubicBezTo>
                <a:cubicBezTo>
                  <a:pt x="225" y="759"/>
                  <a:pt x="225" y="758"/>
                  <a:pt x="224" y="758"/>
                </a:cubicBezTo>
                <a:cubicBezTo>
                  <a:pt x="224" y="757"/>
                  <a:pt x="223" y="755"/>
                  <a:pt x="223" y="754"/>
                </a:cubicBezTo>
                <a:cubicBezTo>
                  <a:pt x="223" y="752"/>
                  <a:pt x="224" y="751"/>
                  <a:pt x="225" y="750"/>
                </a:cubicBezTo>
                <a:cubicBezTo>
                  <a:pt x="225" y="749"/>
                  <a:pt x="226" y="749"/>
                  <a:pt x="225" y="748"/>
                </a:cubicBezTo>
                <a:cubicBezTo>
                  <a:pt x="224" y="748"/>
                  <a:pt x="223" y="747"/>
                  <a:pt x="222" y="746"/>
                </a:cubicBezTo>
                <a:cubicBezTo>
                  <a:pt x="222" y="746"/>
                  <a:pt x="222" y="746"/>
                  <a:pt x="222" y="746"/>
                </a:cubicBezTo>
                <a:cubicBezTo>
                  <a:pt x="221" y="746"/>
                  <a:pt x="221" y="745"/>
                  <a:pt x="221" y="745"/>
                </a:cubicBezTo>
                <a:cubicBezTo>
                  <a:pt x="221" y="745"/>
                  <a:pt x="221" y="745"/>
                  <a:pt x="221" y="744"/>
                </a:cubicBezTo>
                <a:cubicBezTo>
                  <a:pt x="220" y="744"/>
                  <a:pt x="220" y="741"/>
                  <a:pt x="220" y="740"/>
                </a:cubicBezTo>
                <a:cubicBezTo>
                  <a:pt x="219" y="737"/>
                  <a:pt x="219" y="735"/>
                  <a:pt x="218" y="733"/>
                </a:cubicBezTo>
                <a:cubicBezTo>
                  <a:pt x="217" y="728"/>
                  <a:pt x="216" y="723"/>
                  <a:pt x="215" y="718"/>
                </a:cubicBezTo>
                <a:cubicBezTo>
                  <a:pt x="215" y="718"/>
                  <a:pt x="215" y="717"/>
                  <a:pt x="214" y="717"/>
                </a:cubicBezTo>
                <a:cubicBezTo>
                  <a:pt x="214" y="717"/>
                  <a:pt x="214" y="717"/>
                  <a:pt x="214" y="717"/>
                </a:cubicBezTo>
                <a:cubicBezTo>
                  <a:pt x="213" y="717"/>
                  <a:pt x="213" y="716"/>
                  <a:pt x="213" y="716"/>
                </a:cubicBezTo>
                <a:cubicBezTo>
                  <a:pt x="213" y="716"/>
                  <a:pt x="213" y="716"/>
                  <a:pt x="213" y="716"/>
                </a:cubicBezTo>
                <a:cubicBezTo>
                  <a:pt x="213" y="715"/>
                  <a:pt x="212" y="713"/>
                  <a:pt x="212" y="713"/>
                </a:cubicBezTo>
                <a:cubicBezTo>
                  <a:pt x="212" y="712"/>
                  <a:pt x="212" y="711"/>
                  <a:pt x="212" y="709"/>
                </a:cubicBezTo>
                <a:cubicBezTo>
                  <a:pt x="212" y="708"/>
                  <a:pt x="212" y="707"/>
                  <a:pt x="212" y="706"/>
                </a:cubicBezTo>
                <a:cubicBezTo>
                  <a:pt x="212" y="706"/>
                  <a:pt x="212" y="705"/>
                  <a:pt x="212" y="705"/>
                </a:cubicBezTo>
                <a:cubicBezTo>
                  <a:pt x="211" y="705"/>
                  <a:pt x="211" y="705"/>
                  <a:pt x="211" y="705"/>
                </a:cubicBezTo>
                <a:cubicBezTo>
                  <a:pt x="211" y="704"/>
                  <a:pt x="210" y="704"/>
                  <a:pt x="210" y="703"/>
                </a:cubicBezTo>
                <a:cubicBezTo>
                  <a:pt x="211" y="703"/>
                  <a:pt x="211" y="703"/>
                  <a:pt x="211" y="702"/>
                </a:cubicBezTo>
                <a:cubicBezTo>
                  <a:pt x="211" y="702"/>
                  <a:pt x="210" y="700"/>
                  <a:pt x="210" y="699"/>
                </a:cubicBezTo>
                <a:cubicBezTo>
                  <a:pt x="210" y="699"/>
                  <a:pt x="210" y="697"/>
                  <a:pt x="210" y="696"/>
                </a:cubicBezTo>
                <a:cubicBezTo>
                  <a:pt x="210" y="696"/>
                  <a:pt x="211" y="695"/>
                  <a:pt x="211" y="694"/>
                </a:cubicBezTo>
                <a:cubicBezTo>
                  <a:pt x="211" y="693"/>
                  <a:pt x="207" y="692"/>
                  <a:pt x="208" y="691"/>
                </a:cubicBezTo>
                <a:cubicBezTo>
                  <a:pt x="208" y="690"/>
                  <a:pt x="209" y="690"/>
                  <a:pt x="209" y="690"/>
                </a:cubicBezTo>
                <a:cubicBezTo>
                  <a:pt x="209" y="690"/>
                  <a:pt x="210" y="691"/>
                  <a:pt x="210" y="690"/>
                </a:cubicBezTo>
                <a:cubicBezTo>
                  <a:pt x="210" y="690"/>
                  <a:pt x="210" y="690"/>
                  <a:pt x="210" y="690"/>
                </a:cubicBezTo>
                <a:cubicBezTo>
                  <a:pt x="210" y="689"/>
                  <a:pt x="210" y="688"/>
                  <a:pt x="209" y="688"/>
                </a:cubicBezTo>
                <a:cubicBezTo>
                  <a:pt x="209" y="688"/>
                  <a:pt x="209" y="688"/>
                  <a:pt x="208" y="688"/>
                </a:cubicBezTo>
                <a:cubicBezTo>
                  <a:pt x="207" y="686"/>
                  <a:pt x="206" y="683"/>
                  <a:pt x="206" y="680"/>
                </a:cubicBezTo>
                <a:cubicBezTo>
                  <a:pt x="205" y="678"/>
                  <a:pt x="205" y="676"/>
                  <a:pt x="204" y="674"/>
                </a:cubicBezTo>
                <a:cubicBezTo>
                  <a:pt x="204" y="673"/>
                  <a:pt x="204" y="672"/>
                  <a:pt x="204" y="671"/>
                </a:cubicBezTo>
                <a:cubicBezTo>
                  <a:pt x="204" y="669"/>
                  <a:pt x="204" y="670"/>
                  <a:pt x="205" y="669"/>
                </a:cubicBezTo>
                <a:cubicBezTo>
                  <a:pt x="205" y="668"/>
                  <a:pt x="206" y="668"/>
                  <a:pt x="206" y="668"/>
                </a:cubicBezTo>
                <a:cubicBezTo>
                  <a:pt x="206" y="667"/>
                  <a:pt x="206" y="667"/>
                  <a:pt x="206" y="667"/>
                </a:cubicBezTo>
                <a:cubicBezTo>
                  <a:pt x="206" y="666"/>
                  <a:pt x="206" y="666"/>
                  <a:pt x="205" y="666"/>
                </a:cubicBezTo>
                <a:cubicBezTo>
                  <a:pt x="205" y="666"/>
                  <a:pt x="204" y="666"/>
                  <a:pt x="203" y="665"/>
                </a:cubicBezTo>
                <a:cubicBezTo>
                  <a:pt x="203" y="664"/>
                  <a:pt x="202" y="663"/>
                  <a:pt x="202" y="662"/>
                </a:cubicBezTo>
                <a:cubicBezTo>
                  <a:pt x="202" y="660"/>
                  <a:pt x="202" y="659"/>
                  <a:pt x="202" y="657"/>
                </a:cubicBezTo>
                <a:cubicBezTo>
                  <a:pt x="201" y="655"/>
                  <a:pt x="201" y="653"/>
                  <a:pt x="200" y="651"/>
                </a:cubicBezTo>
                <a:cubicBezTo>
                  <a:pt x="200" y="650"/>
                  <a:pt x="199" y="649"/>
                  <a:pt x="199" y="648"/>
                </a:cubicBezTo>
                <a:cubicBezTo>
                  <a:pt x="199" y="648"/>
                  <a:pt x="199" y="647"/>
                  <a:pt x="199" y="647"/>
                </a:cubicBezTo>
                <a:cubicBezTo>
                  <a:pt x="199" y="646"/>
                  <a:pt x="199" y="646"/>
                  <a:pt x="199" y="646"/>
                </a:cubicBezTo>
                <a:cubicBezTo>
                  <a:pt x="199" y="645"/>
                  <a:pt x="199" y="645"/>
                  <a:pt x="200" y="644"/>
                </a:cubicBezTo>
                <a:cubicBezTo>
                  <a:pt x="200" y="644"/>
                  <a:pt x="200" y="644"/>
                  <a:pt x="200" y="644"/>
                </a:cubicBezTo>
                <a:cubicBezTo>
                  <a:pt x="199" y="644"/>
                  <a:pt x="199" y="644"/>
                  <a:pt x="199" y="644"/>
                </a:cubicBezTo>
                <a:cubicBezTo>
                  <a:pt x="199" y="643"/>
                  <a:pt x="198" y="642"/>
                  <a:pt x="198" y="642"/>
                </a:cubicBezTo>
                <a:cubicBezTo>
                  <a:pt x="197" y="641"/>
                  <a:pt x="196" y="641"/>
                  <a:pt x="196" y="640"/>
                </a:cubicBezTo>
                <a:cubicBezTo>
                  <a:pt x="196" y="640"/>
                  <a:pt x="196" y="639"/>
                  <a:pt x="195" y="639"/>
                </a:cubicBezTo>
                <a:cubicBezTo>
                  <a:pt x="195" y="636"/>
                  <a:pt x="194" y="633"/>
                  <a:pt x="193" y="631"/>
                </a:cubicBezTo>
                <a:cubicBezTo>
                  <a:pt x="193" y="629"/>
                  <a:pt x="194" y="627"/>
                  <a:pt x="195" y="626"/>
                </a:cubicBezTo>
                <a:cubicBezTo>
                  <a:pt x="195" y="625"/>
                  <a:pt x="195" y="625"/>
                  <a:pt x="195" y="625"/>
                </a:cubicBezTo>
                <a:cubicBezTo>
                  <a:pt x="195" y="624"/>
                  <a:pt x="193" y="624"/>
                  <a:pt x="193" y="623"/>
                </a:cubicBezTo>
                <a:cubicBezTo>
                  <a:pt x="193" y="623"/>
                  <a:pt x="193" y="622"/>
                  <a:pt x="193" y="621"/>
                </a:cubicBezTo>
                <a:cubicBezTo>
                  <a:pt x="194" y="619"/>
                  <a:pt x="192" y="618"/>
                  <a:pt x="191" y="616"/>
                </a:cubicBezTo>
                <a:cubicBezTo>
                  <a:pt x="191" y="615"/>
                  <a:pt x="190" y="614"/>
                  <a:pt x="189" y="614"/>
                </a:cubicBezTo>
                <a:cubicBezTo>
                  <a:pt x="189" y="612"/>
                  <a:pt x="188" y="610"/>
                  <a:pt x="188" y="608"/>
                </a:cubicBezTo>
                <a:cubicBezTo>
                  <a:pt x="188" y="608"/>
                  <a:pt x="188" y="607"/>
                  <a:pt x="188" y="607"/>
                </a:cubicBezTo>
                <a:cubicBezTo>
                  <a:pt x="188" y="605"/>
                  <a:pt x="188" y="603"/>
                  <a:pt x="188" y="601"/>
                </a:cubicBezTo>
                <a:cubicBezTo>
                  <a:pt x="187" y="599"/>
                  <a:pt x="187" y="598"/>
                  <a:pt x="187" y="596"/>
                </a:cubicBezTo>
                <a:cubicBezTo>
                  <a:pt x="187" y="595"/>
                  <a:pt x="188" y="593"/>
                  <a:pt x="188" y="592"/>
                </a:cubicBezTo>
                <a:cubicBezTo>
                  <a:pt x="188" y="592"/>
                  <a:pt x="188" y="591"/>
                  <a:pt x="188" y="591"/>
                </a:cubicBezTo>
                <a:cubicBezTo>
                  <a:pt x="188" y="591"/>
                  <a:pt x="188" y="590"/>
                  <a:pt x="188" y="590"/>
                </a:cubicBezTo>
                <a:cubicBezTo>
                  <a:pt x="188" y="590"/>
                  <a:pt x="188" y="590"/>
                  <a:pt x="187" y="590"/>
                </a:cubicBezTo>
                <a:cubicBezTo>
                  <a:pt x="187" y="590"/>
                  <a:pt x="187" y="590"/>
                  <a:pt x="187" y="590"/>
                </a:cubicBezTo>
                <a:cubicBezTo>
                  <a:pt x="187" y="590"/>
                  <a:pt x="188" y="590"/>
                  <a:pt x="188" y="589"/>
                </a:cubicBezTo>
                <a:cubicBezTo>
                  <a:pt x="187" y="589"/>
                  <a:pt x="187" y="589"/>
                  <a:pt x="186" y="589"/>
                </a:cubicBezTo>
                <a:cubicBezTo>
                  <a:pt x="186" y="589"/>
                  <a:pt x="186" y="588"/>
                  <a:pt x="186" y="588"/>
                </a:cubicBezTo>
                <a:cubicBezTo>
                  <a:pt x="186" y="588"/>
                  <a:pt x="187" y="588"/>
                  <a:pt x="187" y="587"/>
                </a:cubicBezTo>
                <a:cubicBezTo>
                  <a:pt x="187" y="587"/>
                  <a:pt x="187" y="586"/>
                  <a:pt x="186" y="586"/>
                </a:cubicBezTo>
                <a:cubicBezTo>
                  <a:pt x="183" y="584"/>
                  <a:pt x="182" y="579"/>
                  <a:pt x="181" y="576"/>
                </a:cubicBezTo>
                <a:cubicBezTo>
                  <a:pt x="181" y="574"/>
                  <a:pt x="180" y="572"/>
                  <a:pt x="180" y="570"/>
                </a:cubicBezTo>
                <a:cubicBezTo>
                  <a:pt x="180" y="570"/>
                  <a:pt x="180" y="570"/>
                  <a:pt x="180" y="570"/>
                </a:cubicBezTo>
                <a:cubicBezTo>
                  <a:pt x="181" y="569"/>
                  <a:pt x="181" y="568"/>
                  <a:pt x="181" y="568"/>
                </a:cubicBezTo>
                <a:cubicBezTo>
                  <a:pt x="181" y="567"/>
                  <a:pt x="181" y="567"/>
                  <a:pt x="182" y="567"/>
                </a:cubicBezTo>
                <a:cubicBezTo>
                  <a:pt x="182" y="566"/>
                  <a:pt x="182" y="564"/>
                  <a:pt x="182" y="563"/>
                </a:cubicBezTo>
                <a:cubicBezTo>
                  <a:pt x="182" y="562"/>
                  <a:pt x="182" y="560"/>
                  <a:pt x="181" y="559"/>
                </a:cubicBezTo>
                <a:cubicBezTo>
                  <a:pt x="180" y="559"/>
                  <a:pt x="180" y="557"/>
                  <a:pt x="180" y="556"/>
                </a:cubicBezTo>
                <a:cubicBezTo>
                  <a:pt x="180" y="554"/>
                  <a:pt x="179" y="553"/>
                  <a:pt x="179" y="551"/>
                </a:cubicBezTo>
                <a:cubicBezTo>
                  <a:pt x="179" y="550"/>
                  <a:pt x="179" y="549"/>
                  <a:pt x="178" y="549"/>
                </a:cubicBezTo>
                <a:cubicBezTo>
                  <a:pt x="178" y="548"/>
                  <a:pt x="177" y="548"/>
                  <a:pt x="176" y="547"/>
                </a:cubicBezTo>
                <a:cubicBezTo>
                  <a:pt x="176" y="546"/>
                  <a:pt x="176" y="546"/>
                  <a:pt x="177" y="545"/>
                </a:cubicBezTo>
                <a:cubicBezTo>
                  <a:pt x="177" y="545"/>
                  <a:pt x="177" y="546"/>
                  <a:pt x="178" y="545"/>
                </a:cubicBezTo>
                <a:cubicBezTo>
                  <a:pt x="178" y="545"/>
                  <a:pt x="177" y="542"/>
                  <a:pt x="177" y="542"/>
                </a:cubicBezTo>
                <a:cubicBezTo>
                  <a:pt x="177" y="541"/>
                  <a:pt x="176" y="538"/>
                  <a:pt x="175" y="538"/>
                </a:cubicBezTo>
                <a:cubicBezTo>
                  <a:pt x="175" y="538"/>
                  <a:pt x="175" y="538"/>
                  <a:pt x="174" y="538"/>
                </a:cubicBezTo>
                <a:cubicBezTo>
                  <a:pt x="174" y="538"/>
                  <a:pt x="174" y="536"/>
                  <a:pt x="173" y="536"/>
                </a:cubicBezTo>
                <a:cubicBezTo>
                  <a:pt x="173" y="535"/>
                  <a:pt x="173" y="534"/>
                  <a:pt x="173" y="533"/>
                </a:cubicBezTo>
                <a:cubicBezTo>
                  <a:pt x="173" y="529"/>
                  <a:pt x="171" y="521"/>
                  <a:pt x="170" y="514"/>
                </a:cubicBezTo>
                <a:cubicBezTo>
                  <a:pt x="169" y="512"/>
                  <a:pt x="169" y="510"/>
                  <a:pt x="168" y="508"/>
                </a:cubicBezTo>
                <a:cubicBezTo>
                  <a:pt x="168" y="506"/>
                  <a:pt x="167" y="504"/>
                  <a:pt x="167" y="502"/>
                </a:cubicBezTo>
                <a:cubicBezTo>
                  <a:pt x="167" y="502"/>
                  <a:pt x="167" y="501"/>
                  <a:pt x="167" y="501"/>
                </a:cubicBezTo>
                <a:cubicBezTo>
                  <a:pt x="167" y="500"/>
                  <a:pt x="167" y="500"/>
                  <a:pt x="167" y="499"/>
                </a:cubicBezTo>
                <a:cubicBezTo>
                  <a:pt x="166" y="498"/>
                  <a:pt x="166" y="498"/>
                  <a:pt x="165" y="497"/>
                </a:cubicBezTo>
                <a:cubicBezTo>
                  <a:pt x="165" y="497"/>
                  <a:pt x="165" y="497"/>
                  <a:pt x="165" y="497"/>
                </a:cubicBezTo>
                <a:cubicBezTo>
                  <a:pt x="165" y="496"/>
                  <a:pt x="165" y="496"/>
                  <a:pt x="165" y="495"/>
                </a:cubicBezTo>
                <a:cubicBezTo>
                  <a:pt x="165" y="492"/>
                  <a:pt x="165" y="488"/>
                  <a:pt x="164" y="485"/>
                </a:cubicBezTo>
                <a:cubicBezTo>
                  <a:pt x="164" y="485"/>
                  <a:pt x="164" y="485"/>
                  <a:pt x="163" y="485"/>
                </a:cubicBezTo>
                <a:cubicBezTo>
                  <a:pt x="161" y="485"/>
                  <a:pt x="161" y="481"/>
                  <a:pt x="161" y="480"/>
                </a:cubicBezTo>
                <a:cubicBezTo>
                  <a:pt x="161" y="478"/>
                  <a:pt x="160" y="474"/>
                  <a:pt x="159" y="472"/>
                </a:cubicBezTo>
                <a:cubicBezTo>
                  <a:pt x="159" y="470"/>
                  <a:pt x="158" y="466"/>
                  <a:pt x="157" y="462"/>
                </a:cubicBezTo>
                <a:cubicBezTo>
                  <a:pt x="156" y="458"/>
                  <a:pt x="154" y="449"/>
                  <a:pt x="152" y="441"/>
                </a:cubicBezTo>
                <a:cubicBezTo>
                  <a:pt x="152" y="439"/>
                  <a:pt x="151" y="436"/>
                  <a:pt x="150" y="434"/>
                </a:cubicBezTo>
                <a:cubicBezTo>
                  <a:pt x="150" y="433"/>
                  <a:pt x="149" y="428"/>
                  <a:pt x="149" y="428"/>
                </a:cubicBezTo>
                <a:cubicBezTo>
                  <a:pt x="150" y="428"/>
                  <a:pt x="150" y="428"/>
                  <a:pt x="150" y="428"/>
                </a:cubicBezTo>
                <a:cubicBezTo>
                  <a:pt x="151" y="428"/>
                  <a:pt x="151" y="428"/>
                  <a:pt x="151" y="427"/>
                </a:cubicBezTo>
                <a:cubicBezTo>
                  <a:pt x="151" y="426"/>
                  <a:pt x="151" y="426"/>
                  <a:pt x="150" y="425"/>
                </a:cubicBezTo>
                <a:cubicBezTo>
                  <a:pt x="150" y="424"/>
                  <a:pt x="150" y="423"/>
                  <a:pt x="150" y="423"/>
                </a:cubicBezTo>
                <a:cubicBezTo>
                  <a:pt x="149" y="421"/>
                  <a:pt x="149" y="420"/>
                  <a:pt x="149" y="419"/>
                </a:cubicBezTo>
                <a:cubicBezTo>
                  <a:pt x="149" y="418"/>
                  <a:pt x="149" y="417"/>
                  <a:pt x="149" y="416"/>
                </a:cubicBezTo>
                <a:cubicBezTo>
                  <a:pt x="148" y="415"/>
                  <a:pt x="147" y="415"/>
                  <a:pt x="147" y="415"/>
                </a:cubicBezTo>
                <a:cubicBezTo>
                  <a:pt x="146" y="414"/>
                  <a:pt x="146" y="414"/>
                  <a:pt x="146" y="413"/>
                </a:cubicBezTo>
                <a:cubicBezTo>
                  <a:pt x="145" y="411"/>
                  <a:pt x="145" y="409"/>
                  <a:pt x="144" y="406"/>
                </a:cubicBezTo>
                <a:cubicBezTo>
                  <a:pt x="143" y="405"/>
                  <a:pt x="142" y="403"/>
                  <a:pt x="143" y="402"/>
                </a:cubicBezTo>
                <a:cubicBezTo>
                  <a:pt x="143" y="401"/>
                  <a:pt x="143" y="400"/>
                  <a:pt x="142" y="399"/>
                </a:cubicBezTo>
                <a:cubicBezTo>
                  <a:pt x="142" y="397"/>
                  <a:pt x="141" y="396"/>
                  <a:pt x="142" y="395"/>
                </a:cubicBezTo>
                <a:cubicBezTo>
                  <a:pt x="142" y="394"/>
                  <a:pt x="142" y="393"/>
                  <a:pt x="142" y="392"/>
                </a:cubicBezTo>
                <a:cubicBezTo>
                  <a:pt x="142" y="391"/>
                  <a:pt x="141" y="389"/>
                  <a:pt x="140" y="388"/>
                </a:cubicBezTo>
                <a:cubicBezTo>
                  <a:pt x="140" y="386"/>
                  <a:pt x="138" y="384"/>
                  <a:pt x="137" y="382"/>
                </a:cubicBezTo>
                <a:cubicBezTo>
                  <a:pt x="137" y="381"/>
                  <a:pt x="137" y="380"/>
                  <a:pt x="137" y="379"/>
                </a:cubicBezTo>
                <a:cubicBezTo>
                  <a:pt x="136" y="377"/>
                  <a:pt x="136" y="375"/>
                  <a:pt x="136" y="374"/>
                </a:cubicBezTo>
                <a:cubicBezTo>
                  <a:pt x="136" y="372"/>
                  <a:pt x="137" y="371"/>
                  <a:pt x="136" y="369"/>
                </a:cubicBezTo>
                <a:cubicBezTo>
                  <a:pt x="136" y="369"/>
                  <a:pt x="136" y="369"/>
                  <a:pt x="135" y="369"/>
                </a:cubicBezTo>
                <a:cubicBezTo>
                  <a:pt x="134" y="369"/>
                  <a:pt x="134" y="368"/>
                  <a:pt x="134" y="367"/>
                </a:cubicBezTo>
                <a:cubicBezTo>
                  <a:pt x="134" y="367"/>
                  <a:pt x="133" y="364"/>
                  <a:pt x="135" y="365"/>
                </a:cubicBezTo>
                <a:cubicBezTo>
                  <a:pt x="135" y="365"/>
                  <a:pt x="135" y="364"/>
                  <a:pt x="135" y="364"/>
                </a:cubicBezTo>
                <a:cubicBezTo>
                  <a:pt x="136" y="364"/>
                  <a:pt x="136" y="364"/>
                  <a:pt x="136" y="363"/>
                </a:cubicBezTo>
                <a:cubicBezTo>
                  <a:pt x="137" y="363"/>
                  <a:pt x="137" y="363"/>
                  <a:pt x="137" y="362"/>
                </a:cubicBezTo>
                <a:cubicBezTo>
                  <a:pt x="137" y="362"/>
                  <a:pt x="136" y="362"/>
                  <a:pt x="136" y="362"/>
                </a:cubicBezTo>
                <a:cubicBezTo>
                  <a:pt x="136" y="361"/>
                  <a:pt x="136" y="361"/>
                  <a:pt x="137" y="360"/>
                </a:cubicBezTo>
                <a:cubicBezTo>
                  <a:pt x="137" y="360"/>
                  <a:pt x="137" y="359"/>
                  <a:pt x="137" y="358"/>
                </a:cubicBezTo>
                <a:cubicBezTo>
                  <a:pt x="136" y="358"/>
                  <a:pt x="135" y="358"/>
                  <a:pt x="135" y="358"/>
                </a:cubicBezTo>
                <a:cubicBezTo>
                  <a:pt x="135" y="359"/>
                  <a:pt x="135" y="359"/>
                  <a:pt x="134" y="359"/>
                </a:cubicBezTo>
                <a:cubicBezTo>
                  <a:pt x="134" y="359"/>
                  <a:pt x="133" y="358"/>
                  <a:pt x="133" y="358"/>
                </a:cubicBezTo>
                <a:cubicBezTo>
                  <a:pt x="133" y="357"/>
                  <a:pt x="133" y="357"/>
                  <a:pt x="134" y="357"/>
                </a:cubicBezTo>
                <a:cubicBezTo>
                  <a:pt x="134" y="357"/>
                  <a:pt x="134" y="357"/>
                  <a:pt x="134" y="356"/>
                </a:cubicBezTo>
                <a:cubicBezTo>
                  <a:pt x="134" y="355"/>
                  <a:pt x="134" y="353"/>
                  <a:pt x="134" y="352"/>
                </a:cubicBezTo>
                <a:cubicBezTo>
                  <a:pt x="134" y="351"/>
                  <a:pt x="133" y="349"/>
                  <a:pt x="133" y="348"/>
                </a:cubicBezTo>
                <a:cubicBezTo>
                  <a:pt x="133" y="347"/>
                  <a:pt x="133" y="346"/>
                  <a:pt x="133" y="345"/>
                </a:cubicBezTo>
                <a:cubicBezTo>
                  <a:pt x="132" y="344"/>
                  <a:pt x="132" y="343"/>
                  <a:pt x="132" y="342"/>
                </a:cubicBezTo>
                <a:cubicBezTo>
                  <a:pt x="131" y="341"/>
                  <a:pt x="131" y="341"/>
                  <a:pt x="131" y="340"/>
                </a:cubicBezTo>
                <a:cubicBezTo>
                  <a:pt x="131" y="339"/>
                  <a:pt x="130" y="340"/>
                  <a:pt x="130" y="339"/>
                </a:cubicBezTo>
                <a:cubicBezTo>
                  <a:pt x="130" y="339"/>
                  <a:pt x="129" y="338"/>
                  <a:pt x="129" y="337"/>
                </a:cubicBezTo>
                <a:cubicBezTo>
                  <a:pt x="129" y="336"/>
                  <a:pt x="128" y="335"/>
                  <a:pt x="127" y="334"/>
                </a:cubicBezTo>
                <a:cubicBezTo>
                  <a:pt x="127" y="333"/>
                  <a:pt x="127" y="333"/>
                  <a:pt x="127" y="333"/>
                </a:cubicBezTo>
                <a:cubicBezTo>
                  <a:pt x="127" y="332"/>
                  <a:pt x="128" y="332"/>
                  <a:pt x="128" y="332"/>
                </a:cubicBezTo>
                <a:cubicBezTo>
                  <a:pt x="128" y="332"/>
                  <a:pt x="129" y="332"/>
                  <a:pt x="129" y="332"/>
                </a:cubicBezTo>
                <a:cubicBezTo>
                  <a:pt x="129" y="332"/>
                  <a:pt x="130" y="331"/>
                  <a:pt x="130" y="331"/>
                </a:cubicBezTo>
                <a:cubicBezTo>
                  <a:pt x="130" y="330"/>
                  <a:pt x="130" y="330"/>
                  <a:pt x="130" y="330"/>
                </a:cubicBezTo>
                <a:cubicBezTo>
                  <a:pt x="131" y="329"/>
                  <a:pt x="129" y="327"/>
                  <a:pt x="129" y="327"/>
                </a:cubicBezTo>
                <a:cubicBezTo>
                  <a:pt x="128" y="325"/>
                  <a:pt x="128" y="324"/>
                  <a:pt x="127" y="322"/>
                </a:cubicBezTo>
                <a:cubicBezTo>
                  <a:pt x="127" y="322"/>
                  <a:pt x="126" y="322"/>
                  <a:pt x="126" y="322"/>
                </a:cubicBezTo>
                <a:cubicBezTo>
                  <a:pt x="126" y="321"/>
                  <a:pt x="126" y="321"/>
                  <a:pt x="125" y="321"/>
                </a:cubicBezTo>
                <a:cubicBezTo>
                  <a:pt x="125" y="320"/>
                  <a:pt x="125" y="320"/>
                  <a:pt x="125" y="319"/>
                </a:cubicBezTo>
                <a:cubicBezTo>
                  <a:pt x="126" y="318"/>
                  <a:pt x="125" y="316"/>
                  <a:pt x="124" y="314"/>
                </a:cubicBezTo>
                <a:cubicBezTo>
                  <a:pt x="123" y="312"/>
                  <a:pt x="122" y="310"/>
                  <a:pt x="123" y="310"/>
                </a:cubicBezTo>
                <a:cubicBezTo>
                  <a:pt x="123" y="309"/>
                  <a:pt x="122" y="306"/>
                  <a:pt x="121" y="302"/>
                </a:cubicBezTo>
                <a:cubicBezTo>
                  <a:pt x="121" y="301"/>
                  <a:pt x="121" y="300"/>
                  <a:pt x="121" y="298"/>
                </a:cubicBezTo>
                <a:cubicBezTo>
                  <a:pt x="120" y="297"/>
                  <a:pt x="121" y="296"/>
                  <a:pt x="120" y="296"/>
                </a:cubicBezTo>
                <a:cubicBezTo>
                  <a:pt x="119" y="295"/>
                  <a:pt x="119" y="295"/>
                  <a:pt x="118" y="295"/>
                </a:cubicBezTo>
                <a:cubicBezTo>
                  <a:pt x="118" y="294"/>
                  <a:pt x="118" y="294"/>
                  <a:pt x="117" y="294"/>
                </a:cubicBezTo>
                <a:cubicBezTo>
                  <a:pt x="117" y="293"/>
                  <a:pt x="117" y="292"/>
                  <a:pt x="117" y="292"/>
                </a:cubicBezTo>
                <a:cubicBezTo>
                  <a:pt x="117" y="290"/>
                  <a:pt x="117" y="289"/>
                  <a:pt x="118" y="289"/>
                </a:cubicBezTo>
                <a:cubicBezTo>
                  <a:pt x="119" y="288"/>
                  <a:pt x="117" y="282"/>
                  <a:pt x="115" y="280"/>
                </a:cubicBezTo>
                <a:cubicBezTo>
                  <a:pt x="114" y="279"/>
                  <a:pt x="112" y="277"/>
                  <a:pt x="113" y="276"/>
                </a:cubicBezTo>
                <a:cubicBezTo>
                  <a:pt x="113" y="276"/>
                  <a:pt x="113" y="275"/>
                  <a:pt x="114" y="275"/>
                </a:cubicBezTo>
                <a:cubicBezTo>
                  <a:pt x="114" y="275"/>
                  <a:pt x="114" y="275"/>
                  <a:pt x="114" y="274"/>
                </a:cubicBezTo>
                <a:cubicBezTo>
                  <a:pt x="114" y="272"/>
                  <a:pt x="114" y="271"/>
                  <a:pt x="113" y="269"/>
                </a:cubicBezTo>
                <a:cubicBezTo>
                  <a:pt x="113" y="267"/>
                  <a:pt x="113" y="264"/>
                  <a:pt x="113" y="263"/>
                </a:cubicBezTo>
                <a:cubicBezTo>
                  <a:pt x="113" y="262"/>
                  <a:pt x="112" y="258"/>
                  <a:pt x="111" y="255"/>
                </a:cubicBezTo>
                <a:cubicBezTo>
                  <a:pt x="110" y="253"/>
                  <a:pt x="110" y="248"/>
                  <a:pt x="107" y="248"/>
                </a:cubicBezTo>
                <a:cubicBezTo>
                  <a:pt x="107" y="248"/>
                  <a:pt x="107" y="248"/>
                  <a:pt x="107" y="247"/>
                </a:cubicBezTo>
                <a:cubicBezTo>
                  <a:pt x="106" y="247"/>
                  <a:pt x="106" y="247"/>
                  <a:pt x="106" y="247"/>
                </a:cubicBezTo>
                <a:cubicBezTo>
                  <a:pt x="106" y="245"/>
                  <a:pt x="105" y="245"/>
                  <a:pt x="105" y="244"/>
                </a:cubicBezTo>
                <a:cubicBezTo>
                  <a:pt x="105" y="243"/>
                  <a:pt x="105" y="241"/>
                  <a:pt x="105" y="240"/>
                </a:cubicBezTo>
                <a:cubicBezTo>
                  <a:pt x="104" y="238"/>
                  <a:pt x="104" y="236"/>
                  <a:pt x="104" y="235"/>
                </a:cubicBezTo>
                <a:cubicBezTo>
                  <a:pt x="104" y="234"/>
                  <a:pt x="103" y="231"/>
                  <a:pt x="103" y="231"/>
                </a:cubicBezTo>
                <a:cubicBezTo>
                  <a:pt x="103" y="230"/>
                  <a:pt x="103" y="230"/>
                  <a:pt x="103" y="230"/>
                </a:cubicBezTo>
                <a:cubicBezTo>
                  <a:pt x="104" y="229"/>
                  <a:pt x="103" y="228"/>
                  <a:pt x="103" y="227"/>
                </a:cubicBezTo>
                <a:cubicBezTo>
                  <a:pt x="103" y="225"/>
                  <a:pt x="102" y="222"/>
                  <a:pt x="102" y="221"/>
                </a:cubicBezTo>
                <a:cubicBezTo>
                  <a:pt x="102" y="219"/>
                  <a:pt x="102" y="218"/>
                  <a:pt x="101" y="217"/>
                </a:cubicBezTo>
                <a:cubicBezTo>
                  <a:pt x="100" y="216"/>
                  <a:pt x="99" y="216"/>
                  <a:pt x="99" y="215"/>
                </a:cubicBezTo>
                <a:cubicBezTo>
                  <a:pt x="98" y="213"/>
                  <a:pt x="98" y="212"/>
                  <a:pt x="97" y="210"/>
                </a:cubicBezTo>
                <a:cubicBezTo>
                  <a:pt x="97" y="208"/>
                  <a:pt x="96" y="207"/>
                  <a:pt x="96" y="205"/>
                </a:cubicBezTo>
                <a:cubicBezTo>
                  <a:pt x="96" y="205"/>
                  <a:pt x="97" y="205"/>
                  <a:pt x="97" y="205"/>
                </a:cubicBezTo>
                <a:cubicBezTo>
                  <a:pt x="97" y="205"/>
                  <a:pt x="97" y="204"/>
                  <a:pt x="97" y="204"/>
                </a:cubicBezTo>
                <a:cubicBezTo>
                  <a:pt x="97" y="204"/>
                  <a:pt x="97" y="204"/>
                  <a:pt x="97" y="203"/>
                </a:cubicBezTo>
                <a:cubicBezTo>
                  <a:pt x="96" y="203"/>
                  <a:pt x="94" y="201"/>
                  <a:pt x="95" y="200"/>
                </a:cubicBezTo>
                <a:cubicBezTo>
                  <a:pt x="95" y="199"/>
                  <a:pt x="96" y="199"/>
                  <a:pt x="96" y="199"/>
                </a:cubicBezTo>
                <a:cubicBezTo>
                  <a:pt x="97" y="199"/>
                  <a:pt x="97" y="199"/>
                  <a:pt x="97" y="199"/>
                </a:cubicBezTo>
                <a:cubicBezTo>
                  <a:pt x="98" y="199"/>
                  <a:pt x="98" y="199"/>
                  <a:pt x="98" y="198"/>
                </a:cubicBezTo>
                <a:cubicBezTo>
                  <a:pt x="98" y="198"/>
                  <a:pt x="98" y="197"/>
                  <a:pt x="98" y="197"/>
                </a:cubicBezTo>
                <a:cubicBezTo>
                  <a:pt x="97" y="196"/>
                  <a:pt x="96" y="196"/>
                  <a:pt x="96" y="195"/>
                </a:cubicBezTo>
                <a:cubicBezTo>
                  <a:pt x="96" y="195"/>
                  <a:pt x="96" y="195"/>
                  <a:pt x="96" y="195"/>
                </a:cubicBezTo>
                <a:cubicBezTo>
                  <a:pt x="96" y="195"/>
                  <a:pt x="96" y="195"/>
                  <a:pt x="97" y="195"/>
                </a:cubicBezTo>
                <a:cubicBezTo>
                  <a:pt x="98" y="195"/>
                  <a:pt x="96" y="191"/>
                  <a:pt x="96" y="190"/>
                </a:cubicBezTo>
                <a:cubicBezTo>
                  <a:pt x="96" y="188"/>
                  <a:pt x="95" y="185"/>
                  <a:pt x="94" y="183"/>
                </a:cubicBezTo>
                <a:cubicBezTo>
                  <a:pt x="94" y="180"/>
                  <a:pt x="93" y="178"/>
                  <a:pt x="93" y="176"/>
                </a:cubicBezTo>
                <a:cubicBezTo>
                  <a:pt x="92" y="174"/>
                  <a:pt x="92" y="172"/>
                  <a:pt x="91" y="171"/>
                </a:cubicBezTo>
                <a:cubicBezTo>
                  <a:pt x="91" y="170"/>
                  <a:pt x="90" y="170"/>
                  <a:pt x="90" y="170"/>
                </a:cubicBezTo>
                <a:cubicBezTo>
                  <a:pt x="89" y="170"/>
                  <a:pt x="89" y="169"/>
                  <a:pt x="89" y="169"/>
                </a:cubicBezTo>
                <a:cubicBezTo>
                  <a:pt x="88" y="168"/>
                  <a:pt x="88" y="167"/>
                  <a:pt x="87" y="167"/>
                </a:cubicBezTo>
                <a:cubicBezTo>
                  <a:pt x="86" y="166"/>
                  <a:pt x="86" y="166"/>
                  <a:pt x="85" y="165"/>
                </a:cubicBezTo>
                <a:cubicBezTo>
                  <a:pt x="85" y="164"/>
                  <a:pt x="85" y="163"/>
                  <a:pt x="85" y="162"/>
                </a:cubicBezTo>
                <a:cubicBezTo>
                  <a:pt x="84" y="161"/>
                  <a:pt x="83" y="158"/>
                  <a:pt x="84" y="158"/>
                </a:cubicBezTo>
                <a:cubicBezTo>
                  <a:pt x="84" y="158"/>
                  <a:pt x="84" y="158"/>
                  <a:pt x="85" y="157"/>
                </a:cubicBezTo>
                <a:cubicBezTo>
                  <a:pt x="85" y="157"/>
                  <a:pt x="85" y="157"/>
                  <a:pt x="85" y="156"/>
                </a:cubicBezTo>
                <a:cubicBezTo>
                  <a:pt x="85" y="156"/>
                  <a:pt x="84" y="156"/>
                  <a:pt x="84" y="156"/>
                </a:cubicBezTo>
                <a:cubicBezTo>
                  <a:pt x="83" y="156"/>
                  <a:pt x="83" y="156"/>
                  <a:pt x="83" y="155"/>
                </a:cubicBezTo>
                <a:cubicBezTo>
                  <a:pt x="82" y="154"/>
                  <a:pt x="82" y="152"/>
                  <a:pt x="81" y="150"/>
                </a:cubicBezTo>
                <a:cubicBezTo>
                  <a:pt x="81" y="150"/>
                  <a:pt x="81" y="150"/>
                  <a:pt x="81" y="150"/>
                </a:cubicBezTo>
                <a:cubicBezTo>
                  <a:pt x="82" y="150"/>
                  <a:pt x="82" y="150"/>
                  <a:pt x="82" y="150"/>
                </a:cubicBezTo>
                <a:cubicBezTo>
                  <a:pt x="83" y="149"/>
                  <a:pt x="86" y="147"/>
                  <a:pt x="84" y="146"/>
                </a:cubicBezTo>
                <a:cubicBezTo>
                  <a:pt x="83" y="145"/>
                  <a:pt x="83" y="146"/>
                  <a:pt x="82" y="146"/>
                </a:cubicBezTo>
                <a:cubicBezTo>
                  <a:pt x="82" y="146"/>
                  <a:pt x="82" y="146"/>
                  <a:pt x="81" y="146"/>
                </a:cubicBezTo>
                <a:cubicBezTo>
                  <a:pt x="81" y="146"/>
                  <a:pt x="81" y="146"/>
                  <a:pt x="80" y="146"/>
                </a:cubicBezTo>
                <a:cubicBezTo>
                  <a:pt x="80" y="146"/>
                  <a:pt x="80" y="144"/>
                  <a:pt x="80" y="144"/>
                </a:cubicBezTo>
                <a:cubicBezTo>
                  <a:pt x="80" y="143"/>
                  <a:pt x="81" y="143"/>
                  <a:pt x="81" y="142"/>
                </a:cubicBezTo>
                <a:cubicBezTo>
                  <a:pt x="81" y="142"/>
                  <a:pt x="81" y="141"/>
                  <a:pt x="80" y="140"/>
                </a:cubicBezTo>
                <a:cubicBezTo>
                  <a:pt x="80" y="139"/>
                  <a:pt x="80" y="137"/>
                  <a:pt x="80" y="136"/>
                </a:cubicBezTo>
                <a:cubicBezTo>
                  <a:pt x="79" y="135"/>
                  <a:pt x="78" y="135"/>
                  <a:pt x="78" y="134"/>
                </a:cubicBezTo>
                <a:cubicBezTo>
                  <a:pt x="76" y="132"/>
                  <a:pt x="76" y="129"/>
                  <a:pt x="75" y="126"/>
                </a:cubicBezTo>
                <a:cubicBezTo>
                  <a:pt x="75" y="125"/>
                  <a:pt x="72" y="117"/>
                  <a:pt x="73" y="117"/>
                </a:cubicBezTo>
                <a:cubicBezTo>
                  <a:pt x="73" y="116"/>
                  <a:pt x="74" y="116"/>
                  <a:pt x="74" y="116"/>
                </a:cubicBezTo>
                <a:cubicBezTo>
                  <a:pt x="74" y="116"/>
                  <a:pt x="74" y="116"/>
                  <a:pt x="74" y="116"/>
                </a:cubicBezTo>
                <a:cubicBezTo>
                  <a:pt x="74" y="115"/>
                  <a:pt x="72" y="112"/>
                  <a:pt x="74" y="113"/>
                </a:cubicBezTo>
                <a:cubicBezTo>
                  <a:pt x="74" y="113"/>
                  <a:pt x="75" y="113"/>
                  <a:pt x="75" y="113"/>
                </a:cubicBezTo>
                <a:cubicBezTo>
                  <a:pt x="76" y="113"/>
                  <a:pt x="75" y="112"/>
                  <a:pt x="75" y="112"/>
                </a:cubicBezTo>
                <a:cubicBezTo>
                  <a:pt x="75" y="112"/>
                  <a:pt x="74" y="112"/>
                  <a:pt x="74" y="111"/>
                </a:cubicBezTo>
                <a:cubicBezTo>
                  <a:pt x="74" y="110"/>
                  <a:pt x="74" y="110"/>
                  <a:pt x="74" y="109"/>
                </a:cubicBezTo>
                <a:cubicBezTo>
                  <a:pt x="74" y="108"/>
                  <a:pt x="73" y="108"/>
                  <a:pt x="73" y="107"/>
                </a:cubicBezTo>
                <a:cubicBezTo>
                  <a:pt x="72" y="105"/>
                  <a:pt x="72" y="103"/>
                  <a:pt x="71" y="101"/>
                </a:cubicBezTo>
                <a:cubicBezTo>
                  <a:pt x="71" y="100"/>
                  <a:pt x="71" y="100"/>
                  <a:pt x="70" y="99"/>
                </a:cubicBezTo>
                <a:cubicBezTo>
                  <a:pt x="70" y="98"/>
                  <a:pt x="71" y="97"/>
                  <a:pt x="70" y="97"/>
                </a:cubicBezTo>
                <a:cubicBezTo>
                  <a:pt x="70" y="96"/>
                  <a:pt x="70" y="96"/>
                  <a:pt x="69" y="95"/>
                </a:cubicBezTo>
                <a:cubicBezTo>
                  <a:pt x="69" y="95"/>
                  <a:pt x="68" y="95"/>
                  <a:pt x="68" y="94"/>
                </a:cubicBezTo>
                <a:cubicBezTo>
                  <a:pt x="67" y="94"/>
                  <a:pt x="67" y="93"/>
                  <a:pt x="66" y="93"/>
                </a:cubicBezTo>
                <a:cubicBezTo>
                  <a:pt x="66" y="93"/>
                  <a:pt x="66" y="93"/>
                  <a:pt x="66" y="93"/>
                </a:cubicBezTo>
                <a:cubicBezTo>
                  <a:pt x="65" y="93"/>
                  <a:pt x="65" y="92"/>
                  <a:pt x="65" y="92"/>
                </a:cubicBezTo>
                <a:cubicBezTo>
                  <a:pt x="64" y="91"/>
                  <a:pt x="65" y="91"/>
                  <a:pt x="64" y="90"/>
                </a:cubicBezTo>
                <a:cubicBezTo>
                  <a:pt x="64" y="89"/>
                  <a:pt x="64" y="88"/>
                  <a:pt x="65" y="88"/>
                </a:cubicBezTo>
                <a:cubicBezTo>
                  <a:pt x="65" y="88"/>
                  <a:pt x="66" y="88"/>
                  <a:pt x="66" y="87"/>
                </a:cubicBezTo>
                <a:cubicBezTo>
                  <a:pt x="67" y="86"/>
                  <a:pt x="65" y="85"/>
                  <a:pt x="65" y="84"/>
                </a:cubicBezTo>
                <a:cubicBezTo>
                  <a:pt x="65" y="83"/>
                  <a:pt x="66" y="82"/>
                  <a:pt x="67" y="80"/>
                </a:cubicBezTo>
                <a:cubicBezTo>
                  <a:pt x="67" y="79"/>
                  <a:pt x="66" y="77"/>
                  <a:pt x="65" y="75"/>
                </a:cubicBezTo>
                <a:cubicBezTo>
                  <a:pt x="65" y="75"/>
                  <a:pt x="65" y="74"/>
                  <a:pt x="64" y="73"/>
                </a:cubicBezTo>
                <a:cubicBezTo>
                  <a:pt x="64" y="73"/>
                  <a:pt x="63" y="72"/>
                  <a:pt x="63" y="72"/>
                </a:cubicBezTo>
                <a:cubicBezTo>
                  <a:pt x="62" y="71"/>
                  <a:pt x="62" y="68"/>
                  <a:pt x="62" y="67"/>
                </a:cubicBezTo>
                <a:cubicBezTo>
                  <a:pt x="61" y="65"/>
                  <a:pt x="61" y="63"/>
                  <a:pt x="60" y="61"/>
                </a:cubicBezTo>
                <a:cubicBezTo>
                  <a:pt x="60" y="59"/>
                  <a:pt x="59" y="58"/>
                  <a:pt x="59" y="56"/>
                </a:cubicBezTo>
                <a:cubicBezTo>
                  <a:pt x="55" y="43"/>
                  <a:pt x="57" y="28"/>
                  <a:pt x="53" y="15"/>
                </a:cubicBezTo>
                <a:cubicBezTo>
                  <a:pt x="51" y="11"/>
                  <a:pt x="49" y="8"/>
                  <a:pt x="47" y="5"/>
                </a:cubicBezTo>
                <a:cubicBezTo>
                  <a:pt x="46" y="3"/>
                  <a:pt x="45" y="1"/>
                  <a:pt x="44" y="1"/>
                </a:cubicBezTo>
                <a:cubicBezTo>
                  <a:pt x="43" y="0"/>
                  <a:pt x="41" y="0"/>
                  <a:pt x="40" y="1"/>
                </a:cubicBezTo>
                <a:cubicBezTo>
                  <a:pt x="40" y="1"/>
                  <a:pt x="40" y="2"/>
                  <a:pt x="39" y="2"/>
                </a:cubicBezTo>
                <a:cubicBezTo>
                  <a:pt x="39" y="2"/>
                  <a:pt x="39" y="2"/>
                  <a:pt x="38" y="2"/>
                </a:cubicBezTo>
                <a:cubicBezTo>
                  <a:pt x="37" y="1"/>
                  <a:pt x="37" y="3"/>
                  <a:pt x="36" y="3"/>
                </a:cubicBezTo>
                <a:cubicBezTo>
                  <a:pt x="36" y="3"/>
                  <a:pt x="34" y="2"/>
                  <a:pt x="34" y="2"/>
                </a:cubicBezTo>
                <a:cubicBezTo>
                  <a:pt x="32" y="2"/>
                  <a:pt x="32" y="3"/>
                  <a:pt x="31" y="3"/>
                </a:cubicBezTo>
                <a:cubicBezTo>
                  <a:pt x="30" y="3"/>
                  <a:pt x="30" y="3"/>
                  <a:pt x="30" y="3"/>
                </a:cubicBezTo>
                <a:cubicBezTo>
                  <a:pt x="29" y="3"/>
                  <a:pt x="28" y="3"/>
                  <a:pt x="27" y="4"/>
                </a:cubicBezTo>
                <a:cubicBezTo>
                  <a:pt x="25" y="4"/>
                  <a:pt x="24" y="4"/>
                  <a:pt x="23" y="5"/>
                </a:cubicBezTo>
                <a:cubicBezTo>
                  <a:pt x="21" y="6"/>
                  <a:pt x="18" y="7"/>
                  <a:pt x="16" y="9"/>
                </a:cubicBezTo>
                <a:cubicBezTo>
                  <a:pt x="15" y="9"/>
                  <a:pt x="14" y="10"/>
                  <a:pt x="14" y="11"/>
                </a:cubicBezTo>
                <a:cubicBezTo>
                  <a:pt x="13" y="11"/>
                  <a:pt x="13" y="11"/>
                  <a:pt x="12" y="12"/>
                </a:cubicBezTo>
                <a:cubicBezTo>
                  <a:pt x="12" y="13"/>
                  <a:pt x="12" y="13"/>
                  <a:pt x="11" y="13"/>
                </a:cubicBezTo>
                <a:cubicBezTo>
                  <a:pt x="10" y="14"/>
                  <a:pt x="8" y="14"/>
                  <a:pt x="6" y="14"/>
                </a:cubicBezTo>
                <a:cubicBezTo>
                  <a:pt x="4" y="15"/>
                  <a:pt x="3" y="16"/>
                  <a:pt x="2" y="17"/>
                </a:cubicBezTo>
                <a:cubicBezTo>
                  <a:pt x="2" y="18"/>
                  <a:pt x="1" y="18"/>
                  <a:pt x="1" y="18"/>
                </a:cubicBezTo>
                <a:cubicBezTo>
                  <a:pt x="1" y="19"/>
                  <a:pt x="1" y="19"/>
                  <a:pt x="1" y="19"/>
                </a:cubicBezTo>
                <a:cubicBezTo>
                  <a:pt x="0" y="28"/>
                  <a:pt x="4" y="36"/>
                  <a:pt x="5" y="44"/>
                </a:cubicBezTo>
                <a:cubicBezTo>
                  <a:pt x="5" y="49"/>
                  <a:pt x="6" y="54"/>
                  <a:pt x="7" y="59"/>
                </a:cubicBezTo>
                <a:cubicBezTo>
                  <a:pt x="8" y="62"/>
                  <a:pt x="8" y="64"/>
                  <a:pt x="9" y="67"/>
                </a:cubicBezTo>
                <a:cubicBezTo>
                  <a:pt x="10" y="69"/>
                  <a:pt x="11" y="71"/>
                  <a:pt x="11" y="74"/>
                </a:cubicBezTo>
                <a:cubicBezTo>
                  <a:pt x="12" y="75"/>
                  <a:pt x="12" y="77"/>
                  <a:pt x="13" y="79"/>
                </a:cubicBezTo>
                <a:cubicBezTo>
                  <a:pt x="14" y="82"/>
                  <a:pt x="14" y="85"/>
                  <a:pt x="16" y="87"/>
                </a:cubicBezTo>
                <a:cubicBezTo>
                  <a:pt x="17" y="89"/>
                  <a:pt x="17" y="89"/>
                  <a:pt x="18" y="91"/>
                </a:cubicBezTo>
                <a:cubicBezTo>
                  <a:pt x="18" y="92"/>
                  <a:pt x="18" y="94"/>
                  <a:pt x="19" y="95"/>
                </a:cubicBezTo>
                <a:cubicBezTo>
                  <a:pt x="26" y="131"/>
                  <a:pt x="46" y="218"/>
                  <a:pt x="51" y="235"/>
                </a:cubicBezTo>
                <a:cubicBezTo>
                  <a:pt x="52" y="239"/>
                  <a:pt x="54" y="246"/>
                  <a:pt x="56" y="252"/>
                </a:cubicBezTo>
                <a:cubicBezTo>
                  <a:pt x="57" y="258"/>
                  <a:pt x="60" y="267"/>
                  <a:pt x="61" y="273"/>
                </a:cubicBezTo>
                <a:cubicBezTo>
                  <a:pt x="69" y="301"/>
                  <a:pt x="72" y="312"/>
                  <a:pt x="79" y="340"/>
                </a:cubicBezTo>
                <a:cubicBezTo>
                  <a:pt x="80" y="343"/>
                  <a:pt x="80" y="346"/>
                  <a:pt x="81" y="348"/>
                </a:cubicBezTo>
                <a:cubicBezTo>
                  <a:pt x="81" y="349"/>
                  <a:pt x="81" y="350"/>
                  <a:pt x="81" y="351"/>
                </a:cubicBezTo>
                <a:cubicBezTo>
                  <a:pt x="82" y="352"/>
                  <a:pt x="82" y="352"/>
                  <a:pt x="83" y="353"/>
                </a:cubicBezTo>
                <a:cubicBezTo>
                  <a:pt x="84" y="354"/>
                  <a:pt x="84" y="354"/>
                  <a:pt x="83" y="356"/>
                </a:cubicBezTo>
                <a:cubicBezTo>
                  <a:pt x="83" y="357"/>
                  <a:pt x="82" y="358"/>
                  <a:pt x="83" y="359"/>
                </a:cubicBezTo>
                <a:cubicBezTo>
                  <a:pt x="84" y="359"/>
                  <a:pt x="84" y="359"/>
                  <a:pt x="84" y="359"/>
                </a:cubicBezTo>
                <a:cubicBezTo>
                  <a:pt x="85" y="360"/>
                  <a:pt x="85" y="362"/>
                  <a:pt x="85" y="363"/>
                </a:cubicBezTo>
                <a:cubicBezTo>
                  <a:pt x="86" y="365"/>
                  <a:pt x="86" y="367"/>
                  <a:pt x="87" y="368"/>
                </a:cubicBezTo>
                <a:cubicBezTo>
                  <a:pt x="87" y="372"/>
                  <a:pt x="88" y="375"/>
                  <a:pt x="89" y="378"/>
                </a:cubicBezTo>
                <a:cubicBezTo>
                  <a:pt x="91" y="389"/>
                  <a:pt x="94" y="398"/>
                  <a:pt x="94" y="399"/>
                </a:cubicBezTo>
                <a:cubicBezTo>
                  <a:pt x="94" y="399"/>
                  <a:pt x="95" y="399"/>
                  <a:pt x="95" y="400"/>
                </a:cubicBezTo>
                <a:cubicBezTo>
                  <a:pt x="94" y="401"/>
                  <a:pt x="93" y="402"/>
                  <a:pt x="94" y="403"/>
                </a:cubicBezTo>
                <a:cubicBezTo>
                  <a:pt x="95" y="404"/>
                  <a:pt x="95" y="405"/>
                  <a:pt x="96" y="407"/>
                </a:cubicBezTo>
                <a:cubicBezTo>
                  <a:pt x="96" y="409"/>
                  <a:pt x="97" y="411"/>
                  <a:pt x="97" y="413"/>
                </a:cubicBezTo>
                <a:cubicBezTo>
                  <a:pt x="98" y="416"/>
                  <a:pt x="99" y="420"/>
                  <a:pt x="100" y="424"/>
                </a:cubicBezTo>
                <a:cubicBezTo>
                  <a:pt x="104" y="441"/>
                  <a:pt x="107" y="458"/>
                  <a:pt x="111" y="475"/>
                </a:cubicBezTo>
                <a:cubicBezTo>
                  <a:pt x="113" y="482"/>
                  <a:pt x="115" y="490"/>
                  <a:pt x="117" y="497"/>
                </a:cubicBezTo>
                <a:cubicBezTo>
                  <a:pt x="118" y="502"/>
                  <a:pt x="119" y="508"/>
                  <a:pt x="120" y="513"/>
                </a:cubicBezTo>
                <a:cubicBezTo>
                  <a:pt x="122" y="519"/>
                  <a:pt x="123" y="524"/>
                  <a:pt x="124" y="529"/>
                </a:cubicBezTo>
                <a:cubicBezTo>
                  <a:pt x="125" y="532"/>
                  <a:pt x="125" y="534"/>
                  <a:pt x="126" y="536"/>
                </a:cubicBezTo>
                <a:cubicBezTo>
                  <a:pt x="126" y="538"/>
                  <a:pt x="126" y="539"/>
                  <a:pt x="127" y="540"/>
                </a:cubicBezTo>
                <a:cubicBezTo>
                  <a:pt x="127" y="540"/>
                  <a:pt x="127" y="542"/>
                  <a:pt x="127" y="543"/>
                </a:cubicBezTo>
                <a:cubicBezTo>
                  <a:pt x="127" y="543"/>
                  <a:pt x="128" y="543"/>
                  <a:pt x="128" y="544"/>
                </a:cubicBezTo>
                <a:cubicBezTo>
                  <a:pt x="128" y="544"/>
                  <a:pt x="128" y="544"/>
                  <a:pt x="128" y="544"/>
                </a:cubicBezTo>
                <a:cubicBezTo>
                  <a:pt x="128" y="545"/>
                  <a:pt x="130" y="546"/>
                  <a:pt x="130" y="547"/>
                </a:cubicBezTo>
                <a:cubicBezTo>
                  <a:pt x="130" y="547"/>
                  <a:pt x="129" y="549"/>
                  <a:pt x="129" y="549"/>
                </a:cubicBezTo>
                <a:cubicBezTo>
                  <a:pt x="129" y="551"/>
                  <a:pt x="130" y="553"/>
                  <a:pt x="130" y="554"/>
                </a:cubicBezTo>
                <a:cubicBezTo>
                  <a:pt x="131" y="556"/>
                  <a:pt x="131" y="558"/>
                  <a:pt x="132" y="560"/>
                </a:cubicBezTo>
                <a:cubicBezTo>
                  <a:pt x="132" y="562"/>
                  <a:pt x="133" y="569"/>
                  <a:pt x="135" y="569"/>
                </a:cubicBezTo>
                <a:cubicBezTo>
                  <a:pt x="135" y="569"/>
                  <a:pt x="135" y="568"/>
                  <a:pt x="136" y="568"/>
                </a:cubicBezTo>
                <a:cubicBezTo>
                  <a:pt x="137" y="568"/>
                  <a:pt x="137" y="571"/>
                  <a:pt x="137" y="572"/>
                </a:cubicBezTo>
                <a:cubicBezTo>
                  <a:pt x="137" y="573"/>
                  <a:pt x="139" y="576"/>
                  <a:pt x="137" y="576"/>
                </a:cubicBezTo>
                <a:cubicBezTo>
                  <a:pt x="137" y="576"/>
                  <a:pt x="137" y="577"/>
                  <a:pt x="137" y="578"/>
                </a:cubicBezTo>
                <a:cubicBezTo>
                  <a:pt x="138" y="578"/>
                  <a:pt x="139" y="578"/>
                  <a:pt x="139" y="579"/>
                </a:cubicBezTo>
                <a:cubicBezTo>
                  <a:pt x="139" y="579"/>
                  <a:pt x="140" y="580"/>
                  <a:pt x="139" y="581"/>
                </a:cubicBezTo>
                <a:cubicBezTo>
                  <a:pt x="139" y="582"/>
                  <a:pt x="138" y="582"/>
                  <a:pt x="138" y="583"/>
                </a:cubicBezTo>
                <a:cubicBezTo>
                  <a:pt x="137" y="585"/>
                  <a:pt x="138" y="587"/>
                  <a:pt x="139" y="589"/>
                </a:cubicBezTo>
                <a:cubicBezTo>
                  <a:pt x="139" y="591"/>
                  <a:pt x="140" y="593"/>
                  <a:pt x="141" y="594"/>
                </a:cubicBezTo>
                <a:cubicBezTo>
                  <a:pt x="143" y="595"/>
                  <a:pt x="143" y="596"/>
                  <a:pt x="142" y="597"/>
                </a:cubicBezTo>
                <a:cubicBezTo>
                  <a:pt x="142" y="599"/>
                  <a:pt x="142" y="601"/>
                  <a:pt x="142" y="602"/>
                </a:cubicBezTo>
                <a:cubicBezTo>
                  <a:pt x="143" y="604"/>
                  <a:pt x="144" y="605"/>
                  <a:pt x="145" y="606"/>
                </a:cubicBezTo>
                <a:cubicBezTo>
                  <a:pt x="145" y="607"/>
                  <a:pt x="146" y="608"/>
                  <a:pt x="146" y="609"/>
                </a:cubicBezTo>
                <a:cubicBezTo>
                  <a:pt x="146" y="609"/>
                  <a:pt x="146" y="610"/>
                  <a:pt x="146" y="611"/>
                </a:cubicBezTo>
                <a:cubicBezTo>
                  <a:pt x="146" y="611"/>
                  <a:pt x="145" y="612"/>
                  <a:pt x="145" y="612"/>
                </a:cubicBezTo>
                <a:cubicBezTo>
                  <a:pt x="145" y="614"/>
                  <a:pt x="145" y="615"/>
                  <a:pt x="145" y="617"/>
                </a:cubicBezTo>
                <a:cubicBezTo>
                  <a:pt x="146" y="619"/>
                  <a:pt x="146" y="620"/>
                  <a:pt x="146" y="622"/>
                </a:cubicBezTo>
                <a:cubicBezTo>
                  <a:pt x="148" y="628"/>
                  <a:pt x="149" y="633"/>
                  <a:pt x="150" y="639"/>
                </a:cubicBezTo>
                <a:cubicBezTo>
                  <a:pt x="151" y="641"/>
                  <a:pt x="151" y="643"/>
                  <a:pt x="152" y="646"/>
                </a:cubicBezTo>
                <a:cubicBezTo>
                  <a:pt x="152" y="647"/>
                  <a:pt x="153" y="649"/>
                  <a:pt x="154" y="651"/>
                </a:cubicBezTo>
                <a:cubicBezTo>
                  <a:pt x="154" y="652"/>
                  <a:pt x="156" y="652"/>
                  <a:pt x="156" y="653"/>
                </a:cubicBezTo>
                <a:cubicBezTo>
                  <a:pt x="157" y="654"/>
                  <a:pt x="157" y="655"/>
                  <a:pt x="157" y="656"/>
                </a:cubicBezTo>
                <a:cubicBezTo>
                  <a:pt x="157" y="656"/>
                  <a:pt x="157" y="658"/>
                  <a:pt x="158" y="660"/>
                </a:cubicBezTo>
                <a:cubicBezTo>
                  <a:pt x="158" y="661"/>
                  <a:pt x="159" y="662"/>
                  <a:pt x="159" y="663"/>
                </a:cubicBezTo>
                <a:cubicBezTo>
                  <a:pt x="159" y="663"/>
                  <a:pt x="158" y="664"/>
                  <a:pt x="158" y="664"/>
                </a:cubicBezTo>
                <a:cubicBezTo>
                  <a:pt x="158" y="664"/>
                  <a:pt x="157" y="664"/>
                  <a:pt x="157" y="664"/>
                </a:cubicBezTo>
                <a:cubicBezTo>
                  <a:pt x="157" y="664"/>
                  <a:pt x="157" y="664"/>
                  <a:pt x="157" y="665"/>
                </a:cubicBezTo>
                <a:cubicBezTo>
                  <a:pt x="157" y="666"/>
                  <a:pt x="157" y="667"/>
                  <a:pt x="157" y="669"/>
                </a:cubicBezTo>
                <a:cubicBezTo>
                  <a:pt x="158" y="672"/>
                  <a:pt x="159" y="675"/>
                  <a:pt x="159" y="676"/>
                </a:cubicBezTo>
                <a:cubicBezTo>
                  <a:pt x="159" y="677"/>
                  <a:pt x="160" y="682"/>
                  <a:pt x="161" y="687"/>
                </a:cubicBezTo>
                <a:cubicBezTo>
                  <a:pt x="162" y="689"/>
                  <a:pt x="162" y="691"/>
                  <a:pt x="163" y="692"/>
                </a:cubicBezTo>
                <a:cubicBezTo>
                  <a:pt x="163" y="693"/>
                  <a:pt x="163" y="696"/>
                  <a:pt x="164" y="696"/>
                </a:cubicBezTo>
                <a:cubicBezTo>
                  <a:pt x="165" y="696"/>
                  <a:pt x="166" y="696"/>
                  <a:pt x="166" y="697"/>
                </a:cubicBezTo>
                <a:cubicBezTo>
                  <a:pt x="166" y="697"/>
                  <a:pt x="166" y="699"/>
                  <a:pt x="166" y="699"/>
                </a:cubicBezTo>
                <a:cubicBezTo>
                  <a:pt x="166" y="699"/>
                  <a:pt x="165" y="699"/>
                  <a:pt x="165" y="699"/>
                </a:cubicBezTo>
                <a:cubicBezTo>
                  <a:pt x="164" y="700"/>
                  <a:pt x="166" y="704"/>
                  <a:pt x="166" y="705"/>
                </a:cubicBezTo>
                <a:cubicBezTo>
                  <a:pt x="167" y="711"/>
                  <a:pt x="168" y="714"/>
                  <a:pt x="168" y="719"/>
                </a:cubicBezTo>
                <a:cubicBezTo>
                  <a:pt x="168" y="722"/>
                  <a:pt x="171" y="735"/>
                  <a:pt x="173" y="743"/>
                </a:cubicBezTo>
                <a:cubicBezTo>
                  <a:pt x="174" y="744"/>
                  <a:pt x="174" y="745"/>
                  <a:pt x="175" y="746"/>
                </a:cubicBezTo>
                <a:cubicBezTo>
                  <a:pt x="175" y="746"/>
                  <a:pt x="175" y="747"/>
                  <a:pt x="175" y="747"/>
                </a:cubicBezTo>
                <a:cubicBezTo>
                  <a:pt x="175" y="748"/>
                  <a:pt x="176" y="748"/>
                  <a:pt x="176" y="748"/>
                </a:cubicBezTo>
                <a:cubicBezTo>
                  <a:pt x="176" y="748"/>
                  <a:pt x="176" y="749"/>
                  <a:pt x="176" y="749"/>
                </a:cubicBezTo>
                <a:cubicBezTo>
                  <a:pt x="176" y="749"/>
                  <a:pt x="176" y="750"/>
                  <a:pt x="177" y="750"/>
                </a:cubicBezTo>
                <a:cubicBezTo>
                  <a:pt x="177" y="751"/>
                  <a:pt x="176" y="752"/>
                  <a:pt x="176" y="752"/>
                </a:cubicBezTo>
                <a:cubicBezTo>
                  <a:pt x="176" y="753"/>
                  <a:pt x="177" y="754"/>
                  <a:pt x="177" y="755"/>
                </a:cubicBezTo>
                <a:cubicBezTo>
                  <a:pt x="177" y="757"/>
                  <a:pt x="177" y="758"/>
                  <a:pt x="178" y="759"/>
                </a:cubicBezTo>
                <a:cubicBezTo>
                  <a:pt x="179" y="759"/>
                  <a:pt x="180" y="760"/>
                  <a:pt x="180" y="761"/>
                </a:cubicBezTo>
                <a:cubicBezTo>
                  <a:pt x="180" y="762"/>
                  <a:pt x="179" y="763"/>
                  <a:pt x="179" y="764"/>
                </a:cubicBezTo>
                <a:cubicBezTo>
                  <a:pt x="179" y="764"/>
                  <a:pt x="180" y="765"/>
                  <a:pt x="180" y="765"/>
                </a:cubicBezTo>
                <a:cubicBezTo>
                  <a:pt x="180" y="765"/>
                  <a:pt x="180" y="765"/>
                  <a:pt x="180" y="765"/>
                </a:cubicBezTo>
                <a:cubicBezTo>
                  <a:pt x="180" y="765"/>
                  <a:pt x="180" y="766"/>
                  <a:pt x="180" y="766"/>
                </a:cubicBezTo>
                <a:cubicBezTo>
                  <a:pt x="182" y="766"/>
                  <a:pt x="182" y="769"/>
                  <a:pt x="183" y="770"/>
                </a:cubicBezTo>
                <a:cubicBezTo>
                  <a:pt x="183" y="771"/>
                  <a:pt x="183" y="772"/>
                  <a:pt x="183" y="772"/>
                </a:cubicBezTo>
                <a:cubicBezTo>
                  <a:pt x="182" y="773"/>
                  <a:pt x="181" y="773"/>
                  <a:pt x="181" y="774"/>
                </a:cubicBezTo>
                <a:cubicBezTo>
                  <a:pt x="181" y="774"/>
                  <a:pt x="182" y="775"/>
                  <a:pt x="182" y="775"/>
                </a:cubicBezTo>
                <a:cubicBezTo>
                  <a:pt x="183" y="776"/>
                  <a:pt x="182" y="777"/>
                  <a:pt x="182" y="779"/>
                </a:cubicBezTo>
                <a:cubicBezTo>
                  <a:pt x="182" y="780"/>
                  <a:pt x="183" y="781"/>
                  <a:pt x="183" y="783"/>
                </a:cubicBezTo>
                <a:cubicBezTo>
                  <a:pt x="183" y="784"/>
                  <a:pt x="184" y="789"/>
                  <a:pt x="185" y="789"/>
                </a:cubicBezTo>
                <a:cubicBezTo>
                  <a:pt x="185" y="789"/>
                  <a:pt x="186" y="789"/>
                  <a:pt x="186" y="789"/>
                </a:cubicBezTo>
                <a:cubicBezTo>
                  <a:pt x="187" y="789"/>
                  <a:pt x="187" y="791"/>
                  <a:pt x="188" y="792"/>
                </a:cubicBezTo>
                <a:cubicBezTo>
                  <a:pt x="188" y="793"/>
                  <a:pt x="188" y="794"/>
                  <a:pt x="187" y="795"/>
                </a:cubicBezTo>
                <a:cubicBezTo>
                  <a:pt x="187" y="796"/>
                  <a:pt x="187" y="797"/>
                  <a:pt x="187" y="797"/>
                </a:cubicBezTo>
                <a:cubicBezTo>
                  <a:pt x="187" y="798"/>
                  <a:pt x="187" y="798"/>
                  <a:pt x="188" y="798"/>
                </a:cubicBezTo>
                <a:cubicBezTo>
                  <a:pt x="188" y="798"/>
                  <a:pt x="188" y="798"/>
                  <a:pt x="188" y="798"/>
                </a:cubicBezTo>
                <a:cubicBezTo>
                  <a:pt x="189" y="798"/>
                  <a:pt x="189" y="799"/>
                  <a:pt x="189" y="799"/>
                </a:cubicBezTo>
                <a:cubicBezTo>
                  <a:pt x="189" y="799"/>
                  <a:pt x="189" y="800"/>
                  <a:pt x="189" y="801"/>
                </a:cubicBezTo>
                <a:cubicBezTo>
                  <a:pt x="189" y="801"/>
                  <a:pt x="189" y="802"/>
                  <a:pt x="188" y="803"/>
                </a:cubicBezTo>
                <a:cubicBezTo>
                  <a:pt x="188" y="803"/>
                  <a:pt x="188" y="803"/>
                  <a:pt x="188" y="803"/>
                </a:cubicBezTo>
                <a:cubicBezTo>
                  <a:pt x="188" y="804"/>
                  <a:pt x="188" y="805"/>
                  <a:pt x="188" y="805"/>
                </a:cubicBezTo>
                <a:cubicBezTo>
                  <a:pt x="189" y="810"/>
                  <a:pt x="192" y="822"/>
                  <a:pt x="192" y="825"/>
                </a:cubicBezTo>
                <a:cubicBezTo>
                  <a:pt x="192" y="825"/>
                  <a:pt x="193" y="827"/>
                  <a:pt x="193" y="829"/>
                </a:cubicBezTo>
                <a:cubicBezTo>
                  <a:pt x="194" y="831"/>
                  <a:pt x="194" y="834"/>
                  <a:pt x="194" y="836"/>
                </a:cubicBezTo>
                <a:cubicBezTo>
                  <a:pt x="195" y="838"/>
                  <a:pt x="195" y="842"/>
                  <a:pt x="195" y="844"/>
                </a:cubicBezTo>
                <a:cubicBezTo>
                  <a:pt x="196" y="848"/>
                  <a:pt x="195" y="852"/>
                  <a:pt x="198" y="855"/>
                </a:cubicBezTo>
                <a:cubicBezTo>
                  <a:pt x="198" y="856"/>
                  <a:pt x="199" y="856"/>
                  <a:pt x="199" y="857"/>
                </a:cubicBezTo>
                <a:cubicBezTo>
                  <a:pt x="199" y="859"/>
                  <a:pt x="200" y="861"/>
                  <a:pt x="201" y="863"/>
                </a:cubicBezTo>
                <a:cubicBezTo>
                  <a:pt x="202" y="868"/>
                  <a:pt x="203" y="874"/>
                  <a:pt x="204" y="877"/>
                </a:cubicBezTo>
                <a:cubicBezTo>
                  <a:pt x="205" y="878"/>
                  <a:pt x="205" y="880"/>
                  <a:pt x="205" y="881"/>
                </a:cubicBezTo>
                <a:cubicBezTo>
                  <a:pt x="206" y="882"/>
                  <a:pt x="206" y="882"/>
                  <a:pt x="206" y="882"/>
                </a:cubicBezTo>
                <a:cubicBezTo>
                  <a:pt x="207" y="882"/>
                  <a:pt x="207" y="881"/>
                  <a:pt x="208" y="881"/>
                </a:cubicBezTo>
                <a:cubicBezTo>
                  <a:pt x="208" y="882"/>
                  <a:pt x="208" y="883"/>
                  <a:pt x="208" y="883"/>
                </a:cubicBezTo>
                <a:cubicBezTo>
                  <a:pt x="208" y="884"/>
                  <a:pt x="208" y="884"/>
                  <a:pt x="208" y="884"/>
                </a:cubicBezTo>
                <a:cubicBezTo>
                  <a:pt x="208" y="884"/>
                  <a:pt x="208" y="884"/>
                  <a:pt x="207" y="884"/>
                </a:cubicBezTo>
                <a:cubicBezTo>
                  <a:pt x="207" y="884"/>
                  <a:pt x="207" y="884"/>
                  <a:pt x="207" y="885"/>
                </a:cubicBezTo>
                <a:cubicBezTo>
                  <a:pt x="207" y="886"/>
                  <a:pt x="207" y="887"/>
                  <a:pt x="208" y="888"/>
                </a:cubicBezTo>
                <a:cubicBezTo>
                  <a:pt x="208" y="889"/>
                  <a:pt x="209" y="891"/>
                  <a:pt x="209" y="892"/>
                </a:cubicBezTo>
                <a:cubicBezTo>
                  <a:pt x="208" y="892"/>
                  <a:pt x="209" y="893"/>
                  <a:pt x="210" y="893"/>
                </a:cubicBezTo>
                <a:cubicBezTo>
                  <a:pt x="211" y="893"/>
                  <a:pt x="212" y="893"/>
                  <a:pt x="211" y="894"/>
                </a:cubicBezTo>
                <a:cubicBezTo>
                  <a:pt x="211" y="895"/>
                  <a:pt x="211" y="895"/>
                  <a:pt x="210" y="896"/>
                </a:cubicBezTo>
                <a:cubicBezTo>
                  <a:pt x="210" y="896"/>
                  <a:pt x="210" y="897"/>
                  <a:pt x="210" y="897"/>
                </a:cubicBezTo>
                <a:cubicBezTo>
                  <a:pt x="209" y="898"/>
                  <a:pt x="210" y="900"/>
                  <a:pt x="209" y="901"/>
                </a:cubicBezTo>
                <a:cubicBezTo>
                  <a:pt x="209" y="901"/>
                  <a:pt x="209" y="901"/>
                  <a:pt x="209" y="901"/>
                </a:cubicBezTo>
                <a:cubicBezTo>
                  <a:pt x="209" y="901"/>
                  <a:pt x="209" y="902"/>
                  <a:pt x="209" y="902"/>
                </a:cubicBezTo>
                <a:cubicBezTo>
                  <a:pt x="209" y="903"/>
                  <a:pt x="210" y="903"/>
                  <a:pt x="211" y="904"/>
                </a:cubicBezTo>
                <a:cubicBezTo>
                  <a:pt x="211" y="905"/>
                  <a:pt x="212" y="906"/>
                  <a:pt x="212" y="907"/>
                </a:cubicBezTo>
                <a:cubicBezTo>
                  <a:pt x="212" y="910"/>
                  <a:pt x="213" y="912"/>
                  <a:pt x="213" y="914"/>
                </a:cubicBezTo>
                <a:cubicBezTo>
                  <a:pt x="215" y="919"/>
                  <a:pt x="216" y="924"/>
                  <a:pt x="217" y="929"/>
                </a:cubicBezTo>
                <a:cubicBezTo>
                  <a:pt x="220" y="943"/>
                  <a:pt x="223" y="956"/>
                  <a:pt x="224" y="959"/>
                </a:cubicBezTo>
                <a:cubicBezTo>
                  <a:pt x="225" y="962"/>
                  <a:pt x="227" y="972"/>
                  <a:pt x="230" y="983"/>
                </a:cubicBezTo>
                <a:cubicBezTo>
                  <a:pt x="233" y="993"/>
                  <a:pt x="237" y="1011"/>
                  <a:pt x="239" y="1022"/>
                </a:cubicBezTo>
                <a:cubicBezTo>
                  <a:pt x="242" y="1032"/>
                  <a:pt x="248" y="1061"/>
                  <a:pt x="254" y="1084"/>
                </a:cubicBezTo>
                <a:cubicBezTo>
                  <a:pt x="256" y="1092"/>
                  <a:pt x="258" y="1100"/>
                  <a:pt x="260" y="1108"/>
                </a:cubicBezTo>
                <a:cubicBezTo>
                  <a:pt x="261" y="1112"/>
                  <a:pt x="262" y="1116"/>
                  <a:pt x="263" y="1120"/>
                </a:cubicBezTo>
                <a:cubicBezTo>
                  <a:pt x="263" y="1122"/>
                  <a:pt x="263" y="1124"/>
                  <a:pt x="264" y="1126"/>
                </a:cubicBezTo>
                <a:cubicBezTo>
                  <a:pt x="265" y="1128"/>
                  <a:pt x="266" y="1127"/>
                  <a:pt x="265" y="1129"/>
                </a:cubicBezTo>
                <a:cubicBezTo>
                  <a:pt x="265" y="1130"/>
                  <a:pt x="266" y="1132"/>
                  <a:pt x="266" y="1134"/>
                </a:cubicBezTo>
                <a:cubicBezTo>
                  <a:pt x="266" y="1135"/>
                  <a:pt x="267" y="1137"/>
                  <a:pt x="267" y="1139"/>
                </a:cubicBezTo>
                <a:cubicBezTo>
                  <a:pt x="268" y="1142"/>
                  <a:pt x="269" y="1146"/>
                  <a:pt x="270" y="1149"/>
                </a:cubicBezTo>
                <a:cubicBezTo>
                  <a:pt x="271" y="1153"/>
                  <a:pt x="272" y="1156"/>
                  <a:pt x="273" y="1160"/>
                </a:cubicBezTo>
                <a:cubicBezTo>
                  <a:pt x="273" y="1162"/>
                  <a:pt x="274" y="1166"/>
                  <a:pt x="275" y="1168"/>
                </a:cubicBezTo>
                <a:cubicBezTo>
                  <a:pt x="276" y="1169"/>
                  <a:pt x="276" y="1169"/>
                  <a:pt x="276" y="1170"/>
                </a:cubicBezTo>
                <a:cubicBezTo>
                  <a:pt x="275" y="1172"/>
                  <a:pt x="276" y="1175"/>
                  <a:pt x="277" y="1177"/>
                </a:cubicBezTo>
                <a:cubicBezTo>
                  <a:pt x="278" y="1181"/>
                  <a:pt x="280" y="1191"/>
                  <a:pt x="282" y="1200"/>
                </a:cubicBezTo>
                <a:cubicBezTo>
                  <a:pt x="283" y="1204"/>
                  <a:pt x="285" y="1209"/>
                  <a:pt x="286" y="1214"/>
                </a:cubicBezTo>
                <a:cubicBezTo>
                  <a:pt x="286" y="1215"/>
                  <a:pt x="286" y="1215"/>
                  <a:pt x="286" y="1216"/>
                </a:cubicBezTo>
                <a:cubicBezTo>
                  <a:pt x="286" y="1216"/>
                  <a:pt x="285" y="1216"/>
                  <a:pt x="285" y="1217"/>
                </a:cubicBezTo>
                <a:cubicBezTo>
                  <a:pt x="285" y="1218"/>
                  <a:pt x="286" y="1220"/>
                  <a:pt x="286" y="1221"/>
                </a:cubicBezTo>
                <a:cubicBezTo>
                  <a:pt x="287" y="1222"/>
                  <a:pt x="287" y="1223"/>
                  <a:pt x="288" y="1225"/>
                </a:cubicBezTo>
                <a:cubicBezTo>
                  <a:pt x="288" y="1225"/>
                  <a:pt x="288" y="1226"/>
                  <a:pt x="289" y="1227"/>
                </a:cubicBezTo>
                <a:cubicBezTo>
                  <a:pt x="289" y="1228"/>
                  <a:pt x="290" y="1228"/>
                  <a:pt x="290" y="1229"/>
                </a:cubicBezTo>
                <a:cubicBezTo>
                  <a:pt x="290" y="1230"/>
                  <a:pt x="290" y="1231"/>
                  <a:pt x="290" y="1232"/>
                </a:cubicBezTo>
                <a:cubicBezTo>
                  <a:pt x="290" y="1234"/>
                  <a:pt x="292" y="1234"/>
                  <a:pt x="292" y="1235"/>
                </a:cubicBezTo>
                <a:cubicBezTo>
                  <a:pt x="292" y="1236"/>
                  <a:pt x="292" y="1236"/>
                  <a:pt x="291" y="1236"/>
                </a:cubicBezTo>
                <a:cubicBezTo>
                  <a:pt x="291" y="1239"/>
                  <a:pt x="292" y="1241"/>
                  <a:pt x="293" y="1243"/>
                </a:cubicBezTo>
                <a:cubicBezTo>
                  <a:pt x="293" y="1245"/>
                  <a:pt x="294" y="1247"/>
                  <a:pt x="294" y="1249"/>
                </a:cubicBezTo>
                <a:cubicBezTo>
                  <a:pt x="294" y="1250"/>
                  <a:pt x="295" y="1253"/>
                  <a:pt x="295" y="1254"/>
                </a:cubicBezTo>
                <a:cubicBezTo>
                  <a:pt x="294" y="1255"/>
                  <a:pt x="293" y="1254"/>
                  <a:pt x="293" y="1255"/>
                </a:cubicBezTo>
                <a:cubicBezTo>
                  <a:pt x="293" y="1255"/>
                  <a:pt x="292" y="1255"/>
                  <a:pt x="292" y="1256"/>
                </a:cubicBezTo>
                <a:cubicBezTo>
                  <a:pt x="292" y="1257"/>
                  <a:pt x="292" y="1258"/>
                  <a:pt x="293" y="1259"/>
                </a:cubicBezTo>
                <a:cubicBezTo>
                  <a:pt x="293" y="1259"/>
                  <a:pt x="293" y="1260"/>
                  <a:pt x="293" y="1260"/>
                </a:cubicBezTo>
                <a:cubicBezTo>
                  <a:pt x="294" y="1260"/>
                  <a:pt x="294" y="1259"/>
                  <a:pt x="295" y="1259"/>
                </a:cubicBezTo>
                <a:cubicBezTo>
                  <a:pt x="295" y="1259"/>
                  <a:pt x="296" y="1259"/>
                  <a:pt x="296" y="1260"/>
                </a:cubicBezTo>
                <a:cubicBezTo>
                  <a:pt x="298" y="1261"/>
                  <a:pt x="298" y="1263"/>
                  <a:pt x="298" y="1265"/>
                </a:cubicBezTo>
                <a:cubicBezTo>
                  <a:pt x="299" y="1267"/>
                  <a:pt x="298" y="1270"/>
                  <a:pt x="298" y="1272"/>
                </a:cubicBezTo>
                <a:cubicBezTo>
                  <a:pt x="298" y="1274"/>
                  <a:pt x="297" y="1277"/>
                  <a:pt x="299" y="1279"/>
                </a:cubicBezTo>
                <a:cubicBezTo>
                  <a:pt x="300" y="1281"/>
                  <a:pt x="301" y="1282"/>
                  <a:pt x="301" y="1284"/>
                </a:cubicBezTo>
                <a:cubicBezTo>
                  <a:pt x="301" y="1285"/>
                  <a:pt x="302" y="1286"/>
                  <a:pt x="302" y="1287"/>
                </a:cubicBezTo>
                <a:cubicBezTo>
                  <a:pt x="302" y="1288"/>
                  <a:pt x="301" y="1289"/>
                  <a:pt x="301" y="1290"/>
                </a:cubicBezTo>
                <a:cubicBezTo>
                  <a:pt x="301" y="1291"/>
                  <a:pt x="301" y="1293"/>
                  <a:pt x="301" y="1294"/>
                </a:cubicBezTo>
                <a:cubicBezTo>
                  <a:pt x="302" y="1296"/>
                  <a:pt x="302" y="1297"/>
                  <a:pt x="303" y="1299"/>
                </a:cubicBezTo>
                <a:cubicBezTo>
                  <a:pt x="303" y="1301"/>
                  <a:pt x="303" y="1304"/>
                  <a:pt x="305" y="1306"/>
                </a:cubicBezTo>
                <a:cubicBezTo>
                  <a:pt x="306" y="1307"/>
                  <a:pt x="307" y="1306"/>
                  <a:pt x="308" y="1307"/>
                </a:cubicBezTo>
                <a:cubicBezTo>
                  <a:pt x="309" y="1308"/>
                  <a:pt x="309" y="1310"/>
                  <a:pt x="309" y="1311"/>
                </a:cubicBezTo>
                <a:cubicBezTo>
                  <a:pt x="310" y="1313"/>
                  <a:pt x="310" y="1321"/>
                  <a:pt x="312" y="1321"/>
                </a:cubicBezTo>
                <a:cubicBezTo>
                  <a:pt x="312" y="1321"/>
                  <a:pt x="312" y="1321"/>
                  <a:pt x="313" y="1321"/>
                </a:cubicBezTo>
                <a:cubicBezTo>
                  <a:pt x="313" y="1323"/>
                  <a:pt x="314" y="1325"/>
                  <a:pt x="314" y="1327"/>
                </a:cubicBezTo>
                <a:cubicBezTo>
                  <a:pt x="314" y="1336"/>
                  <a:pt x="316" y="1343"/>
                  <a:pt x="318" y="1353"/>
                </a:cubicBezTo>
                <a:cubicBezTo>
                  <a:pt x="319" y="1356"/>
                  <a:pt x="321" y="1360"/>
                  <a:pt x="321" y="1363"/>
                </a:cubicBezTo>
                <a:cubicBezTo>
                  <a:pt x="321" y="1363"/>
                  <a:pt x="321" y="1363"/>
                  <a:pt x="321" y="1363"/>
                </a:cubicBezTo>
                <a:cubicBezTo>
                  <a:pt x="320" y="1364"/>
                  <a:pt x="320" y="1364"/>
                  <a:pt x="320" y="1364"/>
                </a:cubicBezTo>
                <a:cubicBezTo>
                  <a:pt x="320" y="1365"/>
                  <a:pt x="321" y="1365"/>
                  <a:pt x="321" y="1365"/>
                </a:cubicBezTo>
                <a:cubicBezTo>
                  <a:pt x="322" y="1367"/>
                  <a:pt x="321" y="1368"/>
                  <a:pt x="321" y="1370"/>
                </a:cubicBezTo>
                <a:cubicBezTo>
                  <a:pt x="320" y="1371"/>
                  <a:pt x="321" y="1373"/>
                  <a:pt x="322" y="1373"/>
                </a:cubicBezTo>
                <a:cubicBezTo>
                  <a:pt x="323" y="1373"/>
                  <a:pt x="323" y="1373"/>
                  <a:pt x="323" y="1373"/>
                </a:cubicBezTo>
                <a:cubicBezTo>
                  <a:pt x="324" y="1374"/>
                  <a:pt x="324" y="1377"/>
                  <a:pt x="324" y="1378"/>
                </a:cubicBezTo>
                <a:cubicBezTo>
                  <a:pt x="325" y="1379"/>
                  <a:pt x="325" y="1381"/>
                  <a:pt x="326" y="1382"/>
                </a:cubicBezTo>
                <a:cubicBezTo>
                  <a:pt x="327" y="1387"/>
                  <a:pt x="328" y="1392"/>
                  <a:pt x="329" y="1393"/>
                </a:cubicBezTo>
                <a:cubicBezTo>
                  <a:pt x="329" y="1395"/>
                  <a:pt x="329" y="1397"/>
                  <a:pt x="329" y="1400"/>
                </a:cubicBezTo>
                <a:cubicBezTo>
                  <a:pt x="329" y="1400"/>
                  <a:pt x="330" y="1400"/>
                  <a:pt x="329" y="1400"/>
                </a:cubicBezTo>
                <a:cubicBezTo>
                  <a:pt x="329" y="1401"/>
                  <a:pt x="328" y="1401"/>
                  <a:pt x="329" y="1403"/>
                </a:cubicBezTo>
                <a:cubicBezTo>
                  <a:pt x="329" y="1404"/>
                  <a:pt x="329" y="1405"/>
                  <a:pt x="329" y="1406"/>
                </a:cubicBezTo>
                <a:cubicBezTo>
                  <a:pt x="329" y="1406"/>
                  <a:pt x="329" y="1407"/>
                  <a:pt x="330" y="1407"/>
                </a:cubicBezTo>
                <a:cubicBezTo>
                  <a:pt x="330" y="1407"/>
                  <a:pt x="331" y="1407"/>
                  <a:pt x="331" y="1407"/>
                </a:cubicBezTo>
                <a:cubicBezTo>
                  <a:pt x="332" y="1408"/>
                  <a:pt x="332" y="1409"/>
                  <a:pt x="332" y="1410"/>
                </a:cubicBezTo>
                <a:cubicBezTo>
                  <a:pt x="333" y="1413"/>
                  <a:pt x="333" y="1415"/>
                  <a:pt x="333" y="1417"/>
                </a:cubicBezTo>
                <a:cubicBezTo>
                  <a:pt x="333" y="1419"/>
                  <a:pt x="334" y="1421"/>
                  <a:pt x="335" y="1422"/>
                </a:cubicBezTo>
                <a:cubicBezTo>
                  <a:pt x="336" y="1423"/>
                  <a:pt x="337" y="1424"/>
                  <a:pt x="338" y="1425"/>
                </a:cubicBezTo>
                <a:cubicBezTo>
                  <a:pt x="338" y="1426"/>
                  <a:pt x="338" y="1428"/>
                  <a:pt x="338" y="1429"/>
                </a:cubicBezTo>
                <a:cubicBezTo>
                  <a:pt x="338" y="1433"/>
                  <a:pt x="340" y="1437"/>
                  <a:pt x="341" y="1441"/>
                </a:cubicBezTo>
                <a:cubicBezTo>
                  <a:pt x="343" y="1448"/>
                  <a:pt x="345" y="1454"/>
                  <a:pt x="346" y="1456"/>
                </a:cubicBezTo>
                <a:cubicBezTo>
                  <a:pt x="346" y="1458"/>
                  <a:pt x="347" y="1460"/>
                  <a:pt x="348" y="1461"/>
                </a:cubicBezTo>
                <a:cubicBezTo>
                  <a:pt x="348" y="1461"/>
                  <a:pt x="348" y="1461"/>
                  <a:pt x="348" y="1461"/>
                </a:cubicBezTo>
                <a:cubicBezTo>
                  <a:pt x="348" y="1462"/>
                  <a:pt x="348" y="1462"/>
                  <a:pt x="348" y="1462"/>
                </a:cubicBezTo>
                <a:cubicBezTo>
                  <a:pt x="348" y="1462"/>
                  <a:pt x="349" y="1463"/>
                  <a:pt x="348" y="1463"/>
                </a:cubicBezTo>
                <a:cubicBezTo>
                  <a:pt x="348" y="1464"/>
                  <a:pt x="348" y="1464"/>
                  <a:pt x="348" y="1464"/>
                </a:cubicBezTo>
                <a:cubicBezTo>
                  <a:pt x="347" y="1467"/>
                  <a:pt x="348" y="1470"/>
                  <a:pt x="349" y="1473"/>
                </a:cubicBezTo>
                <a:cubicBezTo>
                  <a:pt x="350" y="1476"/>
                  <a:pt x="351" y="1478"/>
                  <a:pt x="351" y="1481"/>
                </a:cubicBezTo>
                <a:cubicBezTo>
                  <a:pt x="352" y="1485"/>
                  <a:pt x="353" y="1488"/>
                  <a:pt x="353" y="1491"/>
                </a:cubicBezTo>
                <a:cubicBezTo>
                  <a:pt x="354" y="1493"/>
                  <a:pt x="354" y="1495"/>
                  <a:pt x="354" y="1496"/>
                </a:cubicBezTo>
                <a:cubicBezTo>
                  <a:pt x="355" y="1497"/>
                  <a:pt x="356" y="1498"/>
                  <a:pt x="356" y="1499"/>
                </a:cubicBezTo>
                <a:cubicBezTo>
                  <a:pt x="356" y="1500"/>
                  <a:pt x="356" y="1500"/>
                  <a:pt x="356" y="1500"/>
                </a:cubicBezTo>
                <a:cubicBezTo>
                  <a:pt x="357" y="1500"/>
                  <a:pt x="357" y="1500"/>
                  <a:pt x="357" y="1501"/>
                </a:cubicBezTo>
                <a:cubicBezTo>
                  <a:pt x="357" y="1503"/>
                  <a:pt x="356" y="1505"/>
                  <a:pt x="357" y="1508"/>
                </a:cubicBezTo>
                <a:cubicBezTo>
                  <a:pt x="357" y="1510"/>
                  <a:pt x="358" y="1512"/>
                  <a:pt x="359" y="1514"/>
                </a:cubicBezTo>
                <a:cubicBezTo>
                  <a:pt x="359" y="1516"/>
                  <a:pt x="360" y="1518"/>
                  <a:pt x="360" y="1519"/>
                </a:cubicBezTo>
                <a:cubicBezTo>
                  <a:pt x="361" y="1521"/>
                  <a:pt x="361" y="1522"/>
                  <a:pt x="363" y="1523"/>
                </a:cubicBezTo>
                <a:cubicBezTo>
                  <a:pt x="363" y="1523"/>
                  <a:pt x="364" y="1524"/>
                  <a:pt x="364" y="1525"/>
                </a:cubicBezTo>
                <a:cubicBezTo>
                  <a:pt x="364" y="1526"/>
                  <a:pt x="365" y="1528"/>
                  <a:pt x="365" y="1529"/>
                </a:cubicBezTo>
                <a:cubicBezTo>
                  <a:pt x="365" y="1531"/>
                  <a:pt x="366" y="1532"/>
                  <a:pt x="366" y="1534"/>
                </a:cubicBezTo>
                <a:cubicBezTo>
                  <a:pt x="366" y="1534"/>
                  <a:pt x="366" y="1534"/>
                  <a:pt x="367" y="1535"/>
                </a:cubicBezTo>
                <a:cubicBezTo>
                  <a:pt x="367" y="1535"/>
                  <a:pt x="367" y="1535"/>
                  <a:pt x="368" y="1535"/>
                </a:cubicBezTo>
                <a:cubicBezTo>
                  <a:pt x="368" y="1535"/>
                  <a:pt x="368" y="1535"/>
                  <a:pt x="368" y="1535"/>
                </a:cubicBezTo>
                <a:cubicBezTo>
                  <a:pt x="368" y="1536"/>
                  <a:pt x="368" y="1537"/>
                  <a:pt x="368" y="1537"/>
                </a:cubicBezTo>
                <a:cubicBezTo>
                  <a:pt x="367" y="1539"/>
                  <a:pt x="368" y="1540"/>
                  <a:pt x="368" y="1541"/>
                </a:cubicBezTo>
                <a:cubicBezTo>
                  <a:pt x="368" y="1543"/>
                  <a:pt x="368" y="1544"/>
                  <a:pt x="368" y="1545"/>
                </a:cubicBezTo>
                <a:cubicBezTo>
                  <a:pt x="368" y="1545"/>
                  <a:pt x="368" y="1546"/>
                  <a:pt x="368" y="1546"/>
                </a:cubicBezTo>
                <a:cubicBezTo>
                  <a:pt x="369" y="1548"/>
                  <a:pt x="369" y="1550"/>
                  <a:pt x="370" y="1552"/>
                </a:cubicBezTo>
                <a:cubicBezTo>
                  <a:pt x="370" y="1553"/>
                  <a:pt x="370" y="1555"/>
                  <a:pt x="371" y="1556"/>
                </a:cubicBezTo>
                <a:cubicBezTo>
                  <a:pt x="371" y="1557"/>
                  <a:pt x="371" y="1558"/>
                  <a:pt x="371" y="1560"/>
                </a:cubicBezTo>
                <a:cubicBezTo>
                  <a:pt x="370" y="1561"/>
                  <a:pt x="370" y="1561"/>
                  <a:pt x="370" y="1562"/>
                </a:cubicBezTo>
                <a:cubicBezTo>
                  <a:pt x="371" y="1564"/>
                  <a:pt x="371" y="1566"/>
                  <a:pt x="371" y="1568"/>
                </a:cubicBezTo>
                <a:cubicBezTo>
                  <a:pt x="373" y="1573"/>
                  <a:pt x="374" y="1577"/>
                  <a:pt x="375" y="1582"/>
                </a:cubicBezTo>
                <a:cubicBezTo>
                  <a:pt x="376" y="1582"/>
                  <a:pt x="376" y="1583"/>
                  <a:pt x="376" y="1583"/>
                </a:cubicBezTo>
                <a:cubicBezTo>
                  <a:pt x="376" y="1583"/>
                  <a:pt x="376" y="1584"/>
                  <a:pt x="376" y="1584"/>
                </a:cubicBezTo>
                <a:cubicBezTo>
                  <a:pt x="375" y="1585"/>
                  <a:pt x="375" y="1586"/>
                  <a:pt x="375" y="1587"/>
                </a:cubicBezTo>
                <a:cubicBezTo>
                  <a:pt x="375" y="1588"/>
                  <a:pt x="375" y="1589"/>
                  <a:pt x="375" y="1589"/>
                </a:cubicBezTo>
                <a:cubicBezTo>
                  <a:pt x="376" y="1591"/>
                  <a:pt x="376" y="1593"/>
                  <a:pt x="377" y="1595"/>
                </a:cubicBezTo>
                <a:cubicBezTo>
                  <a:pt x="377" y="1596"/>
                  <a:pt x="377" y="1598"/>
                  <a:pt x="378" y="1600"/>
                </a:cubicBezTo>
                <a:cubicBezTo>
                  <a:pt x="378" y="1600"/>
                  <a:pt x="378" y="1601"/>
                  <a:pt x="378" y="1601"/>
                </a:cubicBezTo>
                <a:cubicBezTo>
                  <a:pt x="378" y="1602"/>
                  <a:pt x="378" y="1603"/>
                  <a:pt x="379" y="1603"/>
                </a:cubicBezTo>
                <a:cubicBezTo>
                  <a:pt x="379" y="1604"/>
                  <a:pt x="383" y="1605"/>
                  <a:pt x="382" y="1607"/>
                </a:cubicBezTo>
                <a:cubicBezTo>
                  <a:pt x="381" y="1608"/>
                  <a:pt x="380" y="1607"/>
                  <a:pt x="379" y="1607"/>
                </a:cubicBezTo>
                <a:cubicBezTo>
                  <a:pt x="379" y="1608"/>
                  <a:pt x="379" y="1610"/>
                  <a:pt x="379" y="1611"/>
                </a:cubicBezTo>
                <a:cubicBezTo>
                  <a:pt x="380" y="1611"/>
                  <a:pt x="380" y="1611"/>
                  <a:pt x="380" y="1610"/>
                </a:cubicBezTo>
                <a:cubicBezTo>
                  <a:pt x="380" y="1610"/>
                  <a:pt x="380" y="1609"/>
                  <a:pt x="380" y="1609"/>
                </a:cubicBezTo>
                <a:cubicBezTo>
                  <a:pt x="381" y="1609"/>
                  <a:pt x="381" y="1609"/>
                  <a:pt x="381" y="1609"/>
                </a:cubicBezTo>
                <a:cubicBezTo>
                  <a:pt x="381" y="1610"/>
                  <a:pt x="382" y="1611"/>
                  <a:pt x="382" y="1612"/>
                </a:cubicBezTo>
                <a:cubicBezTo>
                  <a:pt x="382" y="1613"/>
                  <a:pt x="382" y="1614"/>
                  <a:pt x="382" y="1614"/>
                </a:cubicBezTo>
                <a:cubicBezTo>
                  <a:pt x="382" y="1615"/>
                  <a:pt x="383" y="1615"/>
                  <a:pt x="383" y="1616"/>
                </a:cubicBezTo>
                <a:cubicBezTo>
                  <a:pt x="382" y="1616"/>
                  <a:pt x="382" y="1616"/>
                  <a:pt x="382" y="1617"/>
                </a:cubicBezTo>
                <a:cubicBezTo>
                  <a:pt x="382" y="1617"/>
                  <a:pt x="383" y="1617"/>
                  <a:pt x="383" y="1617"/>
                </a:cubicBezTo>
                <a:cubicBezTo>
                  <a:pt x="383" y="1617"/>
                  <a:pt x="383" y="1617"/>
                  <a:pt x="383" y="1617"/>
                </a:cubicBezTo>
                <a:cubicBezTo>
                  <a:pt x="385" y="1616"/>
                  <a:pt x="385" y="1619"/>
                  <a:pt x="385" y="1620"/>
                </a:cubicBezTo>
                <a:cubicBezTo>
                  <a:pt x="385" y="1622"/>
                  <a:pt x="385" y="1624"/>
                  <a:pt x="384" y="1626"/>
                </a:cubicBezTo>
                <a:cubicBezTo>
                  <a:pt x="384" y="1628"/>
                  <a:pt x="384" y="1629"/>
                  <a:pt x="384" y="1632"/>
                </a:cubicBezTo>
                <a:cubicBezTo>
                  <a:pt x="385" y="1633"/>
                  <a:pt x="385" y="1634"/>
                  <a:pt x="385" y="1636"/>
                </a:cubicBezTo>
                <a:cubicBezTo>
                  <a:pt x="386" y="1637"/>
                  <a:pt x="386" y="1639"/>
                  <a:pt x="386" y="1640"/>
                </a:cubicBezTo>
                <a:cubicBezTo>
                  <a:pt x="386" y="1641"/>
                  <a:pt x="387" y="1643"/>
                  <a:pt x="387" y="1643"/>
                </a:cubicBezTo>
                <a:cubicBezTo>
                  <a:pt x="388" y="1643"/>
                  <a:pt x="388" y="1643"/>
                  <a:pt x="388" y="1644"/>
                </a:cubicBezTo>
                <a:cubicBezTo>
                  <a:pt x="388" y="1644"/>
                  <a:pt x="388" y="1644"/>
                  <a:pt x="388" y="1643"/>
                </a:cubicBezTo>
                <a:cubicBezTo>
                  <a:pt x="389" y="1643"/>
                  <a:pt x="389" y="1643"/>
                  <a:pt x="389" y="1643"/>
                </a:cubicBezTo>
                <a:cubicBezTo>
                  <a:pt x="390" y="1643"/>
                  <a:pt x="390" y="1645"/>
                  <a:pt x="390" y="1645"/>
                </a:cubicBezTo>
                <a:cubicBezTo>
                  <a:pt x="389" y="1645"/>
                  <a:pt x="389" y="1645"/>
                  <a:pt x="389" y="1645"/>
                </a:cubicBezTo>
                <a:cubicBezTo>
                  <a:pt x="388" y="1645"/>
                  <a:pt x="389" y="1648"/>
                  <a:pt x="389" y="1649"/>
                </a:cubicBezTo>
                <a:cubicBezTo>
                  <a:pt x="389" y="1650"/>
                  <a:pt x="389" y="1650"/>
                  <a:pt x="389" y="1651"/>
                </a:cubicBezTo>
                <a:cubicBezTo>
                  <a:pt x="389" y="1652"/>
                  <a:pt x="389" y="1652"/>
                  <a:pt x="389" y="1652"/>
                </a:cubicBezTo>
                <a:cubicBezTo>
                  <a:pt x="390" y="1653"/>
                  <a:pt x="390" y="1653"/>
                  <a:pt x="390" y="1653"/>
                </a:cubicBezTo>
                <a:cubicBezTo>
                  <a:pt x="390" y="1654"/>
                  <a:pt x="390" y="1654"/>
                  <a:pt x="390" y="1655"/>
                </a:cubicBezTo>
                <a:cubicBezTo>
                  <a:pt x="390" y="1655"/>
                  <a:pt x="390" y="1655"/>
                  <a:pt x="391" y="1655"/>
                </a:cubicBezTo>
                <a:cubicBezTo>
                  <a:pt x="392" y="1656"/>
                  <a:pt x="391" y="1653"/>
                  <a:pt x="391" y="1652"/>
                </a:cubicBezTo>
                <a:cubicBezTo>
                  <a:pt x="391" y="1652"/>
                  <a:pt x="390" y="1651"/>
                  <a:pt x="391" y="1651"/>
                </a:cubicBezTo>
                <a:cubicBezTo>
                  <a:pt x="392" y="1650"/>
                  <a:pt x="393" y="1651"/>
                  <a:pt x="393" y="1652"/>
                </a:cubicBezTo>
                <a:cubicBezTo>
                  <a:pt x="393" y="1653"/>
                  <a:pt x="393" y="1654"/>
                  <a:pt x="393" y="1655"/>
                </a:cubicBezTo>
                <a:cubicBezTo>
                  <a:pt x="394" y="1657"/>
                  <a:pt x="394" y="1660"/>
                  <a:pt x="395" y="1662"/>
                </a:cubicBezTo>
                <a:cubicBezTo>
                  <a:pt x="395" y="1665"/>
                  <a:pt x="396" y="1668"/>
                  <a:pt x="396" y="1670"/>
                </a:cubicBezTo>
                <a:cubicBezTo>
                  <a:pt x="397" y="1671"/>
                  <a:pt x="397" y="1672"/>
                  <a:pt x="397" y="1673"/>
                </a:cubicBezTo>
                <a:cubicBezTo>
                  <a:pt x="397" y="1674"/>
                  <a:pt x="398" y="1675"/>
                  <a:pt x="398" y="1676"/>
                </a:cubicBezTo>
                <a:cubicBezTo>
                  <a:pt x="398" y="1676"/>
                  <a:pt x="397" y="1676"/>
                  <a:pt x="397" y="1676"/>
                </a:cubicBezTo>
                <a:cubicBezTo>
                  <a:pt x="397" y="1676"/>
                  <a:pt x="397" y="1676"/>
                  <a:pt x="397" y="1677"/>
                </a:cubicBezTo>
                <a:cubicBezTo>
                  <a:pt x="397" y="1678"/>
                  <a:pt x="396" y="1676"/>
                  <a:pt x="395" y="1676"/>
                </a:cubicBezTo>
                <a:cubicBezTo>
                  <a:pt x="395" y="1675"/>
                  <a:pt x="394" y="1677"/>
                  <a:pt x="395" y="1677"/>
                </a:cubicBezTo>
                <a:cubicBezTo>
                  <a:pt x="395" y="1678"/>
                  <a:pt x="396" y="1677"/>
                  <a:pt x="397" y="1678"/>
                </a:cubicBezTo>
                <a:cubicBezTo>
                  <a:pt x="397" y="1679"/>
                  <a:pt x="396" y="1679"/>
                  <a:pt x="396" y="1680"/>
                </a:cubicBezTo>
                <a:cubicBezTo>
                  <a:pt x="396" y="1680"/>
                  <a:pt x="396" y="1681"/>
                  <a:pt x="396" y="1682"/>
                </a:cubicBezTo>
                <a:cubicBezTo>
                  <a:pt x="396" y="1684"/>
                  <a:pt x="396" y="1685"/>
                  <a:pt x="397" y="1687"/>
                </a:cubicBezTo>
                <a:cubicBezTo>
                  <a:pt x="397" y="1690"/>
                  <a:pt x="398" y="1693"/>
                  <a:pt x="399" y="1693"/>
                </a:cubicBezTo>
                <a:cubicBezTo>
                  <a:pt x="400" y="1694"/>
                  <a:pt x="399" y="1697"/>
                  <a:pt x="399" y="1698"/>
                </a:cubicBezTo>
                <a:cubicBezTo>
                  <a:pt x="399" y="1699"/>
                  <a:pt x="399" y="1699"/>
                  <a:pt x="400" y="1700"/>
                </a:cubicBezTo>
                <a:cubicBezTo>
                  <a:pt x="400" y="1700"/>
                  <a:pt x="401" y="1699"/>
                  <a:pt x="401" y="1699"/>
                </a:cubicBezTo>
                <a:cubicBezTo>
                  <a:pt x="401" y="1699"/>
                  <a:pt x="402" y="1699"/>
                  <a:pt x="402" y="1700"/>
                </a:cubicBezTo>
                <a:cubicBezTo>
                  <a:pt x="402" y="1700"/>
                  <a:pt x="401" y="1701"/>
                  <a:pt x="401" y="1702"/>
                </a:cubicBezTo>
                <a:cubicBezTo>
                  <a:pt x="401" y="1703"/>
                  <a:pt x="401" y="1704"/>
                  <a:pt x="401" y="1705"/>
                </a:cubicBezTo>
                <a:cubicBezTo>
                  <a:pt x="402" y="1706"/>
                  <a:pt x="402" y="1708"/>
                  <a:pt x="403" y="1709"/>
                </a:cubicBezTo>
                <a:cubicBezTo>
                  <a:pt x="403" y="1710"/>
                  <a:pt x="403" y="1710"/>
                  <a:pt x="403" y="1711"/>
                </a:cubicBezTo>
                <a:cubicBezTo>
                  <a:pt x="404" y="1711"/>
                  <a:pt x="404" y="1711"/>
                  <a:pt x="405" y="1711"/>
                </a:cubicBezTo>
                <a:cubicBezTo>
                  <a:pt x="405" y="1714"/>
                  <a:pt x="405" y="1717"/>
                  <a:pt x="406" y="1721"/>
                </a:cubicBezTo>
                <a:cubicBezTo>
                  <a:pt x="406" y="1723"/>
                  <a:pt x="406" y="1724"/>
                  <a:pt x="408" y="1726"/>
                </a:cubicBezTo>
                <a:cubicBezTo>
                  <a:pt x="408" y="1727"/>
                  <a:pt x="408" y="1727"/>
                  <a:pt x="408" y="1728"/>
                </a:cubicBezTo>
                <a:cubicBezTo>
                  <a:pt x="408" y="1728"/>
                  <a:pt x="409" y="1730"/>
                  <a:pt x="408" y="1730"/>
                </a:cubicBezTo>
                <a:cubicBezTo>
                  <a:pt x="407" y="1729"/>
                  <a:pt x="406" y="1728"/>
                  <a:pt x="405" y="1728"/>
                </a:cubicBezTo>
                <a:cubicBezTo>
                  <a:pt x="405" y="1728"/>
                  <a:pt x="406" y="1729"/>
                  <a:pt x="406" y="1730"/>
                </a:cubicBezTo>
                <a:cubicBezTo>
                  <a:pt x="407" y="1730"/>
                  <a:pt x="408" y="1731"/>
                  <a:pt x="408" y="1732"/>
                </a:cubicBezTo>
                <a:cubicBezTo>
                  <a:pt x="409" y="1732"/>
                  <a:pt x="408" y="1733"/>
                  <a:pt x="408" y="1733"/>
                </a:cubicBezTo>
                <a:cubicBezTo>
                  <a:pt x="408" y="1733"/>
                  <a:pt x="408" y="1733"/>
                  <a:pt x="408" y="1733"/>
                </a:cubicBezTo>
                <a:cubicBezTo>
                  <a:pt x="407" y="1735"/>
                  <a:pt x="408" y="1737"/>
                  <a:pt x="408" y="1739"/>
                </a:cubicBezTo>
                <a:cubicBezTo>
                  <a:pt x="409" y="1743"/>
                  <a:pt x="410" y="1746"/>
                  <a:pt x="411" y="1750"/>
                </a:cubicBezTo>
                <a:cubicBezTo>
                  <a:pt x="412" y="1752"/>
                  <a:pt x="412" y="1753"/>
                  <a:pt x="413" y="1755"/>
                </a:cubicBezTo>
                <a:cubicBezTo>
                  <a:pt x="414" y="1757"/>
                  <a:pt x="415" y="1758"/>
                  <a:pt x="415" y="1760"/>
                </a:cubicBezTo>
                <a:cubicBezTo>
                  <a:pt x="415" y="1760"/>
                  <a:pt x="415" y="1760"/>
                  <a:pt x="415" y="1760"/>
                </a:cubicBezTo>
                <a:cubicBezTo>
                  <a:pt x="415" y="1760"/>
                  <a:pt x="415" y="1760"/>
                  <a:pt x="415" y="1761"/>
                </a:cubicBezTo>
                <a:cubicBezTo>
                  <a:pt x="415" y="1762"/>
                  <a:pt x="415" y="1762"/>
                  <a:pt x="416" y="1763"/>
                </a:cubicBezTo>
                <a:cubicBezTo>
                  <a:pt x="416" y="1763"/>
                  <a:pt x="416" y="1764"/>
                  <a:pt x="417" y="1764"/>
                </a:cubicBezTo>
                <a:cubicBezTo>
                  <a:pt x="417" y="1764"/>
                  <a:pt x="418" y="1764"/>
                  <a:pt x="418" y="1764"/>
                </a:cubicBezTo>
                <a:cubicBezTo>
                  <a:pt x="418" y="1765"/>
                  <a:pt x="418" y="1766"/>
                  <a:pt x="418" y="1767"/>
                </a:cubicBezTo>
                <a:cubicBezTo>
                  <a:pt x="418" y="1768"/>
                  <a:pt x="418" y="1769"/>
                  <a:pt x="419" y="1770"/>
                </a:cubicBezTo>
                <a:cubicBezTo>
                  <a:pt x="419" y="1770"/>
                  <a:pt x="420" y="1771"/>
                  <a:pt x="421" y="1772"/>
                </a:cubicBezTo>
                <a:cubicBezTo>
                  <a:pt x="421" y="1773"/>
                  <a:pt x="421" y="1774"/>
                  <a:pt x="421" y="1775"/>
                </a:cubicBezTo>
                <a:cubicBezTo>
                  <a:pt x="422" y="1777"/>
                  <a:pt x="422" y="1781"/>
                  <a:pt x="422" y="1783"/>
                </a:cubicBezTo>
                <a:cubicBezTo>
                  <a:pt x="422" y="1784"/>
                  <a:pt x="422" y="1785"/>
                  <a:pt x="422" y="1786"/>
                </a:cubicBezTo>
                <a:cubicBezTo>
                  <a:pt x="422" y="1786"/>
                  <a:pt x="422" y="1787"/>
                  <a:pt x="423" y="1788"/>
                </a:cubicBezTo>
                <a:cubicBezTo>
                  <a:pt x="423" y="1788"/>
                  <a:pt x="423" y="1788"/>
                  <a:pt x="423" y="1788"/>
                </a:cubicBezTo>
                <a:cubicBezTo>
                  <a:pt x="422" y="1790"/>
                  <a:pt x="424" y="1791"/>
                  <a:pt x="425" y="1792"/>
                </a:cubicBezTo>
                <a:cubicBezTo>
                  <a:pt x="426" y="1792"/>
                  <a:pt x="425" y="1793"/>
                  <a:pt x="425" y="1793"/>
                </a:cubicBezTo>
                <a:cubicBezTo>
                  <a:pt x="425" y="1794"/>
                  <a:pt x="425" y="1794"/>
                  <a:pt x="425" y="1795"/>
                </a:cubicBezTo>
                <a:cubicBezTo>
                  <a:pt x="424" y="1795"/>
                  <a:pt x="425" y="1796"/>
                  <a:pt x="425" y="1797"/>
                </a:cubicBezTo>
                <a:cubicBezTo>
                  <a:pt x="425" y="1798"/>
                  <a:pt x="425" y="1798"/>
                  <a:pt x="425" y="1798"/>
                </a:cubicBezTo>
                <a:cubicBezTo>
                  <a:pt x="424" y="1799"/>
                  <a:pt x="425" y="1799"/>
                  <a:pt x="425" y="1799"/>
                </a:cubicBezTo>
                <a:cubicBezTo>
                  <a:pt x="425" y="1799"/>
                  <a:pt x="425" y="1800"/>
                  <a:pt x="425" y="1800"/>
                </a:cubicBezTo>
                <a:cubicBezTo>
                  <a:pt x="425" y="1800"/>
                  <a:pt x="425" y="1800"/>
                  <a:pt x="425" y="1801"/>
                </a:cubicBezTo>
                <a:cubicBezTo>
                  <a:pt x="425" y="1801"/>
                  <a:pt x="426" y="1802"/>
                  <a:pt x="426" y="1802"/>
                </a:cubicBezTo>
                <a:cubicBezTo>
                  <a:pt x="427" y="1802"/>
                  <a:pt x="427" y="1802"/>
                  <a:pt x="427" y="1801"/>
                </a:cubicBezTo>
                <a:cubicBezTo>
                  <a:pt x="428" y="1802"/>
                  <a:pt x="428" y="1802"/>
                  <a:pt x="428" y="1803"/>
                </a:cubicBezTo>
                <a:cubicBezTo>
                  <a:pt x="428" y="1804"/>
                  <a:pt x="428" y="1804"/>
                  <a:pt x="428" y="1805"/>
                </a:cubicBezTo>
                <a:cubicBezTo>
                  <a:pt x="429" y="1808"/>
                  <a:pt x="429" y="1810"/>
                  <a:pt x="429" y="1813"/>
                </a:cubicBezTo>
                <a:cubicBezTo>
                  <a:pt x="429" y="1814"/>
                  <a:pt x="429" y="1815"/>
                  <a:pt x="429" y="1816"/>
                </a:cubicBezTo>
                <a:cubicBezTo>
                  <a:pt x="429" y="1817"/>
                  <a:pt x="430" y="1818"/>
                  <a:pt x="429" y="1819"/>
                </a:cubicBezTo>
                <a:cubicBezTo>
                  <a:pt x="429" y="1820"/>
                  <a:pt x="429" y="1821"/>
                  <a:pt x="429" y="1822"/>
                </a:cubicBezTo>
                <a:cubicBezTo>
                  <a:pt x="430" y="1823"/>
                  <a:pt x="430" y="1824"/>
                  <a:pt x="431" y="1825"/>
                </a:cubicBezTo>
                <a:cubicBezTo>
                  <a:pt x="431" y="1825"/>
                  <a:pt x="431" y="1825"/>
                  <a:pt x="432" y="1826"/>
                </a:cubicBezTo>
                <a:cubicBezTo>
                  <a:pt x="432" y="1826"/>
                  <a:pt x="432" y="1826"/>
                  <a:pt x="433" y="1826"/>
                </a:cubicBezTo>
                <a:cubicBezTo>
                  <a:pt x="433" y="1826"/>
                  <a:pt x="433" y="1827"/>
                  <a:pt x="433" y="1827"/>
                </a:cubicBezTo>
                <a:cubicBezTo>
                  <a:pt x="434" y="1830"/>
                  <a:pt x="431" y="1834"/>
                  <a:pt x="433" y="1837"/>
                </a:cubicBezTo>
                <a:cubicBezTo>
                  <a:pt x="433" y="1837"/>
                  <a:pt x="433" y="1837"/>
                  <a:pt x="434" y="1838"/>
                </a:cubicBezTo>
                <a:cubicBezTo>
                  <a:pt x="436" y="1838"/>
                  <a:pt x="436" y="1840"/>
                  <a:pt x="436" y="1841"/>
                </a:cubicBezTo>
                <a:cubicBezTo>
                  <a:pt x="436" y="1842"/>
                  <a:pt x="437" y="1843"/>
                  <a:pt x="437" y="1844"/>
                </a:cubicBezTo>
                <a:cubicBezTo>
                  <a:pt x="437" y="1844"/>
                  <a:pt x="438" y="1844"/>
                  <a:pt x="438" y="1845"/>
                </a:cubicBezTo>
                <a:cubicBezTo>
                  <a:pt x="438" y="1845"/>
                  <a:pt x="439" y="1846"/>
                  <a:pt x="439" y="1846"/>
                </a:cubicBezTo>
                <a:cubicBezTo>
                  <a:pt x="439" y="1847"/>
                  <a:pt x="440" y="1848"/>
                  <a:pt x="440" y="1849"/>
                </a:cubicBezTo>
                <a:cubicBezTo>
                  <a:pt x="439" y="1850"/>
                  <a:pt x="439" y="1851"/>
                  <a:pt x="439" y="1851"/>
                </a:cubicBezTo>
                <a:cubicBezTo>
                  <a:pt x="439" y="1852"/>
                  <a:pt x="439" y="1854"/>
                  <a:pt x="440" y="1855"/>
                </a:cubicBezTo>
                <a:cubicBezTo>
                  <a:pt x="440" y="1856"/>
                  <a:pt x="440" y="1857"/>
                  <a:pt x="441" y="1858"/>
                </a:cubicBezTo>
                <a:cubicBezTo>
                  <a:pt x="441" y="1860"/>
                  <a:pt x="441" y="1861"/>
                  <a:pt x="441" y="1862"/>
                </a:cubicBezTo>
                <a:cubicBezTo>
                  <a:pt x="442" y="1863"/>
                  <a:pt x="442" y="1864"/>
                  <a:pt x="442" y="1865"/>
                </a:cubicBezTo>
                <a:cubicBezTo>
                  <a:pt x="443" y="1866"/>
                  <a:pt x="445" y="1865"/>
                  <a:pt x="445" y="1866"/>
                </a:cubicBezTo>
                <a:cubicBezTo>
                  <a:pt x="446" y="1867"/>
                  <a:pt x="445" y="1869"/>
                  <a:pt x="445" y="1870"/>
                </a:cubicBezTo>
                <a:cubicBezTo>
                  <a:pt x="445" y="1872"/>
                  <a:pt x="445" y="1873"/>
                  <a:pt x="446" y="1874"/>
                </a:cubicBezTo>
                <a:cubicBezTo>
                  <a:pt x="446" y="1876"/>
                  <a:pt x="447" y="1878"/>
                  <a:pt x="447" y="1880"/>
                </a:cubicBezTo>
                <a:cubicBezTo>
                  <a:pt x="448" y="1884"/>
                  <a:pt x="450" y="1888"/>
                  <a:pt x="450" y="1892"/>
                </a:cubicBezTo>
                <a:cubicBezTo>
                  <a:pt x="451" y="1893"/>
                  <a:pt x="451" y="1894"/>
                  <a:pt x="451" y="1896"/>
                </a:cubicBezTo>
                <a:cubicBezTo>
                  <a:pt x="451" y="1897"/>
                  <a:pt x="451" y="1898"/>
                  <a:pt x="451" y="1899"/>
                </a:cubicBezTo>
                <a:cubicBezTo>
                  <a:pt x="451" y="1899"/>
                  <a:pt x="451" y="1899"/>
                  <a:pt x="451" y="1899"/>
                </a:cubicBezTo>
                <a:cubicBezTo>
                  <a:pt x="451" y="1899"/>
                  <a:pt x="451" y="1899"/>
                  <a:pt x="451" y="1900"/>
                </a:cubicBezTo>
                <a:cubicBezTo>
                  <a:pt x="452" y="1900"/>
                  <a:pt x="452" y="1901"/>
                  <a:pt x="452" y="1902"/>
                </a:cubicBezTo>
                <a:cubicBezTo>
                  <a:pt x="453" y="1903"/>
                  <a:pt x="453" y="1904"/>
                  <a:pt x="453" y="1905"/>
                </a:cubicBezTo>
                <a:cubicBezTo>
                  <a:pt x="453" y="1906"/>
                  <a:pt x="454" y="1908"/>
                  <a:pt x="454" y="1910"/>
                </a:cubicBezTo>
                <a:cubicBezTo>
                  <a:pt x="455" y="1910"/>
                  <a:pt x="456" y="1912"/>
                  <a:pt x="455" y="1913"/>
                </a:cubicBezTo>
                <a:cubicBezTo>
                  <a:pt x="455" y="1913"/>
                  <a:pt x="454" y="1913"/>
                  <a:pt x="454" y="1914"/>
                </a:cubicBezTo>
                <a:cubicBezTo>
                  <a:pt x="454" y="1914"/>
                  <a:pt x="454" y="1914"/>
                  <a:pt x="455" y="1915"/>
                </a:cubicBezTo>
                <a:cubicBezTo>
                  <a:pt x="455" y="1915"/>
                  <a:pt x="455" y="1915"/>
                  <a:pt x="455" y="1914"/>
                </a:cubicBezTo>
                <a:cubicBezTo>
                  <a:pt x="456" y="1913"/>
                  <a:pt x="459" y="1915"/>
                  <a:pt x="458" y="1917"/>
                </a:cubicBezTo>
                <a:cubicBezTo>
                  <a:pt x="458" y="1917"/>
                  <a:pt x="457" y="1918"/>
                  <a:pt x="457" y="1918"/>
                </a:cubicBezTo>
                <a:cubicBezTo>
                  <a:pt x="457" y="1919"/>
                  <a:pt x="457" y="1919"/>
                  <a:pt x="457" y="1920"/>
                </a:cubicBezTo>
                <a:cubicBezTo>
                  <a:pt x="457" y="1921"/>
                  <a:pt x="457" y="1922"/>
                  <a:pt x="457" y="1922"/>
                </a:cubicBezTo>
                <a:cubicBezTo>
                  <a:pt x="457" y="1923"/>
                  <a:pt x="457" y="1925"/>
                  <a:pt x="457" y="1925"/>
                </a:cubicBezTo>
                <a:cubicBezTo>
                  <a:pt x="458" y="1925"/>
                  <a:pt x="458" y="1926"/>
                  <a:pt x="458" y="1926"/>
                </a:cubicBezTo>
                <a:cubicBezTo>
                  <a:pt x="459" y="1926"/>
                  <a:pt x="458" y="1927"/>
                  <a:pt x="458" y="1928"/>
                </a:cubicBezTo>
                <a:cubicBezTo>
                  <a:pt x="458" y="1929"/>
                  <a:pt x="459" y="1929"/>
                  <a:pt x="460" y="1930"/>
                </a:cubicBezTo>
                <a:cubicBezTo>
                  <a:pt x="460" y="1930"/>
                  <a:pt x="461" y="1931"/>
                  <a:pt x="461" y="1931"/>
                </a:cubicBezTo>
                <a:cubicBezTo>
                  <a:pt x="461" y="1932"/>
                  <a:pt x="461" y="1932"/>
                  <a:pt x="461" y="1932"/>
                </a:cubicBezTo>
                <a:cubicBezTo>
                  <a:pt x="461" y="1932"/>
                  <a:pt x="461" y="1933"/>
                  <a:pt x="461" y="1933"/>
                </a:cubicBezTo>
                <a:cubicBezTo>
                  <a:pt x="460" y="1934"/>
                  <a:pt x="461" y="1936"/>
                  <a:pt x="461" y="1937"/>
                </a:cubicBezTo>
                <a:cubicBezTo>
                  <a:pt x="465" y="1953"/>
                  <a:pt x="467" y="1959"/>
                  <a:pt x="467" y="1960"/>
                </a:cubicBezTo>
                <a:cubicBezTo>
                  <a:pt x="468" y="1960"/>
                  <a:pt x="470" y="1968"/>
                  <a:pt x="470" y="1970"/>
                </a:cubicBezTo>
                <a:cubicBezTo>
                  <a:pt x="470" y="1971"/>
                  <a:pt x="469" y="1972"/>
                  <a:pt x="469" y="1973"/>
                </a:cubicBezTo>
                <a:cubicBezTo>
                  <a:pt x="469" y="1974"/>
                  <a:pt x="469" y="1975"/>
                  <a:pt x="469" y="1976"/>
                </a:cubicBezTo>
                <a:cubicBezTo>
                  <a:pt x="469" y="1976"/>
                  <a:pt x="469" y="1977"/>
                  <a:pt x="470" y="1978"/>
                </a:cubicBezTo>
                <a:cubicBezTo>
                  <a:pt x="470" y="1978"/>
                  <a:pt x="470" y="1978"/>
                  <a:pt x="470" y="1979"/>
                </a:cubicBezTo>
                <a:cubicBezTo>
                  <a:pt x="469" y="1979"/>
                  <a:pt x="469" y="1979"/>
                  <a:pt x="469" y="1979"/>
                </a:cubicBezTo>
                <a:cubicBezTo>
                  <a:pt x="468" y="1980"/>
                  <a:pt x="469" y="1981"/>
                  <a:pt x="469" y="1981"/>
                </a:cubicBezTo>
                <a:cubicBezTo>
                  <a:pt x="469" y="1982"/>
                  <a:pt x="470" y="1983"/>
                  <a:pt x="470" y="1984"/>
                </a:cubicBezTo>
                <a:cubicBezTo>
                  <a:pt x="471" y="1985"/>
                  <a:pt x="472" y="1987"/>
                  <a:pt x="472" y="1989"/>
                </a:cubicBezTo>
                <a:cubicBezTo>
                  <a:pt x="471" y="1989"/>
                  <a:pt x="471" y="1989"/>
                  <a:pt x="471" y="1989"/>
                </a:cubicBezTo>
                <a:cubicBezTo>
                  <a:pt x="471" y="1990"/>
                  <a:pt x="472" y="1991"/>
                  <a:pt x="472" y="1991"/>
                </a:cubicBezTo>
                <a:cubicBezTo>
                  <a:pt x="473" y="1991"/>
                  <a:pt x="473" y="1992"/>
                  <a:pt x="473" y="1993"/>
                </a:cubicBezTo>
                <a:cubicBezTo>
                  <a:pt x="474" y="1995"/>
                  <a:pt x="474" y="1996"/>
                  <a:pt x="475" y="1998"/>
                </a:cubicBezTo>
                <a:cubicBezTo>
                  <a:pt x="476" y="2002"/>
                  <a:pt x="477" y="2007"/>
                  <a:pt x="477" y="2008"/>
                </a:cubicBezTo>
                <a:cubicBezTo>
                  <a:pt x="478" y="2010"/>
                  <a:pt x="478" y="2012"/>
                  <a:pt x="479" y="2013"/>
                </a:cubicBezTo>
                <a:cubicBezTo>
                  <a:pt x="479" y="2013"/>
                  <a:pt x="479" y="2014"/>
                  <a:pt x="480" y="2015"/>
                </a:cubicBezTo>
                <a:cubicBezTo>
                  <a:pt x="480" y="2015"/>
                  <a:pt x="481" y="2015"/>
                  <a:pt x="481" y="2016"/>
                </a:cubicBezTo>
                <a:cubicBezTo>
                  <a:pt x="482" y="2017"/>
                  <a:pt x="482" y="2019"/>
                  <a:pt x="482" y="2020"/>
                </a:cubicBezTo>
                <a:cubicBezTo>
                  <a:pt x="482" y="2021"/>
                  <a:pt x="482" y="2022"/>
                  <a:pt x="482" y="2023"/>
                </a:cubicBezTo>
                <a:cubicBezTo>
                  <a:pt x="482" y="2024"/>
                  <a:pt x="482" y="2024"/>
                  <a:pt x="482" y="2025"/>
                </a:cubicBezTo>
                <a:cubicBezTo>
                  <a:pt x="483" y="2027"/>
                  <a:pt x="484" y="2030"/>
                  <a:pt x="484" y="2032"/>
                </a:cubicBezTo>
                <a:cubicBezTo>
                  <a:pt x="485" y="2036"/>
                  <a:pt x="487" y="2043"/>
                  <a:pt x="489" y="2050"/>
                </a:cubicBezTo>
                <a:cubicBezTo>
                  <a:pt x="492" y="2064"/>
                  <a:pt x="496" y="2079"/>
                  <a:pt x="497" y="2083"/>
                </a:cubicBezTo>
                <a:cubicBezTo>
                  <a:pt x="497" y="2084"/>
                  <a:pt x="498" y="2086"/>
                  <a:pt x="498" y="2087"/>
                </a:cubicBezTo>
                <a:cubicBezTo>
                  <a:pt x="499" y="2088"/>
                  <a:pt x="499" y="2090"/>
                  <a:pt x="500" y="2091"/>
                </a:cubicBezTo>
                <a:cubicBezTo>
                  <a:pt x="500" y="2091"/>
                  <a:pt x="501" y="2091"/>
                  <a:pt x="501" y="2091"/>
                </a:cubicBezTo>
                <a:cubicBezTo>
                  <a:pt x="501" y="2092"/>
                  <a:pt x="500" y="2092"/>
                  <a:pt x="500" y="2092"/>
                </a:cubicBezTo>
                <a:cubicBezTo>
                  <a:pt x="500" y="2093"/>
                  <a:pt x="500" y="2093"/>
                  <a:pt x="500" y="2093"/>
                </a:cubicBezTo>
                <a:cubicBezTo>
                  <a:pt x="501" y="2094"/>
                  <a:pt x="501" y="2095"/>
                  <a:pt x="501" y="2096"/>
                </a:cubicBezTo>
                <a:cubicBezTo>
                  <a:pt x="502" y="2098"/>
                  <a:pt x="502" y="2099"/>
                  <a:pt x="502" y="2100"/>
                </a:cubicBezTo>
                <a:cubicBezTo>
                  <a:pt x="502" y="2101"/>
                  <a:pt x="502" y="2103"/>
                  <a:pt x="503" y="2104"/>
                </a:cubicBezTo>
                <a:cubicBezTo>
                  <a:pt x="503" y="2104"/>
                  <a:pt x="503" y="2104"/>
                  <a:pt x="503" y="2104"/>
                </a:cubicBezTo>
                <a:cubicBezTo>
                  <a:pt x="505" y="2106"/>
                  <a:pt x="505" y="2107"/>
                  <a:pt x="505" y="2109"/>
                </a:cubicBezTo>
                <a:cubicBezTo>
                  <a:pt x="505" y="2109"/>
                  <a:pt x="505" y="2109"/>
                  <a:pt x="505" y="2109"/>
                </a:cubicBezTo>
                <a:cubicBezTo>
                  <a:pt x="505" y="2110"/>
                  <a:pt x="504" y="2110"/>
                  <a:pt x="504" y="2110"/>
                </a:cubicBezTo>
                <a:cubicBezTo>
                  <a:pt x="503" y="2111"/>
                  <a:pt x="504" y="2113"/>
                  <a:pt x="505" y="2115"/>
                </a:cubicBezTo>
                <a:cubicBezTo>
                  <a:pt x="506" y="2117"/>
                  <a:pt x="507" y="2118"/>
                  <a:pt x="507" y="2120"/>
                </a:cubicBezTo>
                <a:cubicBezTo>
                  <a:pt x="507" y="2122"/>
                  <a:pt x="507" y="2124"/>
                  <a:pt x="507" y="2126"/>
                </a:cubicBezTo>
                <a:cubicBezTo>
                  <a:pt x="508" y="2128"/>
                  <a:pt x="509" y="2132"/>
                  <a:pt x="510" y="2137"/>
                </a:cubicBezTo>
                <a:cubicBezTo>
                  <a:pt x="511" y="2139"/>
                  <a:pt x="511" y="2140"/>
                  <a:pt x="512" y="2142"/>
                </a:cubicBezTo>
                <a:cubicBezTo>
                  <a:pt x="512" y="2143"/>
                  <a:pt x="513" y="2145"/>
                  <a:pt x="513" y="2146"/>
                </a:cubicBezTo>
                <a:cubicBezTo>
                  <a:pt x="514" y="2146"/>
                  <a:pt x="514" y="2147"/>
                  <a:pt x="514" y="2147"/>
                </a:cubicBezTo>
                <a:cubicBezTo>
                  <a:pt x="515" y="2148"/>
                  <a:pt x="514" y="2149"/>
                  <a:pt x="514" y="2150"/>
                </a:cubicBezTo>
                <a:cubicBezTo>
                  <a:pt x="514" y="2152"/>
                  <a:pt x="515" y="2155"/>
                  <a:pt x="515" y="2157"/>
                </a:cubicBezTo>
                <a:cubicBezTo>
                  <a:pt x="516" y="2160"/>
                  <a:pt x="517" y="2162"/>
                  <a:pt x="517" y="2165"/>
                </a:cubicBezTo>
                <a:cubicBezTo>
                  <a:pt x="518" y="2168"/>
                  <a:pt x="519" y="2171"/>
                  <a:pt x="519" y="2174"/>
                </a:cubicBezTo>
                <a:cubicBezTo>
                  <a:pt x="519" y="2175"/>
                  <a:pt x="520" y="2176"/>
                  <a:pt x="520" y="2177"/>
                </a:cubicBezTo>
                <a:cubicBezTo>
                  <a:pt x="521" y="2178"/>
                  <a:pt x="521" y="2180"/>
                  <a:pt x="521" y="2181"/>
                </a:cubicBezTo>
                <a:cubicBezTo>
                  <a:pt x="522" y="2182"/>
                  <a:pt x="523" y="2183"/>
                  <a:pt x="524" y="2185"/>
                </a:cubicBezTo>
                <a:cubicBezTo>
                  <a:pt x="524" y="2187"/>
                  <a:pt x="524" y="2189"/>
                  <a:pt x="525" y="2191"/>
                </a:cubicBezTo>
                <a:cubicBezTo>
                  <a:pt x="525" y="2193"/>
                  <a:pt x="525" y="2195"/>
                  <a:pt x="525" y="2198"/>
                </a:cubicBezTo>
                <a:cubicBezTo>
                  <a:pt x="526" y="2202"/>
                  <a:pt x="528" y="2207"/>
                  <a:pt x="529" y="2212"/>
                </a:cubicBezTo>
                <a:cubicBezTo>
                  <a:pt x="530" y="2215"/>
                  <a:pt x="531" y="2219"/>
                  <a:pt x="532" y="2222"/>
                </a:cubicBezTo>
                <a:cubicBezTo>
                  <a:pt x="532" y="2225"/>
                  <a:pt x="533" y="2228"/>
                  <a:pt x="534" y="2231"/>
                </a:cubicBezTo>
                <a:cubicBezTo>
                  <a:pt x="534" y="2231"/>
                  <a:pt x="535" y="2232"/>
                  <a:pt x="535" y="2233"/>
                </a:cubicBezTo>
                <a:cubicBezTo>
                  <a:pt x="535" y="2233"/>
                  <a:pt x="535" y="2234"/>
                  <a:pt x="535" y="2234"/>
                </a:cubicBezTo>
                <a:cubicBezTo>
                  <a:pt x="535" y="2235"/>
                  <a:pt x="536" y="2235"/>
                  <a:pt x="536" y="2236"/>
                </a:cubicBezTo>
                <a:cubicBezTo>
                  <a:pt x="536" y="2236"/>
                  <a:pt x="536" y="2236"/>
                  <a:pt x="536" y="2237"/>
                </a:cubicBezTo>
                <a:cubicBezTo>
                  <a:pt x="535" y="2237"/>
                  <a:pt x="536" y="2240"/>
                  <a:pt x="536" y="2241"/>
                </a:cubicBezTo>
                <a:cubicBezTo>
                  <a:pt x="536" y="2242"/>
                  <a:pt x="536" y="2245"/>
                  <a:pt x="537" y="2245"/>
                </a:cubicBezTo>
                <a:cubicBezTo>
                  <a:pt x="537" y="2245"/>
                  <a:pt x="537" y="2245"/>
                  <a:pt x="537" y="2245"/>
                </a:cubicBezTo>
                <a:cubicBezTo>
                  <a:pt x="537" y="2245"/>
                  <a:pt x="537" y="2246"/>
                  <a:pt x="537" y="2246"/>
                </a:cubicBezTo>
                <a:cubicBezTo>
                  <a:pt x="538" y="2247"/>
                  <a:pt x="538" y="2248"/>
                  <a:pt x="538" y="2250"/>
                </a:cubicBezTo>
                <a:cubicBezTo>
                  <a:pt x="539" y="2252"/>
                  <a:pt x="539" y="2256"/>
                  <a:pt x="540" y="2259"/>
                </a:cubicBezTo>
                <a:cubicBezTo>
                  <a:pt x="541" y="2263"/>
                  <a:pt x="544" y="2273"/>
                  <a:pt x="545" y="2279"/>
                </a:cubicBezTo>
                <a:cubicBezTo>
                  <a:pt x="545" y="2281"/>
                  <a:pt x="546" y="2284"/>
                  <a:pt x="547" y="2286"/>
                </a:cubicBezTo>
                <a:cubicBezTo>
                  <a:pt x="547" y="2288"/>
                  <a:pt x="548" y="2290"/>
                  <a:pt x="548" y="2291"/>
                </a:cubicBezTo>
                <a:cubicBezTo>
                  <a:pt x="548" y="2292"/>
                  <a:pt x="547" y="2293"/>
                  <a:pt x="548" y="2294"/>
                </a:cubicBezTo>
                <a:cubicBezTo>
                  <a:pt x="548" y="2295"/>
                  <a:pt x="548" y="2295"/>
                  <a:pt x="549" y="2296"/>
                </a:cubicBezTo>
                <a:cubicBezTo>
                  <a:pt x="549" y="2298"/>
                  <a:pt x="550" y="2301"/>
                  <a:pt x="550" y="2303"/>
                </a:cubicBezTo>
                <a:cubicBezTo>
                  <a:pt x="550" y="2304"/>
                  <a:pt x="550" y="2304"/>
                  <a:pt x="550" y="2305"/>
                </a:cubicBezTo>
                <a:cubicBezTo>
                  <a:pt x="550" y="2306"/>
                  <a:pt x="550" y="2306"/>
                  <a:pt x="550" y="2306"/>
                </a:cubicBezTo>
                <a:cubicBezTo>
                  <a:pt x="550" y="2306"/>
                  <a:pt x="551" y="2306"/>
                  <a:pt x="551" y="2307"/>
                </a:cubicBezTo>
                <a:cubicBezTo>
                  <a:pt x="552" y="2307"/>
                  <a:pt x="552" y="2308"/>
                  <a:pt x="552" y="2309"/>
                </a:cubicBezTo>
                <a:cubicBezTo>
                  <a:pt x="552" y="2311"/>
                  <a:pt x="553" y="2312"/>
                  <a:pt x="553" y="2313"/>
                </a:cubicBezTo>
                <a:cubicBezTo>
                  <a:pt x="553" y="2316"/>
                  <a:pt x="554" y="2319"/>
                  <a:pt x="555" y="2321"/>
                </a:cubicBezTo>
                <a:cubicBezTo>
                  <a:pt x="556" y="2326"/>
                  <a:pt x="557" y="2330"/>
                  <a:pt x="558" y="2335"/>
                </a:cubicBezTo>
                <a:cubicBezTo>
                  <a:pt x="558" y="2336"/>
                  <a:pt x="559" y="2336"/>
                  <a:pt x="559" y="2337"/>
                </a:cubicBezTo>
                <a:cubicBezTo>
                  <a:pt x="560" y="2337"/>
                  <a:pt x="560" y="2338"/>
                  <a:pt x="561" y="2338"/>
                </a:cubicBezTo>
                <a:cubicBezTo>
                  <a:pt x="561" y="2338"/>
                  <a:pt x="561" y="2338"/>
                  <a:pt x="561" y="2339"/>
                </a:cubicBezTo>
                <a:cubicBezTo>
                  <a:pt x="561" y="2339"/>
                  <a:pt x="560" y="2340"/>
                  <a:pt x="560" y="2341"/>
                </a:cubicBezTo>
                <a:cubicBezTo>
                  <a:pt x="560" y="2342"/>
                  <a:pt x="560" y="2343"/>
                  <a:pt x="560" y="2344"/>
                </a:cubicBezTo>
                <a:cubicBezTo>
                  <a:pt x="561" y="2345"/>
                  <a:pt x="560" y="2348"/>
                  <a:pt x="562" y="2348"/>
                </a:cubicBezTo>
                <a:cubicBezTo>
                  <a:pt x="562" y="2348"/>
                  <a:pt x="562" y="2348"/>
                  <a:pt x="563" y="2348"/>
                </a:cubicBezTo>
                <a:cubicBezTo>
                  <a:pt x="563" y="2348"/>
                  <a:pt x="563" y="2349"/>
                  <a:pt x="563" y="2349"/>
                </a:cubicBezTo>
                <a:cubicBezTo>
                  <a:pt x="563" y="2349"/>
                  <a:pt x="563" y="2350"/>
                  <a:pt x="563" y="2350"/>
                </a:cubicBezTo>
                <a:cubicBezTo>
                  <a:pt x="561" y="2351"/>
                  <a:pt x="562" y="2353"/>
                  <a:pt x="562" y="2354"/>
                </a:cubicBezTo>
                <a:cubicBezTo>
                  <a:pt x="563" y="2356"/>
                  <a:pt x="563" y="2357"/>
                  <a:pt x="562" y="2359"/>
                </a:cubicBezTo>
                <a:cubicBezTo>
                  <a:pt x="562" y="2359"/>
                  <a:pt x="562" y="2359"/>
                  <a:pt x="562" y="2359"/>
                </a:cubicBezTo>
                <a:cubicBezTo>
                  <a:pt x="563" y="2360"/>
                  <a:pt x="563" y="2360"/>
                  <a:pt x="563" y="2361"/>
                </a:cubicBezTo>
                <a:cubicBezTo>
                  <a:pt x="563" y="2361"/>
                  <a:pt x="564" y="2361"/>
                  <a:pt x="564" y="2361"/>
                </a:cubicBezTo>
                <a:cubicBezTo>
                  <a:pt x="564" y="2362"/>
                  <a:pt x="565" y="2362"/>
                  <a:pt x="565" y="2362"/>
                </a:cubicBezTo>
                <a:cubicBezTo>
                  <a:pt x="565" y="2363"/>
                  <a:pt x="565" y="2363"/>
                  <a:pt x="565" y="2363"/>
                </a:cubicBezTo>
                <a:cubicBezTo>
                  <a:pt x="564" y="2364"/>
                  <a:pt x="564" y="2364"/>
                  <a:pt x="563" y="2364"/>
                </a:cubicBezTo>
                <a:cubicBezTo>
                  <a:pt x="563" y="2364"/>
                  <a:pt x="563" y="2365"/>
                  <a:pt x="563" y="2365"/>
                </a:cubicBezTo>
                <a:cubicBezTo>
                  <a:pt x="564" y="2366"/>
                  <a:pt x="565" y="2366"/>
                  <a:pt x="565" y="2367"/>
                </a:cubicBezTo>
                <a:cubicBezTo>
                  <a:pt x="566" y="2368"/>
                  <a:pt x="566" y="2369"/>
                  <a:pt x="566" y="2369"/>
                </a:cubicBezTo>
                <a:cubicBezTo>
                  <a:pt x="566" y="2371"/>
                  <a:pt x="567" y="2372"/>
                  <a:pt x="567" y="2373"/>
                </a:cubicBezTo>
                <a:cubicBezTo>
                  <a:pt x="568" y="2377"/>
                  <a:pt x="569" y="2381"/>
                  <a:pt x="569" y="2383"/>
                </a:cubicBezTo>
                <a:cubicBezTo>
                  <a:pt x="569" y="2384"/>
                  <a:pt x="569" y="2385"/>
                  <a:pt x="569" y="2386"/>
                </a:cubicBezTo>
                <a:cubicBezTo>
                  <a:pt x="569" y="2386"/>
                  <a:pt x="569" y="2386"/>
                  <a:pt x="568" y="2386"/>
                </a:cubicBezTo>
                <a:cubicBezTo>
                  <a:pt x="568" y="2387"/>
                  <a:pt x="567" y="2388"/>
                  <a:pt x="568" y="2388"/>
                </a:cubicBezTo>
                <a:cubicBezTo>
                  <a:pt x="569" y="2388"/>
                  <a:pt x="570" y="2388"/>
                  <a:pt x="570" y="2388"/>
                </a:cubicBezTo>
                <a:cubicBezTo>
                  <a:pt x="571" y="2390"/>
                  <a:pt x="571" y="2391"/>
                  <a:pt x="571" y="2392"/>
                </a:cubicBezTo>
                <a:cubicBezTo>
                  <a:pt x="571" y="2396"/>
                  <a:pt x="572" y="2399"/>
                  <a:pt x="573" y="2403"/>
                </a:cubicBezTo>
                <a:cubicBezTo>
                  <a:pt x="573" y="2404"/>
                  <a:pt x="573" y="2405"/>
                  <a:pt x="574" y="2407"/>
                </a:cubicBezTo>
                <a:cubicBezTo>
                  <a:pt x="574" y="2407"/>
                  <a:pt x="574" y="2408"/>
                  <a:pt x="574" y="2408"/>
                </a:cubicBezTo>
                <a:cubicBezTo>
                  <a:pt x="574" y="2409"/>
                  <a:pt x="574" y="2409"/>
                  <a:pt x="574" y="2409"/>
                </a:cubicBezTo>
                <a:cubicBezTo>
                  <a:pt x="574" y="2410"/>
                  <a:pt x="574" y="2410"/>
                  <a:pt x="574" y="2411"/>
                </a:cubicBezTo>
                <a:cubicBezTo>
                  <a:pt x="574" y="2411"/>
                  <a:pt x="574" y="2411"/>
                  <a:pt x="574" y="2412"/>
                </a:cubicBezTo>
                <a:cubicBezTo>
                  <a:pt x="575" y="2412"/>
                  <a:pt x="575" y="2412"/>
                  <a:pt x="575" y="2412"/>
                </a:cubicBezTo>
                <a:cubicBezTo>
                  <a:pt x="576" y="2412"/>
                  <a:pt x="576" y="2413"/>
                  <a:pt x="577" y="2414"/>
                </a:cubicBezTo>
                <a:cubicBezTo>
                  <a:pt x="578" y="2415"/>
                  <a:pt x="578" y="2417"/>
                  <a:pt x="579" y="2419"/>
                </a:cubicBezTo>
                <a:cubicBezTo>
                  <a:pt x="579" y="2420"/>
                  <a:pt x="579" y="2421"/>
                  <a:pt x="579" y="2423"/>
                </a:cubicBezTo>
                <a:cubicBezTo>
                  <a:pt x="579" y="2424"/>
                  <a:pt x="579" y="2425"/>
                  <a:pt x="579" y="2426"/>
                </a:cubicBezTo>
                <a:cubicBezTo>
                  <a:pt x="579" y="2426"/>
                  <a:pt x="579" y="2427"/>
                  <a:pt x="579" y="2428"/>
                </a:cubicBezTo>
                <a:cubicBezTo>
                  <a:pt x="579" y="2428"/>
                  <a:pt x="579" y="2428"/>
                  <a:pt x="578" y="2428"/>
                </a:cubicBezTo>
                <a:cubicBezTo>
                  <a:pt x="578" y="2428"/>
                  <a:pt x="578" y="2429"/>
                  <a:pt x="579" y="2429"/>
                </a:cubicBezTo>
                <a:cubicBezTo>
                  <a:pt x="579" y="2429"/>
                  <a:pt x="579" y="2429"/>
                  <a:pt x="579" y="2429"/>
                </a:cubicBezTo>
                <a:cubicBezTo>
                  <a:pt x="580" y="2429"/>
                  <a:pt x="580" y="2430"/>
                  <a:pt x="580" y="2430"/>
                </a:cubicBezTo>
                <a:cubicBezTo>
                  <a:pt x="580" y="2431"/>
                  <a:pt x="579" y="2433"/>
                  <a:pt x="580" y="2434"/>
                </a:cubicBezTo>
                <a:cubicBezTo>
                  <a:pt x="580" y="2434"/>
                  <a:pt x="580" y="2435"/>
                  <a:pt x="580" y="2435"/>
                </a:cubicBezTo>
                <a:cubicBezTo>
                  <a:pt x="580" y="2436"/>
                  <a:pt x="581" y="2437"/>
                  <a:pt x="582" y="2438"/>
                </a:cubicBezTo>
                <a:cubicBezTo>
                  <a:pt x="582" y="2439"/>
                  <a:pt x="583" y="2439"/>
                  <a:pt x="583" y="2440"/>
                </a:cubicBezTo>
                <a:cubicBezTo>
                  <a:pt x="584" y="2441"/>
                  <a:pt x="584" y="2441"/>
                  <a:pt x="585" y="2441"/>
                </a:cubicBezTo>
                <a:cubicBezTo>
                  <a:pt x="586" y="2442"/>
                  <a:pt x="585" y="2443"/>
                  <a:pt x="585" y="2444"/>
                </a:cubicBezTo>
                <a:cubicBezTo>
                  <a:pt x="585" y="2445"/>
                  <a:pt x="585" y="2446"/>
                  <a:pt x="584" y="2447"/>
                </a:cubicBezTo>
                <a:cubicBezTo>
                  <a:pt x="585" y="2449"/>
                  <a:pt x="585" y="2451"/>
                  <a:pt x="585" y="2453"/>
                </a:cubicBezTo>
                <a:cubicBezTo>
                  <a:pt x="585" y="2455"/>
                  <a:pt x="586" y="2456"/>
                  <a:pt x="586" y="2458"/>
                </a:cubicBezTo>
                <a:cubicBezTo>
                  <a:pt x="586" y="2459"/>
                  <a:pt x="586" y="2460"/>
                  <a:pt x="586" y="2461"/>
                </a:cubicBezTo>
                <a:cubicBezTo>
                  <a:pt x="585" y="2461"/>
                  <a:pt x="585" y="2462"/>
                  <a:pt x="585" y="2462"/>
                </a:cubicBezTo>
                <a:cubicBezTo>
                  <a:pt x="585" y="2462"/>
                  <a:pt x="586" y="2462"/>
                  <a:pt x="586" y="2462"/>
                </a:cubicBezTo>
                <a:cubicBezTo>
                  <a:pt x="586" y="2462"/>
                  <a:pt x="586" y="2463"/>
                  <a:pt x="586" y="2463"/>
                </a:cubicBezTo>
                <a:cubicBezTo>
                  <a:pt x="586" y="2463"/>
                  <a:pt x="586" y="2463"/>
                  <a:pt x="586" y="2463"/>
                </a:cubicBezTo>
                <a:cubicBezTo>
                  <a:pt x="586" y="2463"/>
                  <a:pt x="586" y="2464"/>
                  <a:pt x="587" y="2464"/>
                </a:cubicBezTo>
                <a:cubicBezTo>
                  <a:pt x="587" y="2464"/>
                  <a:pt x="587" y="2464"/>
                  <a:pt x="587" y="2464"/>
                </a:cubicBezTo>
                <a:cubicBezTo>
                  <a:pt x="587" y="2465"/>
                  <a:pt x="587" y="2465"/>
                  <a:pt x="587" y="2465"/>
                </a:cubicBezTo>
                <a:cubicBezTo>
                  <a:pt x="587" y="2465"/>
                  <a:pt x="587" y="2466"/>
                  <a:pt x="587" y="2467"/>
                </a:cubicBezTo>
                <a:cubicBezTo>
                  <a:pt x="589" y="2471"/>
                  <a:pt x="590" y="2474"/>
                  <a:pt x="591" y="2478"/>
                </a:cubicBezTo>
                <a:cubicBezTo>
                  <a:pt x="592" y="2480"/>
                  <a:pt x="592" y="2481"/>
                  <a:pt x="592" y="2483"/>
                </a:cubicBezTo>
                <a:cubicBezTo>
                  <a:pt x="593" y="2484"/>
                  <a:pt x="592" y="2485"/>
                  <a:pt x="592" y="2486"/>
                </a:cubicBezTo>
                <a:cubicBezTo>
                  <a:pt x="591" y="2486"/>
                  <a:pt x="591" y="2487"/>
                  <a:pt x="591" y="2488"/>
                </a:cubicBezTo>
                <a:cubicBezTo>
                  <a:pt x="591" y="2489"/>
                  <a:pt x="591" y="2490"/>
                  <a:pt x="591" y="2491"/>
                </a:cubicBezTo>
                <a:cubicBezTo>
                  <a:pt x="591" y="2491"/>
                  <a:pt x="591" y="2493"/>
                  <a:pt x="592" y="2494"/>
                </a:cubicBezTo>
                <a:cubicBezTo>
                  <a:pt x="593" y="2493"/>
                  <a:pt x="593" y="2496"/>
                  <a:pt x="593" y="2497"/>
                </a:cubicBezTo>
                <a:cubicBezTo>
                  <a:pt x="593" y="2498"/>
                  <a:pt x="593" y="2500"/>
                  <a:pt x="593" y="2502"/>
                </a:cubicBezTo>
                <a:cubicBezTo>
                  <a:pt x="594" y="2503"/>
                  <a:pt x="594" y="2504"/>
                  <a:pt x="594" y="2504"/>
                </a:cubicBezTo>
                <a:cubicBezTo>
                  <a:pt x="595" y="2505"/>
                  <a:pt x="595" y="2505"/>
                  <a:pt x="596" y="2506"/>
                </a:cubicBezTo>
                <a:cubicBezTo>
                  <a:pt x="596" y="2506"/>
                  <a:pt x="597" y="2507"/>
                  <a:pt x="596" y="2508"/>
                </a:cubicBezTo>
                <a:cubicBezTo>
                  <a:pt x="596" y="2508"/>
                  <a:pt x="596" y="2508"/>
                  <a:pt x="596" y="2508"/>
                </a:cubicBezTo>
                <a:cubicBezTo>
                  <a:pt x="595" y="2508"/>
                  <a:pt x="595" y="2510"/>
                  <a:pt x="595" y="2510"/>
                </a:cubicBezTo>
                <a:cubicBezTo>
                  <a:pt x="595" y="2511"/>
                  <a:pt x="596" y="2511"/>
                  <a:pt x="596" y="2512"/>
                </a:cubicBezTo>
                <a:cubicBezTo>
                  <a:pt x="596" y="2512"/>
                  <a:pt x="596" y="2514"/>
                  <a:pt x="597" y="2514"/>
                </a:cubicBezTo>
                <a:cubicBezTo>
                  <a:pt x="597" y="2514"/>
                  <a:pt x="597" y="2514"/>
                  <a:pt x="597" y="2514"/>
                </a:cubicBezTo>
                <a:cubicBezTo>
                  <a:pt x="598" y="2514"/>
                  <a:pt x="598" y="2514"/>
                  <a:pt x="598" y="2514"/>
                </a:cubicBezTo>
                <a:cubicBezTo>
                  <a:pt x="599" y="2515"/>
                  <a:pt x="599" y="2516"/>
                  <a:pt x="599" y="2517"/>
                </a:cubicBezTo>
                <a:cubicBezTo>
                  <a:pt x="599" y="2518"/>
                  <a:pt x="599" y="2520"/>
                  <a:pt x="600" y="2521"/>
                </a:cubicBezTo>
                <a:cubicBezTo>
                  <a:pt x="600" y="2525"/>
                  <a:pt x="601" y="2533"/>
                  <a:pt x="603" y="2539"/>
                </a:cubicBezTo>
                <a:cubicBezTo>
                  <a:pt x="603" y="2541"/>
                  <a:pt x="604" y="2543"/>
                  <a:pt x="604" y="2546"/>
                </a:cubicBezTo>
                <a:cubicBezTo>
                  <a:pt x="605" y="2547"/>
                  <a:pt x="606" y="2549"/>
                  <a:pt x="606" y="2551"/>
                </a:cubicBezTo>
                <a:cubicBezTo>
                  <a:pt x="606" y="2552"/>
                  <a:pt x="605" y="2553"/>
                  <a:pt x="605" y="2554"/>
                </a:cubicBezTo>
                <a:cubicBezTo>
                  <a:pt x="605" y="2554"/>
                  <a:pt x="605" y="2554"/>
                  <a:pt x="605" y="2554"/>
                </a:cubicBezTo>
                <a:cubicBezTo>
                  <a:pt x="605" y="2554"/>
                  <a:pt x="606" y="2555"/>
                  <a:pt x="606" y="2555"/>
                </a:cubicBezTo>
                <a:cubicBezTo>
                  <a:pt x="606" y="2555"/>
                  <a:pt x="607" y="2555"/>
                  <a:pt x="607" y="2555"/>
                </a:cubicBezTo>
                <a:cubicBezTo>
                  <a:pt x="607" y="2555"/>
                  <a:pt x="607" y="2555"/>
                  <a:pt x="608" y="2556"/>
                </a:cubicBezTo>
                <a:cubicBezTo>
                  <a:pt x="608" y="2557"/>
                  <a:pt x="608" y="2558"/>
                  <a:pt x="608" y="2558"/>
                </a:cubicBezTo>
                <a:cubicBezTo>
                  <a:pt x="608" y="2560"/>
                  <a:pt x="608" y="2562"/>
                  <a:pt x="608" y="2564"/>
                </a:cubicBezTo>
                <a:cubicBezTo>
                  <a:pt x="608" y="2565"/>
                  <a:pt x="608" y="2566"/>
                  <a:pt x="608" y="2567"/>
                </a:cubicBezTo>
                <a:cubicBezTo>
                  <a:pt x="608" y="2567"/>
                  <a:pt x="609" y="2568"/>
                  <a:pt x="608" y="2569"/>
                </a:cubicBezTo>
                <a:cubicBezTo>
                  <a:pt x="608" y="2569"/>
                  <a:pt x="608" y="2569"/>
                  <a:pt x="609" y="2569"/>
                </a:cubicBezTo>
                <a:cubicBezTo>
                  <a:pt x="609" y="2569"/>
                  <a:pt x="609" y="2569"/>
                  <a:pt x="610" y="2569"/>
                </a:cubicBezTo>
                <a:cubicBezTo>
                  <a:pt x="610" y="2568"/>
                  <a:pt x="610" y="2569"/>
                  <a:pt x="610" y="2569"/>
                </a:cubicBezTo>
                <a:cubicBezTo>
                  <a:pt x="611" y="2569"/>
                  <a:pt x="611" y="2569"/>
                  <a:pt x="611" y="2569"/>
                </a:cubicBezTo>
                <a:cubicBezTo>
                  <a:pt x="611" y="2571"/>
                  <a:pt x="611" y="2572"/>
                  <a:pt x="611" y="2573"/>
                </a:cubicBezTo>
                <a:cubicBezTo>
                  <a:pt x="612" y="2576"/>
                  <a:pt x="613" y="2580"/>
                  <a:pt x="613" y="2582"/>
                </a:cubicBezTo>
                <a:cubicBezTo>
                  <a:pt x="614" y="2583"/>
                  <a:pt x="615" y="2588"/>
                  <a:pt x="616" y="2592"/>
                </a:cubicBezTo>
                <a:cubicBezTo>
                  <a:pt x="617" y="2595"/>
                  <a:pt x="619" y="2605"/>
                  <a:pt x="621" y="2612"/>
                </a:cubicBezTo>
                <a:cubicBezTo>
                  <a:pt x="621" y="2615"/>
                  <a:pt x="622" y="2617"/>
                  <a:pt x="622" y="2620"/>
                </a:cubicBezTo>
                <a:cubicBezTo>
                  <a:pt x="623" y="2621"/>
                  <a:pt x="623" y="2623"/>
                  <a:pt x="623" y="2624"/>
                </a:cubicBezTo>
                <a:cubicBezTo>
                  <a:pt x="623" y="2625"/>
                  <a:pt x="624" y="2626"/>
                  <a:pt x="624" y="2627"/>
                </a:cubicBezTo>
                <a:cubicBezTo>
                  <a:pt x="623" y="2627"/>
                  <a:pt x="623" y="2627"/>
                  <a:pt x="623" y="2627"/>
                </a:cubicBezTo>
                <a:cubicBezTo>
                  <a:pt x="622" y="2628"/>
                  <a:pt x="623" y="2630"/>
                  <a:pt x="623" y="2631"/>
                </a:cubicBezTo>
                <a:cubicBezTo>
                  <a:pt x="623" y="2632"/>
                  <a:pt x="624" y="2633"/>
                  <a:pt x="624" y="2634"/>
                </a:cubicBezTo>
                <a:cubicBezTo>
                  <a:pt x="624" y="2635"/>
                  <a:pt x="624" y="2635"/>
                  <a:pt x="624" y="2636"/>
                </a:cubicBezTo>
                <a:cubicBezTo>
                  <a:pt x="624" y="2636"/>
                  <a:pt x="624" y="2636"/>
                  <a:pt x="624" y="2636"/>
                </a:cubicBezTo>
                <a:cubicBezTo>
                  <a:pt x="624" y="2637"/>
                  <a:pt x="624" y="2637"/>
                  <a:pt x="624" y="2637"/>
                </a:cubicBezTo>
                <a:cubicBezTo>
                  <a:pt x="624" y="2637"/>
                  <a:pt x="624" y="2637"/>
                  <a:pt x="625" y="2638"/>
                </a:cubicBezTo>
                <a:cubicBezTo>
                  <a:pt x="627" y="2638"/>
                  <a:pt x="627" y="2640"/>
                  <a:pt x="627" y="2641"/>
                </a:cubicBezTo>
                <a:cubicBezTo>
                  <a:pt x="627" y="2642"/>
                  <a:pt x="628" y="2645"/>
                  <a:pt x="629" y="2647"/>
                </a:cubicBezTo>
                <a:cubicBezTo>
                  <a:pt x="629" y="2648"/>
                  <a:pt x="629" y="2649"/>
                  <a:pt x="630" y="2649"/>
                </a:cubicBezTo>
                <a:cubicBezTo>
                  <a:pt x="630" y="2650"/>
                  <a:pt x="630" y="2650"/>
                  <a:pt x="630" y="2651"/>
                </a:cubicBezTo>
                <a:cubicBezTo>
                  <a:pt x="630" y="2651"/>
                  <a:pt x="630" y="2652"/>
                  <a:pt x="630" y="2652"/>
                </a:cubicBezTo>
                <a:cubicBezTo>
                  <a:pt x="629" y="2653"/>
                  <a:pt x="630" y="2654"/>
                  <a:pt x="630" y="2655"/>
                </a:cubicBezTo>
                <a:cubicBezTo>
                  <a:pt x="631" y="2656"/>
                  <a:pt x="631" y="2657"/>
                  <a:pt x="631" y="2658"/>
                </a:cubicBezTo>
                <a:cubicBezTo>
                  <a:pt x="631" y="2659"/>
                  <a:pt x="631" y="2660"/>
                  <a:pt x="631" y="2660"/>
                </a:cubicBezTo>
                <a:cubicBezTo>
                  <a:pt x="630" y="2661"/>
                  <a:pt x="630" y="2662"/>
                  <a:pt x="630" y="2662"/>
                </a:cubicBezTo>
                <a:cubicBezTo>
                  <a:pt x="630" y="2663"/>
                  <a:pt x="631" y="2663"/>
                  <a:pt x="631" y="2663"/>
                </a:cubicBezTo>
                <a:cubicBezTo>
                  <a:pt x="632" y="2664"/>
                  <a:pt x="632" y="2665"/>
                  <a:pt x="632" y="2666"/>
                </a:cubicBezTo>
                <a:cubicBezTo>
                  <a:pt x="633" y="2668"/>
                  <a:pt x="634" y="2669"/>
                  <a:pt x="634" y="2670"/>
                </a:cubicBezTo>
                <a:cubicBezTo>
                  <a:pt x="636" y="2672"/>
                  <a:pt x="636" y="2673"/>
                  <a:pt x="636" y="2675"/>
                </a:cubicBezTo>
                <a:cubicBezTo>
                  <a:pt x="636" y="2677"/>
                  <a:pt x="637" y="2679"/>
                  <a:pt x="636" y="2681"/>
                </a:cubicBezTo>
                <a:cubicBezTo>
                  <a:pt x="636" y="2682"/>
                  <a:pt x="636" y="2683"/>
                  <a:pt x="636" y="2684"/>
                </a:cubicBezTo>
                <a:cubicBezTo>
                  <a:pt x="636" y="2684"/>
                  <a:pt x="637" y="2684"/>
                  <a:pt x="637" y="2685"/>
                </a:cubicBezTo>
                <a:cubicBezTo>
                  <a:pt x="638" y="2685"/>
                  <a:pt x="638" y="2684"/>
                  <a:pt x="638" y="2685"/>
                </a:cubicBezTo>
                <a:cubicBezTo>
                  <a:pt x="639" y="2685"/>
                  <a:pt x="639" y="2686"/>
                  <a:pt x="639" y="2686"/>
                </a:cubicBezTo>
                <a:cubicBezTo>
                  <a:pt x="639" y="2687"/>
                  <a:pt x="639" y="2687"/>
                  <a:pt x="639" y="2688"/>
                </a:cubicBezTo>
                <a:cubicBezTo>
                  <a:pt x="639" y="2689"/>
                  <a:pt x="638" y="2689"/>
                  <a:pt x="638" y="2689"/>
                </a:cubicBezTo>
                <a:cubicBezTo>
                  <a:pt x="638" y="2689"/>
                  <a:pt x="637" y="2690"/>
                  <a:pt x="637" y="2690"/>
                </a:cubicBezTo>
                <a:cubicBezTo>
                  <a:pt x="637" y="2691"/>
                  <a:pt x="636" y="2691"/>
                  <a:pt x="636" y="2692"/>
                </a:cubicBezTo>
                <a:cubicBezTo>
                  <a:pt x="636" y="2693"/>
                  <a:pt x="637" y="2693"/>
                  <a:pt x="638" y="2693"/>
                </a:cubicBezTo>
                <a:cubicBezTo>
                  <a:pt x="638" y="2693"/>
                  <a:pt x="638" y="2693"/>
                  <a:pt x="637" y="2693"/>
                </a:cubicBezTo>
                <a:cubicBezTo>
                  <a:pt x="637" y="2693"/>
                  <a:pt x="637" y="2694"/>
                  <a:pt x="636" y="2694"/>
                </a:cubicBezTo>
                <a:cubicBezTo>
                  <a:pt x="636" y="2694"/>
                  <a:pt x="636" y="2694"/>
                  <a:pt x="636" y="2694"/>
                </a:cubicBezTo>
                <a:cubicBezTo>
                  <a:pt x="636" y="2694"/>
                  <a:pt x="636" y="2695"/>
                  <a:pt x="637" y="2695"/>
                </a:cubicBezTo>
                <a:cubicBezTo>
                  <a:pt x="637" y="2695"/>
                  <a:pt x="637" y="2695"/>
                  <a:pt x="637" y="2695"/>
                </a:cubicBezTo>
                <a:cubicBezTo>
                  <a:pt x="638" y="2695"/>
                  <a:pt x="638" y="2695"/>
                  <a:pt x="638" y="2695"/>
                </a:cubicBezTo>
                <a:cubicBezTo>
                  <a:pt x="638" y="2695"/>
                  <a:pt x="638" y="2694"/>
                  <a:pt x="639" y="2694"/>
                </a:cubicBezTo>
                <a:cubicBezTo>
                  <a:pt x="639" y="2694"/>
                  <a:pt x="640" y="2694"/>
                  <a:pt x="640" y="2695"/>
                </a:cubicBezTo>
                <a:cubicBezTo>
                  <a:pt x="641" y="2695"/>
                  <a:pt x="641" y="2695"/>
                  <a:pt x="641" y="2695"/>
                </a:cubicBezTo>
                <a:cubicBezTo>
                  <a:pt x="641" y="2696"/>
                  <a:pt x="640" y="2696"/>
                  <a:pt x="640" y="2697"/>
                </a:cubicBezTo>
                <a:cubicBezTo>
                  <a:pt x="639" y="2697"/>
                  <a:pt x="639" y="2698"/>
                  <a:pt x="639" y="2699"/>
                </a:cubicBezTo>
                <a:cubicBezTo>
                  <a:pt x="639" y="2699"/>
                  <a:pt x="639" y="2700"/>
                  <a:pt x="639" y="2701"/>
                </a:cubicBezTo>
                <a:cubicBezTo>
                  <a:pt x="639" y="2702"/>
                  <a:pt x="640" y="2705"/>
                  <a:pt x="640" y="2708"/>
                </a:cubicBezTo>
                <a:cubicBezTo>
                  <a:pt x="640" y="2709"/>
                  <a:pt x="640" y="2710"/>
                  <a:pt x="641" y="2711"/>
                </a:cubicBezTo>
                <a:cubicBezTo>
                  <a:pt x="641" y="2711"/>
                  <a:pt x="641" y="2713"/>
                  <a:pt x="641" y="2713"/>
                </a:cubicBezTo>
                <a:cubicBezTo>
                  <a:pt x="642" y="2713"/>
                  <a:pt x="642" y="2713"/>
                  <a:pt x="643" y="2713"/>
                </a:cubicBezTo>
                <a:cubicBezTo>
                  <a:pt x="643" y="2714"/>
                  <a:pt x="643" y="2715"/>
                  <a:pt x="643" y="2715"/>
                </a:cubicBezTo>
                <a:cubicBezTo>
                  <a:pt x="643" y="2716"/>
                  <a:pt x="644" y="2717"/>
                  <a:pt x="644" y="2718"/>
                </a:cubicBezTo>
                <a:cubicBezTo>
                  <a:pt x="645" y="2719"/>
                  <a:pt x="646" y="2721"/>
                  <a:pt x="645" y="2722"/>
                </a:cubicBezTo>
                <a:cubicBezTo>
                  <a:pt x="645" y="2722"/>
                  <a:pt x="645" y="2723"/>
                  <a:pt x="644" y="2723"/>
                </a:cubicBezTo>
                <a:cubicBezTo>
                  <a:pt x="644" y="2724"/>
                  <a:pt x="644" y="2724"/>
                  <a:pt x="644" y="2724"/>
                </a:cubicBezTo>
                <a:cubicBezTo>
                  <a:pt x="644" y="2724"/>
                  <a:pt x="643" y="2724"/>
                  <a:pt x="643" y="2724"/>
                </a:cubicBezTo>
                <a:cubicBezTo>
                  <a:pt x="643" y="2725"/>
                  <a:pt x="644" y="2726"/>
                  <a:pt x="644" y="2727"/>
                </a:cubicBezTo>
                <a:cubicBezTo>
                  <a:pt x="644" y="2728"/>
                  <a:pt x="644" y="2729"/>
                  <a:pt x="645" y="2729"/>
                </a:cubicBezTo>
                <a:cubicBezTo>
                  <a:pt x="645" y="2730"/>
                  <a:pt x="645" y="2730"/>
                  <a:pt x="645" y="2731"/>
                </a:cubicBezTo>
                <a:cubicBezTo>
                  <a:pt x="645" y="2731"/>
                  <a:pt x="645" y="2731"/>
                  <a:pt x="645" y="2731"/>
                </a:cubicBezTo>
                <a:cubicBezTo>
                  <a:pt x="646" y="2731"/>
                  <a:pt x="647" y="2732"/>
                  <a:pt x="647" y="2733"/>
                </a:cubicBezTo>
                <a:cubicBezTo>
                  <a:pt x="648" y="2733"/>
                  <a:pt x="648" y="2733"/>
                  <a:pt x="648" y="2733"/>
                </a:cubicBezTo>
                <a:cubicBezTo>
                  <a:pt x="649" y="2733"/>
                  <a:pt x="649" y="2734"/>
                  <a:pt x="649" y="2734"/>
                </a:cubicBezTo>
                <a:cubicBezTo>
                  <a:pt x="648" y="2734"/>
                  <a:pt x="648" y="2735"/>
                  <a:pt x="647" y="2735"/>
                </a:cubicBezTo>
                <a:cubicBezTo>
                  <a:pt x="647" y="2735"/>
                  <a:pt x="647" y="2736"/>
                  <a:pt x="648" y="2736"/>
                </a:cubicBezTo>
                <a:cubicBezTo>
                  <a:pt x="648" y="2738"/>
                  <a:pt x="648" y="2739"/>
                  <a:pt x="649" y="2741"/>
                </a:cubicBezTo>
                <a:cubicBezTo>
                  <a:pt x="649" y="2742"/>
                  <a:pt x="650" y="2743"/>
                  <a:pt x="650" y="2744"/>
                </a:cubicBezTo>
                <a:cubicBezTo>
                  <a:pt x="650" y="2744"/>
                  <a:pt x="651" y="2748"/>
                  <a:pt x="651" y="2752"/>
                </a:cubicBezTo>
                <a:cubicBezTo>
                  <a:pt x="652" y="2753"/>
                  <a:pt x="652" y="2754"/>
                  <a:pt x="652" y="2755"/>
                </a:cubicBezTo>
                <a:cubicBezTo>
                  <a:pt x="652" y="2756"/>
                  <a:pt x="652" y="2758"/>
                  <a:pt x="653" y="2758"/>
                </a:cubicBezTo>
                <a:cubicBezTo>
                  <a:pt x="653" y="2759"/>
                  <a:pt x="653" y="2759"/>
                  <a:pt x="655" y="2759"/>
                </a:cubicBezTo>
                <a:cubicBezTo>
                  <a:pt x="656" y="2760"/>
                  <a:pt x="656" y="2761"/>
                  <a:pt x="656" y="2762"/>
                </a:cubicBezTo>
                <a:cubicBezTo>
                  <a:pt x="656" y="2762"/>
                  <a:pt x="656" y="2763"/>
                  <a:pt x="656" y="2763"/>
                </a:cubicBezTo>
                <a:cubicBezTo>
                  <a:pt x="655" y="2764"/>
                  <a:pt x="655" y="2764"/>
                  <a:pt x="655" y="2764"/>
                </a:cubicBezTo>
                <a:cubicBezTo>
                  <a:pt x="655" y="2765"/>
                  <a:pt x="655" y="2766"/>
                  <a:pt x="655" y="2766"/>
                </a:cubicBezTo>
                <a:cubicBezTo>
                  <a:pt x="655" y="2767"/>
                  <a:pt x="655" y="2768"/>
                  <a:pt x="655" y="2769"/>
                </a:cubicBezTo>
                <a:cubicBezTo>
                  <a:pt x="656" y="2771"/>
                  <a:pt x="657" y="2773"/>
                  <a:pt x="658" y="2774"/>
                </a:cubicBezTo>
                <a:cubicBezTo>
                  <a:pt x="659" y="2775"/>
                  <a:pt x="660" y="2776"/>
                  <a:pt x="660" y="2777"/>
                </a:cubicBezTo>
                <a:cubicBezTo>
                  <a:pt x="660" y="2778"/>
                  <a:pt x="660" y="2779"/>
                  <a:pt x="659" y="2779"/>
                </a:cubicBezTo>
                <a:cubicBezTo>
                  <a:pt x="659" y="2780"/>
                  <a:pt x="659" y="2780"/>
                  <a:pt x="659" y="2781"/>
                </a:cubicBezTo>
                <a:cubicBezTo>
                  <a:pt x="658" y="2782"/>
                  <a:pt x="659" y="2783"/>
                  <a:pt x="659" y="2784"/>
                </a:cubicBezTo>
                <a:cubicBezTo>
                  <a:pt x="660" y="2787"/>
                  <a:pt x="660" y="2789"/>
                  <a:pt x="660" y="2790"/>
                </a:cubicBezTo>
                <a:cubicBezTo>
                  <a:pt x="660" y="2791"/>
                  <a:pt x="661" y="2795"/>
                  <a:pt x="662" y="2799"/>
                </a:cubicBezTo>
                <a:cubicBezTo>
                  <a:pt x="662" y="2801"/>
                  <a:pt x="663" y="2802"/>
                  <a:pt x="663" y="2804"/>
                </a:cubicBezTo>
                <a:cubicBezTo>
                  <a:pt x="663" y="2804"/>
                  <a:pt x="663" y="2805"/>
                  <a:pt x="663" y="2805"/>
                </a:cubicBezTo>
                <a:cubicBezTo>
                  <a:pt x="664" y="2805"/>
                  <a:pt x="664" y="2805"/>
                  <a:pt x="664" y="2805"/>
                </a:cubicBezTo>
                <a:cubicBezTo>
                  <a:pt x="664" y="2805"/>
                  <a:pt x="664" y="2805"/>
                  <a:pt x="665" y="2805"/>
                </a:cubicBezTo>
                <a:cubicBezTo>
                  <a:pt x="665" y="2805"/>
                  <a:pt x="665" y="2806"/>
                  <a:pt x="665" y="2806"/>
                </a:cubicBezTo>
                <a:cubicBezTo>
                  <a:pt x="665" y="2807"/>
                  <a:pt x="667" y="2807"/>
                  <a:pt x="667" y="2808"/>
                </a:cubicBezTo>
                <a:cubicBezTo>
                  <a:pt x="667" y="2808"/>
                  <a:pt x="667" y="2809"/>
                  <a:pt x="668" y="2810"/>
                </a:cubicBezTo>
                <a:cubicBezTo>
                  <a:pt x="668" y="2811"/>
                  <a:pt x="668" y="2812"/>
                  <a:pt x="668" y="2814"/>
                </a:cubicBezTo>
                <a:cubicBezTo>
                  <a:pt x="668" y="2816"/>
                  <a:pt x="669" y="2818"/>
                  <a:pt x="669" y="2820"/>
                </a:cubicBezTo>
                <a:cubicBezTo>
                  <a:pt x="669" y="2821"/>
                  <a:pt x="670" y="2822"/>
                  <a:pt x="670" y="2822"/>
                </a:cubicBezTo>
                <a:cubicBezTo>
                  <a:pt x="670" y="2823"/>
                  <a:pt x="671" y="2823"/>
                  <a:pt x="670" y="2824"/>
                </a:cubicBezTo>
                <a:cubicBezTo>
                  <a:pt x="670" y="2824"/>
                  <a:pt x="670" y="2824"/>
                  <a:pt x="669" y="2824"/>
                </a:cubicBezTo>
                <a:cubicBezTo>
                  <a:pt x="669" y="2824"/>
                  <a:pt x="669" y="2825"/>
                  <a:pt x="669" y="2825"/>
                </a:cubicBezTo>
                <a:cubicBezTo>
                  <a:pt x="669" y="2826"/>
                  <a:pt x="669" y="2826"/>
                  <a:pt x="670" y="2827"/>
                </a:cubicBezTo>
                <a:cubicBezTo>
                  <a:pt x="670" y="2829"/>
                  <a:pt x="670" y="2832"/>
                  <a:pt x="671" y="2833"/>
                </a:cubicBezTo>
                <a:cubicBezTo>
                  <a:pt x="671" y="2834"/>
                  <a:pt x="671" y="2836"/>
                  <a:pt x="672" y="2837"/>
                </a:cubicBezTo>
                <a:cubicBezTo>
                  <a:pt x="672" y="2837"/>
                  <a:pt x="672" y="2837"/>
                  <a:pt x="673" y="2837"/>
                </a:cubicBezTo>
                <a:cubicBezTo>
                  <a:pt x="673" y="2837"/>
                  <a:pt x="673" y="2837"/>
                  <a:pt x="673" y="2837"/>
                </a:cubicBezTo>
                <a:cubicBezTo>
                  <a:pt x="674" y="2837"/>
                  <a:pt x="674" y="2837"/>
                  <a:pt x="674" y="2837"/>
                </a:cubicBezTo>
                <a:cubicBezTo>
                  <a:pt x="674" y="2839"/>
                  <a:pt x="675" y="2841"/>
                  <a:pt x="675" y="2843"/>
                </a:cubicBezTo>
                <a:cubicBezTo>
                  <a:pt x="676" y="2845"/>
                  <a:pt x="676" y="2847"/>
                  <a:pt x="677" y="2848"/>
                </a:cubicBezTo>
                <a:cubicBezTo>
                  <a:pt x="677" y="2849"/>
                  <a:pt x="677" y="2849"/>
                  <a:pt x="677" y="2849"/>
                </a:cubicBezTo>
                <a:cubicBezTo>
                  <a:pt x="677" y="2850"/>
                  <a:pt x="676" y="2849"/>
                  <a:pt x="676" y="2850"/>
                </a:cubicBezTo>
                <a:cubicBezTo>
                  <a:pt x="676" y="2850"/>
                  <a:pt x="676" y="2850"/>
                  <a:pt x="676" y="2850"/>
                </a:cubicBezTo>
                <a:cubicBezTo>
                  <a:pt x="676" y="2852"/>
                  <a:pt x="679" y="2853"/>
                  <a:pt x="678" y="2854"/>
                </a:cubicBezTo>
                <a:cubicBezTo>
                  <a:pt x="678" y="2854"/>
                  <a:pt x="678" y="2854"/>
                  <a:pt x="677" y="2854"/>
                </a:cubicBezTo>
                <a:cubicBezTo>
                  <a:pt x="677" y="2855"/>
                  <a:pt x="677" y="2855"/>
                  <a:pt x="676" y="2855"/>
                </a:cubicBezTo>
                <a:cubicBezTo>
                  <a:pt x="676" y="2855"/>
                  <a:pt x="676" y="2855"/>
                  <a:pt x="676" y="2855"/>
                </a:cubicBezTo>
                <a:cubicBezTo>
                  <a:pt x="675" y="2856"/>
                  <a:pt x="675" y="2856"/>
                  <a:pt x="675" y="2857"/>
                </a:cubicBezTo>
                <a:cubicBezTo>
                  <a:pt x="675" y="2857"/>
                  <a:pt x="676" y="2857"/>
                  <a:pt x="676" y="2858"/>
                </a:cubicBezTo>
                <a:cubicBezTo>
                  <a:pt x="676" y="2858"/>
                  <a:pt x="676" y="2858"/>
                  <a:pt x="676" y="2858"/>
                </a:cubicBezTo>
                <a:cubicBezTo>
                  <a:pt x="677" y="2858"/>
                  <a:pt x="676" y="2859"/>
                  <a:pt x="676" y="2860"/>
                </a:cubicBezTo>
                <a:cubicBezTo>
                  <a:pt x="675" y="2861"/>
                  <a:pt x="676" y="2862"/>
                  <a:pt x="676" y="2863"/>
                </a:cubicBezTo>
                <a:cubicBezTo>
                  <a:pt x="677" y="2866"/>
                  <a:pt x="678" y="2868"/>
                  <a:pt x="678" y="2871"/>
                </a:cubicBezTo>
                <a:cubicBezTo>
                  <a:pt x="679" y="2873"/>
                  <a:pt x="680" y="2876"/>
                  <a:pt x="680" y="2878"/>
                </a:cubicBezTo>
                <a:cubicBezTo>
                  <a:pt x="680" y="2879"/>
                  <a:pt x="681" y="2880"/>
                  <a:pt x="681" y="2881"/>
                </a:cubicBezTo>
                <a:cubicBezTo>
                  <a:pt x="681" y="2882"/>
                  <a:pt x="681" y="2883"/>
                  <a:pt x="682" y="2883"/>
                </a:cubicBezTo>
                <a:cubicBezTo>
                  <a:pt x="683" y="2883"/>
                  <a:pt x="683" y="2884"/>
                  <a:pt x="684" y="2884"/>
                </a:cubicBezTo>
                <a:cubicBezTo>
                  <a:pt x="684" y="2885"/>
                  <a:pt x="685" y="2886"/>
                  <a:pt x="685" y="2886"/>
                </a:cubicBezTo>
                <a:cubicBezTo>
                  <a:pt x="687" y="2887"/>
                  <a:pt x="687" y="2887"/>
                  <a:pt x="687" y="2888"/>
                </a:cubicBezTo>
                <a:cubicBezTo>
                  <a:pt x="688" y="2889"/>
                  <a:pt x="688" y="2890"/>
                  <a:pt x="688" y="2891"/>
                </a:cubicBezTo>
                <a:cubicBezTo>
                  <a:pt x="688" y="2893"/>
                  <a:pt x="688" y="2895"/>
                  <a:pt x="689" y="2896"/>
                </a:cubicBezTo>
                <a:cubicBezTo>
                  <a:pt x="689" y="2896"/>
                  <a:pt x="689" y="2897"/>
                  <a:pt x="689" y="2897"/>
                </a:cubicBezTo>
                <a:cubicBezTo>
                  <a:pt x="689" y="2897"/>
                  <a:pt x="690" y="2897"/>
                  <a:pt x="690" y="2898"/>
                </a:cubicBezTo>
                <a:cubicBezTo>
                  <a:pt x="690" y="2898"/>
                  <a:pt x="690" y="2898"/>
                  <a:pt x="690" y="2898"/>
                </a:cubicBezTo>
                <a:cubicBezTo>
                  <a:pt x="690" y="2899"/>
                  <a:pt x="690" y="2900"/>
                  <a:pt x="691" y="2901"/>
                </a:cubicBezTo>
                <a:cubicBezTo>
                  <a:pt x="691" y="2901"/>
                  <a:pt x="691" y="2902"/>
                  <a:pt x="691" y="2903"/>
                </a:cubicBezTo>
                <a:cubicBezTo>
                  <a:pt x="691" y="2904"/>
                  <a:pt x="691" y="2904"/>
                  <a:pt x="691" y="2904"/>
                </a:cubicBezTo>
                <a:cubicBezTo>
                  <a:pt x="690" y="2904"/>
                  <a:pt x="690" y="2904"/>
                  <a:pt x="690" y="2905"/>
                </a:cubicBezTo>
                <a:cubicBezTo>
                  <a:pt x="690" y="2905"/>
                  <a:pt x="690" y="2906"/>
                  <a:pt x="690" y="2906"/>
                </a:cubicBezTo>
                <a:cubicBezTo>
                  <a:pt x="690" y="2906"/>
                  <a:pt x="690" y="2907"/>
                  <a:pt x="690" y="2907"/>
                </a:cubicBezTo>
                <a:cubicBezTo>
                  <a:pt x="690" y="2907"/>
                  <a:pt x="690" y="2907"/>
                  <a:pt x="690" y="2908"/>
                </a:cubicBezTo>
                <a:cubicBezTo>
                  <a:pt x="691" y="2908"/>
                  <a:pt x="691" y="2907"/>
                  <a:pt x="691" y="2907"/>
                </a:cubicBezTo>
                <a:cubicBezTo>
                  <a:pt x="692" y="2906"/>
                  <a:pt x="692" y="2908"/>
                  <a:pt x="693" y="2909"/>
                </a:cubicBezTo>
                <a:cubicBezTo>
                  <a:pt x="693" y="2910"/>
                  <a:pt x="693" y="2911"/>
                  <a:pt x="692" y="2912"/>
                </a:cubicBezTo>
                <a:cubicBezTo>
                  <a:pt x="692" y="2913"/>
                  <a:pt x="692" y="2914"/>
                  <a:pt x="693" y="2915"/>
                </a:cubicBezTo>
                <a:cubicBezTo>
                  <a:pt x="693" y="2915"/>
                  <a:pt x="693" y="2916"/>
                  <a:pt x="693" y="2916"/>
                </a:cubicBezTo>
                <a:cubicBezTo>
                  <a:pt x="693" y="2916"/>
                  <a:pt x="693" y="2917"/>
                  <a:pt x="693" y="2917"/>
                </a:cubicBezTo>
                <a:cubicBezTo>
                  <a:pt x="694" y="2917"/>
                  <a:pt x="694" y="2917"/>
                  <a:pt x="694" y="2916"/>
                </a:cubicBezTo>
                <a:cubicBezTo>
                  <a:pt x="694" y="2916"/>
                  <a:pt x="695" y="2917"/>
                  <a:pt x="695" y="2917"/>
                </a:cubicBezTo>
                <a:cubicBezTo>
                  <a:pt x="696" y="2918"/>
                  <a:pt x="696" y="2920"/>
                  <a:pt x="696" y="2922"/>
                </a:cubicBezTo>
                <a:cubicBezTo>
                  <a:pt x="697" y="2924"/>
                  <a:pt x="697" y="2926"/>
                  <a:pt x="698" y="2928"/>
                </a:cubicBezTo>
                <a:cubicBezTo>
                  <a:pt x="698" y="2930"/>
                  <a:pt x="699" y="2932"/>
                  <a:pt x="700" y="2934"/>
                </a:cubicBezTo>
                <a:cubicBezTo>
                  <a:pt x="700" y="2935"/>
                  <a:pt x="700" y="2937"/>
                  <a:pt x="700" y="2938"/>
                </a:cubicBezTo>
                <a:cubicBezTo>
                  <a:pt x="700" y="2938"/>
                  <a:pt x="701" y="2938"/>
                  <a:pt x="700" y="2939"/>
                </a:cubicBezTo>
                <a:cubicBezTo>
                  <a:pt x="700" y="2939"/>
                  <a:pt x="699" y="2939"/>
                  <a:pt x="699" y="2939"/>
                </a:cubicBezTo>
                <a:cubicBezTo>
                  <a:pt x="699" y="2940"/>
                  <a:pt x="700" y="2942"/>
                  <a:pt x="700" y="2943"/>
                </a:cubicBezTo>
                <a:cubicBezTo>
                  <a:pt x="700" y="2943"/>
                  <a:pt x="699" y="2943"/>
                  <a:pt x="699" y="2943"/>
                </a:cubicBezTo>
                <a:cubicBezTo>
                  <a:pt x="699" y="2943"/>
                  <a:pt x="699" y="2943"/>
                  <a:pt x="699" y="2944"/>
                </a:cubicBezTo>
                <a:cubicBezTo>
                  <a:pt x="699" y="2944"/>
                  <a:pt x="699" y="2944"/>
                  <a:pt x="699" y="2944"/>
                </a:cubicBezTo>
                <a:cubicBezTo>
                  <a:pt x="700" y="2948"/>
                  <a:pt x="701" y="2952"/>
                  <a:pt x="702" y="2955"/>
                </a:cubicBezTo>
                <a:cubicBezTo>
                  <a:pt x="703" y="2956"/>
                  <a:pt x="703" y="2957"/>
                  <a:pt x="703" y="2958"/>
                </a:cubicBezTo>
                <a:cubicBezTo>
                  <a:pt x="704" y="2959"/>
                  <a:pt x="704" y="2959"/>
                  <a:pt x="705" y="2960"/>
                </a:cubicBezTo>
                <a:cubicBezTo>
                  <a:pt x="706" y="2960"/>
                  <a:pt x="707" y="2960"/>
                  <a:pt x="708" y="2961"/>
                </a:cubicBezTo>
                <a:cubicBezTo>
                  <a:pt x="708" y="2962"/>
                  <a:pt x="708" y="2963"/>
                  <a:pt x="708" y="2964"/>
                </a:cubicBezTo>
                <a:cubicBezTo>
                  <a:pt x="709" y="2964"/>
                  <a:pt x="709" y="2965"/>
                  <a:pt x="709" y="2966"/>
                </a:cubicBezTo>
                <a:cubicBezTo>
                  <a:pt x="709" y="2966"/>
                  <a:pt x="709" y="2966"/>
                  <a:pt x="708" y="2966"/>
                </a:cubicBezTo>
                <a:cubicBezTo>
                  <a:pt x="708" y="2967"/>
                  <a:pt x="707" y="2967"/>
                  <a:pt x="707" y="2967"/>
                </a:cubicBezTo>
                <a:cubicBezTo>
                  <a:pt x="708" y="2968"/>
                  <a:pt x="708" y="2969"/>
                  <a:pt x="708" y="2970"/>
                </a:cubicBezTo>
                <a:cubicBezTo>
                  <a:pt x="708" y="2971"/>
                  <a:pt x="708" y="2971"/>
                  <a:pt x="707" y="2972"/>
                </a:cubicBezTo>
                <a:cubicBezTo>
                  <a:pt x="707" y="2973"/>
                  <a:pt x="706" y="2974"/>
                  <a:pt x="707" y="2975"/>
                </a:cubicBezTo>
                <a:cubicBezTo>
                  <a:pt x="707" y="2975"/>
                  <a:pt x="707" y="2976"/>
                  <a:pt x="707" y="2977"/>
                </a:cubicBezTo>
                <a:cubicBezTo>
                  <a:pt x="708" y="2978"/>
                  <a:pt x="708" y="2980"/>
                  <a:pt x="708" y="2981"/>
                </a:cubicBezTo>
                <a:cubicBezTo>
                  <a:pt x="709" y="2981"/>
                  <a:pt x="710" y="2981"/>
                  <a:pt x="710" y="2982"/>
                </a:cubicBezTo>
                <a:cubicBezTo>
                  <a:pt x="711" y="2982"/>
                  <a:pt x="710" y="2983"/>
                  <a:pt x="710" y="2984"/>
                </a:cubicBezTo>
                <a:cubicBezTo>
                  <a:pt x="710" y="2985"/>
                  <a:pt x="711" y="2989"/>
                  <a:pt x="712" y="2993"/>
                </a:cubicBezTo>
                <a:cubicBezTo>
                  <a:pt x="713" y="2995"/>
                  <a:pt x="713" y="2996"/>
                  <a:pt x="714" y="2997"/>
                </a:cubicBezTo>
                <a:cubicBezTo>
                  <a:pt x="717" y="3009"/>
                  <a:pt x="717" y="3020"/>
                  <a:pt x="721" y="3035"/>
                </a:cubicBezTo>
                <a:cubicBezTo>
                  <a:pt x="723" y="3042"/>
                  <a:pt x="723" y="3055"/>
                  <a:pt x="731" y="3058"/>
                </a:cubicBezTo>
                <a:cubicBezTo>
                  <a:pt x="737" y="3061"/>
                  <a:pt x="745" y="3056"/>
                  <a:pt x="751" y="3055"/>
                </a:cubicBezTo>
                <a:cubicBezTo>
                  <a:pt x="755" y="3054"/>
                  <a:pt x="757" y="3051"/>
                  <a:pt x="761" y="3050"/>
                </a:cubicBezTo>
                <a:cubicBezTo>
                  <a:pt x="762" y="3049"/>
                  <a:pt x="766" y="3048"/>
                  <a:pt x="767" y="3047"/>
                </a:cubicBezTo>
                <a:cubicBezTo>
                  <a:pt x="768" y="3046"/>
                  <a:pt x="768" y="3045"/>
                  <a:pt x="769" y="3043"/>
                </a:cubicBezTo>
                <a:cubicBezTo>
                  <a:pt x="770" y="3038"/>
                  <a:pt x="770" y="3036"/>
                  <a:pt x="770" y="3031"/>
                </a:cubicBezTo>
                <a:cubicBezTo>
                  <a:pt x="770" y="3026"/>
                  <a:pt x="770" y="3021"/>
                  <a:pt x="769" y="3016"/>
                </a:cubicBezTo>
                <a:cubicBezTo>
                  <a:pt x="768" y="3011"/>
                  <a:pt x="767" y="3007"/>
                  <a:pt x="766" y="3002"/>
                </a:cubicBezTo>
                <a:cubicBezTo>
                  <a:pt x="766" y="3001"/>
                  <a:pt x="765" y="3000"/>
                  <a:pt x="765" y="2998"/>
                </a:cubicBezTo>
                <a:cubicBezTo>
                  <a:pt x="764" y="2997"/>
                  <a:pt x="764" y="2997"/>
                  <a:pt x="763" y="2996"/>
                </a:cubicBezTo>
                <a:cubicBezTo>
                  <a:pt x="763" y="2994"/>
                  <a:pt x="764" y="2993"/>
                  <a:pt x="763" y="2991"/>
                </a:cubicBezTo>
                <a:cubicBezTo>
                  <a:pt x="763" y="2990"/>
                  <a:pt x="763" y="2988"/>
                  <a:pt x="762" y="2987"/>
                </a:cubicBezTo>
                <a:cubicBezTo>
                  <a:pt x="762" y="2985"/>
                  <a:pt x="762" y="2983"/>
                  <a:pt x="762" y="2981"/>
                </a:cubicBezTo>
                <a:cubicBezTo>
                  <a:pt x="761" y="2979"/>
                  <a:pt x="760" y="2977"/>
                  <a:pt x="760" y="2975"/>
                </a:cubicBezTo>
                <a:cubicBezTo>
                  <a:pt x="759" y="2972"/>
                  <a:pt x="758" y="2970"/>
                  <a:pt x="758" y="2968"/>
                </a:cubicBezTo>
                <a:cubicBezTo>
                  <a:pt x="758" y="2966"/>
                  <a:pt x="756" y="2966"/>
                  <a:pt x="756" y="2964"/>
                </a:cubicBezTo>
                <a:cubicBezTo>
                  <a:pt x="755" y="2963"/>
                  <a:pt x="755" y="2961"/>
                  <a:pt x="754" y="2959"/>
                </a:cubicBezTo>
                <a:cubicBezTo>
                  <a:pt x="747" y="2923"/>
                  <a:pt x="726" y="2835"/>
                  <a:pt x="722" y="2819"/>
                </a:cubicBezTo>
                <a:cubicBezTo>
                  <a:pt x="721" y="2815"/>
                  <a:pt x="718" y="2807"/>
                  <a:pt x="717" y="2801"/>
                </a:cubicBezTo>
                <a:cubicBezTo>
                  <a:pt x="715" y="2796"/>
                  <a:pt x="713" y="2786"/>
                  <a:pt x="711" y="2781"/>
                </a:cubicBezTo>
                <a:cubicBezTo>
                  <a:pt x="704" y="2753"/>
                  <a:pt x="701" y="2742"/>
                  <a:pt x="694" y="2713"/>
                </a:cubicBezTo>
                <a:cubicBezTo>
                  <a:pt x="693" y="2711"/>
                  <a:pt x="693" y="2709"/>
                  <a:pt x="692" y="2706"/>
                </a:cubicBezTo>
                <a:cubicBezTo>
                  <a:pt x="692" y="2705"/>
                  <a:pt x="691" y="2702"/>
                  <a:pt x="690" y="2700"/>
                </a:cubicBezTo>
                <a:cubicBezTo>
                  <a:pt x="690" y="2700"/>
                  <a:pt x="690" y="2700"/>
                  <a:pt x="690" y="2700"/>
                </a:cubicBezTo>
                <a:cubicBezTo>
                  <a:pt x="689" y="2699"/>
                  <a:pt x="690" y="2698"/>
                  <a:pt x="690" y="2698"/>
                </a:cubicBezTo>
                <a:cubicBezTo>
                  <a:pt x="690" y="2697"/>
                  <a:pt x="690" y="2696"/>
                  <a:pt x="690" y="2695"/>
                </a:cubicBezTo>
                <a:cubicBezTo>
                  <a:pt x="690" y="2695"/>
                  <a:pt x="690" y="2695"/>
                  <a:pt x="690" y="2695"/>
                </a:cubicBezTo>
                <a:cubicBezTo>
                  <a:pt x="688" y="2694"/>
                  <a:pt x="688" y="2693"/>
                  <a:pt x="688" y="2692"/>
                </a:cubicBezTo>
                <a:cubicBezTo>
                  <a:pt x="687" y="2690"/>
                  <a:pt x="687" y="2688"/>
                  <a:pt x="686" y="2687"/>
                </a:cubicBezTo>
                <a:cubicBezTo>
                  <a:pt x="686" y="2683"/>
                  <a:pt x="685" y="2679"/>
                  <a:pt x="684" y="2675"/>
                </a:cubicBezTo>
                <a:cubicBezTo>
                  <a:pt x="683" y="2671"/>
                  <a:pt x="682" y="2668"/>
                  <a:pt x="681" y="2664"/>
                </a:cubicBezTo>
                <a:cubicBezTo>
                  <a:pt x="681" y="2662"/>
                  <a:pt x="680" y="2661"/>
                  <a:pt x="680" y="2660"/>
                </a:cubicBezTo>
                <a:cubicBezTo>
                  <a:pt x="680" y="2658"/>
                  <a:pt x="679" y="2656"/>
                  <a:pt x="679" y="2655"/>
                </a:cubicBezTo>
                <a:cubicBezTo>
                  <a:pt x="680" y="2653"/>
                  <a:pt x="681" y="2652"/>
                  <a:pt x="679" y="2651"/>
                </a:cubicBezTo>
                <a:cubicBezTo>
                  <a:pt x="679" y="2651"/>
                  <a:pt x="679" y="2651"/>
                  <a:pt x="679" y="2651"/>
                </a:cubicBezTo>
                <a:cubicBezTo>
                  <a:pt x="678" y="2651"/>
                  <a:pt x="678" y="2650"/>
                  <a:pt x="678" y="2650"/>
                </a:cubicBezTo>
                <a:cubicBezTo>
                  <a:pt x="676" y="2647"/>
                  <a:pt x="676" y="2642"/>
                  <a:pt x="675" y="2638"/>
                </a:cubicBezTo>
                <a:cubicBezTo>
                  <a:pt x="674" y="2634"/>
                  <a:pt x="673" y="2630"/>
                  <a:pt x="672" y="2626"/>
                </a:cubicBezTo>
                <a:cubicBezTo>
                  <a:pt x="670" y="2617"/>
                  <a:pt x="668" y="2609"/>
                  <a:pt x="666" y="2600"/>
                </a:cubicBezTo>
                <a:cubicBezTo>
                  <a:pt x="665" y="2593"/>
                  <a:pt x="663" y="2586"/>
                  <a:pt x="661" y="2579"/>
                </a:cubicBezTo>
                <a:cubicBezTo>
                  <a:pt x="657" y="2562"/>
                  <a:pt x="653" y="2545"/>
                  <a:pt x="650" y="2529"/>
                </a:cubicBezTo>
                <a:cubicBezTo>
                  <a:pt x="649" y="2525"/>
                  <a:pt x="648" y="2521"/>
                  <a:pt x="647" y="2517"/>
                </a:cubicBezTo>
                <a:cubicBezTo>
                  <a:pt x="647" y="2515"/>
                  <a:pt x="646" y="2514"/>
                  <a:pt x="646" y="2512"/>
                </a:cubicBezTo>
                <a:cubicBezTo>
                  <a:pt x="645" y="2510"/>
                  <a:pt x="645" y="2509"/>
                  <a:pt x="644" y="2508"/>
                </a:cubicBezTo>
                <a:cubicBezTo>
                  <a:pt x="643" y="2506"/>
                  <a:pt x="644" y="2506"/>
                  <a:pt x="644" y="2505"/>
                </a:cubicBezTo>
                <a:cubicBezTo>
                  <a:pt x="644" y="2505"/>
                  <a:pt x="644" y="2503"/>
                  <a:pt x="644" y="2502"/>
                </a:cubicBezTo>
                <a:cubicBezTo>
                  <a:pt x="643" y="2502"/>
                  <a:pt x="643" y="2501"/>
                  <a:pt x="643" y="2501"/>
                </a:cubicBezTo>
                <a:cubicBezTo>
                  <a:pt x="642" y="2499"/>
                  <a:pt x="642" y="2497"/>
                  <a:pt x="641" y="2496"/>
                </a:cubicBezTo>
                <a:cubicBezTo>
                  <a:pt x="640" y="2492"/>
                  <a:pt x="640" y="2488"/>
                  <a:pt x="639" y="2485"/>
                </a:cubicBezTo>
                <a:cubicBezTo>
                  <a:pt x="639" y="2485"/>
                  <a:pt x="639" y="2484"/>
                  <a:pt x="639" y="2484"/>
                </a:cubicBezTo>
                <a:cubicBezTo>
                  <a:pt x="638" y="2484"/>
                  <a:pt x="638" y="2484"/>
                  <a:pt x="638" y="2483"/>
                </a:cubicBezTo>
                <a:cubicBezTo>
                  <a:pt x="637" y="2483"/>
                  <a:pt x="636" y="2480"/>
                  <a:pt x="635" y="2479"/>
                </a:cubicBezTo>
                <a:cubicBezTo>
                  <a:pt x="635" y="2479"/>
                  <a:pt x="635" y="2478"/>
                  <a:pt x="635" y="2478"/>
                </a:cubicBezTo>
                <a:cubicBezTo>
                  <a:pt x="636" y="2477"/>
                  <a:pt x="637" y="2478"/>
                  <a:pt x="637" y="2477"/>
                </a:cubicBezTo>
                <a:cubicBezTo>
                  <a:pt x="637" y="2476"/>
                  <a:pt x="636" y="2476"/>
                  <a:pt x="636" y="2475"/>
                </a:cubicBezTo>
                <a:cubicBezTo>
                  <a:pt x="635" y="2475"/>
                  <a:pt x="635" y="2474"/>
                  <a:pt x="636" y="2474"/>
                </a:cubicBezTo>
                <a:cubicBezTo>
                  <a:pt x="636" y="2474"/>
                  <a:pt x="636" y="2473"/>
                  <a:pt x="636" y="2473"/>
                </a:cubicBezTo>
                <a:cubicBezTo>
                  <a:pt x="636" y="2471"/>
                  <a:pt x="635" y="2469"/>
                  <a:pt x="634" y="2466"/>
                </a:cubicBezTo>
                <a:cubicBezTo>
                  <a:pt x="634" y="2465"/>
                  <a:pt x="634" y="2461"/>
                  <a:pt x="632" y="2460"/>
                </a:cubicBezTo>
                <a:cubicBezTo>
                  <a:pt x="632" y="2459"/>
                  <a:pt x="632" y="2459"/>
                  <a:pt x="631" y="2459"/>
                </a:cubicBezTo>
                <a:cubicBezTo>
                  <a:pt x="631" y="2458"/>
                  <a:pt x="630" y="2457"/>
                  <a:pt x="630" y="2456"/>
                </a:cubicBezTo>
                <a:cubicBezTo>
                  <a:pt x="630" y="2454"/>
                  <a:pt x="630" y="2453"/>
                  <a:pt x="630" y="2451"/>
                </a:cubicBezTo>
                <a:cubicBezTo>
                  <a:pt x="630" y="2450"/>
                  <a:pt x="630" y="2448"/>
                  <a:pt x="629" y="2447"/>
                </a:cubicBezTo>
                <a:cubicBezTo>
                  <a:pt x="629" y="2447"/>
                  <a:pt x="629" y="2447"/>
                  <a:pt x="629" y="2446"/>
                </a:cubicBezTo>
                <a:cubicBezTo>
                  <a:pt x="629" y="2446"/>
                  <a:pt x="628" y="2446"/>
                  <a:pt x="628" y="2446"/>
                </a:cubicBezTo>
                <a:cubicBezTo>
                  <a:pt x="628" y="2445"/>
                  <a:pt x="628" y="2445"/>
                  <a:pt x="628" y="2444"/>
                </a:cubicBezTo>
                <a:cubicBezTo>
                  <a:pt x="629" y="2443"/>
                  <a:pt x="628" y="2439"/>
                  <a:pt x="627" y="2438"/>
                </a:cubicBezTo>
                <a:cubicBezTo>
                  <a:pt x="627" y="2436"/>
                  <a:pt x="627" y="2434"/>
                  <a:pt x="626" y="2432"/>
                </a:cubicBezTo>
                <a:cubicBezTo>
                  <a:pt x="625" y="2426"/>
                  <a:pt x="624" y="2420"/>
                  <a:pt x="622" y="2414"/>
                </a:cubicBezTo>
                <a:cubicBezTo>
                  <a:pt x="622" y="2412"/>
                  <a:pt x="621" y="2410"/>
                  <a:pt x="621" y="2407"/>
                </a:cubicBezTo>
                <a:cubicBezTo>
                  <a:pt x="620" y="2406"/>
                  <a:pt x="620" y="2405"/>
                  <a:pt x="620" y="2404"/>
                </a:cubicBezTo>
                <a:cubicBezTo>
                  <a:pt x="620" y="2403"/>
                  <a:pt x="619" y="2402"/>
                  <a:pt x="619" y="2401"/>
                </a:cubicBezTo>
                <a:cubicBezTo>
                  <a:pt x="618" y="2400"/>
                  <a:pt x="618" y="2399"/>
                  <a:pt x="618" y="2398"/>
                </a:cubicBezTo>
                <a:cubicBezTo>
                  <a:pt x="618" y="2397"/>
                  <a:pt x="618" y="2397"/>
                  <a:pt x="617" y="2396"/>
                </a:cubicBezTo>
                <a:cubicBezTo>
                  <a:pt x="617" y="2396"/>
                  <a:pt x="617" y="2395"/>
                  <a:pt x="616" y="2395"/>
                </a:cubicBezTo>
                <a:cubicBezTo>
                  <a:pt x="616" y="2394"/>
                  <a:pt x="617" y="2393"/>
                  <a:pt x="617" y="2392"/>
                </a:cubicBezTo>
                <a:cubicBezTo>
                  <a:pt x="617" y="2390"/>
                  <a:pt x="616" y="2388"/>
                  <a:pt x="615" y="2385"/>
                </a:cubicBezTo>
                <a:cubicBezTo>
                  <a:pt x="615" y="2382"/>
                  <a:pt x="614" y="2378"/>
                  <a:pt x="614" y="2378"/>
                </a:cubicBezTo>
                <a:cubicBezTo>
                  <a:pt x="614" y="2377"/>
                  <a:pt x="613" y="2372"/>
                  <a:pt x="611" y="2367"/>
                </a:cubicBezTo>
                <a:cubicBezTo>
                  <a:pt x="611" y="2365"/>
                  <a:pt x="610" y="2363"/>
                  <a:pt x="610" y="2361"/>
                </a:cubicBezTo>
                <a:cubicBezTo>
                  <a:pt x="610" y="2360"/>
                  <a:pt x="609" y="2359"/>
                  <a:pt x="609" y="2359"/>
                </a:cubicBezTo>
                <a:cubicBezTo>
                  <a:pt x="609" y="2358"/>
                  <a:pt x="609" y="2357"/>
                  <a:pt x="609" y="2357"/>
                </a:cubicBezTo>
                <a:cubicBezTo>
                  <a:pt x="608" y="2356"/>
                  <a:pt x="608" y="2356"/>
                  <a:pt x="608" y="2356"/>
                </a:cubicBezTo>
                <a:cubicBezTo>
                  <a:pt x="608" y="2356"/>
                  <a:pt x="608" y="2356"/>
                  <a:pt x="608" y="2356"/>
                </a:cubicBezTo>
                <a:cubicBezTo>
                  <a:pt x="609" y="2355"/>
                  <a:pt x="608" y="2354"/>
                  <a:pt x="608" y="2353"/>
                </a:cubicBezTo>
                <a:cubicBezTo>
                  <a:pt x="607" y="2352"/>
                  <a:pt x="607" y="2350"/>
                  <a:pt x="607" y="2349"/>
                </a:cubicBezTo>
                <a:cubicBezTo>
                  <a:pt x="605" y="2343"/>
                  <a:pt x="605" y="2339"/>
                  <a:pt x="605" y="2335"/>
                </a:cubicBezTo>
                <a:cubicBezTo>
                  <a:pt x="605" y="2332"/>
                  <a:pt x="602" y="2318"/>
                  <a:pt x="599" y="2311"/>
                </a:cubicBezTo>
                <a:cubicBezTo>
                  <a:pt x="599" y="2309"/>
                  <a:pt x="598" y="2306"/>
                  <a:pt x="596" y="2304"/>
                </a:cubicBezTo>
                <a:cubicBezTo>
                  <a:pt x="596" y="2304"/>
                  <a:pt x="595" y="2303"/>
                  <a:pt x="595" y="2303"/>
                </a:cubicBezTo>
                <a:cubicBezTo>
                  <a:pt x="596" y="2302"/>
                  <a:pt x="597" y="2302"/>
                  <a:pt x="597" y="2301"/>
                </a:cubicBezTo>
                <a:cubicBezTo>
                  <a:pt x="597" y="2301"/>
                  <a:pt x="596" y="2299"/>
                  <a:pt x="596" y="2299"/>
                </a:cubicBezTo>
                <a:cubicBezTo>
                  <a:pt x="595" y="2298"/>
                  <a:pt x="595" y="2295"/>
                  <a:pt x="594" y="2295"/>
                </a:cubicBezTo>
                <a:cubicBezTo>
                  <a:pt x="594" y="2295"/>
                  <a:pt x="593" y="2295"/>
                  <a:pt x="593" y="2294"/>
                </a:cubicBezTo>
                <a:cubicBezTo>
                  <a:pt x="593" y="2294"/>
                  <a:pt x="593" y="2294"/>
                  <a:pt x="593" y="2294"/>
                </a:cubicBezTo>
                <a:cubicBezTo>
                  <a:pt x="593" y="2293"/>
                  <a:pt x="592" y="2292"/>
                  <a:pt x="592" y="2291"/>
                </a:cubicBezTo>
                <a:cubicBezTo>
                  <a:pt x="592" y="2291"/>
                  <a:pt x="593" y="2291"/>
                  <a:pt x="593" y="2291"/>
                </a:cubicBezTo>
                <a:cubicBezTo>
                  <a:pt x="593" y="2291"/>
                  <a:pt x="594" y="2292"/>
                  <a:pt x="594" y="2292"/>
                </a:cubicBezTo>
                <a:cubicBezTo>
                  <a:pt x="594" y="2291"/>
                  <a:pt x="594" y="2291"/>
                  <a:pt x="594" y="2290"/>
                </a:cubicBezTo>
                <a:cubicBezTo>
                  <a:pt x="594" y="2290"/>
                  <a:pt x="594" y="2290"/>
                  <a:pt x="593" y="2289"/>
                </a:cubicBezTo>
                <a:cubicBezTo>
                  <a:pt x="592" y="2288"/>
                  <a:pt x="591" y="2288"/>
                  <a:pt x="591" y="2286"/>
                </a:cubicBezTo>
                <a:cubicBezTo>
                  <a:pt x="591" y="2285"/>
                  <a:pt x="591" y="2284"/>
                  <a:pt x="590" y="2283"/>
                </a:cubicBezTo>
                <a:cubicBezTo>
                  <a:pt x="590" y="2282"/>
                  <a:pt x="589" y="2281"/>
                  <a:pt x="590" y="2280"/>
                </a:cubicBezTo>
                <a:cubicBezTo>
                  <a:pt x="591" y="2279"/>
                  <a:pt x="592" y="2279"/>
                  <a:pt x="591" y="2278"/>
                </a:cubicBezTo>
                <a:cubicBezTo>
                  <a:pt x="591" y="2278"/>
                  <a:pt x="591" y="2278"/>
                  <a:pt x="590" y="2277"/>
                </a:cubicBezTo>
                <a:cubicBezTo>
                  <a:pt x="590" y="2275"/>
                  <a:pt x="590" y="2273"/>
                  <a:pt x="590" y="2271"/>
                </a:cubicBezTo>
                <a:cubicBezTo>
                  <a:pt x="589" y="2269"/>
                  <a:pt x="589" y="2266"/>
                  <a:pt x="587" y="2265"/>
                </a:cubicBezTo>
                <a:cubicBezTo>
                  <a:pt x="587" y="2265"/>
                  <a:pt x="587" y="2264"/>
                  <a:pt x="586" y="2264"/>
                </a:cubicBezTo>
                <a:cubicBezTo>
                  <a:pt x="585" y="2263"/>
                  <a:pt x="584" y="2260"/>
                  <a:pt x="585" y="2259"/>
                </a:cubicBezTo>
                <a:cubicBezTo>
                  <a:pt x="585" y="2259"/>
                  <a:pt x="586" y="2259"/>
                  <a:pt x="586" y="2259"/>
                </a:cubicBezTo>
                <a:cubicBezTo>
                  <a:pt x="587" y="2259"/>
                  <a:pt x="587" y="2258"/>
                  <a:pt x="587" y="2257"/>
                </a:cubicBezTo>
                <a:cubicBezTo>
                  <a:pt x="587" y="2256"/>
                  <a:pt x="587" y="2256"/>
                  <a:pt x="586" y="2256"/>
                </a:cubicBezTo>
                <a:cubicBezTo>
                  <a:pt x="586" y="2256"/>
                  <a:pt x="585" y="2256"/>
                  <a:pt x="585" y="2255"/>
                </a:cubicBezTo>
                <a:cubicBezTo>
                  <a:pt x="586" y="2255"/>
                  <a:pt x="586" y="2254"/>
                  <a:pt x="586" y="2254"/>
                </a:cubicBezTo>
                <a:cubicBezTo>
                  <a:pt x="586" y="2254"/>
                  <a:pt x="586" y="2254"/>
                  <a:pt x="586" y="2253"/>
                </a:cubicBezTo>
                <a:cubicBezTo>
                  <a:pt x="584" y="2245"/>
                  <a:pt x="582" y="2237"/>
                  <a:pt x="581" y="2229"/>
                </a:cubicBezTo>
                <a:cubicBezTo>
                  <a:pt x="581" y="2228"/>
                  <a:pt x="580" y="2226"/>
                  <a:pt x="580" y="2225"/>
                </a:cubicBezTo>
                <a:cubicBezTo>
                  <a:pt x="579" y="2223"/>
                  <a:pt x="579" y="2220"/>
                  <a:pt x="578" y="2217"/>
                </a:cubicBezTo>
                <a:cubicBezTo>
                  <a:pt x="578" y="2215"/>
                  <a:pt x="578" y="2212"/>
                  <a:pt x="577" y="2209"/>
                </a:cubicBezTo>
                <a:cubicBezTo>
                  <a:pt x="577" y="2208"/>
                  <a:pt x="577" y="2206"/>
                  <a:pt x="577" y="2205"/>
                </a:cubicBezTo>
                <a:cubicBezTo>
                  <a:pt x="577" y="2203"/>
                  <a:pt x="577" y="2202"/>
                  <a:pt x="576" y="2201"/>
                </a:cubicBezTo>
                <a:cubicBezTo>
                  <a:pt x="575" y="2199"/>
                  <a:pt x="574" y="2198"/>
                  <a:pt x="574" y="2197"/>
                </a:cubicBezTo>
                <a:cubicBezTo>
                  <a:pt x="573" y="2195"/>
                  <a:pt x="573" y="2192"/>
                  <a:pt x="572" y="2190"/>
                </a:cubicBezTo>
                <a:cubicBezTo>
                  <a:pt x="571" y="2187"/>
                  <a:pt x="570" y="2184"/>
                  <a:pt x="570" y="2181"/>
                </a:cubicBezTo>
                <a:cubicBezTo>
                  <a:pt x="569" y="2178"/>
                  <a:pt x="568" y="2175"/>
                  <a:pt x="567" y="2172"/>
                </a:cubicBezTo>
                <a:cubicBezTo>
                  <a:pt x="567" y="2172"/>
                  <a:pt x="566" y="2172"/>
                  <a:pt x="566" y="2171"/>
                </a:cubicBezTo>
                <a:cubicBezTo>
                  <a:pt x="566" y="2171"/>
                  <a:pt x="566" y="2170"/>
                  <a:pt x="566" y="2170"/>
                </a:cubicBezTo>
                <a:cubicBezTo>
                  <a:pt x="567" y="2169"/>
                  <a:pt x="565" y="2166"/>
                  <a:pt x="565" y="2165"/>
                </a:cubicBezTo>
                <a:cubicBezTo>
                  <a:pt x="565" y="2164"/>
                  <a:pt x="565" y="2162"/>
                  <a:pt x="564" y="2161"/>
                </a:cubicBezTo>
                <a:cubicBezTo>
                  <a:pt x="564" y="2161"/>
                  <a:pt x="562" y="2160"/>
                  <a:pt x="563" y="2160"/>
                </a:cubicBezTo>
                <a:cubicBezTo>
                  <a:pt x="563" y="2160"/>
                  <a:pt x="564" y="2160"/>
                  <a:pt x="564" y="2159"/>
                </a:cubicBezTo>
                <a:cubicBezTo>
                  <a:pt x="564" y="2159"/>
                  <a:pt x="564" y="2158"/>
                  <a:pt x="564" y="2158"/>
                </a:cubicBezTo>
                <a:cubicBezTo>
                  <a:pt x="563" y="2157"/>
                  <a:pt x="563" y="2155"/>
                  <a:pt x="563" y="2154"/>
                </a:cubicBezTo>
                <a:cubicBezTo>
                  <a:pt x="564" y="2153"/>
                  <a:pt x="566" y="2153"/>
                  <a:pt x="564" y="2151"/>
                </a:cubicBezTo>
                <a:cubicBezTo>
                  <a:pt x="564" y="2151"/>
                  <a:pt x="563" y="2150"/>
                  <a:pt x="563" y="2150"/>
                </a:cubicBezTo>
                <a:cubicBezTo>
                  <a:pt x="561" y="2149"/>
                  <a:pt x="561" y="2147"/>
                  <a:pt x="561" y="2146"/>
                </a:cubicBezTo>
                <a:cubicBezTo>
                  <a:pt x="560" y="2143"/>
                  <a:pt x="560" y="2141"/>
                  <a:pt x="559" y="2139"/>
                </a:cubicBezTo>
                <a:cubicBezTo>
                  <a:pt x="558" y="2134"/>
                  <a:pt x="557" y="2129"/>
                  <a:pt x="556" y="2125"/>
                </a:cubicBezTo>
                <a:cubicBezTo>
                  <a:pt x="553" y="2111"/>
                  <a:pt x="549" y="2098"/>
                  <a:pt x="549" y="2095"/>
                </a:cubicBezTo>
                <a:cubicBezTo>
                  <a:pt x="548" y="2092"/>
                  <a:pt x="545" y="2081"/>
                  <a:pt x="543" y="2071"/>
                </a:cubicBezTo>
                <a:cubicBezTo>
                  <a:pt x="540" y="2060"/>
                  <a:pt x="536" y="2043"/>
                  <a:pt x="533" y="2032"/>
                </a:cubicBezTo>
                <a:cubicBezTo>
                  <a:pt x="531" y="2021"/>
                  <a:pt x="524" y="1993"/>
                  <a:pt x="519" y="1970"/>
                </a:cubicBezTo>
                <a:cubicBezTo>
                  <a:pt x="517" y="1962"/>
                  <a:pt x="515" y="1955"/>
                  <a:pt x="514" y="1948"/>
                </a:cubicBezTo>
                <a:cubicBezTo>
                  <a:pt x="513" y="1944"/>
                  <a:pt x="512" y="1940"/>
                  <a:pt x="511" y="1936"/>
                </a:cubicBezTo>
                <a:cubicBezTo>
                  <a:pt x="510" y="1933"/>
                  <a:pt x="510" y="1929"/>
                  <a:pt x="508" y="1926"/>
                </a:cubicBezTo>
                <a:cubicBezTo>
                  <a:pt x="508" y="1926"/>
                  <a:pt x="508" y="1926"/>
                  <a:pt x="508" y="1926"/>
                </a:cubicBezTo>
                <a:cubicBezTo>
                  <a:pt x="507" y="1924"/>
                  <a:pt x="508" y="1923"/>
                  <a:pt x="507" y="1922"/>
                </a:cubicBezTo>
                <a:cubicBezTo>
                  <a:pt x="506" y="1920"/>
                  <a:pt x="506" y="1918"/>
                  <a:pt x="506" y="1916"/>
                </a:cubicBezTo>
                <a:cubicBezTo>
                  <a:pt x="505" y="1912"/>
                  <a:pt x="504" y="1909"/>
                  <a:pt x="503" y="1905"/>
                </a:cubicBezTo>
                <a:cubicBezTo>
                  <a:pt x="502" y="1901"/>
                  <a:pt x="501" y="1898"/>
                  <a:pt x="500" y="1895"/>
                </a:cubicBezTo>
                <a:cubicBezTo>
                  <a:pt x="500" y="1893"/>
                  <a:pt x="499" y="1891"/>
                  <a:pt x="499" y="1890"/>
                </a:cubicBezTo>
                <a:cubicBezTo>
                  <a:pt x="499" y="1888"/>
                  <a:pt x="498" y="1886"/>
                  <a:pt x="498" y="1885"/>
                </a:cubicBezTo>
                <a:cubicBezTo>
                  <a:pt x="498" y="1885"/>
                  <a:pt x="498" y="1884"/>
                  <a:pt x="498" y="1884"/>
                </a:cubicBezTo>
                <a:cubicBezTo>
                  <a:pt x="498" y="1883"/>
                  <a:pt x="497" y="1882"/>
                  <a:pt x="497" y="1881"/>
                </a:cubicBezTo>
                <a:cubicBezTo>
                  <a:pt x="496" y="1879"/>
                  <a:pt x="496" y="1878"/>
                  <a:pt x="496" y="1877"/>
                </a:cubicBezTo>
                <a:cubicBezTo>
                  <a:pt x="495" y="1873"/>
                  <a:pt x="492" y="1863"/>
                  <a:pt x="490" y="1854"/>
                </a:cubicBezTo>
                <a:cubicBezTo>
                  <a:pt x="490" y="1852"/>
                  <a:pt x="489" y="1849"/>
                  <a:pt x="489" y="1847"/>
                </a:cubicBezTo>
                <a:cubicBezTo>
                  <a:pt x="488" y="1844"/>
                  <a:pt x="487" y="1842"/>
                  <a:pt x="487" y="1840"/>
                </a:cubicBezTo>
                <a:cubicBezTo>
                  <a:pt x="487" y="1840"/>
                  <a:pt x="487" y="1839"/>
                  <a:pt x="487" y="1839"/>
                </a:cubicBezTo>
                <a:cubicBezTo>
                  <a:pt x="487" y="1839"/>
                  <a:pt x="487" y="1839"/>
                  <a:pt x="488" y="1839"/>
                </a:cubicBezTo>
                <a:cubicBezTo>
                  <a:pt x="488" y="1839"/>
                  <a:pt x="488" y="1838"/>
                  <a:pt x="488" y="1838"/>
                </a:cubicBezTo>
                <a:cubicBezTo>
                  <a:pt x="488" y="1837"/>
                  <a:pt x="488" y="1836"/>
                  <a:pt x="488" y="1836"/>
                </a:cubicBezTo>
                <a:cubicBezTo>
                  <a:pt x="487" y="1835"/>
                  <a:pt x="487" y="1833"/>
                  <a:pt x="486" y="1832"/>
                </a:cubicBezTo>
                <a:cubicBezTo>
                  <a:pt x="486" y="1831"/>
                  <a:pt x="486" y="1831"/>
                  <a:pt x="485" y="1830"/>
                </a:cubicBezTo>
                <a:cubicBezTo>
                  <a:pt x="485" y="1830"/>
                  <a:pt x="485" y="1830"/>
                  <a:pt x="485" y="1829"/>
                </a:cubicBezTo>
                <a:cubicBezTo>
                  <a:pt x="485" y="1829"/>
                  <a:pt x="485" y="1828"/>
                  <a:pt x="485" y="1828"/>
                </a:cubicBezTo>
                <a:cubicBezTo>
                  <a:pt x="485" y="1828"/>
                  <a:pt x="484" y="1828"/>
                  <a:pt x="484" y="1828"/>
                </a:cubicBezTo>
                <a:cubicBezTo>
                  <a:pt x="483" y="1827"/>
                  <a:pt x="483" y="1825"/>
                  <a:pt x="483" y="1824"/>
                </a:cubicBezTo>
                <a:cubicBezTo>
                  <a:pt x="483" y="1822"/>
                  <a:pt x="483" y="1821"/>
                  <a:pt x="482" y="1819"/>
                </a:cubicBezTo>
                <a:cubicBezTo>
                  <a:pt x="483" y="1819"/>
                  <a:pt x="482" y="1816"/>
                  <a:pt x="481" y="1815"/>
                </a:cubicBezTo>
                <a:cubicBezTo>
                  <a:pt x="481" y="1814"/>
                  <a:pt x="480" y="1812"/>
                  <a:pt x="480" y="1811"/>
                </a:cubicBezTo>
                <a:cubicBezTo>
                  <a:pt x="479" y="1809"/>
                  <a:pt x="479" y="1807"/>
                  <a:pt x="479" y="1805"/>
                </a:cubicBezTo>
                <a:cubicBezTo>
                  <a:pt x="478" y="1804"/>
                  <a:pt x="477" y="1801"/>
                  <a:pt x="478" y="1800"/>
                </a:cubicBezTo>
                <a:cubicBezTo>
                  <a:pt x="478" y="1800"/>
                  <a:pt x="479" y="1800"/>
                  <a:pt x="479" y="1799"/>
                </a:cubicBezTo>
                <a:cubicBezTo>
                  <a:pt x="479" y="1799"/>
                  <a:pt x="479" y="1798"/>
                  <a:pt x="479" y="1798"/>
                </a:cubicBezTo>
                <a:cubicBezTo>
                  <a:pt x="478" y="1797"/>
                  <a:pt x="478" y="1797"/>
                  <a:pt x="478" y="1797"/>
                </a:cubicBezTo>
                <a:cubicBezTo>
                  <a:pt x="476" y="1795"/>
                  <a:pt x="476" y="1794"/>
                  <a:pt x="475" y="1792"/>
                </a:cubicBez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32" name="Freeform 7">
            <a:extLst>
              <a:ext uri="{FF2B5EF4-FFF2-40B4-BE49-F238E27FC236}">
                <a16:creationId xmlns:a16="http://schemas.microsoft.com/office/drawing/2014/main" id="{F49A9615-B3BA-D5E3-EC30-405BCDE4A946}"/>
              </a:ext>
            </a:extLst>
          </p:cNvPr>
          <p:cNvSpPr>
            <a:spLocks noChangeAspect="1"/>
          </p:cNvSpPr>
          <p:nvPr userDrawn="1"/>
        </p:nvSpPr>
        <p:spPr bwMode="auto">
          <a:xfrm>
            <a:off x="10192932" y="1188112"/>
            <a:ext cx="236172" cy="2985720"/>
          </a:xfrm>
          <a:custGeom>
            <a:avLst/>
            <a:gdLst>
              <a:gd name="T0" fmla="*/ 136 w 249"/>
              <a:gd name="T1" fmla="*/ 1778 h 3131"/>
              <a:gd name="T2" fmla="*/ 143 w 249"/>
              <a:gd name="T3" fmla="*/ 1669 h 3131"/>
              <a:gd name="T4" fmla="*/ 152 w 249"/>
              <a:gd name="T5" fmla="*/ 1522 h 3131"/>
              <a:gd name="T6" fmla="*/ 156 w 249"/>
              <a:gd name="T7" fmla="*/ 1433 h 3131"/>
              <a:gd name="T8" fmla="*/ 166 w 249"/>
              <a:gd name="T9" fmla="*/ 1364 h 3131"/>
              <a:gd name="T10" fmla="*/ 166 w 249"/>
              <a:gd name="T11" fmla="*/ 1307 h 3131"/>
              <a:gd name="T12" fmla="*/ 168 w 249"/>
              <a:gd name="T13" fmla="*/ 1261 h 3131"/>
              <a:gd name="T14" fmla="*/ 170 w 249"/>
              <a:gd name="T15" fmla="*/ 1194 h 3131"/>
              <a:gd name="T16" fmla="*/ 180 w 249"/>
              <a:gd name="T17" fmla="*/ 1106 h 3131"/>
              <a:gd name="T18" fmla="*/ 183 w 249"/>
              <a:gd name="T19" fmla="*/ 976 h 3131"/>
              <a:gd name="T20" fmla="*/ 187 w 249"/>
              <a:gd name="T21" fmla="*/ 896 h 3131"/>
              <a:gd name="T22" fmla="*/ 195 w 249"/>
              <a:gd name="T23" fmla="*/ 775 h 3131"/>
              <a:gd name="T24" fmla="*/ 199 w 249"/>
              <a:gd name="T25" fmla="*/ 710 h 3131"/>
              <a:gd name="T26" fmla="*/ 202 w 249"/>
              <a:gd name="T27" fmla="*/ 658 h 3131"/>
              <a:gd name="T28" fmla="*/ 207 w 249"/>
              <a:gd name="T29" fmla="*/ 587 h 3131"/>
              <a:gd name="T30" fmla="*/ 215 w 249"/>
              <a:gd name="T31" fmla="*/ 511 h 3131"/>
              <a:gd name="T32" fmla="*/ 222 w 249"/>
              <a:gd name="T33" fmla="*/ 391 h 3131"/>
              <a:gd name="T34" fmla="*/ 226 w 249"/>
              <a:gd name="T35" fmla="*/ 345 h 3131"/>
              <a:gd name="T36" fmla="*/ 232 w 249"/>
              <a:gd name="T37" fmla="*/ 280 h 3131"/>
              <a:gd name="T38" fmla="*/ 238 w 249"/>
              <a:gd name="T39" fmla="*/ 205 h 3131"/>
              <a:gd name="T40" fmla="*/ 236 w 249"/>
              <a:gd name="T41" fmla="*/ 152 h 3131"/>
              <a:gd name="T42" fmla="*/ 237 w 249"/>
              <a:gd name="T43" fmla="*/ 94 h 3131"/>
              <a:gd name="T44" fmla="*/ 212 w 249"/>
              <a:gd name="T45" fmla="*/ 3 h 3131"/>
              <a:gd name="T46" fmla="*/ 177 w 249"/>
              <a:gd name="T47" fmla="*/ 357 h 3131"/>
              <a:gd name="T48" fmla="*/ 166 w 249"/>
              <a:gd name="T49" fmla="*/ 572 h 3131"/>
              <a:gd name="T50" fmla="*/ 159 w 249"/>
              <a:gd name="T51" fmla="*/ 670 h 3131"/>
              <a:gd name="T52" fmla="*/ 150 w 249"/>
              <a:gd name="T53" fmla="*/ 773 h 3131"/>
              <a:gd name="T54" fmla="*/ 142 w 249"/>
              <a:gd name="T55" fmla="*/ 853 h 3131"/>
              <a:gd name="T56" fmla="*/ 138 w 249"/>
              <a:gd name="T57" fmla="*/ 941 h 3131"/>
              <a:gd name="T58" fmla="*/ 119 w 249"/>
              <a:gd name="T59" fmla="*/ 1252 h 3131"/>
              <a:gd name="T60" fmla="*/ 115 w 249"/>
              <a:gd name="T61" fmla="*/ 1344 h 3131"/>
              <a:gd name="T62" fmla="*/ 107 w 249"/>
              <a:gd name="T63" fmla="*/ 1467 h 3131"/>
              <a:gd name="T64" fmla="*/ 104 w 249"/>
              <a:gd name="T65" fmla="*/ 1567 h 3131"/>
              <a:gd name="T66" fmla="*/ 96 w 249"/>
              <a:gd name="T67" fmla="*/ 1642 h 3131"/>
              <a:gd name="T68" fmla="*/ 93 w 249"/>
              <a:gd name="T69" fmla="*/ 1682 h 3131"/>
              <a:gd name="T70" fmla="*/ 89 w 249"/>
              <a:gd name="T71" fmla="*/ 1743 h 3131"/>
              <a:gd name="T72" fmla="*/ 83 w 249"/>
              <a:gd name="T73" fmla="*/ 1820 h 3131"/>
              <a:gd name="T74" fmla="*/ 80 w 249"/>
              <a:gd name="T75" fmla="*/ 1873 h 3131"/>
              <a:gd name="T76" fmla="*/ 77 w 249"/>
              <a:gd name="T77" fmla="*/ 1952 h 3131"/>
              <a:gd name="T78" fmla="*/ 71 w 249"/>
              <a:gd name="T79" fmla="*/ 2028 h 3131"/>
              <a:gd name="T80" fmla="*/ 68 w 249"/>
              <a:gd name="T81" fmla="*/ 2153 h 3131"/>
              <a:gd name="T82" fmla="*/ 61 w 249"/>
              <a:gd name="T83" fmla="*/ 2284 h 3131"/>
              <a:gd name="T84" fmla="*/ 53 w 249"/>
              <a:gd name="T85" fmla="*/ 2391 h 3131"/>
              <a:gd name="T86" fmla="*/ 47 w 249"/>
              <a:gd name="T87" fmla="*/ 2454 h 3131"/>
              <a:gd name="T88" fmla="*/ 43 w 249"/>
              <a:gd name="T89" fmla="*/ 2510 h 3131"/>
              <a:gd name="T90" fmla="*/ 38 w 249"/>
              <a:gd name="T91" fmla="*/ 2567 h 3131"/>
              <a:gd name="T92" fmla="*/ 32 w 249"/>
              <a:gd name="T93" fmla="*/ 2668 h 3131"/>
              <a:gd name="T94" fmla="*/ 27 w 249"/>
              <a:gd name="T95" fmla="*/ 2739 h 3131"/>
              <a:gd name="T96" fmla="*/ 22 w 249"/>
              <a:gd name="T97" fmla="*/ 2771 h 3131"/>
              <a:gd name="T98" fmla="*/ 21 w 249"/>
              <a:gd name="T99" fmla="*/ 2823 h 3131"/>
              <a:gd name="T100" fmla="*/ 16 w 249"/>
              <a:gd name="T101" fmla="*/ 2888 h 3131"/>
              <a:gd name="T102" fmla="*/ 12 w 249"/>
              <a:gd name="T103" fmla="*/ 2947 h 3131"/>
              <a:gd name="T104" fmla="*/ 13 w 249"/>
              <a:gd name="T105" fmla="*/ 2992 h 3131"/>
              <a:gd name="T106" fmla="*/ 8 w 249"/>
              <a:gd name="T107" fmla="*/ 3059 h 3131"/>
              <a:gd name="T108" fmla="*/ 72 w 249"/>
              <a:gd name="T109" fmla="*/ 2779 h 3131"/>
              <a:gd name="T110" fmla="*/ 86 w 249"/>
              <a:gd name="T111" fmla="*/ 2570 h 3131"/>
              <a:gd name="T112" fmla="*/ 92 w 249"/>
              <a:gd name="T113" fmla="*/ 2472 h 3131"/>
              <a:gd name="T114" fmla="*/ 98 w 249"/>
              <a:gd name="T115" fmla="*/ 2356 h 3131"/>
              <a:gd name="T116" fmla="*/ 107 w 249"/>
              <a:gd name="T117" fmla="*/ 2278 h 3131"/>
              <a:gd name="T118" fmla="*/ 122 w 249"/>
              <a:gd name="T119" fmla="*/ 2024 h 3131"/>
              <a:gd name="T120" fmla="*/ 131 w 249"/>
              <a:gd name="T121" fmla="*/ 1879 h 3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9" h="3131">
                <a:moveTo>
                  <a:pt x="133" y="1841"/>
                </a:moveTo>
                <a:lnTo>
                  <a:pt x="133" y="1841"/>
                </a:lnTo>
                <a:cubicBezTo>
                  <a:pt x="133" y="1840"/>
                  <a:pt x="132" y="1840"/>
                  <a:pt x="132" y="1839"/>
                </a:cubicBezTo>
                <a:cubicBezTo>
                  <a:pt x="133" y="1837"/>
                  <a:pt x="134" y="1834"/>
                  <a:pt x="135" y="1832"/>
                </a:cubicBezTo>
                <a:cubicBezTo>
                  <a:pt x="135" y="1830"/>
                  <a:pt x="136" y="1829"/>
                  <a:pt x="136" y="1828"/>
                </a:cubicBezTo>
                <a:cubicBezTo>
                  <a:pt x="136" y="1827"/>
                  <a:pt x="137" y="1826"/>
                  <a:pt x="137" y="1825"/>
                </a:cubicBezTo>
                <a:cubicBezTo>
                  <a:pt x="137" y="1824"/>
                  <a:pt x="136" y="1823"/>
                  <a:pt x="136" y="1823"/>
                </a:cubicBezTo>
                <a:cubicBezTo>
                  <a:pt x="135" y="1822"/>
                  <a:pt x="135" y="1821"/>
                  <a:pt x="135" y="1820"/>
                </a:cubicBezTo>
                <a:cubicBezTo>
                  <a:pt x="135" y="1819"/>
                  <a:pt x="136" y="1819"/>
                  <a:pt x="137" y="1818"/>
                </a:cubicBezTo>
                <a:cubicBezTo>
                  <a:pt x="137" y="1817"/>
                  <a:pt x="136" y="1816"/>
                  <a:pt x="136" y="1815"/>
                </a:cubicBezTo>
                <a:cubicBezTo>
                  <a:pt x="136" y="1815"/>
                  <a:pt x="136" y="1815"/>
                  <a:pt x="137" y="1814"/>
                </a:cubicBezTo>
                <a:cubicBezTo>
                  <a:pt x="137" y="1814"/>
                  <a:pt x="137" y="1814"/>
                  <a:pt x="138" y="1813"/>
                </a:cubicBezTo>
                <a:cubicBezTo>
                  <a:pt x="138" y="1813"/>
                  <a:pt x="138" y="1813"/>
                  <a:pt x="138" y="1813"/>
                </a:cubicBezTo>
                <a:cubicBezTo>
                  <a:pt x="138" y="1812"/>
                  <a:pt x="138" y="1812"/>
                  <a:pt x="138" y="1812"/>
                </a:cubicBezTo>
                <a:cubicBezTo>
                  <a:pt x="138" y="1812"/>
                  <a:pt x="138" y="1811"/>
                  <a:pt x="138" y="1810"/>
                </a:cubicBezTo>
                <a:cubicBezTo>
                  <a:pt x="138" y="1810"/>
                  <a:pt x="138" y="1809"/>
                  <a:pt x="138" y="1808"/>
                </a:cubicBezTo>
                <a:cubicBezTo>
                  <a:pt x="138" y="1806"/>
                  <a:pt x="138" y="1805"/>
                  <a:pt x="138" y="1804"/>
                </a:cubicBezTo>
                <a:cubicBezTo>
                  <a:pt x="138" y="1802"/>
                  <a:pt x="139" y="1798"/>
                  <a:pt x="138" y="1796"/>
                </a:cubicBezTo>
                <a:cubicBezTo>
                  <a:pt x="138" y="1795"/>
                  <a:pt x="137" y="1796"/>
                  <a:pt x="135" y="1796"/>
                </a:cubicBezTo>
                <a:cubicBezTo>
                  <a:pt x="135" y="1796"/>
                  <a:pt x="135" y="1795"/>
                  <a:pt x="135" y="1795"/>
                </a:cubicBezTo>
                <a:cubicBezTo>
                  <a:pt x="135" y="1794"/>
                  <a:pt x="135" y="1794"/>
                  <a:pt x="135" y="1793"/>
                </a:cubicBezTo>
                <a:cubicBezTo>
                  <a:pt x="135" y="1792"/>
                  <a:pt x="135" y="1791"/>
                  <a:pt x="136" y="1791"/>
                </a:cubicBezTo>
                <a:cubicBezTo>
                  <a:pt x="136" y="1789"/>
                  <a:pt x="136" y="1786"/>
                  <a:pt x="136" y="1784"/>
                </a:cubicBezTo>
                <a:cubicBezTo>
                  <a:pt x="137" y="1783"/>
                  <a:pt x="139" y="1779"/>
                  <a:pt x="136" y="1778"/>
                </a:cubicBezTo>
                <a:cubicBezTo>
                  <a:pt x="136" y="1778"/>
                  <a:pt x="136" y="1778"/>
                  <a:pt x="136" y="1778"/>
                </a:cubicBezTo>
                <a:cubicBezTo>
                  <a:pt x="135" y="1777"/>
                  <a:pt x="136" y="1775"/>
                  <a:pt x="136" y="1774"/>
                </a:cubicBezTo>
                <a:cubicBezTo>
                  <a:pt x="138" y="1765"/>
                  <a:pt x="139" y="1758"/>
                  <a:pt x="139" y="1748"/>
                </a:cubicBezTo>
                <a:cubicBezTo>
                  <a:pt x="139" y="1746"/>
                  <a:pt x="138" y="1743"/>
                  <a:pt x="139" y="1741"/>
                </a:cubicBezTo>
                <a:cubicBezTo>
                  <a:pt x="139" y="1740"/>
                  <a:pt x="140" y="1740"/>
                  <a:pt x="141" y="1739"/>
                </a:cubicBezTo>
                <a:cubicBezTo>
                  <a:pt x="141" y="1738"/>
                  <a:pt x="141" y="1737"/>
                  <a:pt x="141" y="1736"/>
                </a:cubicBezTo>
                <a:cubicBezTo>
                  <a:pt x="141" y="1735"/>
                  <a:pt x="141" y="1734"/>
                  <a:pt x="141" y="1732"/>
                </a:cubicBezTo>
                <a:cubicBezTo>
                  <a:pt x="142" y="1732"/>
                  <a:pt x="143" y="1731"/>
                  <a:pt x="143" y="1730"/>
                </a:cubicBezTo>
                <a:cubicBezTo>
                  <a:pt x="143" y="1729"/>
                  <a:pt x="142" y="1728"/>
                  <a:pt x="142" y="1727"/>
                </a:cubicBezTo>
                <a:cubicBezTo>
                  <a:pt x="140" y="1726"/>
                  <a:pt x="140" y="1725"/>
                  <a:pt x="141" y="1723"/>
                </a:cubicBezTo>
                <a:cubicBezTo>
                  <a:pt x="141" y="1722"/>
                  <a:pt x="141" y="1720"/>
                  <a:pt x="141" y="1718"/>
                </a:cubicBezTo>
                <a:cubicBezTo>
                  <a:pt x="141" y="1713"/>
                  <a:pt x="141" y="1707"/>
                  <a:pt x="141" y="1707"/>
                </a:cubicBezTo>
                <a:cubicBezTo>
                  <a:pt x="141" y="1706"/>
                  <a:pt x="141" y="1705"/>
                  <a:pt x="141" y="1704"/>
                </a:cubicBezTo>
                <a:cubicBezTo>
                  <a:pt x="142" y="1703"/>
                  <a:pt x="143" y="1703"/>
                  <a:pt x="143" y="1702"/>
                </a:cubicBezTo>
                <a:cubicBezTo>
                  <a:pt x="144" y="1701"/>
                  <a:pt x="144" y="1701"/>
                  <a:pt x="144" y="1700"/>
                </a:cubicBezTo>
                <a:cubicBezTo>
                  <a:pt x="144" y="1698"/>
                  <a:pt x="145" y="1697"/>
                  <a:pt x="145" y="1695"/>
                </a:cubicBezTo>
                <a:cubicBezTo>
                  <a:pt x="145" y="1695"/>
                  <a:pt x="145" y="1694"/>
                  <a:pt x="145" y="1694"/>
                </a:cubicBezTo>
                <a:cubicBezTo>
                  <a:pt x="145" y="1693"/>
                  <a:pt x="144" y="1693"/>
                  <a:pt x="144" y="1693"/>
                </a:cubicBezTo>
                <a:cubicBezTo>
                  <a:pt x="142" y="1690"/>
                  <a:pt x="142" y="1687"/>
                  <a:pt x="144" y="1684"/>
                </a:cubicBezTo>
                <a:cubicBezTo>
                  <a:pt x="144" y="1682"/>
                  <a:pt x="144" y="1681"/>
                  <a:pt x="144" y="1679"/>
                </a:cubicBezTo>
                <a:cubicBezTo>
                  <a:pt x="144" y="1678"/>
                  <a:pt x="144" y="1677"/>
                  <a:pt x="144" y="1677"/>
                </a:cubicBezTo>
                <a:cubicBezTo>
                  <a:pt x="144" y="1676"/>
                  <a:pt x="143" y="1676"/>
                  <a:pt x="143" y="1676"/>
                </a:cubicBezTo>
                <a:cubicBezTo>
                  <a:pt x="142" y="1675"/>
                  <a:pt x="142" y="1674"/>
                  <a:pt x="142" y="1672"/>
                </a:cubicBezTo>
                <a:cubicBezTo>
                  <a:pt x="142" y="1671"/>
                  <a:pt x="143" y="1670"/>
                  <a:pt x="143" y="1669"/>
                </a:cubicBezTo>
                <a:cubicBezTo>
                  <a:pt x="144" y="1667"/>
                  <a:pt x="143" y="1665"/>
                  <a:pt x="143" y="1663"/>
                </a:cubicBezTo>
                <a:cubicBezTo>
                  <a:pt x="143" y="1661"/>
                  <a:pt x="143" y="1659"/>
                  <a:pt x="143" y="1657"/>
                </a:cubicBezTo>
                <a:cubicBezTo>
                  <a:pt x="143" y="1650"/>
                  <a:pt x="143" y="1643"/>
                  <a:pt x="143" y="1641"/>
                </a:cubicBezTo>
                <a:cubicBezTo>
                  <a:pt x="143" y="1640"/>
                  <a:pt x="144" y="1637"/>
                  <a:pt x="143" y="1636"/>
                </a:cubicBezTo>
                <a:cubicBezTo>
                  <a:pt x="143" y="1635"/>
                  <a:pt x="143" y="1635"/>
                  <a:pt x="143" y="1635"/>
                </a:cubicBezTo>
                <a:cubicBezTo>
                  <a:pt x="142" y="1634"/>
                  <a:pt x="144" y="1632"/>
                  <a:pt x="144" y="1631"/>
                </a:cubicBezTo>
                <a:cubicBezTo>
                  <a:pt x="145" y="1629"/>
                  <a:pt x="145" y="1628"/>
                  <a:pt x="145" y="1627"/>
                </a:cubicBezTo>
                <a:cubicBezTo>
                  <a:pt x="145" y="1623"/>
                  <a:pt x="145" y="1619"/>
                  <a:pt x="145" y="1616"/>
                </a:cubicBezTo>
                <a:cubicBezTo>
                  <a:pt x="145" y="1613"/>
                  <a:pt x="146" y="1610"/>
                  <a:pt x="146" y="1607"/>
                </a:cubicBezTo>
                <a:cubicBezTo>
                  <a:pt x="146" y="1604"/>
                  <a:pt x="148" y="1600"/>
                  <a:pt x="146" y="1598"/>
                </a:cubicBezTo>
                <a:cubicBezTo>
                  <a:pt x="146" y="1598"/>
                  <a:pt x="146" y="1597"/>
                  <a:pt x="146" y="1597"/>
                </a:cubicBezTo>
                <a:cubicBezTo>
                  <a:pt x="146" y="1596"/>
                  <a:pt x="146" y="1596"/>
                  <a:pt x="146" y="1596"/>
                </a:cubicBezTo>
                <a:cubicBezTo>
                  <a:pt x="146" y="1595"/>
                  <a:pt x="146" y="1594"/>
                  <a:pt x="147" y="1593"/>
                </a:cubicBezTo>
                <a:cubicBezTo>
                  <a:pt x="147" y="1592"/>
                  <a:pt x="148" y="1591"/>
                  <a:pt x="148" y="1589"/>
                </a:cubicBezTo>
                <a:cubicBezTo>
                  <a:pt x="148" y="1587"/>
                  <a:pt x="148" y="1585"/>
                  <a:pt x="148" y="1582"/>
                </a:cubicBezTo>
                <a:cubicBezTo>
                  <a:pt x="148" y="1580"/>
                  <a:pt x="148" y="1578"/>
                  <a:pt x="148" y="1576"/>
                </a:cubicBezTo>
                <a:cubicBezTo>
                  <a:pt x="148" y="1575"/>
                  <a:pt x="148" y="1575"/>
                  <a:pt x="148" y="1574"/>
                </a:cubicBezTo>
                <a:cubicBezTo>
                  <a:pt x="147" y="1573"/>
                  <a:pt x="146" y="1573"/>
                  <a:pt x="146" y="1572"/>
                </a:cubicBezTo>
                <a:cubicBezTo>
                  <a:pt x="146" y="1571"/>
                  <a:pt x="146" y="1571"/>
                  <a:pt x="146" y="1570"/>
                </a:cubicBezTo>
                <a:cubicBezTo>
                  <a:pt x="146" y="1566"/>
                  <a:pt x="146" y="1563"/>
                  <a:pt x="146" y="1560"/>
                </a:cubicBezTo>
                <a:cubicBezTo>
                  <a:pt x="146" y="1557"/>
                  <a:pt x="147" y="1554"/>
                  <a:pt x="148" y="1551"/>
                </a:cubicBezTo>
                <a:cubicBezTo>
                  <a:pt x="148" y="1547"/>
                  <a:pt x="148" y="1543"/>
                  <a:pt x="148" y="1540"/>
                </a:cubicBezTo>
                <a:cubicBezTo>
                  <a:pt x="148" y="1537"/>
                  <a:pt x="150" y="1534"/>
                  <a:pt x="151" y="1531"/>
                </a:cubicBezTo>
                <a:cubicBezTo>
                  <a:pt x="151" y="1528"/>
                  <a:pt x="151" y="1525"/>
                  <a:pt x="152" y="1522"/>
                </a:cubicBezTo>
                <a:cubicBezTo>
                  <a:pt x="152" y="1521"/>
                  <a:pt x="152" y="1519"/>
                  <a:pt x="152" y="1518"/>
                </a:cubicBezTo>
                <a:cubicBezTo>
                  <a:pt x="152" y="1517"/>
                  <a:pt x="151" y="1515"/>
                  <a:pt x="151" y="1514"/>
                </a:cubicBezTo>
                <a:cubicBezTo>
                  <a:pt x="151" y="1514"/>
                  <a:pt x="152" y="1513"/>
                  <a:pt x="152" y="1513"/>
                </a:cubicBezTo>
                <a:cubicBezTo>
                  <a:pt x="153" y="1511"/>
                  <a:pt x="153" y="1508"/>
                  <a:pt x="154" y="1506"/>
                </a:cubicBezTo>
                <a:cubicBezTo>
                  <a:pt x="154" y="1503"/>
                  <a:pt x="154" y="1500"/>
                  <a:pt x="155" y="1497"/>
                </a:cubicBezTo>
                <a:cubicBezTo>
                  <a:pt x="155" y="1496"/>
                  <a:pt x="155" y="1494"/>
                  <a:pt x="154" y="1492"/>
                </a:cubicBezTo>
                <a:cubicBezTo>
                  <a:pt x="154" y="1490"/>
                  <a:pt x="153" y="1489"/>
                  <a:pt x="154" y="1487"/>
                </a:cubicBezTo>
                <a:cubicBezTo>
                  <a:pt x="154" y="1487"/>
                  <a:pt x="154" y="1487"/>
                  <a:pt x="154" y="1486"/>
                </a:cubicBezTo>
                <a:cubicBezTo>
                  <a:pt x="154" y="1486"/>
                  <a:pt x="154" y="1485"/>
                  <a:pt x="154" y="1485"/>
                </a:cubicBezTo>
                <a:cubicBezTo>
                  <a:pt x="154" y="1483"/>
                  <a:pt x="154" y="1481"/>
                  <a:pt x="154" y="1480"/>
                </a:cubicBezTo>
                <a:cubicBezTo>
                  <a:pt x="153" y="1479"/>
                  <a:pt x="153" y="1479"/>
                  <a:pt x="153" y="1478"/>
                </a:cubicBezTo>
                <a:cubicBezTo>
                  <a:pt x="153" y="1478"/>
                  <a:pt x="153" y="1477"/>
                  <a:pt x="153" y="1477"/>
                </a:cubicBezTo>
                <a:cubicBezTo>
                  <a:pt x="153" y="1475"/>
                  <a:pt x="153" y="1473"/>
                  <a:pt x="154" y="1471"/>
                </a:cubicBezTo>
                <a:cubicBezTo>
                  <a:pt x="155" y="1469"/>
                  <a:pt x="155" y="1466"/>
                  <a:pt x="156" y="1464"/>
                </a:cubicBezTo>
                <a:cubicBezTo>
                  <a:pt x="156" y="1462"/>
                  <a:pt x="157" y="1459"/>
                  <a:pt x="157" y="1457"/>
                </a:cubicBezTo>
                <a:cubicBezTo>
                  <a:pt x="158" y="1455"/>
                  <a:pt x="157" y="1453"/>
                  <a:pt x="157" y="1450"/>
                </a:cubicBezTo>
                <a:cubicBezTo>
                  <a:pt x="157" y="1450"/>
                  <a:pt x="157" y="1450"/>
                  <a:pt x="157" y="1450"/>
                </a:cubicBezTo>
                <a:cubicBezTo>
                  <a:pt x="158" y="1449"/>
                  <a:pt x="158" y="1449"/>
                  <a:pt x="158" y="1449"/>
                </a:cubicBezTo>
                <a:cubicBezTo>
                  <a:pt x="158" y="1449"/>
                  <a:pt x="158" y="1448"/>
                  <a:pt x="158" y="1448"/>
                </a:cubicBezTo>
                <a:cubicBezTo>
                  <a:pt x="158" y="1446"/>
                  <a:pt x="159" y="1444"/>
                  <a:pt x="159" y="1443"/>
                </a:cubicBezTo>
                <a:cubicBezTo>
                  <a:pt x="159" y="1442"/>
                  <a:pt x="159" y="1441"/>
                  <a:pt x="160" y="1440"/>
                </a:cubicBezTo>
                <a:cubicBezTo>
                  <a:pt x="160" y="1439"/>
                  <a:pt x="160" y="1437"/>
                  <a:pt x="159" y="1436"/>
                </a:cubicBezTo>
                <a:cubicBezTo>
                  <a:pt x="158" y="1435"/>
                  <a:pt x="158" y="1438"/>
                  <a:pt x="157" y="1437"/>
                </a:cubicBezTo>
                <a:cubicBezTo>
                  <a:pt x="155" y="1436"/>
                  <a:pt x="156" y="1434"/>
                  <a:pt x="156" y="1433"/>
                </a:cubicBezTo>
                <a:cubicBezTo>
                  <a:pt x="156" y="1431"/>
                  <a:pt x="156" y="1429"/>
                  <a:pt x="157" y="1427"/>
                </a:cubicBezTo>
                <a:cubicBezTo>
                  <a:pt x="157" y="1425"/>
                  <a:pt x="157" y="1423"/>
                  <a:pt x="157" y="1421"/>
                </a:cubicBezTo>
                <a:cubicBezTo>
                  <a:pt x="157" y="1420"/>
                  <a:pt x="157" y="1419"/>
                  <a:pt x="159" y="1418"/>
                </a:cubicBezTo>
                <a:cubicBezTo>
                  <a:pt x="160" y="1418"/>
                  <a:pt x="161" y="1417"/>
                  <a:pt x="161" y="1417"/>
                </a:cubicBezTo>
                <a:cubicBezTo>
                  <a:pt x="161" y="1416"/>
                  <a:pt x="160" y="1416"/>
                  <a:pt x="161" y="1416"/>
                </a:cubicBezTo>
                <a:cubicBezTo>
                  <a:pt x="161" y="1416"/>
                  <a:pt x="161" y="1415"/>
                  <a:pt x="161" y="1415"/>
                </a:cubicBezTo>
                <a:cubicBezTo>
                  <a:pt x="161" y="1415"/>
                  <a:pt x="161" y="1415"/>
                  <a:pt x="161" y="1414"/>
                </a:cubicBezTo>
                <a:cubicBezTo>
                  <a:pt x="162" y="1413"/>
                  <a:pt x="162" y="1412"/>
                  <a:pt x="162" y="1411"/>
                </a:cubicBezTo>
                <a:cubicBezTo>
                  <a:pt x="161" y="1411"/>
                  <a:pt x="161" y="1411"/>
                  <a:pt x="162" y="1411"/>
                </a:cubicBezTo>
                <a:cubicBezTo>
                  <a:pt x="162" y="1410"/>
                  <a:pt x="162" y="1410"/>
                  <a:pt x="162" y="1410"/>
                </a:cubicBezTo>
                <a:cubicBezTo>
                  <a:pt x="162" y="1409"/>
                  <a:pt x="162" y="1407"/>
                  <a:pt x="162" y="1406"/>
                </a:cubicBezTo>
                <a:cubicBezTo>
                  <a:pt x="162" y="1405"/>
                  <a:pt x="162" y="1403"/>
                  <a:pt x="162" y="1401"/>
                </a:cubicBezTo>
                <a:cubicBezTo>
                  <a:pt x="162" y="1399"/>
                  <a:pt x="163" y="1398"/>
                  <a:pt x="163" y="1396"/>
                </a:cubicBezTo>
                <a:cubicBezTo>
                  <a:pt x="163" y="1395"/>
                  <a:pt x="164" y="1394"/>
                  <a:pt x="163" y="1393"/>
                </a:cubicBezTo>
                <a:cubicBezTo>
                  <a:pt x="163" y="1393"/>
                  <a:pt x="163" y="1392"/>
                  <a:pt x="163" y="1392"/>
                </a:cubicBezTo>
                <a:cubicBezTo>
                  <a:pt x="163" y="1390"/>
                  <a:pt x="163" y="1388"/>
                  <a:pt x="163" y="1386"/>
                </a:cubicBezTo>
                <a:cubicBezTo>
                  <a:pt x="162" y="1384"/>
                  <a:pt x="163" y="1382"/>
                  <a:pt x="162" y="1381"/>
                </a:cubicBezTo>
                <a:cubicBezTo>
                  <a:pt x="162" y="1379"/>
                  <a:pt x="162" y="1378"/>
                  <a:pt x="162" y="1376"/>
                </a:cubicBezTo>
                <a:cubicBezTo>
                  <a:pt x="163" y="1374"/>
                  <a:pt x="163" y="1372"/>
                  <a:pt x="163" y="1370"/>
                </a:cubicBezTo>
                <a:cubicBezTo>
                  <a:pt x="163" y="1369"/>
                  <a:pt x="163" y="1368"/>
                  <a:pt x="164" y="1367"/>
                </a:cubicBezTo>
                <a:cubicBezTo>
                  <a:pt x="164" y="1367"/>
                  <a:pt x="163" y="1365"/>
                  <a:pt x="164" y="1364"/>
                </a:cubicBezTo>
                <a:cubicBezTo>
                  <a:pt x="164" y="1364"/>
                  <a:pt x="164" y="1365"/>
                  <a:pt x="164" y="1365"/>
                </a:cubicBezTo>
                <a:cubicBezTo>
                  <a:pt x="164" y="1365"/>
                  <a:pt x="165" y="1365"/>
                  <a:pt x="165" y="1365"/>
                </a:cubicBezTo>
                <a:cubicBezTo>
                  <a:pt x="165" y="1364"/>
                  <a:pt x="166" y="1364"/>
                  <a:pt x="166" y="1364"/>
                </a:cubicBezTo>
                <a:cubicBezTo>
                  <a:pt x="166" y="1364"/>
                  <a:pt x="166" y="1363"/>
                  <a:pt x="166" y="1363"/>
                </a:cubicBezTo>
                <a:cubicBezTo>
                  <a:pt x="166" y="1363"/>
                  <a:pt x="165" y="1362"/>
                  <a:pt x="165" y="1362"/>
                </a:cubicBezTo>
                <a:cubicBezTo>
                  <a:pt x="165" y="1362"/>
                  <a:pt x="165" y="1362"/>
                  <a:pt x="165" y="1362"/>
                </a:cubicBezTo>
                <a:cubicBezTo>
                  <a:pt x="165" y="1361"/>
                  <a:pt x="165" y="1361"/>
                  <a:pt x="165" y="1361"/>
                </a:cubicBezTo>
                <a:cubicBezTo>
                  <a:pt x="166" y="1361"/>
                  <a:pt x="166" y="1361"/>
                  <a:pt x="166" y="1360"/>
                </a:cubicBezTo>
                <a:cubicBezTo>
                  <a:pt x="166" y="1360"/>
                  <a:pt x="166" y="1360"/>
                  <a:pt x="165" y="1360"/>
                </a:cubicBezTo>
                <a:cubicBezTo>
                  <a:pt x="166" y="1359"/>
                  <a:pt x="166" y="1358"/>
                  <a:pt x="166" y="1357"/>
                </a:cubicBezTo>
                <a:cubicBezTo>
                  <a:pt x="166" y="1356"/>
                  <a:pt x="166" y="1354"/>
                  <a:pt x="166" y="1353"/>
                </a:cubicBezTo>
                <a:cubicBezTo>
                  <a:pt x="167" y="1349"/>
                  <a:pt x="167" y="1346"/>
                  <a:pt x="167" y="1343"/>
                </a:cubicBezTo>
                <a:cubicBezTo>
                  <a:pt x="166" y="1341"/>
                  <a:pt x="166" y="1339"/>
                  <a:pt x="166" y="1337"/>
                </a:cubicBezTo>
                <a:cubicBezTo>
                  <a:pt x="166" y="1336"/>
                  <a:pt x="166" y="1336"/>
                  <a:pt x="166" y="1335"/>
                </a:cubicBezTo>
                <a:cubicBezTo>
                  <a:pt x="166" y="1334"/>
                  <a:pt x="165" y="1333"/>
                  <a:pt x="165" y="1332"/>
                </a:cubicBezTo>
                <a:cubicBezTo>
                  <a:pt x="165" y="1332"/>
                  <a:pt x="165" y="1332"/>
                  <a:pt x="165" y="1332"/>
                </a:cubicBezTo>
                <a:cubicBezTo>
                  <a:pt x="165" y="1331"/>
                  <a:pt x="166" y="1331"/>
                  <a:pt x="166" y="1331"/>
                </a:cubicBezTo>
                <a:cubicBezTo>
                  <a:pt x="166" y="1331"/>
                  <a:pt x="167" y="1330"/>
                  <a:pt x="167" y="1329"/>
                </a:cubicBezTo>
                <a:cubicBezTo>
                  <a:pt x="167" y="1329"/>
                  <a:pt x="167" y="1329"/>
                  <a:pt x="167" y="1328"/>
                </a:cubicBezTo>
                <a:cubicBezTo>
                  <a:pt x="167" y="1328"/>
                  <a:pt x="166" y="1328"/>
                  <a:pt x="166" y="1327"/>
                </a:cubicBezTo>
                <a:cubicBezTo>
                  <a:pt x="165" y="1327"/>
                  <a:pt x="165" y="1326"/>
                  <a:pt x="165" y="1325"/>
                </a:cubicBezTo>
                <a:cubicBezTo>
                  <a:pt x="165" y="1325"/>
                  <a:pt x="164" y="1324"/>
                  <a:pt x="165" y="1324"/>
                </a:cubicBezTo>
                <a:cubicBezTo>
                  <a:pt x="165" y="1323"/>
                  <a:pt x="165" y="1322"/>
                  <a:pt x="165" y="1321"/>
                </a:cubicBezTo>
                <a:cubicBezTo>
                  <a:pt x="165" y="1320"/>
                  <a:pt x="164" y="1320"/>
                  <a:pt x="164" y="1319"/>
                </a:cubicBezTo>
                <a:cubicBezTo>
                  <a:pt x="163" y="1318"/>
                  <a:pt x="164" y="1316"/>
                  <a:pt x="164" y="1315"/>
                </a:cubicBezTo>
                <a:cubicBezTo>
                  <a:pt x="164" y="1313"/>
                  <a:pt x="165" y="1311"/>
                  <a:pt x="165" y="1309"/>
                </a:cubicBezTo>
                <a:cubicBezTo>
                  <a:pt x="165" y="1309"/>
                  <a:pt x="165" y="1308"/>
                  <a:pt x="166" y="1307"/>
                </a:cubicBezTo>
                <a:cubicBezTo>
                  <a:pt x="166" y="1306"/>
                  <a:pt x="167" y="1306"/>
                  <a:pt x="167" y="1305"/>
                </a:cubicBezTo>
                <a:cubicBezTo>
                  <a:pt x="167" y="1304"/>
                  <a:pt x="167" y="1304"/>
                  <a:pt x="167" y="1303"/>
                </a:cubicBezTo>
                <a:cubicBezTo>
                  <a:pt x="167" y="1303"/>
                  <a:pt x="166" y="1303"/>
                  <a:pt x="166" y="1303"/>
                </a:cubicBezTo>
                <a:cubicBezTo>
                  <a:pt x="166" y="1302"/>
                  <a:pt x="166" y="1302"/>
                  <a:pt x="166" y="1302"/>
                </a:cubicBezTo>
                <a:cubicBezTo>
                  <a:pt x="167" y="1302"/>
                  <a:pt x="167" y="1301"/>
                  <a:pt x="167" y="1301"/>
                </a:cubicBezTo>
                <a:cubicBezTo>
                  <a:pt x="168" y="1301"/>
                  <a:pt x="168" y="1300"/>
                  <a:pt x="167" y="1300"/>
                </a:cubicBezTo>
                <a:cubicBezTo>
                  <a:pt x="167" y="1299"/>
                  <a:pt x="166" y="1299"/>
                  <a:pt x="166" y="1299"/>
                </a:cubicBezTo>
                <a:cubicBezTo>
                  <a:pt x="165" y="1298"/>
                  <a:pt x="166" y="1297"/>
                  <a:pt x="166" y="1297"/>
                </a:cubicBezTo>
                <a:cubicBezTo>
                  <a:pt x="166" y="1296"/>
                  <a:pt x="166" y="1296"/>
                  <a:pt x="166" y="1296"/>
                </a:cubicBezTo>
                <a:cubicBezTo>
                  <a:pt x="167" y="1296"/>
                  <a:pt x="167" y="1294"/>
                  <a:pt x="167" y="1294"/>
                </a:cubicBezTo>
                <a:cubicBezTo>
                  <a:pt x="168" y="1293"/>
                  <a:pt x="168" y="1293"/>
                  <a:pt x="169" y="1292"/>
                </a:cubicBezTo>
                <a:cubicBezTo>
                  <a:pt x="169" y="1291"/>
                  <a:pt x="169" y="1291"/>
                  <a:pt x="169" y="1290"/>
                </a:cubicBezTo>
                <a:cubicBezTo>
                  <a:pt x="169" y="1290"/>
                  <a:pt x="169" y="1289"/>
                  <a:pt x="169" y="1289"/>
                </a:cubicBezTo>
                <a:cubicBezTo>
                  <a:pt x="168" y="1289"/>
                  <a:pt x="168" y="1288"/>
                  <a:pt x="168" y="1288"/>
                </a:cubicBezTo>
                <a:cubicBezTo>
                  <a:pt x="168" y="1288"/>
                  <a:pt x="167" y="1287"/>
                  <a:pt x="167" y="1287"/>
                </a:cubicBezTo>
                <a:cubicBezTo>
                  <a:pt x="167" y="1287"/>
                  <a:pt x="167" y="1287"/>
                  <a:pt x="166" y="1287"/>
                </a:cubicBezTo>
                <a:cubicBezTo>
                  <a:pt x="166" y="1287"/>
                  <a:pt x="166" y="1286"/>
                  <a:pt x="167" y="1286"/>
                </a:cubicBezTo>
                <a:cubicBezTo>
                  <a:pt x="167" y="1285"/>
                  <a:pt x="166" y="1285"/>
                  <a:pt x="166" y="1284"/>
                </a:cubicBezTo>
                <a:cubicBezTo>
                  <a:pt x="166" y="1283"/>
                  <a:pt x="166" y="1282"/>
                  <a:pt x="167" y="1281"/>
                </a:cubicBezTo>
                <a:cubicBezTo>
                  <a:pt x="167" y="1280"/>
                  <a:pt x="167" y="1278"/>
                  <a:pt x="168" y="1276"/>
                </a:cubicBezTo>
                <a:cubicBezTo>
                  <a:pt x="168" y="1275"/>
                  <a:pt x="168" y="1271"/>
                  <a:pt x="170" y="1270"/>
                </a:cubicBezTo>
                <a:cubicBezTo>
                  <a:pt x="170" y="1270"/>
                  <a:pt x="170" y="1269"/>
                  <a:pt x="170" y="1267"/>
                </a:cubicBezTo>
                <a:cubicBezTo>
                  <a:pt x="170" y="1266"/>
                  <a:pt x="170" y="1266"/>
                  <a:pt x="170" y="1265"/>
                </a:cubicBezTo>
                <a:cubicBezTo>
                  <a:pt x="170" y="1263"/>
                  <a:pt x="167" y="1263"/>
                  <a:pt x="168" y="1261"/>
                </a:cubicBezTo>
                <a:cubicBezTo>
                  <a:pt x="168" y="1260"/>
                  <a:pt x="168" y="1259"/>
                  <a:pt x="169" y="1258"/>
                </a:cubicBezTo>
                <a:cubicBezTo>
                  <a:pt x="169" y="1257"/>
                  <a:pt x="170" y="1256"/>
                  <a:pt x="171" y="1254"/>
                </a:cubicBezTo>
                <a:cubicBezTo>
                  <a:pt x="171" y="1254"/>
                  <a:pt x="172" y="1252"/>
                  <a:pt x="171" y="1251"/>
                </a:cubicBezTo>
                <a:cubicBezTo>
                  <a:pt x="171" y="1251"/>
                  <a:pt x="170" y="1251"/>
                  <a:pt x="170" y="1251"/>
                </a:cubicBezTo>
                <a:cubicBezTo>
                  <a:pt x="169" y="1251"/>
                  <a:pt x="169" y="1250"/>
                  <a:pt x="169" y="1249"/>
                </a:cubicBezTo>
                <a:cubicBezTo>
                  <a:pt x="169" y="1249"/>
                  <a:pt x="169" y="1248"/>
                  <a:pt x="169" y="1247"/>
                </a:cubicBezTo>
                <a:cubicBezTo>
                  <a:pt x="169" y="1246"/>
                  <a:pt x="170" y="1243"/>
                  <a:pt x="168" y="1242"/>
                </a:cubicBezTo>
                <a:cubicBezTo>
                  <a:pt x="168" y="1242"/>
                  <a:pt x="168" y="1242"/>
                  <a:pt x="168" y="1242"/>
                </a:cubicBezTo>
                <a:cubicBezTo>
                  <a:pt x="168" y="1241"/>
                  <a:pt x="168" y="1241"/>
                  <a:pt x="168" y="1240"/>
                </a:cubicBezTo>
                <a:cubicBezTo>
                  <a:pt x="168" y="1240"/>
                  <a:pt x="168" y="1240"/>
                  <a:pt x="168" y="1240"/>
                </a:cubicBezTo>
                <a:cubicBezTo>
                  <a:pt x="168" y="1239"/>
                  <a:pt x="168" y="1238"/>
                  <a:pt x="169" y="1238"/>
                </a:cubicBezTo>
                <a:cubicBezTo>
                  <a:pt x="169" y="1238"/>
                  <a:pt x="169" y="1238"/>
                  <a:pt x="169" y="1237"/>
                </a:cubicBezTo>
                <a:cubicBezTo>
                  <a:pt x="170" y="1237"/>
                  <a:pt x="170" y="1235"/>
                  <a:pt x="170" y="1234"/>
                </a:cubicBezTo>
                <a:cubicBezTo>
                  <a:pt x="170" y="1232"/>
                  <a:pt x="170" y="1231"/>
                  <a:pt x="170" y="1229"/>
                </a:cubicBezTo>
                <a:cubicBezTo>
                  <a:pt x="170" y="1227"/>
                  <a:pt x="170" y="1226"/>
                  <a:pt x="170" y="1224"/>
                </a:cubicBezTo>
                <a:cubicBezTo>
                  <a:pt x="170" y="1224"/>
                  <a:pt x="170" y="1223"/>
                  <a:pt x="170" y="1222"/>
                </a:cubicBezTo>
                <a:cubicBezTo>
                  <a:pt x="169" y="1221"/>
                  <a:pt x="170" y="1221"/>
                  <a:pt x="170" y="1220"/>
                </a:cubicBezTo>
                <a:cubicBezTo>
                  <a:pt x="169" y="1220"/>
                  <a:pt x="169" y="1219"/>
                  <a:pt x="169" y="1219"/>
                </a:cubicBezTo>
                <a:cubicBezTo>
                  <a:pt x="169" y="1219"/>
                  <a:pt x="169" y="1219"/>
                  <a:pt x="169" y="1218"/>
                </a:cubicBezTo>
                <a:cubicBezTo>
                  <a:pt x="169" y="1218"/>
                  <a:pt x="169" y="1218"/>
                  <a:pt x="169" y="1218"/>
                </a:cubicBezTo>
                <a:cubicBezTo>
                  <a:pt x="169" y="1218"/>
                  <a:pt x="170" y="1217"/>
                  <a:pt x="170" y="1217"/>
                </a:cubicBezTo>
                <a:cubicBezTo>
                  <a:pt x="170" y="1216"/>
                  <a:pt x="170" y="1214"/>
                  <a:pt x="170" y="1212"/>
                </a:cubicBezTo>
                <a:cubicBezTo>
                  <a:pt x="170" y="1211"/>
                  <a:pt x="170" y="1209"/>
                  <a:pt x="170" y="1207"/>
                </a:cubicBezTo>
                <a:cubicBezTo>
                  <a:pt x="170" y="1203"/>
                  <a:pt x="170" y="1199"/>
                  <a:pt x="170" y="1194"/>
                </a:cubicBezTo>
                <a:cubicBezTo>
                  <a:pt x="171" y="1192"/>
                  <a:pt x="171" y="1190"/>
                  <a:pt x="172" y="1189"/>
                </a:cubicBezTo>
                <a:cubicBezTo>
                  <a:pt x="172" y="1188"/>
                  <a:pt x="173" y="1187"/>
                  <a:pt x="172" y="1187"/>
                </a:cubicBezTo>
                <a:cubicBezTo>
                  <a:pt x="172" y="1186"/>
                  <a:pt x="172" y="1186"/>
                  <a:pt x="171" y="1185"/>
                </a:cubicBezTo>
                <a:cubicBezTo>
                  <a:pt x="171" y="1184"/>
                  <a:pt x="172" y="1182"/>
                  <a:pt x="172" y="1181"/>
                </a:cubicBezTo>
                <a:cubicBezTo>
                  <a:pt x="172" y="1179"/>
                  <a:pt x="172" y="1176"/>
                  <a:pt x="172" y="1173"/>
                </a:cubicBezTo>
                <a:cubicBezTo>
                  <a:pt x="173" y="1173"/>
                  <a:pt x="173" y="1173"/>
                  <a:pt x="173" y="1173"/>
                </a:cubicBezTo>
                <a:cubicBezTo>
                  <a:pt x="174" y="1172"/>
                  <a:pt x="174" y="1171"/>
                  <a:pt x="174" y="1170"/>
                </a:cubicBezTo>
                <a:cubicBezTo>
                  <a:pt x="174" y="1169"/>
                  <a:pt x="174" y="1169"/>
                  <a:pt x="173" y="1168"/>
                </a:cubicBezTo>
                <a:cubicBezTo>
                  <a:pt x="173" y="1168"/>
                  <a:pt x="172" y="1169"/>
                  <a:pt x="172" y="1168"/>
                </a:cubicBezTo>
                <a:cubicBezTo>
                  <a:pt x="171" y="1168"/>
                  <a:pt x="172" y="1167"/>
                  <a:pt x="172" y="1167"/>
                </a:cubicBezTo>
                <a:cubicBezTo>
                  <a:pt x="172" y="1166"/>
                  <a:pt x="172" y="1166"/>
                  <a:pt x="172" y="1165"/>
                </a:cubicBezTo>
                <a:cubicBezTo>
                  <a:pt x="173" y="1163"/>
                  <a:pt x="174" y="1163"/>
                  <a:pt x="174" y="1161"/>
                </a:cubicBezTo>
                <a:cubicBezTo>
                  <a:pt x="174" y="1160"/>
                  <a:pt x="173" y="1160"/>
                  <a:pt x="173" y="1159"/>
                </a:cubicBezTo>
                <a:cubicBezTo>
                  <a:pt x="173" y="1158"/>
                  <a:pt x="174" y="1158"/>
                  <a:pt x="174" y="1157"/>
                </a:cubicBezTo>
                <a:cubicBezTo>
                  <a:pt x="174" y="1157"/>
                  <a:pt x="173" y="1156"/>
                  <a:pt x="173" y="1155"/>
                </a:cubicBezTo>
                <a:cubicBezTo>
                  <a:pt x="172" y="1155"/>
                  <a:pt x="172" y="1154"/>
                  <a:pt x="173" y="1153"/>
                </a:cubicBezTo>
                <a:cubicBezTo>
                  <a:pt x="173" y="1153"/>
                  <a:pt x="173" y="1153"/>
                  <a:pt x="173" y="1153"/>
                </a:cubicBezTo>
                <a:cubicBezTo>
                  <a:pt x="174" y="1151"/>
                  <a:pt x="173" y="1149"/>
                  <a:pt x="173" y="1148"/>
                </a:cubicBezTo>
                <a:cubicBezTo>
                  <a:pt x="174" y="1132"/>
                  <a:pt x="174" y="1125"/>
                  <a:pt x="174" y="1124"/>
                </a:cubicBezTo>
                <a:cubicBezTo>
                  <a:pt x="174" y="1124"/>
                  <a:pt x="174" y="1115"/>
                  <a:pt x="175" y="1114"/>
                </a:cubicBezTo>
                <a:cubicBezTo>
                  <a:pt x="176" y="1112"/>
                  <a:pt x="177" y="1110"/>
                  <a:pt x="177" y="1108"/>
                </a:cubicBezTo>
                <a:cubicBezTo>
                  <a:pt x="177" y="1108"/>
                  <a:pt x="177" y="1106"/>
                  <a:pt x="177" y="1106"/>
                </a:cubicBezTo>
                <a:cubicBezTo>
                  <a:pt x="178" y="1105"/>
                  <a:pt x="178" y="1106"/>
                  <a:pt x="179" y="1106"/>
                </a:cubicBezTo>
                <a:cubicBezTo>
                  <a:pt x="179" y="1107"/>
                  <a:pt x="180" y="1107"/>
                  <a:pt x="180" y="1106"/>
                </a:cubicBezTo>
                <a:cubicBezTo>
                  <a:pt x="180" y="1106"/>
                  <a:pt x="180" y="1105"/>
                  <a:pt x="180" y="1104"/>
                </a:cubicBezTo>
                <a:cubicBezTo>
                  <a:pt x="179" y="1103"/>
                  <a:pt x="179" y="1103"/>
                  <a:pt x="179" y="1102"/>
                </a:cubicBezTo>
                <a:cubicBezTo>
                  <a:pt x="179" y="1100"/>
                  <a:pt x="178" y="1099"/>
                  <a:pt x="178" y="1097"/>
                </a:cubicBezTo>
                <a:cubicBezTo>
                  <a:pt x="179" y="1097"/>
                  <a:pt x="179" y="1097"/>
                  <a:pt x="179" y="1096"/>
                </a:cubicBezTo>
                <a:cubicBezTo>
                  <a:pt x="179" y="1096"/>
                  <a:pt x="179" y="1096"/>
                  <a:pt x="180" y="1095"/>
                </a:cubicBezTo>
                <a:cubicBezTo>
                  <a:pt x="180" y="1095"/>
                  <a:pt x="181" y="1095"/>
                  <a:pt x="181" y="1094"/>
                </a:cubicBezTo>
                <a:cubicBezTo>
                  <a:pt x="180" y="1094"/>
                  <a:pt x="180" y="1094"/>
                  <a:pt x="180" y="1093"/>
                </a:cubicBezTo>
                <a:cubicBezTo>
                  <a:pt x="177" y="1092"/>
                  <a:pt x="178" y="1088"/>
                  <a:pt x="178" y="1086"/>
                </a:cubicBezTo>
                <a:cubicBezTo>
                  <a:pt x="179" y="1081"/>
                  <a:pt x="179" y="1076"/>
                  <a:pt x="179" y="1075"/>
                </a:cubicBezTo>
                <a:cubicBezTo>
                  <a:pt x="179" y="1072"/>
                  <a:pt x="179" y="1070"/>
                  <a:pt x="178" y="1067"/>
                </a:cubicBezTo>
                <a:cubicBezTo>
                  <a:pt x="177" y="1066"/>
                  <a:pt x="177" y="1065"/>
                  <a:pt x="178" y="1063"/>
                </a:cubicBezTo>
                <a:cubicBezTo>
                  <a:pt x="178" y="1062"/>
                  <a:pt x="179" y="1061"/>
                  <a:pt x="179" y="1060"/>
                </a:cubicBezTo>
                <a:cubicBezTo>
                  <a:pt x="179" y="1059"/>
                  <a:pt x="179" y="1058"/>
                  <a:pt x="179" y="1057"/>
                </a:cubicBezTo>
                <a:cubicBezTo>
                  <a:pt x="180" y="1053"/>
                  <a:pt x="179" y="1049"/>
                  <a:pt x="179" y="1045"/>
                </a:cubicBezTo>
                <a:cubicBezTo>
                  <a:pt x="179" y="1041"/>
                  <a:pt x="180" y="1036"/>
                  <a:pt x="180" y="1032"/>
                </a:cubicBezTo>
                <a:cubicBezTo>
                  <a:pt x="181" y="1017"/>
                  <a:pt x="182" y="1002"/>
                  <a:pt x="182" y="998"/>
                </a:cubicBezTo>
                <a:cubicBezTo>
                  <a:pt x="182" y="996"/>
                  <a:pt x="182" y="995"/>
                  <a:pt x="182" y="993"/>
                </a:cubicBezTo>
                <a:cubicBezTo>
                  <a:pt x="182" y="992"/>
                  <a:pt x="183" y="990"/>
                  <a:pt x="182" y="989"/>
                </a:cubicBezTo>
                <a:cubicBezTo>
                  <a:pt x="182" y="989"/>
                  <a:pt x="182" y="989"/>
                  <a:pt x="182" y="989"/>
                </a:cubicBezTo>
                <a:cubicBezTo>
                  <a:pt x="183" y="989"/>
                  <a:pt x="183" y="989"/>
                  <a:pt x="183" y="988"/>
                </a:cubicBezTo>
                <a:cubicBezTo>
                  <a:pt x="183" y="988"/>
                  <a:pt x="183" y="987"/>
                  <a:pt x="182" y="987"/>
                </a:cubicBezTo>
                <a:cubicBezTo>
                  <a:pt x="182" y="987"/>
                  <a:pt x="182" y="987"/>
                  <a:pt x="182" y="986"/>
                </a:cubicBezTo>
                <a:cubicBezTo>
                  <a:pt x="181" y="985"/>
                  <a:pt x="182" y="982"/>
                  <a:pt x="182" y="980"/>
                </a:cubicBezTo>
                <a:cubicBezTo>
                  <a:pt x="182" y="979"/>
                  <a:pt x="183" y="977"/>
                  <a:pt x="183" y="976"/>
                </a:cubicBezTo>
                <a:cubicBezTo>
                  <a:pt x="182" y="975"/>
                  <a:pt x="182" y="975"/>
                  <a:pt x="182" y="975"/>
                </a:cubicBezTo>
                <a:cubicBezTo>
                  <a:pt x="182" y="975"/>
                  <a:pt x="182" y="974"/>
                  <a:pt x="182" y="974"/>
                </a:cubicBezTo>
                <a:cubicBezTo>
                  <a:pt x="182" y="973"/>
                  <a:pt x="181" y="973"/>
                  <a:pt x="181" y="973"/>
                </a:cubicBezTo>
                <a:cubicBezTo>
                  <a:pt x="181" y="972"/>
                  <a:pt x="182" y="971"/>
                  <a:pt x="183" y="971"/>
                </a:cubicBezTo>
                <a:cubicBezTo>
                  <a:pt x="183" y="971"/>
                  <a:pt x="183" y="972"/>
                  <a:pt x="184" y="972"/>
                </a:cubicBezTo>
                <a:cubicBezTo>
                  <a:pt x="184" y="972"/>
                  <a:pt x="184" y="971"/>
                  <a:pt x="184" y="971"/>
                </a:cubicBezTo>
                <a:cubicBezTo>
                  <a:pt x="184" y="971"/>
                  <a:pt x="184" y="970"/>
                  <a:pt x="184" y="970"/>
                </a:cubicBezTo>
                <a:cubicBezTo>
                  <a:pt x="183" y="969"/>
                  <a:pt x="183" y="966"/>
                  <a:pt x="183" y="965"/>
                </a:cubicBezTo>
                <a:cubicBezTo>
                  <a:pt x="183" y="964"/>
                  <a:pt x="183" y="961"/>
                  <a:pt x="183" y="959"/>
                </a:cubicBezTo>
                <a:cubicBezTo>
                  <a:pt x="183" y="959"/>
                  <a:pt x="184" y="959"/>
                  <a:pt x="184" y="959"/>
                </a:cubicBezTo>
                <a:cubicBezTo>
                  <a:pt x="184" y="958"/>
                  <a:pt x="184" y="958"/>
                  <a:pt x="184" y="957"/>
                </a:cubicBezTo>
                <a:cubicBezTo>
                  <a:pt x="184" y="956"/>
                  <a:pt x="185" y="955"/>
                  <a:pt x="185" y="953"/>
                </a:cubicBezTo>
                <a:cubicBezTo>
                  <a:pt x="185" y="952"/>
                  <a:pt x="185" y="947"/>
                  <a:pt x="185" y="942"/>
                </a:cubicBezTo>
                <a:cubicBezTo>
                  <a:pt x="185" y="940"/>
                  <a:pt x="185" y="938"/>
                  <a:pt x="185" y="936"/>
                </a:cubicBezTo>
                <a:cubicBezTo>
                  <a:pt x="185" y="935"/>
                  <a:pt x="185" y="934"/>
                  <a:pt x="185" y="933"/>
                </a:cubicBezTo>
                <a:cubicBezTo>
                  <a:pt x="185" y="933"/>
                  <a:pt x="184" y="932"/>
                  <a:pt x="184" y="932"/>
                </a:cubicBezTo>
                <a:cubicBezTo>
                  <a:pt x="184" y="931"/>
                  <a:pt x="184" y="930"/>
                  <a:pt x="184" y="929"/>
                </a:cubicBezTo>
                <a:cubicBezTo>
                  <a:pt x="184" y="930"/>
                  <a:pt x="185" y="929"/>
                  <a:pt x="185" y="929"/>
                </a:cubicBezTo>
                <a:cubicBezTo>
                  <a:pt x="185" y="928"/>
                  <a:pt x="185" y="928"/>
                  <a:pt x="186" y="927"/>
                </a:cubicBezTo>
                <a:cubicBezTo>
                  <a:pt x="186" y="926"/>
                  <a:pt x="186" y="924"/>
                  <a:pt x="186" y="923"/>
                </a:cubicBezTo>
                <a:cubicBezTo>
                  <a:pt x="186" y="920"/>
                  <a:pt x="186" y="917"/>
                  <a:pt x="186" y="913"/>
                </a:cubicBezTo>
                <a:cubicBezTo>
                  <a:pt x="187" y="910"/>
                  <a:pt x="187" y="907"/>
                  <a:pt x="187" y="904"/>
                </a:cubicBezTo>
                <a:cubicBezTo>
                  <a:pt x="187" y="902"/>
                  <a:pt x="188" y="899"/>
                  <a:pt x="187" y="897"/>
                </a:cubicBezTo>
                <a:cubicBezTo>
                  <a:pt x="187" y="896"/>
                  <a:pt x="187" y="896"/>
                  <a:pt x="187" y="896"/>
                </a:cubicBezTo>
                <a:cubicBezTo>
                  <a:pt x="187" y="895"/>
                  <a:pt x="187" y="895"/>
                  <a:pt x="187" y="895"/>
                </a:cubicBezTo>
                <a:cubicBezTo>
                  <a:pt x="187" y="894"/>
                  <a:pt x="187" y="894"/>
                  <a:pt x="186" y="894"/>
                </a:cubicBezTo>
                <a:cubicBezTo>
                  <a:pt x="186" y="893"/>
                  <a:pt x="186" y="893"/>
                  <a:pt x="186" y="893"/>
                </a:cubicBezTo>
                <a:cubicBezTo>
                  <a:pt x="187" y="891"/>
                  <a:pt x="187" y="888"/>
                  <a:pt x="187" y="886"/>
                </a:cubicBezTo>
                <a:cubicBezTo>
                  <a:pt x="187" y="884"/>
                  <a:pt x="188" y="882"/>
                  <a:pt x="188" y="880"/>
                </a:cubicBezTo>
                <a:cubicBezTo>
                  <a:pt x="188" y="875"/>
                  <a:pt x="189" y="870"/>
                  <a:pt x="189" y="865"/>
                </a:cubicBezTo>
                <a:cubicBezTo>
                  <a:pt x="189" y="857"/>
                  <a:pt x="189" y="849"/>
                  <a:pt x="189" y="840"/>
                </a:cubicBezTo>
                <a:cubicBezTo>
                  <a:pt x="189" y="840"/>
                  <a:pt x="190" y="840"/>
                  <a:pt x="190" y="840"/>
                </a:cubicBezTo>
                <a:cubicBezTo>
                  <a:pt x="190" y="840"/>
                  <a:pt x="190" y="840"/>
                  <a:pt x="190" y="840"/>
                </a:cubicBezTo>
                <a:cubicBezTo>
                  <a:pt x="190" y="839"/>
                  <a:pt x="190" y="839"/>
                  <a:pt x="190" y="839"/>
                </a:cubicBezTo>
                <a:cubicBezTo>
                  <a:pt x="190" y="838"/>
                  <a:pt x="191" y="837"/>
                  <a:pt x="191" y="836"/>
                </a:cubicBezTo>
                <a:cubicBezTo>
                  <a:pt x="191" y="835"/>
                  <a:pt x="191" y="834"/>
                  <a:pt x="192" y="833"/>
                </a:cubicBezTo>
                <a:cubicBezTo>
                  <a:pt x="192" y="832"/>
                  <a:pt x="192" y="832"/>
                  <a:pt x="192" y="831"/>
                </a:cubicBezTo>
                <a:cubicBezTo>
                  <a:pt x="192" y="830"/>
                  <a:pt x="191" y="830"/>
                  <a:pt x="191" y="829"/>
                </a:cubicBezTo>
                <a:cubicBezTo>
                  <a:pt x="190" y="828"/>
                  <a:pt x="191" y="827"/>
                  <a:pt x="191" y="826"/>
                </a:cubicBezTo>
                <a:cubicBezTo>
                  <a:pt x="191" y="824"/>
                  <a:pt x="192" y="820"/>
                  <a:pt x="192" y="817"/>
                </a:cubicBezTo>
                <a:cubicBezTo>
                  <a:pt x="192" y="813"/>
                  <a:pt x="193" y="802"/>
                  <a:pt x="193" y="796"/>
                </a:cubicBezTo>
                <a:cubicBezTo>
                  <a:pt x="193" y="795"/>
                  <a:pt x="193" y="791"/>
                  <a:pt x="193" y="789"/>
                </a:cubicBezTo>
                <a:cubicBezTo>
                  <a:pt x="193" y="787"/>
                  <a:pt x="193" y="786"/>
                  <a:pt x="194" y="784"/>
                </a:cubicBezTo>
                <a:cubicBezTo>
                  <a:pt x="194" y="784"/>
                  <a:pt x="194" y="784"/>
                  <a:pt x="195" y="784"/>
                </a:cubicBezTo>
                <a:cubicBezTo>
                  <a:pt x="195" y="783"/>
                  <a:pt x="195" y="783"/>
                  <a:pt x="195" y="783"/>
                </a:cubicBezTo>
                <a:cubicBezTo>
                  <a:pt x="195" y="782"/>
                  <a:pt x="195" y="781"/>
                  <a:pt x="195" y="780"/>
                </a:cubicBezTo>
                <a:cubicBezTo>
                  <a:pt x="195" y="780"/>
                  <a:pt x="195" y="780"/>
                  <a:pt x="195" y="779"/>
                </a:cubicBezTo>
                <a:cubicBezTo>
                  <a:pt x="195" y="778"/>
                  <a:pt x="194" y="776"/>
                  <a:pt x="195" y="775"/>
                </a:cubicBezTo>
                <a:cubicBezTo>
                  <a:pt x="195" y="773"/>
                  <a:pt x="197" y="772"/>
                  <a:pt x="198" y="772"/>
                </a:cubicBezTo>
                <a:cubicBezTo>
                  <a:pt x="198" y="771"/>
                  <a:pt x="199" y="771"/>
                  <a:pt x="198" y="770"/>
                </a:cubicBezTo>
                <a:cubicBezTo>
                  <a:pt x="197" y="769"/>
                  <a:pt x="197" y="768"/>
                  <a:pt x="196" y="767"/>
                </a:cubicBezTo>
                <a:cubicBezTo>
                  <a:pt x="196" y="767"/>
                  <a:pt x="196" y="767"/>
                  <a:pt x="196" y="767"/>
                </a:cubicBezTo>
                <a:cubicBezTo>
                  <a:pt x="196" y="767"/>
                  <a:pt x="196" y="766"/>
                  <a:pt x="196" y="766"/>
                </a:cubicBezTo>
                <a:cubicBezTo>
                  <a:pt x="196" y="766"/>
                  <a:pt x="196" y="766"/>
                  <a:pt x="195" y="765"/>
                </a:cubicBezTo>
                <a:cubicBezTo>
                  <a:pt x="195" y="764"/>
                  <a:pt x="196" y="762"/>
                  <a:pt x="196" y="761"/>
                </a:cubicBezTo>
                <a:cubicBezTo>
                  <a:pt x="196" y="758"/>
                  <a:pt x="196" y="756"/>
                  <a:pt x="196" y="753"/>
                </a:cubicBezTo>
                <a:cubicBezTo>
                  <a:pt x="197" y="748"/>
                  <a:pt x="197" y="744"/>
                  <a:pt x="197" y="739"/>
                </a:cubicBezTo>
                <a:cubicBezTo>
                  <a:pt x="197" y="738"/>
                  <a:pt x="197" y="738"/>
                  <a:pt x="197" y="737"/>
                </a:cubicBezTo>
                <a:cubicBezTo>
                  <a:pt x="197" y="737"/>
                  <a:pt x="197" y="737"/>
                  <a:pt x="197" y="737"/>
                </a:cubicBezTo>
                <a:cubicBezTo>
                  <a:pt x="196" y="736"/>
                  <a:pt x="197" y="736"/>
                  <a:pt x="197" y="736"/>
                </a:cubicBezTo>
                <a:cubicBezTo>
                  <a:pt x="196" y="736"/>
                  <a:pt x="196" y="736"/>
                  <a:pt x="196" y="736"/>
                </a:cubicBezTo>
                <a:cubicBezTo>
                  <a:pt x="196" y="735"/>
                  <a:pt x="196" y="733"/>
                  <a:pt x="197" y="733"/>
                </a:cubicBezTo>
                <a:cubicBezTo>
                  <a:pt x="197" y="732"/>
                  <a:pt x="197" y="731"/>
                  <a:pt x="197" y="729"/>
                </a:cubicBezTo>
                <a:cubicBezTo>
                  <a:pt x="198" y="728"/>
                  <a:pt x="198" y="727"/>
                  <a:pt x="198" y="726"/>
                </a:cubicBezTo>
                <a:cubicBezTo>
                  <a:pt x="198" y="725"/>
                  <a:pt x="198" y="725"/>
                  <a:pt x="198" y="725"/>
                </a:cubicBezTo>
                <a:cubicBezTo>
                  <a:pt x="198" y="725"/>
                  <a:pt x="198" y="725"/>
                  <a:pt x="198" y="725"/>
                </a:cubicBezTo>
                <a:cubicBezTo>
                  <a:pt x="197" y="724"/>
                  <a:pt x="197" y="723"/>
                  <a:pt x="197" y="723"/>
                </a:cubicBezTo>
                <a:cubicBezTo>
                  <a:pt x="198" y="723"/>
                  <a:pt x="198" y="723"/>
                  <a:pt x="198" y="722"/>
                </a:cubicBezTo>
                <a:cubicBezTo>
                  <a:pt x="199" y="721"/>
                  <a:pt x="198" y="720"/>
                  <a:pt x="199" y="719"/>
                </a:cubicBezTo>
                <a:cubicBezTo>
                  <a:pt x="199" y="718"/>
                  <a:pt x="199" y="717"/>
                  <a:pt x="199" y="716"/>
                </a:cubicBezTo>
                <a:cubicBezTo>
                  <a:pt x="200" y="715"/>
                  <a:pt x="201" y="715"/>
                  <a:pt x="201" y="714"/>
                </a:cubicBezTo>
                <a:cubicBezTo>
                  <a:pt x="201" y="713"/>
                  <a:pt x="198" y="711"/>
                  <a:pt x="199" y="710"/>
                </a:cubicBezTo>
                <a:cubicBezTo>
                  <a:pt x="199" y="710"/>
                  <a:pt x="200" y="710"/>
                  <a:pt x="200" y="710"/>
                </a:cubicBezTo>
                <a:cubicBezTo>
                  <a:pt x="200" y="710"/>
                  <a:pt x="200" y="710"/>
                  <a:pt x="201" y="710"/>
                </a:cubicBezTo>
                <a:cubicBezTo>
                  <a:pt x="201" y="710"/>
                  <a:pt x="201" y="710"/>
                  <a:pt x="201" y="710"/>
                </a:cubicBezTo>
                <a:cubicBezTo>
                  <a:pt x="201" y="709"/>
                  <a:pt x="201" y="708"/>
                  <a:pt x="201" y="708"/>
                </a:cubicBezTo>
                <a:cubicBezTo>
                  <a:pt x="200" y="708"/>
                  <a:pt x="200" y="708"/>
                  <a:pt x="200" y="707"/>
                </a:cubicBezTo>
                <a:cubicBezTo>
                  <a:pt x="199" y="705"/>
                  <a:pt x="200" y="702"/>
                  <a:pt x="200" y="700"/>
                </a:cubicBezTo>
                <a:cubicBezTo>
                  <a:pt x="200" y="698"/>
                  <a:pt x="200" y="695"/>
                  <a:pt x="200" y="693"/>
                </a:cubicBezTo>
                <a:cubicBezTo>
                  <a:pt x="200" y="692"/>
                  <a:pt x="201" y="691"/>
                  <a:pt x="201" y="690"/>
                </a:cubicBezTo>
                <a:cubicBezTo>
                  <a:pt x="201" y="688"/>
                  <a:pt x="201" y="689"/>
                  <a:pt x="202" y="688"/>
                </a:cubicBezTo>
                <a:cubicBezTo>
                  <a:pt x="203" y="688"/>
                  <a:pt x="203" y="688"/>
                  <a:pt x="204" y="688"/>
                </a:cubicBezTo>
                <a:cubicBezTo>
                  <a:pt x="204" y="687"/>
                  <a:pt x="204" y="687"/>
                  <a:pt x="204" y="687"/>
                </a:cubicBezTo>
                <a:cubicBezTo>
                  <a:pt x="204" y="686"/>
                  <a:pt x="204" y="686"/>
                  <a:pt x="203" y="686"/>
                </a:cubicBezTo>
                <a:cubicBezTo>
                  <a:pt x="203" y="685"/>
                  <a:pt x="202" y="685"/>
                  <a:pt x="202" y="684"/>
                </a:cubicBezTo>
                <a:cubicBezTo>
                  <a:pt x="202" y="683"/>
                  <a:pt x="202" y="682"/>
                  <a:pt x="202" y="681"/>
                </a:cubicBezTo>
                <a:cubicBezTo>
                  <a:pt x="202" y="679"/>
                  <a:pt x="203" y="678"/>
                  <a:pt x="203" y="676"/>
                </a:cubicBezTo>
                <a:cubicBezTo>
                  <a:pt x="203" y="674"/>
                  <a:pt x="203" y="672"/>
                  <a:pt x="203" y="670"/>
                </a:cubicBezTo>
                <a:cubicBezTo>
                  <a:pt x="203" y="669"/>
                  <a:pt x="203" y="668"/>
                  <a:pt x="203" y="667"/>
                </a:cubicBezTo>
                <a:cubicBezTo>
                  <a:pt x="203" y="666"/>
                  <a:pt x="203" y="666"/>
                  <a:pt x="203" y="665"/>
                </a:cubicBezTo>
                <a:cubicBezTo>
                  <a:pt x="203" y="665"/>
                  <a:pt x="204" y="665"/>
                  <a:pt x="204" y="664"/>
                </a:cubicBezTo>
                <a:cubicBezTo>
                  <a:pt x="204" y="664"/>
                  <a:pt x="204" y="664"/>
                  <a:pt x="204" y="663"/>
                </a:cubicBezTo>
                <a:cubicBezTo>
                  <a:pt x="205" y="663"/>
                  <a:pt x="205" y="663"/>
                  <a:pt x="205" y="663"/>
                </a:cubicBezTo>
                <a:cubicBezTo>
                  <a:pt x="205" y="663"/>
                  <a:pt x="204" y="663"/>
                  <a:pt x="204" y="662"/>
                </a:cubicBezTo>
                <a:cubicBezTo>
                  <a:pt x="204" y="662"/>
                  <a:pt x="204" y="661"/>
                  <a:pt x="203" y="661"/>
                </a:cubicBezTo>
                <a:cubicBezTo>
                  <a:pt x="203" y="660"/>
                  <a:pt x="202" y="659"/>
                  <a:pt x="202" y="658"/>
                </a:cubicBezTo>
                <a:cubicBezTo>
                  <a:pt x="202" y="658"/>
                  <a:pt x="202" y="657"/>
                  <a:pt x="202" y="657"/>
                </a:cubicBezTo>
                <a:cubicBezTo>
                  <a:pt x="202" y="654"/>
                  <a:pt x="202" y="651"/>
                  <a:pt x="202" y="649"/>
                </a:cubicBezTo>
                <a:cubicBezTo>
                  <a:pt x="203" y="647"/>
                  <a:pt x="204" y="646"/>
                  <a:pt x="205" y="644"/>
                </a:cubicBezTo>
                <a:cubicBezTo>
                  <a:pt x="206" y="644"/>
                  <a:pt x="206" y="644"/>
                  <a:pt x="206" y="643"/>
                </a:cubicBezTo>
                <a:cubicBezTo>
                  <a:pt x="206" y="642"/>
                  <a:pt x="205" y="642"/>
                  <a:pt x="204" y="641"/>
                </a:cubicBezTo>
                <a:cubicBezTo>
                  <a:pt x="204" y="641"/>
                  <a:pt x="205" y="640"/>
                  <a:pt x="205" y="640"/>
                </a:cubicBezTo>
                <a:cubicBezTo>
                  <a:pt x="206" y="637"/>
                  <a:pt x="205" y="636"/>
                  <a:pt x="205" y="634"/>
                </a:cubicBezTo>
                <a:cubicBezTo>
                  <a:pt x="204" y="633"/>
                  <a:pt x="204" y="632"/>
                  <a:pt x="204" y="631"/>
                </a:cubicBezTo>
                <a:cubicBezTo>
                  <a:pt x="204" y="629"/>
                  <a:pt x="204" y="627"/>
                  <a:pt x="204" y="625"/>
                </a:cubicBezTo>
                <a:cubicBezTo>
                  <a:pt x="204" y="625"/>
                  <a:pt x="204" y="624"/>
                  <a:pt x="205" y="624"/>
                </a:cubicBezTo>
                <a:cubicBezTo>
                  <a:pt x="205" y="622"/>
                  <a:pt x="205" y="620"/>
                  <a:pt x="206" y="618"/>
                </a:cubicBezTo>
                <a:cubicBezTo>
                  <a:pt x="206" y="617"/>
                  <a:pt x="206" y="615"/>
                  <a:pt x="206" y="614"/>
                </a:cubicBezTo>
                <a:cubicBezTo>
                  <a:pt x="207" y="612"/>
                  <a:pt x="208" y="611"/>
                  <a:pt x="209" y="610"/>
                </a:cubicBezTo>
                <a:cubicBezTo>
                  <a:pt x="209" y="610"/>
                  <a:pt x="209" y="609"/>
                  <a:pt x="209" y="609"/>
                </a:cubicBezTo>
                <a:cubicBezTo>
                  <a:pt x="209" y="609"/>
                  <a:pt x="209" y="609"/>
                  <a:pt x="209" y="608"/>
                </a:cubicBezTo>
                <a:cubicBezTo>
                  <a:pt x="209" y="608"/>
                  <a:pt x="209" y="608"/>
                  <a:pt x="209" y="608"/>
                </a:cubicBezTo>
                <a:cubicBezTo>
                  <a:pt x="208" y="608"/>
                  <a:pt x="208" y="608"/>
                  <a:pt x="208" y="608"/>
                </a:cubicBezTo>
                <a:cubicBezTo>
                  <a:pt x="209" y="607"/>
                  <a:pt x="209" y="608"/>
                  <a:pt x="209" y="607"/>
                </a:cubicBezTo>
                <a:cubicBezTo>
                  <a:pt x="209" y="607"/>
                  <a:pt x="208" y="607"/>
                  <a:pt x="208" y="606"/>
                </a:cubicBezTo>
                <a:cubicBezTo>
                  <a:pt x="208" y="606"/>
                  <a:pt x="208" y="606"/>
                  <a:pt x="208" y="606"/>
                </a:cubicBezTo>
                <a:cubicBezTo>
                  <a:pt x="208" y="605"/>
                  <a:pt x="209" y="605"/>
                  <a:pt x="209" y="605"/>
                </a:cubicBezTo>
                <a:cubicBezTo>
                  <a:pt x="209" y="604"/>
                  <a:pt x="209" y="604"/>
                  <a:pt x="209" y="603"/>
                </a:cubicBezTo>
                <a:cubicBezTo>
                  <a:pt x="206" y="601"/>
                  <a:pt x="207" y="596"/>
                  <a:pt x="207" y="592"/>
                </a:cubicBezTo>
                <a:cubicBezTo>
                  <a:pt x="207" y="591"/>
                  <a:pt x="207" y="589"/>
                  <a:pt x="207" y="587"/>
                </a:cubicBezTo>
                <a:cubicBezTo>
                  <a:pt x="208" y="587"/>
                  <a:pt x="208" y="586"/>
                  <a:pt x="208" y="586"/>
                </a:cubicBezTo>
                <a:cubicBezTo>
                  <a:pt x="208" y="586"/>
                  <a:pt x="208" y="585"/>
                  <a:pt x="209" y="585"/>
                </a:cubicBezTo>
                <a:cubicBezTo>
                  <a:pt x="209" y="584"/>
                  <a:pt x="210" y="584"/>
                  <a:pt x="210" y="584"/>
                </a:cubicBezTo>
                <a:cubicBezTo>
                  <a:pt x="211" y="583"/>
                  <a:pt x="211" y="581"/>
                  <a:pt x="211" y="580"/>
                </a:cubicBezTo>
                <a:cubicBezTo>
                  <a:pt x="211" y="579"/>
                  <a:pt x="212" y="577"/>
                  <a:pt x="211" y="576"/>
                </a:cubicBezTo>
                <a:cubicBezTo>
                  <a:pt x="211" y="576"/>
                  <a:pt x="211" y="574"/>
                  <a:pt x="211" y="573"/>
                </a:cubicBezTo>
                <a:cubicBezTo>
                  <a:pt x="212" y="571"/>
                  <a:pt x="212" y="570"/>
                  <a:pt x="212" y="568"/>
                </a:cubicBezTo>
                <a:cubicBezTo>
                  <a:pt x="212" y="567"/>
                  <a:pt x="212" y="566"/>
                  <a:pt x="212" y="566"/>
                </a:cubicBezTo>
                <a:cubicBezTo>
                  <a:pt x="211" y="565"/>
                  <a:pt x="211" y="564"/>
                  <a:pt x="211" y="563"/>
                </a:cubicBezTo>
                <a:cubicBezTo>
                  <a:pt x="211" y="563"/>
                  <a:pt x="211" y="562"/>
                  <a:pt x="211" y="562"/>
                </a:cubicBezTo>
                <a:cubicBezTo>
                  <a:pt x="212" y="562"/>
                  <a:pt x="212" y="562"/>
                  <a:pt x="212" y="562"/>
                </a:cubicBezTo>
                <a:cubicBezTo>
                  <a:pt x="213" y="562"/>
                  <a:pt x="213" y="559"/>
                  <a:pt x="213" y="559"/>
                </a:cubicBezTo>
                <a:cubicBezTo>
                  <a:pt x="213" y="558"/>
                  <a:pt x="213" y="555"/>
                  <a:pt x="212" y="555"/>
                </a:cubicBezTo>
                <a:cubicBezTo>
                  <a:pt x="212" y="555"/>
                  <a:pt x="211" y="555"/>
                  <a:pt x="211" y="555"/>
                </a:cubicBezTo>
                <a:cubicBezTo>
                  <a:pt x="211" y="554"/>
                  <a:pt x="211" y="553"/>
                  <a:pt x="211" y="552"/>
                </a:cubicBezTo>
                <a:cubicBezTo>
                  <a:pt x="211" y="551"/>
                  <a:pt x="211" y="550"/>
                  <a:pt x="212" y="549"/>
                </a:cubicBezTo>
                <a:cubicBezTo>
                  <a:pt x="212" y="545"/>
                  <a:pt x="213" y="537"/>
                  <a:pt x="214" y="530"/>
                </a:cubicBezTo>
                <a:cubicBezTo>
                  <a:pt x="214" y="528"/>
                  <a:pt x="214" y="526"/>
                  <a:pt x="214" y="524"/>
                </a:cubicBezTo>
                <a:cubicBezTo>
                  <a:pt x="214" y="522"/>
                  <a:pt x="214" y="519"/>
                  <a:pt x="215" y="518"/>
                </a:cubicBezTo>
                <a:cubicBezTo>
                  <a:pt x="215" y="517"/>
                  <a:pt x="215" y="517"/>
                  <a:pt x="215" y="517"/>
                </a:cubicBezTo>
                <a:cubicBezTo>
                  <a:pt x="216" y="516"/>
                  <a:pt x="216" y="515"/>
                  <a:pt x="216" y="515"/>
                </a:cubicBezTo>
                <a:cubicBezTo>
                  <a:pt x="215" y="514"/>
                  <a:pt x="215" y="513"/>
                  <a:pt x="215" y="513"/>
                </a:cubicBezTo>
                <a:cubicBezTo>
                  <a:pt x="215" y="512"/>
                  <a:pt x="214" y="512"/>
                  <a:pt x="214" y="512"/>
                </a:cubicBezTo>
                <a:cubicBezTo>
                  <a:pt x="214" y="512"/>
                  <a:pt x="215" y="511"/>
                  <a:pt x="215" y="511"/>
                </a:cubicBezTo>
                <a:cubicBezTo>
                  <a:pt x="216" y="508"/>
                  <a:pt x="217" y="504"/>
                  <a:pt x="217" y="501"/>
                </a:cubicBezTo>
                <a:cubicBezTo>
                  <a:pt x="217" y="501"/>
                  <a:pt x="216" y="501"/>
                  <a:pt x="216" y="500"/>
                </a:cubicBezTo>
                <a:cubicBezTo>
                  <a:pt x="214" y="500"/>
                  <a:pt x="216" y="496"/>
                  <a:pt x="216" y="495"/>
                </a:cubicBezTo>
                <a:cubicBezTo>
                  <a:pt x="216" y="493"/>
                  <a:pt x="216" y="489"/>
                  <a:pt x="216" y="487"/>
                </a:cubicBezTo>
                <a:cubicBezTo>
                  <a:pt x="216" y="485"/>
                  <a:pt x="217" y="480"/>
                  <a:pt x="217" y="477"/>
                </a:cubicBezTo>
                <a:cubicBezTo>
                  <a:pt x="217" y="473"/>
                  <a:pt x="218" y="463"/>
                  <a:pt x="218" y="456"/>
                </a:cubicBezTo>
                <a:cubicBezTo>
                  <a:pt x="219" y="453"/>
                  <a:pt x="219" y="450"/>
                  <a:pt x="219" y="448"/>
                </a:cubicBezTo>
                <a:cubicBezTo>
                  <a:pt x="219" y="447"/>
                  <a:pt x="219" y="442"/>
                  <a:pt x="220" y="442"/>
                </a:cubicBezTo>
                <a:cubicBezTo>
                  <a:pt x="220" y="442"/>
                  <a:pt x="220" y="442"/>
                  <a:pt x="220" y="442"/>
                </a:cubicBezTo>
                <a:cubicBezTo>
                  <a:pt x="221" y="442"/>
                  <a:pt x="221" y="442"/>
                  <a:pt x="222" y="441"/>
                </a:cubicBezTo>
                <a:cubicBezTo>
                  <a:pt x="222" y="441"/>
                  <a:pt x="221" y="440"/>
                  <a:pt x="221" y="439"/>
                </a:cubicBezTo>
                <a:cubicBezTo>
                  <a:pt x="221" y="439"/>
                  <a:pt x="221" y="438"/>
                  <a:pt x="221" y="437"/>
                </a:cubicBezTo>
                <a:cubicBezTo>
                  <a:pt x="221" y="435"/>
                  <a:pt x="221" y="434"/>
                  <a:pt x="222" y="433"/>
                </a:cubicBezTo>
                <a:cubicBezTo>
                  <a:pt x="222" y="432"/>
                  <a:pt x="223" y="431"/>
                  <a:pt x="222" y="430"/>
                </a:cubicBezTo>
                <a:cubicBezTo>
                  <a:pt x="222" y="429"/>
                  <a:pt x="221" y="429"/>
                  <a:pt x="221" y="428"/>
                </a:cubicBezTo>
                <a:cubicBezTo>
                  <a:pt x="220" y="427"/>
                  <a:pt x="220" y="427"/>
                  <a:pt x="221" y="426"/>
                </a:cubicBezTo>
                <a:cubicBezTo>
                  <a:pt x="221" y="425"/>
                  <a:pt x="221" y="422"/>
                  <a:pt x="221" y="420"/>
                </a:cubicBezTo>
                <a:cubicBezTo>
                  <a:pt x="221" y="418"/>
                  <a:pt x="220" y="416"/>
                  <a:pt x="221" y="415"/>
                </a:cubicBezTo>
                <a:cubicBezTo>
                  <a:pt x="221" y="414"/>
                  <a:pt x="222" y="413"/>
                  <a:pt x="222" y="412"/>
                </a:cubicBezTo>
                <a:cubicBezTo>
                  <a:pt x="222" y="410"/>
                  <a:pt x="221" y="409"/>
                  <a:pt x="222" y="408"/>
                </a:cubicBezTo>
                <a:cubicBezTo>
                  <a:pt x="222" y="407"/>
                  <a:pt x="223" y="406"/>
                  <a:pt x="223" y="405"/>
                </a:cubicBezTo>
                <a:cubicBezTo>
                  <a:pt x="224" y="404"/>
                  <a:pt x="223" y="402"/>
                  <a:pt x="223" y="401"/>
                </a:cubicBezTo>
                <a:cubicBezTo>
                  <a:pt x="223" y="398"/>
                  <a:pt x="222" y="397"/>
                  <a:pt x="222" y="394"/>
                </a:cubicBezTo>
                <a:cubicBezTo>
                  <a:pt x="221" y="393"/>
                  <a:pt x="222" y="392"/>
                  <a:pt x="222" y="391"/>
                </a:cubicBezTo>
                <a:cubicBezTo>
                  <a:pt x="222" y="389"/>
                  <a:pt x="222" y="388"/>
                  <a:pt x="223" y="386"/>
                </a:cubicBezTo>
                <a:cubicBezTo>
                  <a:pt x="223" y="385"/>
                  <a:pt x="224" y="384"/>
                  <a:pt x="224" y="382"/>
                </a:cubicBezTo>
                <a:cubicBezTo>
                  <a:pt x="224" y="382"/>
                  <a:pt x="224" y="382"/>
                  <a:pt x="224" y="382"/>
                </a:cubicBezTo>
                <a:cubicBezTo>
                  <a:pt x="223" y="381"/>
                  <a:pt x="223" y="380"/>
                  <a:pt x="223" y="379"/>
                </a:cubicBezTo>
                <a:cubicBezTo>
                  <a:pt x="223" y="378"/>
                  <a:pt x="223" y="376"/>
                  <a:pt x="224" y="377"/>
                </a:cubicBezTo>
                <a:cubicBezTo>
                  <a:pt x="225" y="377"/>
                  <a:pt x="225" y="377"/>
                  <a:pt x="225" y="377"/>
                </a:cubicBezTo>
                <a:cubicBezTo>
                  <a:pt x="225" y="376"/>
                  <a:pt x="226" y="376"/>
                  <a:pt x="226" y="376"/>
                </a:cubicBezTo>
                <a:cubicBezTo>
                  <a:pt x="226" y="376"/>
                  <a:pt x="227" y="376"/>
                  <a:pt x="227" y="375"/>
                </a:cubicBezTo>
                <a:cubicBezTo>
                  <a:pt x="227" y="375"/>
                  <a:pt x="226" y="375"/>
                  <a:pt x="226" y="374"/>
                </a:cubicBezTo>
                <a:cubicBezTo>
                  <a:pt x="226" y="374"/>
                  <a:pt x="227" y="374"/>
                  <a:pt x="227" y="373"/>
                </a:cubicBezTo>
                <a:cubicBezTo>
                  <a:pt x="228" y="373"/>
                  <a:pt x="228" y="372"/>
                  <a:pt x="228" y="372"/>
                </a:cubicBezTo>
                <a:cubicBezTo>
                  <a:pt x="227" y="371"/>
                  <a:pt x="227" y="371"/>
                  <a:pt x="226" y="371"/>
                </a:cubicBezTo>
                <a:cubicBezTo>
                  <a:pt x="226" y="371"/>
                  <a:pt x="226" y="371"/>
                  <a:pt x="225" y="371"/>
                </a:cubicBezTo>
                <a:cubicBezTo>
                  <a:pt x="225" y="371"/>
                  <a:pt x="225" y="370"/>
                  <a:pt x="225" y="370"/>
                </a:cubicBezTo>
                <a:cubicBezTo>
                  <a:pt x="225" y="370"/>
                  <a:pt x="225" y="369"/>
                  <a:pt x="225" y="369"/>
                </a:cubicBezTo>
                <a:cubicBezTo>
                  <a:pt x="226" y="369"/>
                  <a:pt x="226" y="369"/>
                  <a:pt x="226" y="369"/>
                </a:cubicBezTo>
                <a:cubicBezTo>
                  <a:pt x="226" y="368"/>
                  <a:pt x="227" y="366"/>
                  <a:pt x="227" y="365"/>
                </a:cubicBezTo>
                <a:cubicBezTo>
                  <a:pt x="227" y="363"/>
                  <a:pt x="227" y="362"/>
                  <a:pt x="227" y="360"/>
                </a:cubicBezTo>
                <a:cubicBezTo>
                  <a:pt x="228" y="360"/>
                  <a:pt x="228" y="359"/>
                  <a:pt x="228" y="358"/>
                </a:cubicBezTo>
                <a:cubicBezTo>
                  <a:pt x="228" y="357"/>
                  <a:pt x="228" y="356"/>
                  <a:pt x="228" y="355"/>
                </a:cubicBezTo>
                <a:cubicBezTo>
                  <a:pt x="228" y="354"/>
                  <a:pt x="228" y="353"/>
                  <a:pt x="228" y="352"/>
                </a:cubicBezTo>
                <a:cubicBezTo>
                  <a:pt x="228" y="351"/>
                  <a:pt x="227" y="352"/>
                  <a:pt x="227" y="351"/>
                </a:cubicBezTo>
                <a:cubicBezTo>
                  <a:pt x="227" y="351"/>
                  <a:pt x="227" y="350"/>
                  <a:pt x="227" y="349"/>
                </a:cubicBezTo>
                <a:cubicBezTo>
                  <a:pt x="227" y="348"/>
                  <a:pt x="226" y="346"/>
                  <a:pt x="226" y="345"/>
                </a:cubicBezTo>
                <a:cubicBezTo>
                  <a:pt x="226" y="345"/>
                  <a:pt x="226" y="344"/>
                  <a:pt x="227" y="344"/>
                </a:cubicBezTo>
                <a:cubicBezTo>
                  <a:pt x="227" y="344"/>
                  <a:pt x="227" y="344"/>
                  <a:pt x="227" y="344"/>
                </a:cubicBezTo>
                <a:cubicBezTo>
                  <a:pt x="228" y="344"/>
                  <a:pt x="228" y="344"/>
                  <a:pt x="228" y="344"/>
                </a:cubicBezTo>
                <a:cubicBezTo>
                  <a:pt x="229" y="344"/>
                  <a:pt x="229" y="344"/>
                  <a:pt x="229" y="343"/>
                </a:cubicBezTo>
                <a:cubicBezTo>
                  <a:pt x="230" y="343"/>
                  <a:pt x="230" y="342"/>
                  <a:pt x="230" y="342"/>
                </a:cubicBezTo>
                <a:cubicBezTo>
                  <a:pt x="231" y="341"/>
                  <a:pt x="229" y="339"/>
                  <a:pt x="229" y="339"/>
                </a:cubicBezTo>
                <a:cubicBezTo>
                  <a:pt x="229" y="337"/>
                  <a:pt x="229" y="336"/>
                  <a:pt x="229" y="334"/>
                </a:cubicBezTo>
                <a:cubicBezTo>
                  <a:pt x="229" y="334"/>
                  <a:pt x="229" y="333"/>
                  <a:pt x="228" y="333"/>
                </a:cubicBezTo>
                <a:cubicBezTo>
                  <a:pt x="228" y="333"/>
                  <a:pt x="228" y="332"/>
                  <a:pt x="228" y="332"/>
                </a:cubicBezTo>
                <a:cubicBezTo>
                  <a:pt x="228" y="332"/>
                  <a:pt x="228" y="331"/>
                  <a:pt x="228" y="331"/>
                </a:cubicBezTo>
                <a:cubicBezTo>
                  <a:pt x="230" y="330"/>
                  <a:pt x="229" y="327"/>
                  <a:pt x="229" y="326"/>
                </a:cubicBezTo>
                <a:cubicBezTo>
                  <a:pt x="229" y="323"/>
                  <a:pt x="228" y="321"/>
                  <a:pt x="229" y="321"/>
                </a:cubicBezTo>
                <a:cubicBezTo>
                  <a:pt x="229" y="320"/>
                  <a:pt x="229" y="317"/>
                  <a:pt x="230" y="313"/>
                </a:cubicBezTo>
                <a:cubicBezTo>
                  <a:pt x="230" y="312"/>
                  <a:pt x="230" y="311"/>
                  <a:pt x="230" y="309"/>
                </a:cubicBezTo>
                <a:cubicBezTo>
                  <a:pt x="230" y="308"/>
                  <a:pt x="231" y="307"/>
                  <a:pt x="230" y="306"/>
                </a:cubicBezTo>
                <a:cubicBezTo>
                  <a:pt x="230" y="306"/>
                  <a:pt x="229" y="306"/>
                  <a:pt x="229" y="305"/>
                </a:cubicBezTo>
                <a:cubicBezTo>
                  <a:pt x="229" y="305"/>
                  <a:pt x="229" y="304"/>
                  <a:pt x="228" y="304"/>
                </a:cubicBezTo>
                <a:cubicBezTo>
                  <a:pt x="228" y="303"/>
                  <a:pt x="228" y="303"/>
                  <a:pt x="229" y="302"/>
                </a:cubicBezTo>
                <a:cubicBezTo>
                  <a:pt x="229" y="301"/>
                  <a:pt x="230" y="300"/>
                  <a:pt x="230" y="299"/>
                </a:cubicBezTo>
                <a:cubicBezTo>
                  <a:pt x="231" y="299"/>
                  <a:pt x="231" y="292"/>
                  <a:pt x="230" y="290"/>
                </a:cubicBezTo>
                <a:cubicBezTo>
                  <a:pt x="229" y="289"/>
                  <a:pt x="228" y="286"/>
                  <a:pt x="230" y="286"/>
                </a:cubicBezTo>
                <a:cubicBezTo>
                  <a:pt x="230" y="285"/>
                  <a:pt x="230" y="285"/>
                  <a:pt x="230" y="285"/>
                </a:cubicBezTo>
                <a:cubicBezTo>
                  <a:pt x="230" y="285"/>
                  <a:pt x="230" y="285"/>
                  <a:pt x="231" y="284"/>
                </a:cubicBezTo>
                <a:cubicBezTo>
                  <a:pt x="231" y="283"/>
                  <a:pt x="231" y="281"/>
                  <a:pt x="232" y="280"/>
                </a:cubicBezTo>
                <a:cubicBezTo>
                  <a:pt x="232" y="277"/>
                  <a:pt x="232" y="275"/>
                  <a:pt x="233" y="274"/>
                </a:cubicBezTo>
                <a:cubicBezTo>
                  <a:pt x="233" y="273"/>
                  <a:pt x="234" y="269"/>
                  <a:pt x="234" y="265"/>
                </a:cubicBezTo>
                <a:cubicBezTo>
                  <a:pt x="234" y="263"/>
                  <a:pt x="235" y="258"/>
                  <a:pt x="232" y="257"/>
                </a:cubicBezTo>
                <a:cubicBezTo>
                  <a:pt x="232" y="257"/>
                  <a:pt x="232" y="257"/>
                  <a:pt x="231" y="257"/>
                </a:cubicBezTo>
                <a:cubicBezTo>
                  <a:pt x="231" y="256"/>
                  <a:pt x="231" y="256"/>
                  <a:pt x="231" y="256"/>
                </a:cubicBezTo>
                <a:cubicBezTo>
                  <a:pt x="232" y="255"/>
                  <a:pt x="231" y="254"/>
                  <a:pt x="231" y="253"/>
                </a:cubicBezTo>
                <a:cubicBezTo>
                  <a:pt x="231" y="251"/>
                  <a:pt x="232" y="250"/>
                  <a:pt x="232" y="249"/>
                </a:cubicBezTo>
                <a:cubicBezTo>
                  <a:pt x="232" y="247"/>
                  <a:pt x="232" y="245"/>
                  <a:pt x="232" y="244"/>
                </a:cubicBezTo>
                <a:cubicBezTo>
                  <a:pt x="233" y="243"/>
                  <a:pt x="232" y="240"/>
                  <a:pt x="233" y="239"/>
                </a:cubicBezTo>
                <a:cubicBezTo>
                  <a:pt x="233" y="239"/>
                  <a:pt x="233" y="239"/>
                  <a:pt x="233" y="239"/>
                </a:cubicBezTo>
                <a:cubicBezTo>
                  <a:pt x="234" y="238"/>
                  <a:pt x="234" y="237"/>
                  <a:pt x="234" y="236"/>
                </a:cubicBezTo>
                <a:cubicBezTo>
                  <a:pt x="235" y="234"/>
                  <a:pt x="235" y="231"/>
                  <a:pt x="235" y="230"/>
                </a:cubicBezTo>
                <a:cubicBezTo>
                  <a:pt x="235" y="228"/>
                  <a:pt x="236" y="227"/>
                  <a:pt x="235" y="226"/>
                </a:cubicBezTo>
                <a:cubicBezTo>
                  <a:pt x="234" y="225"/>
                  <a:pt x="233" y="224"/>
                  <a:pt x="233" y="223"/>
                </a:cubicBezTo>
                <a:cubicBezTo>
                  <a:pt x="233" y="222"/>
                  <a:pt x="233" y="220"/>
                  <a:pt x="234" y="218"/>
                </a:cubicBezTo>
                <a:cubicBezTo>
                  <a:pt x="234" y="216"/>
                  <a:pt x="234" y="215"/>
                  <a:pt x="234" y="213"/>
                </a:cubicBezTo>
                <a:cubicBezTo>
                  <a:pt x="234" y="213"/>
                  <a:pt x="235" y="213"/>
                  <a:pt x="235" y="213"/>
                </a:cubicBezTo>
                <a:cubicBezTo>
                  <a:pt x="235" y="213"/>
                  <a:pt x="235" y="213"/>
                  <a:pt x="235" y="212"/>
                </a:cubicBezTo>
                <a:cubicBezTo>
                  <a:pt x="235" y="212"/>
                  <a:pt x="235" y="212"/>
                  <a:pt x="235" y="212"/>
                </a:cubicBezTo>
                <a:cubicBezTo>
                  <a:pt x="235" y="211"/>
                  <a:pt x="233" y="209"/>
                  <a:pt x="234" y="208"/>
                </a:cubicBezTo>
                <a:cubicBezTo>
                  <a:pt x="235" y="207"/>
                  <a:pt x="235" y="207"/>
                  <a:pt x="236" y="208"/>
                </a:cubicBezTo>
                <a:cubicBezTo>
                  <a:pt x="236" y="208"/>
                  <a:pt x="236" y="208"/>
                  <a:pt x="237" y="208"/>
                </a:cubicBezTo>
                <a:cubicBezTo>
                  <a:pt x="237" y="208"/>
                  <a:pt x="237" y="207"/>
                  <a:pt x="238" y="207"/>
                </a:cubicBezTo>
                <a:cubicBezTo>
                  <a:pt x="238" y="206"/>
                  <a:pt x="238" y="206"/>
                  <a:pt x="238" y="205"/>
                </a:cubicBezTo>
                <a:cubicBezTo>
                  <a:pt x="238" y="205"/>
                  <a:pt x="237" y="204"/>
                  <a:pt x="236" y="204"/>
                </a:cubicBezTo>
                <a:cubicBezTo>
                  <a:pt x="236" y="203"/>
                  <a:pt x="237" y="203"/>
                  <a:pt x="237" y="203"/>
                </a:cubicBezTo>
                <a:cubicBezTo>
                  <a:pt x="237" y="203"/>
                  <a:pt x="237" y="204"/>
                  <a:pt x="237" y="204"/>
                </a:cubicBezTo>
                <a:cubicBezTo>
                  <a:pt x="239" y="204"/>
                  <a:pt x="238" y="200"/>
                  <a:pt x="238" y="199"/>
                </a:cubicBezTo>
                <a:cubicBezTo>
                  <a:pt x="238" y="196"/>
                  <a:pt x="239" y="194"/>
                  <a:pt x="239" y="191"/>
                </a:cubicBezTo>
                <a:cubicBezTo>
                  <a:pt x="239" y="189"/>
                  <a:pt x="239" y="186"/>
                  <a:pt x="239" y="184"/>
                </a:cubicBezTo>
                <a:cubicBezTo>
                  <a:pt x="239" y="182"/>
                  <a:pt x="240" y="180"/>
                  <a:pt x="239" y="179"/>
                </a:cubicBezTo>
                <a:cubicBezTo>
                  <a:pt x="239" y="178"/>
                  <a:pt x="238" y="178"/>
                  <a:pt x="238" y="178"/>
                </a:cubicBezTo>
                <a:cubicBezTo>
                  <a:pt x="238" y="177"/>
                  <a:pt x="238" y="177"/>
                  <a:pt x="237" y="176"/>
                </a:cubicBezTo>
                <a:cubicBezTo>
                  <a:pt x="237" y="175"/>
                  <a:pt x="237" y="174"/>
                  <a:pt x="236" y="174"/>
                </a:cubicBezTo>
                <a:cubicBezTo>
                  <a:pt x="236" y="173"/>
                  <a:pt x="235" y="173"/>
                  <a:pt x="235" y="172"/>
                </a:cubicBezTo>
                <a:cubicBezTo>
                  <a:pt x="235" y="171"/>
                  <a:pt x="235" y="170"/>
                  <a:pt x="235" y="169"/>
                </a:cubicBezTo>
                <a:cubicBezTo>
                  <a:pt x="235" y="168"/>
                  <a:pt x="235" y="164"/>
                  <a:pt x="236" y="164"/>
                </a:cubicBezTo>
                <a:cubicBezTo>
                  <a:pt x="236" y="164"/>
                  <a:pt x="237" y="164"/>
                  <a:pt x="237" y="164"/>
                </a:cubicBezTo>
                <a:cubicBezTo>
                  <a:pt x="237" y="164"/>
                  <a:pt x="238" y="163"/>
                  <a:pt x="238" y="163"/>
                </a:cubicBezTo>
                <a:cubicBezTo>
                  <a:pt x="238" y="162"/>
                  <a:pt x="237" y="162"/>
                  <a:pt x="236" y="162"/>
                </a:cubicBezTo>
                <a:cubicBezTo>
                  <a:pt x="236" y="162"/>
                  <a:pt x="236" y="162"/>
                  <a:pt x="236" y="162"/>
                </a:cubicBezTo>
                <a:cubicBezTo>
                  <a:pt x="235" y="160"/>
                  <a:pt x="236" y="158"/>
                  <a:pt x="236" y="156"/>
                </a:cubicBezTo>
                <a:cubicBezTo>
                  <a:pt x="236" y="156"/>
                  <a:pt x="236" y="156"/>
                  <a:pt x="236" y="156"/>
                </a:cubicBezTo>
                <a:cubicBezTo>
                  <a:pt x="236" y="156"/>
                  <a:pt x="236" y="156"/>
                  <a:pt x="237" y="156"/>
                </a:cubicBezTo>
                <a:cubicBezTo>
                  <a:pt x="238" y="156"/>
                  <a:pt x="241" y="154"/>
                  <a:pt x="239" y="153"/>
                </a:cubicBezTo>
                <a:cubicBezTo>
                  <a:pt x="239" y="152"/>
                  <a:pt x="238" y="153"/>
                  <a:pt x="238" y="153"/>
                </a:cubicBezTo>
                <a:cubicBezTo>
                  <a:pt x="237" y="153"/>
                  <a:pt x="237" y="152"/>
                  <a:pt x="237" y="152"/>
                </a:cubicBezTo>
                <a:cubicBezTo>
                  <a:pt x="237" y="152"/>
                  <a:pt x="236" y="152"/>
                  <a:pt x="236" y="152"/>
                </a:cubicBezTo>
                <a:cubicBezTo>
                  <a:pt x="235" y="151"/>
                  <a:pt x="236" y="150"/>
                  <a:pt x="236" y="150"/>
                </a:cubicBezTo>
                <a:cubicBezTo>
                  <a:pt x="237" y="149"/>
                  <a:pt x="237" y="149"/>
                  <a:pt x="238" y="148"/>
                </a:cubicBezTo>
                <a:cubicBezTo>
                  <a:pt x="238" y="148"/>
                  <a:pt x="238" y="147"/>
                  <a:pt x="238" y="146"/>
                </a:cubicBezTo>
                <a:cubicBezTo>
                  <a:pt x="238" y="145"/>
                  <a:pt x="239" y="144"/>
                  <a:pt x="238" y="142"/>
                </a:cubicBezTo>
                <a:cubicBezTo>
                  <a:pt x="238" y="141"/>
                  <a:pt x="237" y="141"/>
                  <a:pt x="237" y="140"/>
                </a:cubicBezTo>
                <a:cubicBezTo>
                  <a:pt x="236" y="137"/>
                  <a:pt x="237" y="134"/>
                  <a:pt x="237" y="131"/>
                </a:cubicBezTo>
                <a:cubicBezTo>
                  <a:pt x="237" y="130"/>
                  <a:pt x="236" y="122"/>
                  <a:pt x="238" y="122"/>
                </a:cubicBezTo>
                <a:cubicBezTo>
                  <a:pt x="238" y="122"/>
                  <a:pt x="238" y="122"/>
                  <a:pt x="238" y="121"/>
                </a:cubicBezTo>
                <a:cubicBezTo>
                  <a:pt x="239" y="121"/>
                  <a:pt x="239" y="121"/>
                  <a:pt x="239" y="121"/>
                </a:cubicBezTo>
                <a:cubicBezTo>
                  <a:pt x="239" y="120"/>
                  <a:pt x="238" y="117"/>
                  <a:pt x="240" y="119"/>
                </a:cubicBezTo>
                <a:cubicBezTo>
                  <a:pt x="240" y="119"/>
                  <a:pt x="240" y="119"/>
                  <a:pt x="241" y="119"/>
                </a:cubicBezTo>
                <a:cubicBezTo>
                  <a:pt x="241" y="119"/>
                  <a:pt x="241" y="118"/>
                  <a:pt x="241" y="118"/>
                </a:cubicBezTo>
                <a:cubicBezTo>
                  <a:pt x="241" y="117"/>
                  <a:pt x="240" y="117"/>
                  <a:pt x="240" y="117"/>
                </a:cubicBezTo>
                <a:cubicBezTo>
                  <a:pt x="240" y="116"/>
                  <a:pt x="241" y="115"/>
                  <a:pt x="241" y="115"/>
                </a:cubicBezTo>
                <a:cubicBezTo>
                  <a:pt x="241" y="114"/>
                  <a:pt x="241" y="113"/>
                  <a:pt x="241" y="113"/>
                </a:cubicBezTo>
                <a:cubicBezTo>
                  <a:pt x="240" y="111"/>
                  <a:pt x="240" y="109"/>
                  <a:pt x="240" y="106"/>
                </a:cubicBezTo>
                <a:cubicBezTo>
                  <a:pt x="240" y="106"/>
                  <a:pt x="240" y="105"/>
                  <a:pt x="240" y="104"/>
                </a:cubicBezTo>
                <a:cubicBezTo>
                  <a:pt x="241" y="103"/>
                  <a:pt x="241" y="103"/>
                  <a:pt x="241" y="102"/>
                </a:cubicBezTo>
                <a:cubicBezTo>
                  <a:pt x="241" y="101"/>
                  <a:pt x="241" y="101"/>
                  <a:pt x="240" y="100"/>
                </a:cubicBezTo>
                <a:cubicBezTo>
                  <a:pt x="240" y="100"/>
                  <a:pt x="239" y="99"/>
                  <a:pt x="239" y="99"/>
                </a:cubicBezTo>
                <a:cubicBezTo>
                  <a:pt x="239" y="98"/>
                  <a:pt x="239" y="97"/>
                  <a:pt x="238" y="97"/>
                </a:cubicBezTo>
                <a:cubicBezTo>
                  <a:pt x="238" y="97"/>
                  <a:pt x="238" y="97"/>
                  <a:pt x="237" y="97"/>
                </a:cubicBezTo>
                <a:cubicBezTo>
                  <a:pt x="237" y="96"/>
                  <a:pt x="237" y="96"/>
                  <a:pt x="237" y="96"/>
                </a:cubicBezTo>
                <a:cubicBezTo>
                  <a:pt x="237" y="95"/>
                  <a:pt x="237" y="94"/>
                  <a:pt x="237" y="94"/>
                </a:cubicBezTo>
                <a:cubicBezTo>
                  <a:pt x="237" y="93"/>
                  <a:pt x="237" y="92"/>
                  <a:pt x="238" y="92"/>
                </a:cubicBezTo>
                <a:cubicBezTo>
                  <a:pt x="239" y="92"/>
                  <a:pt x="239" y="92"/>
                  <a:pt x="239" y="92"/>
                </a:cubicBezTo>
                <a:cubicBezTo>
                  <a:pt x="240" y="91"/>
                  <a:pt x="239" y="89"/>
                  <a:pt x="239" y="88"/>
                </a:cubicBezTo>
                <a:cubicBezTo>
                  <a:pt x="240" y="87"/>
                  <a:pt x="241" y="86"/>
                  <a:pt x="242" y="85"/>
                </a:cubicBezTo>
                <a:cubicBezTo>
                  <a:pt x="243" y="84"/>
                  <a:pt x="243" y="81"/>
                  <a:pt x="242" y="80"/>
                </a:cubicBezTo>
                <a:cubicBezTo>
                  <a:pt x="242" y="79"/>
                  <a:pt x="242" y="78"/>
                  <a:pt x="242" y="78"/>
                </a:cubicBezTo>
                <a:cubicBezTo>
                  <a:pt x="242" y="77"/>
                  <a:pt x="241" y="77"/>
                  <a:pt x="241" y="76"/>
                </a:cubicBezTo>
                <a:cubicBezTo>
                  <a:pt x="241" y="74"/>
                  <a:pt x="241" y="72"/>
                  <a:pt x="242" y="71"/>
                </a:cubicBezTo>
                <a:cubicBezTo>
                  <a:pt x="242" y="69"/>
                  <a:pt x="242" y="66"/>
                  <a:pt x="242" y="64"/>
                </a:cubicBezTo>
                <a:cubicBezTo>
                  <a:pt x="242" y="63"/>
                  <a:pt x="242" y="61"/>
                  <a:pt x="242" y="60"/>
                </a:cubicBezTo>
                <a:cubicBezTo>
                  <a:pt x="242" y="46"/>
                  <a:pt x="249" y="33"/>
                  <a:pt x="248" y="18"/>
                </a:cubicBezTo>
                <a:cubicBezTo>
                  <a:pt x="248" y="15"/>
                  <a:pt x="247" y="11"/>
                  <a:pt x="246" y="7"/>
                </a:cubicBezTo>
                <a:cubicBezTo>
                  <a:pt x="245" y="6"/>
                  <a:pt x="245" y="3"/>
                  <a:pt x="244" y="2"/>
                </a:cubicBezTo>
                <a:cubicBezTo>
                  <a:pt x="243" y="1"/>
                  <a:pt x="241" y="1"/>
                  <a:pt x="240" y="2"/>
                </a:cubicBezTo>
                <a:cubicBezTo>
                  <a:pt x="240" y="2"/>
                  <a:pt x="239" y="2"/>
                  <a:pt x="239" y="2"/>
                </a:cubicBezTo>
                <a:cubicBezTo>
                  <a:pt x="239" y="2"/>
                  <a:pt x="238" y="2"/>
                  <a:pt x="238" y="1"/>
                </a:cubicBezTo>
                <a:cubicBezTo>
                  <a:pt x="237" y="1"/>
                  <a:pt x="236" y="2"/>
                  <a:pt x="236" y="2"/>
                </a:cubicBezTo>
                <a:cubicBezTo>
                  <a:pt x="235" y="2"/>
                  <a:pt x="234" y="1"/>
                  <a:pt x="234" y="1"/>
                </a:cubicBezTo>
                <a:cubicBezTo>
                  <a:pt x="232" y="0"/>
                  <a:pt x="231" y="1"/>
                  <a:pt x="231" y="1"/>
                </a:cubicBezTo>
                <a:cubicBezTo>
                  <a:pt x="230" y="1"/>
                  <a:pt x="230" y="0"/>
                  <a:pt x="230" y="0"/>
                </a:cubicBezTo>
                <a:cubicBezTo>
                  <a:pt x="228" y="0"/>
                  <a:pt x="227" y="0"/>
                  <a:pt x="226" y="0"/>
                </a:cubicBezTo>
                <a:cubicBezTo>
                  <a:pt x="225" y="0"/>
                  <a:pt x="224" y="0"/>
                  <a:pt x="223" y="0"/>
                </a:cubicBezTo>
                <a:cubicBezTo>
                  <a:pt x="220" y="0"/>
                  <a:pt x="217" y="1"/>
                  <a:pt x="215" y="2"/>
                </a:cubicBezTo>
                <a:cubicBezTo>
                  <a:pt x="214" y="2"/>
                  <a:pt x="213" y="3"/>
                  <a:pt x="212" y="3"/>
                </a:cubicBezTo>
                <a:cubicBezTo>
                  <a:pt x="211" y="3"/>
                  <a:pt x="211" y="3"/>
                  <a:pt x="210" y="4"/>
                </a:cubicBezTo>
                <a:cubicBezTo>
                  <a:pt x="210" y="4"/>
                  <a:pt x="210" y="5"/>
                  <a:pt x="209" y="5"/>
                </a:cubicBezTo>
                <a:cubicBezTo>
                  <a:pt x="207" y="5"/>
                  <a:pt x="205" y="4"/>
                  <a:pt x="204" y="4"/>
                </a:cubicBezTo>
                <a:cubicBezTo>
                  <a:pt x="202" y="5"/>
                  <a:pt x="200" y="5"/>
                  <a:pt x="198" y="6"/>
                </a:cubicBezTo>
                <a:cubicBezTo>
                  <a:pt x="198" y="6"/>
                  <a:pt x="198" y="6"/>
                  <a:pt x="198" y="7"/>
                </a:cubicBezTo>
                <a:cubicBezTo>
                  <a:pt x="197" y="7"/>
                  <a:pt x="197" y="7"/>
                  <a:pt x="197" y="8"/>
                </a:cubicBezTo>
                <a:cubicBezTo>
                  <a:pt x="194" y="16"/>
                  <a:pt x="195" y="24"/>
                  <a:pt x="193" y="33"/>
                </a:cubicBezTo>
                <a:cubicBezTo>
                  <a:pt x="193" y="38"/>
                  <a:pt x="192" y="43"/>
                  <a:pt x="192" y="48"/>
                </a:cubicBezTo>
                <a:cubicBezTo>
                  <a:pt x="191" y="50"/>
                  <a:pt x="191" y="53"/>
                  <a:pt x="191" y="55"/>
                </a:cubicBezTo>
                <a:cubicBezTo>
                  <a:pt x="191" y="58"/>
                  <a:pt x="191" y="60"/>
                  <a:pt x="191" y="63"/>
                </a:cubicBezTo>
                <a:cubicBezTo>
                  <a:pt x="191" y="64"/>
                  <a:pt x="191" y="66"/>
                  <a:pt x="191" y="68"/>
                </a:cubicBezTo>
                <a:cubicBezTo>
                  <a:pt x="191" y="71"/>
                  <a:pt x="190" y="74"/>
                  <a:pt x="191" y="77"/>
                </a:cubicBezTo>
                <a:cubicBezTo>
                  <a:pt x="192" y="78"/>
                  <a:pt x="192" y="79"/>
                  <a:pt x="192" y="81"/>
                </a:cubicBezTo>
                <a:cubicBezTo>
                  <a:pt x="192" y="82"/>
                  <a:pt x="192" y="84"/>
                  <a:pt x="192" y="85"/>
                </a:cubicBezTo>
                <a:cubicBezTo>
                  <a:pt x="188" y="122"/>
                  <a:pt x="182" y="211"/>
                  <a:pt x="182" y="228"/>
                </a:cubicBezTo>
                <a:cubicBezTo>
                  <a:pt x="182" y="232"/>
                  <a:pt x="182" y="240"/>
                  <a:pt x="182" y="246"/>
                </a:cubicBezTo>
                <a:cubicBezTo>
                  <a:pt x="181" y="252"/>
                  <a:pt x="181" y="262"/>
                  <a:pt x="181" y="267"/>
                </a:cubicBezTo>
                <a:cubicBezTo>
                  <a:pt x="180" y="297"/>
                  <a:pt x="179" y="308"/>
                  <a:pt x="178" y="338"/>
                </a:cubicBezTo>
                <a:cubicBezTo>
                  <a:pt x="178" y="340"/>
                  <a:pt x="178" y="343"/>
                  <a:pt x="177" y="345"/>
                </a:cubicBezTo>
                <a:cubicBezTo>
                  <a:pt x="177" y="346"/>
                  <a:pt x="177" y="347"/>
                  <a:pt x="177" y="348"/>
                </a:cubicBezTo>
                <a:cubicBezTo>
                  <a:pt x="177" y="349"/>
                  <a:pt x="178" y="350"/>
                  <a:pt x="178" y="351"/>
                </a:cubicBezTo>
                <a:cubicBezTo>
                  <a:pt x="179" y="352"/>
                  <a:pt x="178" y="352"/>
                  <a:pt x="177" y="353"/>
                </a:cubicBezTo>
                <a:cubicBezTo>
                  <a:pt x="177" y="354"/>
                  <a:pt x="176" y="355"/>
                  <a:pt x="177" y="356"/>
                </a:cubicBezTo>
                <a:cubicBezTo>
                  <a:pt x="177" y="356"/>
                  <a:pt x="177" y="357"/>
                  <a:pt x="177" y="357"/>
                </a:cubicBezTo>
                <a:cubicBezTo>
                  <a:pt x="178" y="358"/>
                  <a:pt x="177" y="360"/>
                  <a:pt x="177" y="361"/>
                </a:cubicBezTo>
                <a:cubicBezTo>
                  <a:pt x="177" y="363"/>
                  <a:pt x="177" y="365"/>
                  <a:pt x="177" y="366"/>
                </a:cubicBezTo>
                <a:cubicBezTo>
                  <a:pt x="177" y="370"/>
                  <a:pt x="177" y="373"/>
                  <a:pt x="176" y="377"/>
                </a:cubicBezTo>
                <a:cubicBezTo>
                  <a:pt x="176" y="387"/>
                  <a:pt x="175" y="397"/>
                  <a:pt x="175" y="397"/>
                </a:cubicBezTo>
                <a:cubicBezTo>
                  <a:pt x="175" y="398"/>
                  <a:pt x="176" y="398"/>
                  <a:pt x="176" y="399"/>
                </a:cubicBezTo>
                <a:cubicBezTo>
                  <a:pt x="175" y="399"/>
                  <a:pt x="174" y="400"/>
                  <a:pt x="174" y="401"/>
                </a:cubicBezTo>
                <a:cubicBezTo>
                  <a:pt x="175" y="403"/>
                  <a:pt x="175" y="404"/>
                  <a:pt x="175" y="406"/>
                </a:cubicBezTo>
                <a:cubicBezTo>
                  <a:pt x="174" y="408"/>
                  <a:pt x="174" y="410"/>
                  <a:pt x="174" y="412"/>
                </a:cubicBezTo>
                <a:cubicBezTo>
                  <a:pt x="174" y="416"/>
                  <a:pt x="174" y="420"/>
                  <a:pt x="173" y="423"/>
                </a:cubicBezTo>
                <a:cubicBezTo>
                  <a:pt x="172" y="441"/>
                  <a:pt x="171" y="458"/>
                  <a:pt x="170" y="475"/>
                </a:cubicBezTo>
                <a:cubicBezTo>
                  <a:pt x="169" y="483"/>
                  <a:pt x="169" y="491"/>
                  <a:pt x="168" y="498"/>
                </a:cubicBezTo>
                <a:cubicBezTo>
                  <a:pt x="168" y="504"/>
                  <a:pt x="167" y="509"/>
                  <a:pt x="167" y="515"/>
                </a:cubicBezTo>
                <a:cubicBezTo>
                  <a:pt x="167" y="520"/>
                  <a:pt x="166" y="526"/>
                  <a:pt x="166" y="531"/>
                </a:cubicBezTo>
                <a:cubicBezTo>
                  <a:pt x="166" y="534"/>
                  <a:pt x="166" y="536"/>
                  <a:pt x="165" y="539"/>
                </a:cubicBezTo>
                <a:cubicBezTo>
                  <a:pt x="165" y="540"/>
                  <a:pt x="165" y="541"/>
                  <a:pt x="165" y="542"/>
                </a:cubicBezTo>
                <a:cubicBezTo>
                  <a:pt x="165" y="543"/>
                  <a:pt x="165" y="544"/>
                  <a:pt x="165" y="545"/>
                </a:cubicBezTo>
                <a:cubicBezTo>
                  <a:pt x="165" y="545"/>
                  <a:pt x="165" y="546"/>
                  <a:pt x="165" y="546"/>
                </a:cubicBezTo>
                <a:cubicBezTo>
                  <a:pt x="165" y="546"/>
                  <a:pt x="165" y="547"/>
                  <a:pt x="165" y="547"/>
                </a:cubicBezTo>
                <a:cubicBezTo>
                  <a:pt x="165" y="548"/>
                  <a:pt x="166" y="548"/>
                  <a:pt x="166" y="549"/>
                </a:cubicBezTo>
                <a:cubicBezTo>
                  <a:pt x="166" y="550"/>
                  <a:pt x="165" y="551"/>
                  <a:pt x="165" y="552"/>
                </a:cubicBezTo>
                <a:cubicBezTo>
                  <a:pt x="164" y="553"/>
                  <a:pt x="164" y="555"/>
                  <a:pt x="164" y="557"/>
                </a:cubicBezTo>
                <a:cubicBezTo>
                  <a:pt x="164" y="559"/>
                  <a:pt x="164" y="561"/>
                  <a:pt x="164" y="563"/>
                </a:cubicBezTo>
                <a:cubicBezTo>
                  <a:pt x="164" y="565"/>
                  <a:pt x="163" y="571"/>
                  <a:pt x="165" y="572"/>
                </a:cubicBezTo>
                <a:cubicBezTo>
                  <a:pt x="165" y="572"/>
                  <a:pt x="165" y="572"/>
                  <a:pt x="166" y="572"/>
                </a:cubicBezTo>
                <a:cubicBezTo>
                  <a:pt x="167" y="572"/>
                  <a:pt x="166" y="575"/>
                  <a:pt x="166" y="576"/>
                </a:cubicBezTo>
                <a:cubicBezTo>
                  <a:pt x="166" y="577"/>
                  <a:pt x="166" y="580"/>
                  <a:pt x="165" y="580"/>
                </a:cubicBezTo>
                <a:cubicBezTo>
                  <a:pt x="164" y="580"/>
                  <a:pt x="164" y="581"/>
                  <a:pt x="164" y="581"/>
                </a:cubicBezTo>
                <a:cubicBezTo>
                  <a:pt x="165" y="582"/>
                  <a:pt x="165" y="582"/>
                  <a:pt x="166" y="583"/>
                </a:cubicBezTo>
                <a:cubicBezTo>
                  <a:pt x="166" y="584"/>
                  <a:pt x="166" y="585"/>
                  <a:pt x="165" y="585"/>
                </a:cubicBezTo>
                <a:cubicBezTo>
                  <a:pt x="165" y="586"/>
                  <a:pt x="164" y="586"/>
                  <a:pt x="163" y="586"/>
                </a:cubicBezTo>
                <a:cubicBezTo>
                  <a:pt x="162" y="588"/>
                  <a:pt x="163" y="591"/>
                  <a:pt x="162" y="593"/>
                </a:cubicBezTo>
                <a:cubicBezTo>
                  <a:pt x="162" y="595"/>
                  <a:pt x="162" y="597"/>
                  <a:pt x="163" y="598"/>
                </a:cubicBezTo>
                <a:cubicBezTo>
                  <a:pt x="164" y="600"/>
                  <a:pt x="164" y="600"/>
                  <a:pt x="163" y="602"/>
                </a:cubicBezTo>
                <a:cubicBezTo>
                  <a:pt x="163" y="603"/>
                  <a:pt x="162" y="605"/>
                  <a:pt x="162" y="606"/>
                </a:cubicBezTo>
                <a:cubicBezTo>
                  <a:pt x="162" y="608"/>
                  <a:pt x="162" y="609"/>
                  <a:pt x="163" y="611"/>
                </a:cubicBezTo>
                <a:cubicBezTo>
                  <a:pt x="163" y="612"/>
                  <a:pt x="164" y="613"/>
                  <a:pt x="164" y="613"/>
                </a:cubicBezTo>
                <a:cubicBezTo>
                  <a:pt x="163" y="614"/>
                  <a:pt x="163" y="615"/>
                  <a:pt x="163" y="616"/>
                </a:cubicBezTo>
                <a:cubicBezTo>
                  <a:pt x="162" y="616"/>
                  <a:pt x="162" y="616"/>
                  <a:pt x="162" y="617"/>
                </a:cubicBezTo>
                <a:cubicBezTo>
                  <a:pt x="161" y="618"/>
                  <a:pt x="161" y="620"/>
                  <a:pt x="161" y="621"/>
                </a:cubicBezTo>
                <a:cubicBezTo>
                  <a:pt x="161" y="623"/>
                  <a:pt x="160" y="625"/>
                  <a:pt x="160" y="627"/>
                </a:cubicBezTo>
                <a:cubicBezTo>
                  <a:pt x="160" y="632"/>
                  <a:pt x="159" y="638"/>
                  <a:pt x="159" y="643"/>
                </a:cubicBezTo>
                <a:cubicBezTo>
                  <a:pt x="159" y="646"/>
                  <a:pt x="158" y="648"/>
                  <a:pt x="158" y="651"/>
                </a:cubicBezTo>
                <a:cubicBezTo>
                  <a:pt x="158" y="652"/>
                  <a:pt x="158" y="654"/>
                  <a:pt x="159" y="656"/>
                </a:cubicBezTo>
                <a:cubicBezTo>
                  <a:pt x="159" y="657"/>
                  <a:pt x="160" y="658"/>
                  <a:pt x="161" y="659"/>
                </a:cubicBezTo>
                <a:cubicBezTo>
                  <a:pt x="161" y="660"/>
                  <a:pt x="160" y="661"/>
                  <a:pt x="160" y="662"/>
                </a:cubicBezTo>
                <a:cubicBezTo>
                  <a:pt x="160" y="662"/>
                  <a:pt x="160" y="664"/>
                  <a:pt x="160" y="666"/>
                </a:cubicBezTo>
                <a:cubicBezTo>
                  <a:pt x="160" y="667"/>
                  <a:pt x="160" y="668"/>
                  <a:pt x="160" y="669"/>
                </a:cubicBezTo>
                <a:cubicBezTo>
                  <a:pt x="160" y="669"/>
                  <a:pt x="159" y="670"/>
                  <a:pt x="159" y="670"/>
                </a:cubicBezTo>
                <a:cubicBezTo>
                  <a:pt x="159" y="670"/>
                  <a:pt x="159" y="669"/>
                  <a:pt x="158" y="669"/>
                </a:cubicBezTo>
                <a:cubicBezTo>
                  <a:pt x="158" y="669"/>
                  <a:pt x="158" y="670"/>
                  <a:pt x="157" y="670"/>
                </a:cubicBezTo>
                <a:cubicBezTo>
                  <a:pt x="157" y="672"/>
                  <a:pt x="157" y="673"/>
                  <a:pt x="157" y="674"/>
                </a:cubicBezTo>
                <a:cubicBezTo>
                  <a:pt x="156" y="678"/>
                  <a:pt x="156" y="681"/>
                  <a:pt x="156" y="682"/>
                </a:cubicBezTo>
                <a:cubicBezTo>
                  <a:pt x="156" y="682"/>
                  <a:pt x="156" y="687"/>
                  <a:pt x="155" y="693"/>
                </a:cubicBezTo>
                <a:cubicBezTo>
                  <a:pt x="155" y="695"/>
                  <a:pt x="155" y="697"/>
                  <a:pt x="155" y="699"/>
                </a:cubicBezTo>
                <a:cubicBezTo>
                  <a:pt x="155" y="699"/>
                  <a:pt x="155" y="702"/>
                  <a:pt x="156" y="703"/>
                </a:cubicBezTo>
                <a:cubicBezTo>
                  <a:pt x="156" y="703"/>
                  <a:pt x="157" y="703"/>
                  <a:pt x="157" y="704"/>
                </a:cubicBezTo>
                <a:cubicBezTo>
                  <a:pt x="157" y="704"/>
                  <a:pt x="157" y="705"/>
                  <a:pt x="156" y="706"/>
                </a:cubicBezTo>
                <a:cubicBezTo>
                  <a:pt x="156" y="706"/>
                  <a:pt x="156" y="706"/>
                  <a:pt x="156" y="706"/>
                </a:cubicBezTo>
                <a:cubicBezTo>
                  <a:pt x="154" y="706"/>
                  <a:pt x="155" y="711"/>
                  <a:pt x="154" y="712"/>
                </a:cubicBezTo>
                <a:cubicBezTo>
                  <a:pt x="154" y="718"/>
                  <a:pt x="153" y="721"/>
                  <a:pt x="152" y="725"/>
                </a:cubicBezTo>
                <a:cubicBezTo>
                  <a:pt x="151" y="728"/>
                  <a:pt x="150" y="742"/>
                  <a:pt x="151" y="750"/>
                </a:cubicBezTo>
                <a:cubicBezTo>
                  <a:pt x="151" y="751"/>
                  <a:pt x="151" y="752"/>
                  <a:pt x="151" y="753"/>
                </a:cubicBezTo>
                <a:cubicBezTo>
                  <a:pt x="151" y="753"/>
                  <a:pt x="151" y="754"/>
                  <a:pt x="151" y="755"/>
                </a:cubicBezTo>
                <a:cubicBezTo>
                  <a:pt x="151" y="755"/>
                  <a:pt x="151" y="755"/>
                  <a:pt x="151" y="756"/>
                </a:cubicBezTo>
                <a:cubicBezTo>
                  <a:pt x="151" y="756"/>
                  <a:pt x="151" y="756"/>
                  <a:pt x="151" y="757"/>
                </a:cubicBezTo>
                <a:cubicBezTo>
                  <a:pt x="151" y="757"/>
                  <a:pt x="151" y="757"/>
                  <a:pt x="151" y="758"/>
                </a:cubicBezTo>
                <a:cubicBezTo>
                  <a:pt x="151" y="759"/>
                  <a:pt x="151" y="759"/>
                  <a:pt x="151" y="760"/>
                </a:cubicBezTo>
                <a:cubicBezTo>
                  <a:pt x="150" y="761"/>
                  <a:pt x="150" y="762"/>
                  <a:pt x="150" y="763"/>
                </a:cubicBezTo>
                <a:cubicBezTo>
                  <a:pt x="150" y="764"/>
                  <a:pt x="150" y="765"/>
                  <a:pt x="151" y="767"/>
                </a:cubicBezTo>
                <a:cubicBezTo>
                  <a:pt x="151" y="768"/>
                  <a:pt x="152" y="768"/>
                  <a:pt x="152" y="770"/>
                </a:cubicBezTo>
                <a:cubicBezTo>
                  <a:pt x="152" y="770"/>
                  <a:pt x="150" y="771"/>
                  <a:pt x="150" y="772"/>
                </a:cubicBezTo>
                <a:cubicBezTo>
                  <a:pt x="150" y="772"/>
                  <a:pt x="150" y="773"/>
                  <a:pt x="150" y="773"/>
                </a:cubicBezTo>
                <a:cubicBezTo>
                  <a:pt x="150" y="773"/>
                  <a:pt x="150" y="773"/>
                  <a:pt x="150" y="773"/>
                </a:cubicBezTo>
                <a:cubicBezTo>
                  <a:pt x="150" y="773"/>
                  <a:pt x="150" y="774"/>
                  <a:pt x="150" y="774"/>
                </a:cubicBezTo>
                <a:cubicBezTo>
                  <a:pt x="152" y="775"/>
                  <a:pt x="151" y="777"/>
                  <a:pt x="151" y="779"/>
                </a:cubicBezTo>
                <a:cubicBezTo>
                  <a:pt x="151" y="780"/>
                  <a:pt x="151" y="780"/>
                  <a:pt x="151" y="781"/>
                </a:cubicBezTo>
                <a:cubicBezTo>
                  <a:pt x="150" y="781"/>
                  <a:pt x="149" y="781"/>
                  <a:pt x="149" y="782"/>
                </a:cubicBezTo>
                <a:cubicBezTo>
                  <a:pt x="149" y="782"/>
                  <a:pt x="149" y="783"/>
                  <a:pt x="150" y="783"/>
                </a:cubicBezTo>
                <a:cubicBezTo>
                  <a:pt x="150" y="784"/>
                  <a:pt x="149" y="785"/>
                  <a:pt x="148" y="787"/>
                </a:cubicBezTo>
                <a:cubicBezTo>
                  <a:pt x="148" y="788"/>
                  <a:pt x="148" y="790"/>
                  <a:pt x="148" y="791"/>
                </a:cubicBezTo>
                <a:cubicBezTo>
                  <a:pt x="148" y="792"/>
                  <a:pt x="147" y="797"/>
                  <a:pt x="148" y="798"/>
                </a:cubicBezTo>
                <a:cubicBezTo>
                  <a:pt x="149" y="798"/>
                  <a:pt x="149" y="798"/>
                  <a:pt x="149" y="798"/>
                </a:cubicBezTo>
                <a:cubicBezTo>
                  <a:pt x="150" y="798"/>
                  <a:pt x="150" y="800"/>
                  <a:pt x="150" y="801"/>
                </a:cubicBezTo>
                <a:cubicBezTo>
                  <a:pt x="150" y="803"/>
                  <a:pt x="149" y="803"/>
                  <a:pt x="148" y="804"/>
                </a:cubicBezTo>
                <a:cubicBezTo>
                  <a:pt x="148" y="805"/>
                  <a:pt x="148" y="805"/>
                  <a:pt x="148" y="806"/>
                </a:cubicBezTo>
                <a:cubicBezTo>
                  <a:pt x="147" y="806"/>
                  <a:pt x="148" y="807"/>
                  <a:pt x="148" y="807"/>
                </a:cubicBezTo>
                <a:cubicBezTo>
                  <a:pt x="148" y="807"/>
                  <a:pt x="149" y="807"/>
                  <a:pt x="149" y="807"/>
                </a:cubicBezTo>
                <a:cubicBezTo>
                  <a:pt x="149" y="808"/>
                  <a:pt x="149" y="808"/>
                  <a:pt x="149" y="808"/>
                </a:cubicBezTo>
                <a:cubicBezTo>
                  <a:pt x="149" y="809"/>
                  <a:pt x="149" y="809"/>
                  <a:pt x="149" y="810"/>
                </a:cubicBezTo>
                <a:cubicBezTo>
                  <a:pt x="149" y="811"/>
                  <a:pt x="148" y="811"/>
                  <a:pt x="147" y="811"/>
                </a:cubicBezTo>
                <a:cubicBezTo>
                  <a:pt x="147" y="811"/>
                  <a:pt x="147" y="811"/>
                  <a:pt x="147" y="812"/>
                </a:cubicBezTo>
                <a:cubicBezTo>
                  <a:pt x="146" y="813"/>
                  <a:pt x="147" y="813"/>
                  <a:pt x="146" y="814"/>
                </a:cubicBezTo>
                <a:cubicBezTo>
                  <a:pt x="146" y="819"/>
                  <a:pt x="145" y="830"/>
                  <a:pt x="144" y="833"/>
                </a:cubicBezTo>
                <a:cubicBezTo>
                  <a:pt x="144" y="834"/>
                  <a:pt x="144" y="836"/>
                  <a:pt x="144" y="838"/>
                </a:cubicBezTo>
                <a:cubicBezTo>
                  <a:pt x="144" y="840"/>
                  <a:pt x="144" y="843"/>
                  <a:pt x="143" y="845"/>
                </a:cubicBezTo>
                <a:cubicBezTo>
                  <a:pt x="143" y="848"/>
                  <a:pt x="142" y="851"/>
                  <a:pt x="142" y="853"/>
                </a:cubicBezTo>
                <a:cubicBezTo>
                  <a:pt x="141" y="857"/>
                  <a:pt x="140" y="861"/>
                  <a:pt x="141" y="864"/>
                </a:cubicBezTo>
                <a:cubicBezTo>
                  <a:pt x="142" y="865"/>
                  <a:pt x="142" y="865"/>
                  <a:pt x="142" y="866"/>
                </a:cubicBezTo>
                <a:cubicBezTo>
                  <a:pt x="141" y="869"/>
                  <a:pt x="141" y="871"/>
                  <a:pt x="141" y="873"/>
                </a:cubicBezTo>
                <a:cubicBezTo>
                  <a:pt x="141" y="878"/>
                  <a:pt x="141" y="884"/>
                  <a:pt x="141" y="887"/>
                </a:cubicBezTo>
                <a:cubicBezTo>
                  <a:pt x="141" y="889"/>
                  <a:pt x="141" y="890"/>
                  <a:pt x="141" y="892"/>
                </a:cubicBezTo>
                <a:cubicBezTo>
                  <a:pt x="141" y="892"/>
                  <a:pt x="141" y="893"/>
                  <a:pt x="141" y="893"/>
                </a:cubicBezTo>
                <a:cubicBezTo>
                  <a:pt x="142" y="893"/>
                  <a:pt x="142" y="892"/>
                  <a:pt x="143" y="892"/>
                </a:cubicBezTo>
                <a:cubicBezTo>
                  <a:pt x="143" y="893"/>
                  <a:pt x="143" y="894"/>
                  <a:pt x="143" y="894"/>
                </a:cubicBezTo>
                <a:cubicBezTo>
                  <a:pt x="143" y="895"/>
                  <a:pt x="143" y="895"/>
                  <a:pt x="142" y="895"/>
                </a:cubicBezTo>
                <a:cubicBezTo>
                  <a:pt x="142" y="895"/>
                  <a:pt x="142" y="895"/>
                  <a:pt x="142" y="895"/>
                </a:cubicBezTo>
                <a:cubicBezTo>
                  <a:pt x="142" y="895"/>
                  <a:pt x="141" y="895"/>
                  <a:pt x="141" y="895"/>
                </a:cubicBezTo>
                <a:cubicBezTo>
                  <a:pt x="141" y="896"/>
                  <a:pt x="141" y="898"/>
                  <a:pt x="141" y="899"/>
                </a:cubicBezTo>
                <a:cubicBezTo>
                  <a:pt x="141" y="900"/>
                  <a:pt x="141" y="902"/>
                  <a:pt x="141" y="902"/>
                </a:cubicBezTo>
                <a:cubicBezTo>
                  <a:pt x="140" y="903"/>
                  <a:pt x="141" y="904"/>
                  <a:pt x="141" y="904"/>
                </a:cubicBezTo>
                <a:cubicBezTo>
                  <a:pt x="143" y="905"/>
                  <a:pt x="143" y="905"/>
                  <a:pt x="142" y="906"/>
                </a:cubicBezTo>
                <a:cubicBezTo>
                  <a:pt x="142" y="906"/>
                  <a:pt x="142" y="907"/>
                  <a:pt x="141" y="907"/>
                </a:cubicBezTo>
                <a:cubicBezTo>
                  <a:pt x="141" y="907"/>
                  <a:pt x="140" y="907"/>
                  <a:pt x="140" y="908"/>
                </a:cubicBezTo>
                <a:cubicBezTo>
                  <a:pt x="140" y="908"/>
                  <a:pt x="140" y="911"/>
                  <a:pt x="139" y="911"/>
                </a:cubicBezTo>
                <a:cubicBezTo>
                  <a:pt x="139" y="911"/>
                  <a:pt x="139" y="911"/>
                  <a:pt x="139" y="911"/>
                </a:cubicBezTo>
                <a:cubicBezTo>
                  <a:pt x="138" y="912"/>
                  <a:pt x="138" y="912"/>
                  <a:pt x="138" y="912"/>
                </a:cubicBezTo>
                <a:cubicBezTo>
                  <a:pt x="138" y="913"/>
                  <a:pt x="139" y="914"/>
                  <a:pt x="139" y="915"/>
                </a:cubicBezTo>
                <a:cubicBezTo>
                  <a:pt x="139" y="916"/>
                  <a:pt x="139" y="917"/>
                  <a:pt x="139" y="918"/>
                </a:cubicBezTo>
                <a:cubicBezTo>
                  <a:pt x="139" y="921"/>
                  <a:pt x="139" y="923"/>
                  <a:pt x="139" y="926"/>
                </a:cubicBezTo>
                <a:cubicBezTo>
                  <a:pt x="138" y="931"/>
                  <a:pt x="138" y="936"/>
                  <a:pt x="138" y="941"/>
                </a:cubicBezTo>
                <a:cubicBezTo>
                  <a:pt x="137" y="955"/>
                  <a:pt x="136" y="968"/>
                  <a:pt x="136" y="971"/>
                </a:cubicBezTo>
                <a:cubicBezTo>
                  <a:pt x="135" y="974"/>
                  <a:pt x="135" y="985"/>
                  <a:pt x="134" y="996"/>
                </a:cubicBezTo>
                <a:cubicBezTo>
                  <a:pt x="134" y="1007"/>
                  <a:pt x="133" y="1025"/>
                  <a:pt x="132" y="1036"/>
                </a:cubicBezTo>
                <a:cubicBezTo>
                  <a:pt x="131" y="1047"/>
                  <a:pt x="129" y="1076"/>
                  <a:pt x="128" y="1100"/>
                </a:cubicBezTo>
                <a:cubicBezTo>
                  <a:pt x="127" y="1108"/>
                  <a:pt x="127" y="1116"/>
                  <a:pt x="126" y="1125"/>
                </a:cubicBezTo>
                <a:cubicBezTo>
                  <a:pt x="126" y="1129"/>
                  <a:pt x="126" y="1133"/>
                  <a:pt x="125" y="1137"/>
                </a:cubicBezTo>
                <a:cubicBezTo>
                  <a:pt x="125" y="1139"/>
                  <a:pt x="125" y="1141"/>
                  <a:pt x="125" y="1143"/>
                </a:cubicBezTo>
                <a:cubicBezTo>
                  <a:pt x="125" y="1144"/>
                  <a:pt x="127" y="1145"/>
                  <a:pt x="126" y="1146"/>
                </a:cubicBezTo>
                <a:cubicBezTo>
                  <a:pt x="125" y="1147"/>
                  <a:pt x="125" y="1149"/>
                  <a:pt x="125" y="1151"/>
                </a:cubicBezTo>
                <a:cubicBezTo>
                  <a:pt x="125" y="1152"/>
                  <a:pt x="125" y="1154"/>
                  <a:pt x="125" y="1156"/>
                </a:cubicBezTo>
                <a:cubicBezTo>
                  <a:pt x="124" y="1159"/>
                  <a:pt x="124" y="1163"/>
                  <a:pt x="124" y="1166"/>
                </a:cubicBezTo>
                <a:cubicBezTo>
                  <a:pt x="124" y="1170"/>
                  <a:pt x="124" y="1174"/>
                  <a:pt x="124" y="1178"/>
                </a:cubicBezTo>
                <a:cubicBezTo>
                  <a:pt x="123" y="1180"/>
                  <a:pt x="123" y="1184"/>
                  <a:pt x="124" y="1186"/>
                </a:cubicBezTo>
                <a:cubicBezTo>
                  <a:pt x="124" y="1187"/>
                  <a:pt x="124" y="1188"/>
                  <a:pt x="123" y="1188"/>
                </a:cubicBezTo>
                <a:cubicBezTo>
                  <a:pt x="122" y="1190"/>
                  <a:pt x="123" y="1193"/>
                  <a:pt x="123" y="1195"/>
                </a:cubicBezTo>
                <a:cubicBezTo>
                  <a:pt x="122" y="1199"/>
                  <a:pt x="122" y="1210"/>
                  <a:pt x="121" y="1219"/>
                </a:cubicBezTo>
                <a:cubicBezTo>
                  <a:pt x="121" y="1223"/>
                  <a:pt x="121" y="1228"/>
                  <a:pt x="120" y="1233"/>
                </a:cubicBezTo>
                <a:cubicBezTo>
                  <a:pt x="120" y="1234"/>
                  <a:pt x="120" y="1235"/>
                  <a:pt x="120" y="1235"/>
                </a:cubicBezTo>
                <a:cubicBezTo>
                  <a:pt x="119" y="1235"/>
                  <a:pt x="119" y="1235"/>
                  <a:pt x="119" y="1236"/>
                </a:cubicBezTo>
                <a:cubicBezTo>
                  <a:pt x="118" y="1237"/>
                  <a:pt x="119" y="1239"/>
                  <a:pt x="119" y="1240"/>
                </a:cubicBezTo>
                <a:cubicBezTo>
                  <a:pt x="119" y="1241"/>
                  <a:pt x="119" y="1243"/>
                  <a:pt x="119" y="1244"/>
                </a:cubicBezTo>
                <a:cubicBezTo>
                  <a:pt x="119" y="1245"/>
                  <a:pt x="119" y="1246"/>
                  <a:pt x="119" y="1247"/>
                </a:cubicBezTo>
                <a:cubicBezTo>
                  <a:pt x="120" y="1248"/>
                  <a:pt x="120" y="1248"/>
                  <a:pt x="120" y="1249"/>
                </a:cubicBezTo>
                <a:cubicBezTo>
                  <a:pt x="120" y="1250"/>
                  <a:pt x="119" y="1251"/>
                  <a:pt x="119" y="1252"/>
                </a:cubicBezTo>
                <a:cubicBezTo>
                  <a:pt x="119" y="1253"/>
                  <a:pt x="120" y="1254"/>
                  <a:pt x="120" y="1255"/>
                </a:cubicBezTo>
                <a:cubicBezTo>
                  <a:pt x="120" y="1256"/>
                  <a:pt x="119" y="1256"/>
                  <a:pt x="119" y="1256"/>
                </a:cubicBezTo>
                <a:cubicBezTo>
                  <a:pt x="118" y="1258"/>
                  <a:pt x="118" y="1261"/>
                  <a:pt x="118" y="1263"/>
                </a:cubicBezTo>
                <a:cubicBezTo>
                  <a:pt x="118" y="1265"/>
                  <a:pt x="118" y="1267"/>
                  <a:pt x="118" y="1270"/>
                </a:cubicBezTo>
                <a:cubicBezTo>
                  <a:pt x="118" y="1271"/>
                  <a:pt x="118" y="1273"/>
                  <a:pt x="117" y="1274"/>
                </a:cubicBezTo>
                <a:cubicBezTo>
                  <a:pt x="116" y="1275"/>
                  <a:pt x="116" y="1274"/>
                  <a:pt x="115" y="1275"/>
                </a:cubicBezTo>
                <a:cubicBezTo>
                  <a:pt x="115" y="1275"/>
                  <a:pt x="115" y="1275"/>
                  <a:pt x="114" y="1275"/>
                </a:cubicBezTo>
                <a:cubicBezTo>
                  <a:pt x="114" y="1276"/>
                  <a:pt x="114" y="1277"/>
                  <a:pt x="114" y="1278"/>
                </a:cubicBezTo>
                <a:cubicBezTo>
                  <a:pt x="114" y="1279"/>
                  <a:pt x="114" y="1279"/>
                  <a:pt x="114" y="1279"/>
                </a:cubicBezTo>
                <a:cubicBezTo>
                  <a:pt x="115" y="1279"/>
                  <a:pt x="115" y="1279"/>
                  <a:pt x="116" y="1279"/>
                </a:cubicBezTo>
                <a:cubicBezTo>
                  <a:pt x="116" y="1279"/>
                  <a:pt x="117" y="1280"/>
                  <a:pt x="117" y="1280"/>
                </a:cubicBezTo>
                <a:cubicBezTo>
                  <a:pt x="118" y="1282"/>
                  <a:pt x="118" y="1284"/>
                  <a:pt x="117" y="1285"/>
                </a:cubicBezTo>
                <a:cubicBezTo>
                  <a:pt x="117" y="1288"/>
                  <a:pt x="116" y="1290"/>
                  <a:pt x="115" y="1292"/>
                </a:cubicBezTo>
                <a:cubicBezTo>
                  <a:pt x="114" y="1294"/>
                  <a:pt x="113" y="1297"/>
                  <a:pt x="114" y="1299"/>
                </a:cubicBezTo>
                <a:cubicBezTo>
                  <a:pt x="114" y="1301"/>
                  <a:pt x="115" y="1303"/>
                  <a:pt x="114" y="1305"/>
                </a:cubicBezTo>
                <a:cubicBezTo>
                  <a:pt x="114" y="1306"/>
                  <a:pt x="114" y="1307"/>
                  <a:pt x="114" y="1308"/>
                </a:cubicBezTo>
                <a:cubicBezTo>
                  <a:pt x="114" y="1309"/>
                  <a:pt x="113" y="1310"/>
                  <a:pt x="113" y="1311"/>
                </a:cubicBezTo>
                <a:cubicBezTo>
                  <a:pt x="112" y="1312"/>
                  <a:pt x="112" y="1313"/>
                  <a:pt x="112" y="1314"/>
                </a:cubicBezTo>
                <a:cubicBezTo>
                  <a:pt x="112" y="1316"/>
                  <a:pt x="112" y="1318"/>
                  <a:pt x="112" y="1320"/>
                </a:cubicBezTo>
                <a:cubicBezTo>
                  <a:pt x="112" y="1322"/>
                  <a:pt x="111" y="1325"/>
                  <a:pt x="112" y="1327"/>
                </a:cubicBezTo>
                <a:cubicBezTo>
                  <a:pt x="112" y="1328"/>
                  <a:pt x="114" y="1327"/>
                  <a:pt x="114" y="1329"/>
                </a:cubicBezTo>
                <a:cubicBezTo>
                  <a:pt x="115" y="1330"/>
                  <a:pt x="115" y="1332"/>
                  <a:pt x="114" y="1333"/>
                </a:cubicBezTo>
                <a:cubicBezTo>
                  <a:pt x="114" y="1335"/>
                  <a:pt x="112" y="1343"/>
                  <a:pt x="114" y="1343"/>
                </a:cubicBezTo>
                <a:cubicBezTo>
                  <a:pt x="114" y="1343"/>
                  <a:pt x="114" y="1343"/>
                  <a:pt x="115" y="1344"/>
                </a:cubicBezTo>
                <a:cubicBezTo>
                  <a:pt x="114" y="1346"/>
                  <a:pt x="114" y="1348"/>
                  <a:pt x="114" y="1350"/>
                </a:cubicBezTo>
                <a:cubicBezTo>
                  <a:pt x="112" y="1359"/>
                  <a:pt x="111" y="1365"/>
                  <a:pt x="111" y="1376"/>
                </a:cubicBezTo>
                <a:cubicBezTo>
                  <a:pt x="111" y="1379"/>
                  <a:pt x="111" y="1383"/>
                  <a:pt x="110" y="1386"/>
                </a:cubicBezTo>
                <a:cubicBezTo>
                  <a:pt x="110" y="1386"/>
                  <a:pt x="110" y="1386"/>
                  <a:pt x="110" y="1386"/>
                </a:cubicBezTo>
                <a:cubicBezTo>
                  <a:pt x="110" y="1386"/>
                  <a:pt x="110" y="1387"/>
                  <a:pt x="109" y="1387"/>
                </a:cubicBezTo>
                <a:cubicBezTo>
                  <a:pt x="109" y="1387"/>
                  <a:pt x="109" y="1388"/>
                  <a:pt x="110" y="1388"/>
                </a:cubicBezTo>
                <a:cubicBezTo>
                  <a:pt x="110" y="1390"/>
                  <a:pt x="109" y="1391"/>
                  <a:pt x="108" y="1392"/>
                </a:cubicBezTo>
                <a:cubicBezTo>
                  <a:pt x="108" y="1394"/>
                  <a:pt x="107" y="1395"/>
                  <a:pt x="109" y="1396"/>
                </a:cubicBezTo>
                <a:cubicBezTo>
                  <a:pt x="109" y="1396"/>
                  <a:pt x="109" y="1396"/>
                  <a:pt x="109" y="1397"/>
                </a:cubicBezTo>
                <a:cubicBezTo>
                  <a:pt x="110" y="1397"/>
                  <a:pt x="109" y="1400"/>
                  <a:pt x="109" y="1401"/>
                </a:cubicBezTo>
                <a:cubicBezTo>
                  <a:pt x="109" y="1403"/>
                  <a:pt x="109" y="1404"/>
                  <a:pt x="109" y="1406"/>
                </a:cubicBezTo>
                <a:cubicBezTo>
                  <a:pt x="109" y="1411"/>
                  <a:pt x="109" y="1416"/>
                  <a:pt x="109" y="1417"/>
                </a:cubicBezTo>
                <a:cubicBezTo>
                  <a:pt x="108" y="1419"/>
                  <a:pt x="108" y="1421"/>
                  <a:pt x="108" y="1423"/>
                </a:cubicBezTo>
                <a:cubicBezTo>
                  <a:pt x="108" y="1424"/>
                  <a:pt x="108" y="1424"/>
                  <a:pt x="107" y="1424"/>
                </a:cubicBezTo>
                <a:cubicBezTo>
                  <a:pt x="106" y="1425"/>
                  <a:pt x="106" y="1425"/>
                  <a:pt x="106" y="1426"/>
                </a:cubicBezTo>
                <a:cubicBezTo>
                  <a:pt x="106" y="1427"/>
                  <a:pt x="106" y="1429"/>
                  <a:pt x="106" y="1430"/>
                </a:cubicBezTo>
                <a:cubicBezTo>
                  <a:pt x="106" y="1430"/>
                  <a:pt x="106" y="1431"/>
                  <a:pt x="106" y="1431"/>
                </a:cubicBezTo>
                <a:cubicBezTo>
                  <a:pt x="106" y="1431"/>
                  <a:pt x="107" y="1431"/>
                  <a:pt x="107" y="1431"/>
                </a:cubicBezTo>
                <a:cubicBezTo>
                  <a:pt x="108" y="1432"/>
                  <a:pt x="107" y="1434"/>
                  <a:pt x="107" y="1435"/>
                </a:cubicBezTo>
                <a:cubicBezTo>
                  <a:pt x="107" y="1437"/>
                  <a:pt x="107" y="1439"/>
                  <a:pt x="106" y="1441"/>
                </a:cubicBezTo>
                <a:cubicBezTo>
                  <a:pt x="106" y="1443"/>
                  <a:pt x="106" y="1445"/>
                  <a:pt x="107" y="1447"/>
                </a:cubicBezTo>
                <a:cubicBezTo>
                  <a:pt x="107" y="1448"/>
                  <a:pt x="108" y="1449"/>
                  <a:pt x="108" y="1450"/>
                </a:cubicBezTo>
                <a:cubicBezTo>
                  <a:pt x="108" y="1452"/>
                  <a:pt x="107" y="1453"/>
                  <a:pt x="107" y="1454"/>
                </a:cubicBezTo>
                <a:cubicBezTo>
                  <a:pt x="106" y="1458"/>
                  <a:pt x="107" y="1463"/>
                  <a:pt x="107" y="1467"/>
                </a:cubicBezTo>
                <a:cubicBezTo>
                  <a:pt x="107" y="1473"/>
                  <a:pt x="107" y="1481"/>
                  <a:pt x="107" y="1483"/>
                </a:cubicBezTo>
                <a:cubicBezTo>
                  <a:pt x="107" y="1484"/>
                  <a:pt x="106" y="1486"/>
                  <a:pt x="107" y="1488"/>
                </a:cubicBezTo>
                <a:cubicBezTo>
                  <a:pt x="108" y="1488"/>
                  <a:pt x="108" y="1488"/>
                  <a:pt x="108" y="1488"/>
                </a:cubicBezTo>
                <a:cubicBezTo>
                  <a:pt x="108" y="1488"/>
                  <a:pt x="108" y="1488"/>
                  <a:pt x="108" y="1489"/>
                </a:cubicBezTo>
                <a:cubicBezTo>
                  <a:pt x="108" y="1489"/>
                  <a:pt x="108" y="1490"/>
                  <a:pt x="107" y="1490"/>
                </a:cubicBezTo>
                <a:cubicBezTo>
                  <a:pt x="107" y="1490"/>
                  <a:pt x="107" y="1491"/>
                  <a:pt x="107" y="1491"/>
                </a:cubicBezTo>
                <a:cubicBezTo>
                  <a:pt x="105" y="1493"/>
                  <a:pt x="105" y="1497"/>
                  <a:pt x="105" y="1499"/>
                </a:cubicBezTo>
                <a:cubicBezTo>
                  <a:pt x="105" y="1502"/>
                  <a:pt x="105" y="1505"/>
                  <a:pt x="105" y="1508"/>
                </a:cubicBezTo>
                <a:cubicBezTo>
                  <a:pt x="105" y="1512"/>
                  <a:pt x="104" y="1515"/>
                  <a:pt x="104" y="1518"/>
                </a:cubicBezTo>
                <a:cubicBezTo>
                  <a:pt x="104" y="1520"/>
                  <a:pt x="103" y="1522"/>
                  <a:pt x="103" y="1523"/>
                </a:cubicBezTo>
                <a:cubicBezTo>
                  <a:pt x="103" y="1525"/>
                  <a:pt x="104" y="1525"/>
                  <a:pt x="104" y="1526"/>
                </a:cubicBezTo>
                <a:cubicBezTo>
                  <a:pt x="104" y="1527"/>
                  <a:pt x="104" y="1527"/>
                  <a:pt x="104" y="1527"/>
                </a:cubicBezTo>
                <a:cubicBezTo>
                  <a:pt x="104" y="1528"/>
                  <a:pt x="105" y="1528"/>
                  <a:pt x="104" y="1529"/>
                </a:cubicBezTo>
                <a:cubicBezTo>
                  <a:pt x="104" y="1531"/>
                  <a:pt x="103" y="1533"/>
                  <a:pt x="102" y="1535"/>
                </a:cubicBezTo>
                <a:cubicBezTo>
                  <a:pt x="102" y="1537"/>
                  <a:pt x="102" y="1539"/>
                  <a:pt x="102" y="1541"/>
                </a:cubicBezTo>
                <a:cubicBezTo>
                  <a:pt x="102" y="1543"/>
                  <a:pt x="102" y="1545"/>
                  <a:pt x="102" y="1547"/>
                </a:cubicBezTo>
                <a:cubicBezTo>
                  <a:pt x="102" y="1549"/>
                  <a:pt x="102" y="1550"/>
                  <a:pt x="103" y="1551"/>
                </a:cubicBezTo>
                <a:cubicBezTo>
                  <a:pt x="104" y="1552"/>
                  <a:pt x="104" y="1552"/>
                  <a:pt x="104" y="1553"/>
                </a:cubicBezTo>
                <a:cubicBezTo>
                  <a:pt x="104" y="1555"/>
                  <a:pt x="104" y="1556"/>
                  <a:pt x="104" y="1558"/>
                </a:cubicBezTo>
                <a:cubicBezTo>
                  <a:pt x="104" y="1559"/>
                  <a:pt x="104" y="1561"/>
                  <a:pt x="104" y="1562"/>
                </a:cubicBezTo>
                <a:cubicBezTo>
                  <a:pt x="104" y="1563"/>
                  <a:pt x="104" y="1563"/>
                  <a:pt x="104" y="1564"/>
                </a:cubicBezTo>
                <a:cubicBezTo>
                  <a:pt x="104" y="1564"/>
                  <a:pt x="104" y="1564"/>
                  <a:pt x="105" y="1564"/>
                </a:cubicBezTo>
                <a:cubicBezTo>
                  <a:pt x="105" y="1564"/>
                  <a:pt x="105" y="1564"/>
                  <a:pt x="105" y="1565"/>
                </a:cubicBezTo>
                <a:cubicBezTo>
                  <a:pt x="105" y="1565"/>
                  <a:pt x="104" y="1566"/>
                  <a:pt x="104" y="1567"/>
                </a:cubicBezTo>
                <a:cubicBezTo>
                  <a:pt x="103" y="1568"/>
                  <a:pt x="103" y="1569"/>
                  <a:pt x="103" y="1570"/>
                </a:cubicBezTo>
                <a:cubicBezTo>
                  <a:pt x="103" y="1572"/>
                  <a:pt x="102" y="1573"/>
                  <a:pt x="102" y="1574"/>
                </a:cubicBezTo>
                <a:cubicBezTo>
                  <a:pt x="102" y="1574"/>
                  <a:pt x="102" y="1575"/>
                  <a:pt x="102" y="1575"/>
                </a:cubicBezTo>
                <a:cubicBezTo>
                  <a:pt x="102" y="1577"/>
                  <a:pt x="102" y="1579"/>
                  <a:pt x="102" y="1581"/>
                </a:cubicBezTo>
                <a:cubicBezTo>
                  <a:pt x="102" y="1583"/>
                  <a:pt x="102" y="1584"/>
                  <a:pt x="101" y="1585"/>
                </a:cubicBezTo>
                <a:cubicBezTo>
                  <a:pt x="101" y="1586"/>
                  <a:pt x="101" y="1587"/>
                  <a:pt x="100" y="1589"/>
                </a:cubicBezTo>
                <a:cubicBezTo>
                  <a:pt x="100" y="1589"/>
                  <a:pt x="100" y="1590"/>
                  <a:pt x="99" y="1591"/>
                </a:cubicBezTo>
                <a:cubicBezTo>
                  <a:pt x="99" y="1593"/>
                  <a:pt x="99" y="1595"/>
                  <a:pt x="99" y="1597"/>
                </a:cubicBezTo>
                <a:cubicBezTo>
                  <a:pt x="98" y="1602"/>
                  <a:pt x="99" y="1606"/>
                  <a:pt x="98" y="1611"/>
                </a:cubicBezTo>
                <a:cubicBezTo>
                  <a:pt x="98" y="1612"/>
                  <a:pt x="98" y="1612"/>
                  <a:pt x="98" y="1612"/>
                </a:cubicBezTo>
                <a:cubicBezTo>
                  <a:pt x="98" y="1613"/>
                  <a:pt x="98" y="1613"/>
                  <a:pt x="98" y="1614"/>
                </a:cubicBezTo>
                <a:cubicBezTo>
                  <a:pt x="97" y="1614"/>
                  <a:pt x="97" y="1615"/>
                  <a:pt x="97" y="1616"/>
                </a:cubicBezTo>
                <a:cubicBezTo>
                  <a:pt x="96" y="1617"/>
                  <a:pt x="96" y="1618"/>
                  <a:pt x="96" y="1618"/>
                </a:cubicBezTo>
                <a:cubicBezTo>
                  <a:pt x="96" y="1620"/>
                  <a:pt x="96" y="1622"/>
                  <a:pt x="96" y="1624"/>
                </a:cubicBezTo>
                <a:cubicBezTo>
                  <a:pt x="96" y="1625"/>
                  <a:pt x="96" y="1627"/>
                  <a:pt x="95" y="1629"/>
                </a:cubicBezTo>
                <a:cubicBezTo>
                  <a:pt x="95" y="1630"/>
                  <a:pt x="95" y="1630"/>
                  <a:pt x="95" y="1631"/>
                </a:cubicBezTo>
                <a:cubicBezTo>
                  <a:pt x="95" y="1631"/>
                  <a:pt x="95" y="1632"/>
                  <a:pt x="95" y="1633"/>
                </a:cubicBezTo>
                <a:cubicBezTo>
                  <a:pt x="96" y="1634"/>
                  <a:pt x="98" y="1636"/>
                  <a:pt x="97" y="1637"/>
                </a:cubicBezTo>
                <a:cubicBezTo>
                  <a:pt x="97" y="1638"/>
                  <a:pt x="96" y="1636"/>
                  <a:pt x="95" y="1637"/>
                </a:cubicBezTo>
                <a:cubicBezTo>
                  <a:pt x="94" y="1637"/>
                  <a:pt x="93" y="1640"/>
                  <a:pt x="94" y="1640"/>
                </a:cubicBezTo>
                <a:cubicBezTo>
                  <a:pt x="94" y="1640"/>
                  <a:pt x="94" y="1640"/>
                  <a:pt x="94" y="1640"/>
                </a:cubicBezTo>
                <a:cubicBezTo>
                  <a:pt x="95" y="1639"/>
                  <a:pt x="95" y="1639"/>
                  <a:pt x="95" y="1639"/>
                </a:cubicBezTo>
                <a:cubicBezTo>
                  <a:pt x="96" y="1639"/>
                  <a:pt x="96" y="1639"/>
                  <a:pt x="96" y="1639"/>
                </a:cubicBezTo>
                <a:cubicBezTo>
                  <a:pt x="96" y="1640"/>
                  <a:pt x="96" y="1641"/>
                  <a:pt x="96" y="1642"/>
                </a:cubicBezTo>
                <a:cubicBezTo>
                  <a:pt x="96" y="1643"/>
                  <a:pt x="95" y="1644"/>
                  <a:pt x="95" y="1644"/>
                </a:cubicBezTo>
                <a:cubicBezTo>
                  <a:pt x="96" y="1645"/>
                  <a:pt x="96" y="1645"/>
                  <a:pt x="95" y="1646"/>
                </a:cubicBezTo>
                <a:cubicBezTo>
                  <a:pt x="95" y="1646"/>
                  <a:pt x="95" y="1646"/>
                  <a:pt x="95" y="1647"/>
                </a:cubicBezTo>
                <a:cubicBezTo>
                  <a:pt x="95" y="1647"/>
                  <a:pt x="95" y="1647"/>
                  <a:pt x="95" y="1647"/>
                </a:cubicBezTo>
                <a:cubicBezTo>
                  <a:pt x="96" y="1647"/>
                  <a:pt x="96" y="1647"/>
                  <a:pt x="96" y="1647"/>
                </a:cubicBezTo>
                <a:cubicBezTo>
                  <a:pt x="98" y="1647"/>
                  <a:pt x="97" y="1650"/>
                  <a:pt x="97" y="1651"/>
                </a:cubicBezTo>
                <a:cubicBezTo>
                  <a:pt x="96" y="1652"/>
                  <a:pt x="95" y="1655"/>
                  <a:pt x="94" y="1656"/>
                </a:cubicBezTo>
                <a:cubicBezTo>
                  <a:pt x="93" y="1658"/>
                  <a:pt x="93" y="1659"/>
                  <a:pt x="93" y="1661"/>
                </a:cubicBezTo>
                <a:cubicBezTo>
                  <a:pt x="92" y="1663"/>
                  <a:pt x="92" y="1664"/>
                  <a:pt x="92" y="1666"/>
                </a:cubicBezTo>
                <a:cubicBezTo>
                  <a:pt x="92" y="1667"/>
                  <a:pt x="92" y="1669"/>
                  <a:pt x="92" y="1670"/>
                </a:cubicBezTo>
                <a:cubicBezTo>
                  <a:pt x="92" y="1671"/>
                  <a:pt x="92" y="1673"/>
                  <a:pt x="92" y="1673"/>
                </a:cubicBezTo>
                <a:cubicBezTo>
                  <a:pt x="92" y="1673"/>
                  <a:pt x="92" y="1674"/>
                  <a:pt x="92" y="1674"/>
                </a:cubicBezTo>
                <a:cubicBezTo>
                  <a:pt x="93" y="1674"/>
                  <a:pt x="93" y="1674"/>
                  <a:pt x="93" y="1674"/>
                </a:cubicBezTo>
                <a:cubicBezTo>
                  <a:pt x="93" y="1674"/>
                  <a:pt x="93" y="1674"/>
                  <a:pt x="93" y="1674"/>
                </a:cubicBezTo>
                <a:cubicBezTo>
                  <a:pt x="94" y="1674"/>
                  <a:pt x="94" y="1676"/>
                  <a:pt x="93" y="1676"/>
                </a:cubicBezTo>
                <a:cubicBezTo>
                  <a:pt x="93" y="1676"/>
                  <a:pt x="93" y="1676"/>
                  <a:pt x="93" y="1676"/>
                </a:cubicBezTo>
                <a:cubicBezTo>
                  <a:pt x="92" y="1676"/>
                  <a:pt x="92" y="1678"/>
                  <a:pt x="92" y="1679"/>
                </a:cubicBezTo>
                <a:cubicBezTo>
                  <a:pt x="92" y="1680"/>
                  <a:pt x="91" y="1681"/>
                  <a:pt x="91" y="1682"/>
                </a:cubicBezTo>
                <a:cubicBezTo>
                  <a:pt x="91" y="1682"/>
                  <a:pt x="91" y="1682"/>
                  <a:pt x="91" y="1683"/>
                </a:cubicBezTo>
                <a:cubicBezTo>
                  <a:pt x="91" y="1683"/>
                  <a:pt x="91" y="1683"/>
                  <a:pt x="91" y="1684"/>
                </a:cubicBezTo>
                <a:cubicBezTo>
                  <a:pt x="91" y="1684"/>
                  <a:pt x="91" y="1685"/>
                  <a:pt x="91" y="1685"/>
                </a:cubicBezTo>
                <a:cubicBezTo>
                  <a:pt x="91" y="1685"/>
                  <a:pt x="91" y="1686"/>
                  <a:pt x="92" y="1686"/>
                </a:cubicBezTo>
                <a:cubicBezTo>
                  <a:pt x="92" y="1687"/>
                  <a:pt x="93" y="1684"/>
                  <a:pt x="93" y="1683"/>
                </a:cubicBezTo>
                <a:cubicBezTo>
                  <a:pt x="93" y="1683"/>
                  <a:pt x="92" y="1681"/>
                  <a:pt x="93" y="1682"/>
                </a:cubicBezTo>
                <a:cubicBezTo>
                  <a:pt x="94" y="1682"/>
                  <a:pt x="95" y="1682"/>
                  <a:pt x="95" y="1683"/>
                </a:cubicBezTo>
                <a:cubicBezTo>
                  <a:pt x="94" y="1684"/>
                  <a:pt x="94" y="1685"/>
                  <a:pt x="94" y="1687"/>
                </a:cubicBezTo>
                <a:cubicBezTo>
                  <a:pt x="94" y="1689"/>
                  <a:pt x="94" y="1691"/>
                  <a:pt x="94" y="1694"/>
                </a:cubicBezTo>
                <a:cubicBezTo>
                  <a:pt x="93" y="1697"/>
                  <a:pt x="93" y="1699"/>
                  <a:pt x="93" y="1702"/>
                </a:cubicBezTo>
                <a:cubicBezTo>
                  <a:pt x="93" y="1703"/>
                  <a:pt x="92" y="1704"/>
                  <a:pt x="92" y="1705"/>
                </a:cubicBezTo>
                <a:cubicBezTo>
                  <a:pt x="92" y="1706"/>
                  <a:pt x="92" y="1707"/>
                  <a:pt x="92" y="1708"/>
                </a:cubicBezTo>
                <a:cubicBezTo>
                  <a:pt x="92" y="1708"/>
                  <a:pt x="92" y="1708"/>
                  <a:pt x="92" y="1708"/>
                </a:cubicBezTo>
                <a:cubicBezTo>
                  <a:pt x="92" y="1708"/>
                  <a:pt x="92" y="1708"/>
                  <a:pt x="91" y="1709"/>
                </a:cubicBezTo>
                <a:cubicBezTo>
                  <a:pt x="91" y="1709"/>
                  <a:pt x="90" y="1707"/>
                  <a:pt x="90" y="1707"/>
                </a:cubicBezTo>
                <a:cubicBezTo>
                  <a:pt x="89" y="1706"/>
                  <a:pt x="89" y="1707"/>
                  <a:pt x="89" y="1708"/>
                </a:cubicBezTo>
                <a:cubicBezTo>
                  <a:pt x="89" y="1709"/>
                  <a:pt x="90" y="1709"/>
                  <a:pt x="91" y="1710"/>
                </a:cubicBezTo>
                <a:cubicBezTo>
                  <a:pt x="91" y="1710"/>
                  <a:pt x="90" y="1711"/>
                  <a:pt x="90" y="1711"/>
                </a:cubicBezTo>
                <a:cubicBezTo>
                  <a:pt x="89" y="1711"/>
                  <a:pt x="89" y="1712"/>
                  <a:pt x="89" y="1713"/>
                </a:cubicBezTo>
                <a:cubicBezTo>
                  <a:pt x="88" y="1715"/>
                  <a:pt x="88" y="1716"/>
                  <a:pt x="88" y="1718"/>
                </a:cubicBezTo>
                <a:cubicBezTo>
                  <a:pt x="88" y="1721"/>
                  <a:pt x="88" y="1724"/>
                  <a:pt x="88" y="1725"/>
                </a:cubicBezTo>
                <a:cubicBezTo>
                  <a:pt x="89" y="1726"/>
                  <a:pt x="87" y="1728"/>
                  <a:pt x="87" y="1730"/>
                </a:cubicBezTo>
                <a:cubicBezTo>
                  <a:pt x="87" y="1730"/>
                  <a:pt x="87" y="1731"/>
                  <a:pt x="87" y="1731"/>
                </a:cubicBezTo>
                <a:cubicBezTo>
                  <a:pt x="88" y="1731"/>
                  <a:pt x="88" y="1731"/>
                  <a:pt x="89" y="1731"/>
                </a:cubicBezTo>
                <a:cubicBezTo>
                  <a:pt x="89" y="1731"/>
                  <a:pt x="89" y="1731"/>
                  <a:pt x="89" y="1732"/>
                </a:cubicBezTo>
                <a:cubicBezTo>
                  <a:pt x="89" y="1732"/>
                  <a:pt x="88" y="1733"/>
                  <a:pt x="88" y="1734"/>
                </a:cubicBezTo>
                <a:cubicBezTo>
                  <a:pt x="88" y="1735"/>
                  <a:pt x="87" y="1735"/>
                  <a:pt x="87" y="1736"/>
                </a:cubicBezTo>
                <a:cubicBezTo>
                  <a:pt x="87" y="1738"/>
                  <a:pt x="87" y="1739"/>
                  <a:pt x="87" y="1741"/>
                </a:cubicBezTo>
                <a:cubicBezTo>
                  <a:pt x="87" y="1742"/>
                  <a:pt x="87" y="1742"/>
                  <a:pt x="88" y="1743"/>
                </a:cubicBezTo>
                <a:cubicBezTo>
                  <a:pt x="88" y="1743"/>
                  <a:pt x="88" y="1743"/>
                  <a:pt x="89" y="1743"/>
                </a:cubicBezTo>
                <a:cubicBezTo>
                  <a:pt x="88" y="1746"/>
                  <a:pt x="87" y="1750"/>
                  <a:pt x="87" y="1753"/>
                </a:cubicBezTo>
                <a:cubicBezTo>
                  <a:pt x="87" y="1755"/>
                  <a:pt x="86" y="1757"/>
                  <a:pt x="87" y="1759"/>
                </a:cubicBezTo>
                <a:cubicBezTo>
                  <a:pt x="87" y="1759"/>
                  <a:pt x="87" y="1760"/>
                  <a:pt x="87" y="1761"/>
                </a:cubicBezTo>
                <a:cubicBezTo>
                  <a:pt x="87" y="1761"/>
                  <a:pt x="87" y="1763"/>
                  <a:pt x="86" y="1762"/>
                </a:cubicBezTo>
                <a:cubicBezTo>
                  <a:pt x="86" y="1762"/>
                  <a:pt x="85" y="1760"/>
                  <a:pt x="84" y="1760"/>
                </a:cubicBezTo>
                <a:cubicBezTo>
                  <a:pt x="84" y="1760"/>
                  <a:pt x="85" y="1761"/>
                  <a:pt x="85" y="1762"/>
                </a:cubicBezTo>
                <a:cubicBezTo>
                  <a:pt x="85" y="1762"/>
                  <a:pt x="86" y="1763"/>
                  <a:pt x="86" y="1764"/>
                </a:cubicBezTo>
                <a:cubicBezTo>
                  <a:pt x="86" y="1765"/>
                  <a:pt x="86" y="1765"/>
                  <a:pt x="86" y="1765"/>
                </a:cubicBezTo>
                <a:cubicBezTo>
                  <a:pt x="85" y="1765"/>
                  <a:pt x="85" y="1765"/>
                  <a:pt x="85" y="1765"/>
                </a:cubicBezTo>
                <a:cubicBezTo>
                  <a:pt x="84" y="1767"/>
                  <a:pt x="84" y="1769"/>
                  <a:pt x="84" y="1771"/>
                </a:cubicBezTo>
                <a:cubicBezTo>
                  <a:pt x="83" y="1775"/>
                  <a:pt x="83" y="1779"/>
                  <a:pt x="83" y="1783"/>
                </a:cubicBezTo>
                <a:cubicBezTo>
                  <a:pt x="84" y="1784"/>
                  <a:pt x="84" y="1786"/>
                  <a:pt x="84" y="1788"/>
                </a:cubicBezTo>
                <a:cubicBezTo>
                  <a:pt x="84" y="1790"/>
                  <a:pt x="85" y="1792"/>
                  <a:pt x="85" y="1793"/>
                </a:cubicBezTo>
                <a:cubicBezTo>
                  <a:pt x="85" y="1793"/>
                  <a:pt x="85" y="1793"/>
                  <a:pt x="85" y="1794"/>
                </a:cubicBezTo>
                <a:cubicBezTo>
                  <a:pt x="84" y="1794"/>
                  <a:pt x="84" y="1794"/>
                  <a:pt x="84" y="1794"/>
                </a:cubicBezTo>
                <a:cubicBezTo>
                  <a:pt x="83" y="1795"/>
                  <a:pt x="84" y="1795"/>
                  <a:pt x="84" y="1796"/>
                </a:cubicBezTo>
                <a:cubicBezTo>
                  <a:pt x="84" y="1797"/>
                  <a:pt x="84" y="1797"/>
                  <a:pt x="85" y="1797"/>
                </a:cubicBezTo>
                <a:cubicBezTo>
                  <a:pt x="85" y="1798"/>
                  <a:pt x="86" y="1798"/>
                  <a:pt x="86" y="1798"/>
                </a:cubicBezTo>
                <a:cubicBezTo>
                  <a:pt x="86" y="1799"/>
                  <a:pt x="86" y="1800"/>
                  <a:pt x="85" y="1801"/>
                </a:cubicBezTo>
                <a:cubicBezTo>
                  <a:pt x="85" y="1801"/>
                  <a:pt x="85" y="1802"/>
                  <a:pt x="85" y="1804"/>
                </a:cubicBezTo>
                <a:cubicBezTo>
                  <a:pt x="85" y="1804"/>
                  <a:pt x="86" y="1805"/>
                  <a:pt x="86" y="1806"/>
                </a:cubicBezTo>
                <a:cubicBezTo>
                  <a:pt x="86" y="1807"/>
                  <a:pt x="86" y="1808"/>
                  <a:pt x="86" y="1809"/>
                </a:cubicBezTo>
                <a:cubicBezTo>
                  <a:pt x="86" y="1812"/>
                  <a:pt x="85" y="1815"/>
                  <a:pt x="84" y="1817"/>
                </a:cubicBezTo>
                <a:cubicBezTo>
                  <a:pt x="84" y="1818"/>
                  <a:pt x="84" y="1819"/>
                  <a:pt x="83" y="1820"/>
                </a:cubicBezTo>
                <a:cubicBezTo>
                  <a:pt x="83" y="1820"/>
                  <a:pt x="83" y="1821"/>
                  <a:pt x="84" y="1822"/>
                </a:cubicBezTo>
                <a:cubicBezTo>
                  <a:pt x="84" y="1822"/>
                  <a:pt x="83" y="1823"/>
                  <a:pt x="83" y="1823"/>
                </a:cubicBezTo>
                <a:cubicBezTo>
                  <a:pt x="82" y="1824"/>
                  <a:pt x="84" y="1825"/>
                  <a:pt x="85" y="1826"/>
                </a:cubicBezTo>
                <a:cubicBezTo>
                  <a:pt x="85" y="1827"/>
                  <a:pt x="84" y="1828"/>
                  <a:pt x="84" y="1828"/>
                </a:cubicBezTo>
                <a:cubicBezTo>
                  <a:pt x="84" y="1828"/>
                  <a:pt x="84" y="1829"/>
                  <a:pt x="83" y="1829"/>
                </a:cubicBezTo>
                <a:cubicBezTo>
                  <a:pt x="83" y="1830"/>
                  <a:pt x="83" y="1831"/>
                  <a:pt x="83" y="1832"/>
                </a:cubicBezTo>
                <a:cubicBezTo>
                  <a:pt x="82" y="1832"/>
                  <a:pt x="82" y="1832"/>
                  <a:pt x="82" y="1833"/>
                </a:cubicBezTo>
                <a:cubicBezTo>
                  <a:pt x="82" y="1833"/>
                  <a:pt x="82" y="1833"/>
                  <a:pt x="82" y="1834"/>
                </a:cubicBezTo>
                <a:cubicBezTo>
                  <a:pt x="82" y="1834"/>
                  <a:pt x="82" y="1834"/>
                  <a:pt x="82" y="1834"/>
                </a:cubicBezTo>
                <a:cubicBezTo>
                  <a:pt x="82" y="1834"/>
                  <a:pt x="82" y="1835"/>
                  <a:pt x="82" y="1835"/>
                </a:cubicBezTo>
                <a:cubicBezTo>
                  <a:pt x="82" y="1836"/>
                  <a:pt x="82" y="1836"/>
                  <a:pt x="83" y="1836"/>
                </a:cubicBezTo>
                <a:cubicBezTo>
                  <a:pt x="83" y="1837"/>
                  <a:pt x="84" y="1837"/>
                  <a:pt x="84" y="1836"/>
                </a:cubicBezTo>
                <a:cubicBezTo>
                  <a:pt x="84" y="1837"/>
                  <a:pt x="84" y="1837"/>
                  <a:pt x="84" y="1838"/>
                </a:cubicBezTo>
                <a:cubicBezTo>
                  <a:pt x="84" y="1839"/>
                  <a:pt x="84" y="1839"/>
                  <a:pt x="84" y="1840"/>
                </a:cubicBezTo>
                <a:cubicBezTo>
                  <a:pt x="83" y="1843"/>
                  <a:pt x="83" y="1845"/>
                  <a:pt x="82" y="1848"/>
                </a:cubicBezTo>
                <a:cubicBezTo>
                  <a:pt x="82" y="1849"/>
                  <a:pt x="82" y="1850"/>
                  <a:pt x="82" y="1851"/>
                </a:cubicBezTo>
                <a:cubicBezTo>
                  <a:pt x="81" y="1852"/>
                  <a:pt x="81" y="1853"/>
                  <a:pt x="81" y="1854"/>
                </a:cubicBezTo>
                <a:cubicBezTo>
                  <a:pt x="80" y="1854"/>
                  <a:pt x="80" y="1855"/>
                  <a:pt x="80" y="1857"/>
                </a:cubicBezTo>
                <a:cubicBezTo>
                  <a:pt x="80" y="1858"/>
                  <a:pt x="79" y="1859"/>
                  <a:pt x="80" y="1860"/>
                </a:cubicBezTo>
                <a:cubicBezTo>
                  <a:pt x="80" y="1860"/>
                  <a:pt x="81" y="1861"/>
                  <a:pt x="81" y="1861"/>
                </a:cubicBezTo>
                <a:cubicBezTo>
                  <a:pt x="81" y="1861"/>
                  <a:pt x="82" y="1861"/>
                  <a:pt x="82" y="1862"/>
                </a:cubicBezTo>
                <a:cubicBezTo>
                  <a:pt x="82" y="1862"/>
                  <a:pt x="82" y="1862"/>
                  <a:pt x="82" y="1863"/>
                </a:cubicBezTo>
                <a:cubicBezTo>
                  <a:pt x="82" y="1866"/>
                  <a:pt x="78" y="1869"/>
                  <a:pt x="79" y="1872"/>
                </a:cubicBezTo>
                <a:cubicBezTo>
                  <a:pt x="79" y="1872"/>
                  <a:pt x="79" y="1872"/>
                  <a:pt x="80" y="1873"/>
                </a:cubicBezTo>
                <a:cubicBezTo>
                  <a:pt x="81" y="1874"/>
                  <a:pt x="81" y="1875"/>
                  <a:pt x="81" y="1877"/>
                </a:cubicBezTo>
                <a:cubicBezTo>
                  <a:pt x="81" y="1878"/>
                  <a:pt x="81" y="1879"/>
                  <a:pt x="81" y="1880"/>
                </a:cubicBezTo>
                <a:cubicBezTo>
                  <a:pt x="81" y="1880"/>
                  <a:pt x="81" y="1881"/>
                  <a:pt x="81" y="1881"/>
                </a:cubicBezTo>
                <a:cubicBezTo>
                  <a:pt x="82" y="1882"/>
                  <a:pt x="82" y="1882"/>
                  <a:pt x="82" y="1883"/>
                </a:cubicBezTo>
                <a:cubicBezTo>
                  <a:pt x="82" y="1884"/>
                  <a:pt x="82" y="1885"/>
                  <a:pt x="82" y="1886"/>
                </a:cubicBezTo>
                <a:cubicBezTo>
                  <a:pt x="81" y="1887"/>
                  <a:pt x="81" y="1887"/>
                  <a:pt x="81" y="1888"/>
                </a:cubicBezTo>
                <a:cubicBezTo>
                  <a:pt x="80" y="1889"/>
                  <a:pt x="80" y="1890"/>
                  <a:pt x="80" y="1891"/>
                </a:cubicBezTo>
                <a:cubicBezTo>
                  <a:pt x="80" y="1892"/>
                  <a:pt x="80" y="1894"/>
                  <a:pt x="80" y="1895"/>
                </a:cubicBezTo>
                <a:cubicBezTo>
                  <a:pt x="80" y="1896"/>
                  <a:pt x="80" y="1897"/>
                  <a:pt x="80" y="1899"/>
                </a:cubicBezTo>
                <a:cubicBezTo>
                  <a:pt x="80" y="1900"/>
                  <a:pt x="79" y="1901"/>
                  <a:pt x="80" y="1901"/>
                </a:cubicBezTo>
                <a:cubicBezTo>
                  <a:pt x="80" y="1902"/>
                  <a:pt x="82" y="1902"/>
                  <a:pt x="82" y="1904"/>
                </a:cubicBezTo>
                <a:cubicBezTo>
                  <a:pt x="82" y="1905"/>
                  <a:pt x="81" y="1906"/>
                  <a:pt x="81" y="1907"/>
                </a:cubicBezTo>
                <a:cubicBezTo>
                  <a:pt x="80" y="1909"/>
                  <a:pt x="80" y="1910"/>
                  <a:pt x="80" y="1912"/>
                </a:cubicBezTo>
                <a:cubicBezTo>
                  <a:pt x="80" y="1913"/>
                  <a:pt x="80" y="1915"/>
                  <a:pt x="80" y="1917"/>
                </a:cubicBezTo>
                <a:cubicBezTo>
                  <a:pt x="80" y="1921"/>
                  <a:pt x="80" y="1926"/>
                  <a:pt x="80" y="1930"/>
                </a:cubicBezTo>
                <a:cubicBezTo>
                  <a:pt x="79" y="1931"/>
                  <a:pt x="79" y="1932"/>
                  <a:pt x="79" y="1933"/>
                </a:cubicBezTo>
                <a:cubicBezTo>
                  <a:pt x="79" y="1934"/>
                  <a:pt x="78" y="1935"/>
                  <a:pt x="78" y="1936"/>
                </a:cubicBezTo>
                <a:cubicBezTo>
                  <a:pt x="78" y="1936"/>
                  <a:pt x="78" y="1937"/>
                  <a:pt x="78" y="1937"/>
                </a:cubicBezTo>
                <a:cubicBezTo>
                  <a:pt x="78" y="1937"/>
                  <a:pt x="78" y="1937"/>
                  <a:pt x="78" y="1937"/>
                </a:cubicBezTo>
                <a:cubicBezTo>
                  <a:pt x="79" y="1938"/>
                  <a:pt x="79" y="1939"/>
                  <a:pt x="78" y="1940"/>
                </a:cubicBezTo>
                <a:cubicBezTo>
                  <a:pt x="78" y="1941"/>
                  <a:pt x="78" y="1942"/>
                  <a:pt x="78" y="1943"/>
                </a:cubicBezTo>
                <a:cubicBezTo>
                  <a:pt x="78" y="1945"/>
                  <a:pt x="78" y="1946"/>
                  <a:pt x="78" y="1948"/>
                </a:cubicBezTo>
                <a:cubicBezTo>
                  <a:pt x="78" y="1949"/>
                  <a:pt x="79" y="1951"/>
                  <a:pt x="78" y="1951"/>
                </a:cubicBezTo>
                <a:cubicBezTo>
                  <a:pt x="78" y="1952"/>
                  <a:pt x="77" y="1951"/>
                  <a:pt x="77" y="1952"/>
                </a:cubicBezTo>
                <a:cubicBezTo>
                  <a:pt x="77" y="1952"/>
                  <a:pt x="77" y="1953"/>
                  <a:pt x="77" y="1953"/>
                </a:cubicBezTo>
                <a:cubicBezTo>
                  <a:pt x="77" y="1953"/>
                  <a:pt x="78" y="1953"/>
                  <a:pt x="78" y="1953"/>
                </a:cubicBezTo>
                <a:cubicBezTo>
                  <a:pt x="79" y="1952"/>
                  <a:pt x="81" y="1955"/>
                  <a:pt x="80" y="1956"/>
                </a:cubicBezTo>
                <a:cubicBezTo>
                  <a:pt x="80" y="1956"/>
                  <a:pt x="78" y="1956"/>
                  <a:pt x="78" y="1957"/>
                </a:cubicBezTo>
                <a:cubicBezTo>
                  <a:pt x="78" y="1957"/>
                  <a:pt x="78" y="1958"/>
                  <a:pt x="78" y="1958"/>
                </a:cubicBezTo>
                <a:cubicBezTo>
                  <a:pt x="78" y="1959"/>
                  <a:pt x="77" y="1960"/>
                  <a:pt x="77" y="1961"/>
                </a:cubicBezTo>
                <a:cubicBezTo>
                  <a:pt x="77" y="1962"/>
                  <a:pt x="76" y="1963"/>
                  <a:pt x="77" y="1964"/>
                </a:cubicBezTo>
                <a:cubicBezTo>
                  <a:pt x="77" y="1964"/>
                  <a:pt x="77" y="1964"/>
                  <a:pt x="77" y="1964"/>
                </a:cubicBezTo>
                <a:cubicBezTo>
                  <a:pt x="78" y="1965"/>
                  <a:pt x="77" y="1966"/>
                  <a:pt x="77" y="1966"/>
                </a:cubicBezTo>
                <a:cubicBezTo>
                  <a:pt x="76" y="1967"/>
                  <a:pt x="77" y="1968"/>
                  <a:pt x="77" y="1969"/>
                </a:cubicBezTo>
                <a:cubicBezTo>
                  <a:pt x="78" y="1969"/>
                  <a:pt x="78" y="1970"/>
                  <a:pt x="78" y="1971"/>
                </a:cubicBezTo>
                <a:cubicBezTo>
                  <a:pt x="78" y="1971"/>
                  <a:pt x="78" y="1971"/>
                  <a:pt x="78" y="1971"/>
                </a:cubicBezTo>
                <a:cubicBezTo>
                  <a:pt x="78" y="1972"/>
                  <a:pt x="78" y="1972"/>
                  <a:pt x="77" y="1972"/>
                </a:cubicBezTo>
                <a:cubicBezTo>
                  <a:pt x="76" y="1973"/>
                  <a:pt x="77" y="1975"/>
                  <a:pt x="76" y="1976"/>
                </a:cubicBezTo>
                <a:cubicBezTo>
                  <a:pt x="76" y="1992"/>
                  <a:pt x="76" y="1999"/>
                  <a:pt x="76" y="2000"/>
                </a:cubicBezTo>
                <a:cubicBezTo>
                  <a:pt x="76" y="2000"/>
                  <a:pt x="76" y="2008"/>
                  <a:pt x="75" y="2010"/>
                </a:cubicBezTo>
                <a:cubicBezTo>
                  <a:pt x="75" y="2011"/>
                  <a:pt x="74" y="2012"/>
                  <a:pt x="74" y="2013"/>
                </a:cubicBezTo>
                <a:cubicBezTo>
                  <a:pt x="74" y="2014"/>
                  <a:pt x="73" y="2015"/>
                  <a:pt x="73" y="2015"/>
                </a:cubicBezTo>
                <a:cubicBezTo>
                  <a:pt x="73" y="2016"/>
                  <a:pt x="73" y="2017"/>
                  <a:pt x="73" y="2017"/>
                </a:cubicBezTo>
                <a:cubicBezTo>
                  <a:pt x="73" y="2018"/>
                  <a:pt x="73" y="2018"/>
                  <a:pt x="73" y="2018"/>
                </a:cubicBezTo>
                <a:cubicBezTo>
                  <a:pt x="72" y="2019"/>
                  <a:pt x="72" y="2018"/>
                  <a:pt x="72" y="2019"/>
                </a:cubicBezTo>
                <a:cubicBezTo>
                  <a:pt x="71" y="2019"/>
                  <a:pt x="71" y="2020"/>
                  <a:pt x="71" y="2021"/>
                </a:cubicBezTo>
                <a:cubicBezTo>
                  <a:pt x="71" y="2022"/>
                  <a:pt x="71" y="2023"/>
                  <a:pt x="71" y="2024"/>
                </a:cubicBezTo>
                <a:cubicBezTo>
                  <a:pt x="72" y="2025"/>
                  <a:pt x="73" y="2027"/>
                  <a:pt x="71" y="2028"/>
                </a:cubicBezTo>
                <a:cubicBezTo>
                  <a:pt x="71" y="2028"/>
                  <a:pt x="71" y="2029"/>
                  <a:pt x="70" y="2029"/>
                </a:cubicBezTo>
                <a:cubicBezTo>
                  <a:pt x="70" y="2030"/>
                  <a:pt x="71" y="2030"/>
                  <a:pt x="71" y="2031"/>
                </a:cubicBezTo>
                <a:cubicBezTo>
                  <a:pt x="72" y="2031"/>
                  <a:pt x="72" y="2033"/>
                  <a:pt x="72" y="2033"/>
                </a:cubicBezTo>
                <a:cubicBezTo>
                  <a:pt x="72" y="2035"/>
                  <a:pt x="72" y="2037"/>
                  <a:pt x="72" y="2038"/>
                </a:cubicBezTo>
                <a:cubicBezTo>
                  <a:pt x="71" y="2043"/>
                  <a:pt x="71" y="2048"/>
                  <a:pt x="71" y="2049"/>
                </a:cubicBezTo>
                <a:cubicBezTo>
                  <a:pt x="71" y="2050"/>
                  <a:pt x="71" y="2052"/>
                  <a:pt x="71" y="2054"/>
                </a:cubicBezTo>
                <a:cubicBezTo>
                  <a:pt x="71" y="2054"/>
                  <a:pt x="72" y="2055"/>
                  <a:pt x="72" y="2056"/>
                </a:cubicBezTo>
                <a:cubicBezTo>
                  <a:pt x="72" y="2056"/>
                  <a:pt x="73" y="2057"/>
                  <a:pt x="73" y="2057"/>
                </a:cubicBezTo>
                <a:cubicBezTo>
                  <a:pt x="74" y="2058"/>
                  <a:pt x="73" y="2060"/>
                  <a:pt x="72" y="2061"/>
                </a:cubicBezTo>
                <a:cubicBezTo>
                  <a:pt x="72" y="2062"/>
                  <a:pt x="71" y="2063"/>
                  <a:pt x="71" y="2064"/>
                </a:cubicBezTo>
                <a:cubicBezTo>
                  <a:pt x="71" y="2065"/>
                  <a:pt x="71" y="2066"/>
                  <a:pt x="71" y="2067"/>
                </a:cubicBezTo>
                <a:cubicBezTo>
                  <a:pt x="71" y="2069"/>
                  <a:pt x="71" y="2071"/>
                  <a:pt x="71" y="2073"/>
                </a:cubicBezTo>
                <a:cubicBezTo>
                  <a:pt x="71" y="2078"/>
                  <a:pt x="70" y="2085"/>
                  <a:pt x="70" y="2092"/>
                </a:cubicBezTo>
                <a:cubicBezTo>
                  <a:pt x="69" y="2107"/>
                  <a:pt x="68" y="2122"/>
                  <a:pt x="68" y="2126"/>
                </a:cubicBezTo>
                <a:cubicBezTo>
                  <a:pt x="68" y="2127"/>
                  <a:pt x="68" y="2129"/>
                  <a:pt x="68" y="2131"/>
                </a:cubicBezTo>
                <a:cubicBezTo>
                  <a:pt x="68" y="2132"/>
                  <a:pt x="68" y="2133"/>
                  <a:pt x="69" y="2134"/>
                </a:cubicBezTo>
                <a:cubicBezTo>
                  <a:pt x="69" y="2134"/>
                  <a:pt x="69" y="2135"/>
                  <a:pt x="69" y="2135"/>
                </a:cubicBezTo>
                <a:cubicBezTo>
                  <a:pt x="69" y="2136"/>
                  <a:pt x="69" y="2136"/>
                  <a:pt x="68" y="2136"/>
                </a:cubicBezTo>
                <a:cubicBezTo>
                  <a:pt x="68" y="2136"/>
                  <a:pt x="68" y="2136"/>
                  <a:pt x="68" y="2136"/>
                </a:cubicBezTo>
                <a:cubicBezTo>
                  <a:pt x="68" y="2138"/>
                  <a:pt x="69" y="2139"/>
                  <a:pt x="68" y="2140"/>
                </a:cubicBezTo>
                <a:cubicBezTo>
                  <a:pt x="68" y="2141"/>
                  <a:pt x="68" y="2143"/>
                  <a:pt x="68" y="2144"/>
                </a:cubicBezTo>
                <a:cubicBezTo>
                  <a:pt x="68" y="2145"/>
                  <a:pt x="68" y="2146"/>
                  <a:pt x="68" y="2148"/>
                </a:cubicBezTo>
                <a:cubicBezTo>
                  <a:pt x="68" y="2148"/>
                  <a:pt x="68" y="2148"/>
                  <a:pt x="68" y="2148"/>
                </a:cubicBezTo>
                <a:cubicBezTo>
                  <a:pt x="69" y="2150"/>
                  <a:pt x="69" y="2151"/>
                  <a:pt x="68" y="2153"/>
                </a:cubicBezTo>
                <a:cubicBezTo>
                  <a:pt x="68" y="2153"/>
                  <a:pt x="68" y="2154"/>
                  <a:pt x="68" y="2154"/>
                </a:cubicBezTo>
                <a:cubicBezTo>
                  <a:pt x="68" y="2154"/>
                  <a:pt x="67" y="2154"/>
                  <a:pt x="67" y="2154"/>
                </a:cubicBezTo>
                <a:cubicBezTo>
                  <a:pt x="66" y="2155"/>
                  <a:pt x="67" y="2157"/>
                  <a:pt x="67" y="2159"/>
                </a:cubicBezTo>
                <a:cubicBezTo>
                  <a:pt x="67" y="2161"/>
                  <a:pt x="67" y="2163"/>
                  <a:pt x="67" y="2165"/>
                </a:cubicBezTo>
                <a:cubicBezTo>
                  <a:pt x="66" y="2167"/>
                  <a:pt x="65" y="2168"/>
                  <a:pt x="65" y="2170"/>
                </a:cubicBezTo>
                <a:cubicBezTo>
                  <a:pt x="65" y="2172"/>
                  <a:pt x="65" y="2177"/>
                  <a:pt x="65" y="2182"/>
                </a:cubicBezTo>
                <a:cubicBezTo>
                  <a:pt x="65" y="2184"/>
                  <a:pt x="65" y="2185"/>
                  <a:pt x="65" y="2187"/>
                </a:cubicBezTo>
                <a:cubicBezTo>
                  <a:pt x="65" y="2188"/>
                  <a:pt x="65" y="2190"/>
                  <a:pt x="65" y="2191"/>
                </a:cubicBezTo>
                <a:cubicBezTo>
                  <a:pt x="66" y="2192"/>
                  <a:pt x="66" y="2192"/>
                  <a:pt x="66" y="2192"/>
                </a:cubicBezTo>
                <a:cubicBezTo>
                  <a:pt x="66" y="2193"/>
                  <a:pt x="66" y="2194"/>
                  <a:pt x="65" y="2195"/>
                </a:cubicBezTo>
                <a:cubicBezTo>
                  <a:pt x="64" y="2197"/>
                  <a:pt x="64" y="2200"/>
                  <a:pt x="64" y="2203"/>
                </a:cubicBezTo>
                <a:cubicBezTo>
                  <a:pt x="64" y="2205"/>
                  <a:pt x="64" y="2208"/>
                  <a:pt x="64" y="2210"/>
                </a:cubicBezTo>
                <a:cubicBezTo>
                  <a:pt x="63" y="2213"/>
                  <a:pt x="63" y="2216"/>
                  <a:pt x="63" y="2219"/>
                </a:cubicBezTo>
                <a:cubicBezTo>
                  <a:pt x="63" y="2221"/>
                  <a:pt x="63" y="2222"/>
                  <a:pt x="63" y="2223"/>
                </a:cubicBezTo>
                <a:cubicBezTo>
                  <a:pt x="63" y="2224"/>
                  <a:pt x="63" y="2225"/>
                  <a:pt x="63" y="2227"/>
                </a:cubicBezTo>
                <a:cubicBezTo>
                  <a:pt x="63" y="2228"/>
                  <a:pt x="64" y="2230"/>
                  <a:pt x="64" y="2231"/>
                </a:cubicBezTo>
                <a:cubicBezTo>
                  <a:pt x="64" y="2233"/>
                  <a:pt x="63" y="2236"/>
                  <a:pt x="63" y="2238"/>
                </a:cubicBezTo>
                <a:cubicBezTo>
                  <a:pt x="63" y="2240"/>
                  <a:pt x="62" y="2242"/>
                  <a:pt x="62" y="2244"/>
                </a:cubicBezTo>
                <a:cubicBezTo>
                  <a:pt x="61" y="2249"/>
                  <a:pt x="61" y="2254"/>
                  <a:pt x="61" y="2258"/>
                </a:cubicBezTo>
                <a:cubicBezTo>
                  <a:pt x="61" y="2262"/>
                  <a:pt x="61" y="2266"/>
                  <a:pt x="61" y="2269"/>
                </a:cubicBezTo>
                <a:cubicBezTo>
                  <a:pt x="61" y="2272"/>
                  <a:pt x="60" y="2275"/>
                  <a:pt x="60" y="2278"/>
                </a:cubicBezTo>
                <a:cubicBezTo>
                  <a:pt x="60" y="2279"/>
                  <a:pt x="60" y="2280"/>
                  <a:pt x="61" y="2281"/>
                </a:cubicBezTo>
                <a:cubicBezTo>
                  <a:pt x="61" y="2281"/>
                  <a:pt x="61" y="2281"/>
                  <a:pt x="61" y="2282"/>
                </a:cubicBezTo>
                <a:cubicBezTo>
                  <a:pt x="61" y="2282"/>
                  <a:pt x="61" y="2283"/>
                  <a:pt x="61" y="2284"/>
                </a:cubicBezTo>
                <a:cubicBezTo>
                  <a:pt x="61" y="2284"/>
                  <a:pt x="61" y="2284"/>
                  <a:pt x="61" y="2284"/>
                </a:cubicBezTo>
                <a:cubicBezTo>
                  <a:pt x="59" y="2285"/>
                  <a:pt x="59" y="2288"/>
                  <a:pt x="59" y="2289"/>
                </a:cubicBezTo>
                <a:cubicBezTo>
                  <a:pt x="59" y="2289"/>
                  <a:pt x="58" y="2292"/>
                  <a:pt x="59" y="2293"/>
                </a:cubicBezTo>
                <a:cubicBezTo>
                  <a:pt x="59" y="2293"/>
                  <a:pt x="59" y="2293"/>
                  <a:pt x="59" y="2293"/>
                </a:cubicBezTo>
                <a:cubicBezTo>
                  <a:pt x="59" y="2293"/>
                  <a:pt x="59" y="2293"/>
                  <a:pt x="59" y="2294"/>
                </a:cubicBezTo>
                <a:cubicBezTo>
                  <a:pt x="59" y="2295"/>
                  <a:pt x="59" y="2296"/>
                  <a:pt x="59" y="2298"/>
                </a:cubicBezTo>
                <a:cubicBezTo>
                  <a:pt x="59" y="2300"/>
                  <a:pt x="58" y="2304"/>
                  <a:pt x="58" y="2307"/>
                </a:cubicBezTo>
                <a:cubicBezTo>
                  <a:pt x="58" y="2311"/>
                  <a:pt x="57" y="2322"/>
                  <a:pt x="57" y="2328"/>
                </a:cubicBezTo>
                <a:cubicBezTo>
                  <a:pt x="57" y="2329"/>
                  <a:pt x="57" y="2332"/>
                  <a:pt x="57" y="2335"/>
                </a:cubicBezTo>
                <a:cubicBezTo>
                  <a:pt x="57" y="2337"/>
                  <a:pt x="57" y="2339"/>
                  <a:pt x="56" y="2340"/>
                </a:cubicBezTo>
                <a:cubicBezTo>
                  <a:pt x="56" y="2341"/>
                  <a:pt x="55" y="2342"/>
                  <a:pt x="55" y="2342"/>
                </a:cubicBezTo>
                <a:cubicBezTo>
                  <a:pt x="55" y="2343"/>
                  <a:pt x="55" y="2344"/>
                  <a:pt x="55" y="2345"/>
                </a:cubicBezTo>
                <a:cubicBezTo>
                  <a:pt x="55" y="2347"/>
                  <a:pt x="55" y="2350"/>
                  <a:pt x="55" y="2352"/>
                </a:cubicBezTo>
                <a:cubicBezTo>
                  <a:pt x="55" y="2353"/>
                  <a:pt x="54" y="2353"/>
                  <a:pt x="54" y="2354"/>
                </a:cubicBezTo>
                <a:cubicBezTo>
                  <a:pt x="54" y="2354"/>
                  <a:pt x="54" y="2355"/>
                  <a:pt x="54" y="2355"/>
                </a:cubicBezTo>
                <a:cubicBezTo>
                  <a:pt x="54" y="2355"/>
                  <a:pt x="54" y="2356"/>
                  <a:pt x="54" y="2356"/>
                </a:cubicBezTo>
                <a:cubicBezTo>
                  <a:pt x="55" y="2357"/>
                  <a:pt x="55" y="2358"/>
                  <a:pt x="55" y="2359"/>
                </a:cubicBezTo>
                <a:cubicBezTo>
                  <a:pt x="54" y="2360"/>
                  <a:pt x="54" y="2361"/>
                  <a:pt x="54" y="2363"/>
                </a:cubicBezTo>
                <a:cubicBezTo>
                  <a:pt x="54" y="2365"/>
                  <a:pt x="54" y="2368"/>
                  <a:pt x="54" y="2371"/>
                </a:cubicBezTo>
                <a:cubicBezTo>
                  <a:pt x="53" y="2375"/>
                  <a:pt x="53" y="2380"/>
                  <a:pt x="53" y="2385"/>
                </a:cubicBezTo>
                <a:cubicBezTo>
                  <a:pt x="53" y="2386"/>
                  <a:pt x="53" y="2386"/>
                  <a:pt x="54" y="2387"/>
                </a:cubicBezTo>
                <a:cubicBezTo>
                  <a:pt x="54" y="2387"/>
                  <a:pt x="54" y="2388"/>
                  <a:pt x="55" y="2388"/>
                </a:cubicBezTo>
                <a:cubicBezTo>
                  <a:pt x="55" y="2389"/>
                  <a:pt x="55" y="2389"/>
                  <a:pt x="54" y="2389"/>
                </a:cubicBezTo>
                <a:cubicBezTo>
                  <a:pt x="54" y="2390"/>
                  <a:pt x="54" y="2390"/>
                  <a:pt x="53" y="2391"/>
                </a:cubicBezTo>
                <a:cubicBezTo>
                  <a:pt x="53" y="2392"/>
                  <a:pt x="53" y="2393"/>
                  <a:pt x="53" y="2394"/>
                </a:cubicBezTo>
                <a:cubicBezTo>
                  <a:pt x="52" y="2395"/>
                  <a:pt x="52" y="2398"/>
                  <a:pt x="53" y="2399"/>
                </a:cubicBezTo>
                <a:cubicBezTo>
                  <a:pt x="53" y="2399"/>
                  <a:pt x="53" y="2399"/>
                  <a:pt x="53" y="2399"/>
                </a:cubicBezTo>
                <a:cubicBezTo>
                  <a:pt x="54" y="2399"/>
                  <a:pt x="54" y="2400"/>
                  <a:pt x="54" y="2400"/>
                </a:cubicBezTo>
                <a:cubicBezTo>
                  <a:pt x="54" y="2400"/>
                  <a:pt x="53" y="2400"/>
                  <a:pt x="53" y="2401"/>
                </a:cubicBezTo>
                <a:cubicBezTo>
                  <a:pt x="51" y="2401"/>
                  <a:pt x="52" y="2403"/>
                  <a:pt x="51" y="2405"/>
                </a:cubicBezTo>
                <a:cubicBezTo>
                  <a:pt x="51" y="2406"/>
                  <a:pt x="51" y="2408"/>
                  <a:pt x="50" y="2409"/>
                </a:cubicBezTo>
                <a:cubicBezTo>
                  <a:pt x="50" y="2409"/>
                  <a:pt x="50" y="2409"/>
                  <a:pt x="50" y="2410"/>
                </a:cubicBezTo>
                <a:cubicBezTo>
                  <a:pt x="50" y="2410"/>
                  <a:pt x="50" y="2411"/>
                  <a:pt x="50" y="2411"/>
                </a:cubicBezTo>
                <a:cubicBezTo>
                  <a:pt x="50" y="2411"/>
                  <a:pt x="51" y="2412"/>
                  <a:pt x="51" y="2412"/>
                </a:cubicBezTo>
                <a:cubicBezTo>
                  <a:pt x="51" y="2412"/>
                  <a:pt x="51" y="2413"/>
                  <a:pt x="51" y="2413"/>
                </a:cubicBezTo>
                <a:cubicBezTo>
                  <a:pt x="51" y="2413"/>
                  <a:pt x="51" y="2414"/>
                  <a:pt x="51" y="2414"/>
                </a:cubicBezTo>
                <a:cubicBezTo>
                  <a:pt x="51" y="2414"/>
                  <a:pt x="50" y="2414"/>
                  <a:pt x="49" y="2414"/>
                </a:cubicBezTo>
                <a:cubicBezTo>
                  <a:pt x="49" y="2414"/>
                  <a:pt x="49" y="2415"/>
                  <a:pt x="49" y="2415"/>
                </a:cubicBezTo>
                <a:cubicBezTo>
                  <a:pt x="49" y="2416"/>
                  <a:pt x="50" y="2417"/>
                  <a:pt x="50" y="2418"/>
                </a:cubicBezTo>
                <a:cubicBezTo>
                  <a:pt x="50" y="2419"/>
                  <a:pt x="50" y="2419"/>
                  <a:pt x="50" y="2420"/>
                </a:cubicBezTo>
                <a:cubicBezTo>
                  <a:pt x="50" y="2421"/>
                  <a:pt x="50" y="2423"/>
                  <a:pt x="50" y="2424"/>
                </a:cubicBezTo>
                <a:cubicBezTo>
                  <a:pt x="50" y="2428"/>
                  <a:pt x="50" y="2432"/>
                  <a:pt x="49" y="2434"/>
                </a:cubicBezTo>
                <a:cubicBezTo>
                  <a:pt x="49" y="2435"/>
                  <a:pt x="49" y="2436"/>
                  <a:pt x="48" y="2437"/>
                </a:cubicBezTo>
                <a:cubicBezTo>
                  <a:pt x="48" y="2437"/>
                  <a:pt x="48" y="2437"/>
                  <a:pt x="48" y="2437"/>
                </a:cubicBezTo>
                <a:cubicBezTo>
                  <a:pt x="47" y="2437"/>
                  <a:pt x="46" y="2438"/>
                  <a:pt x="47" y="2439"/>
                </a:cubicBezTo>
                <a:cubicBezTo>
                  <a:pt x="48" y="2439"/>
                  <a:pt x="48" y="2439"/>
                  <a:pt x="49" y="2440"/>
                </a:cubicBezTo>
                <a:cubicBezTo>
                  <a:pt x="49" y="2441"/>
                  <a:pt x="49" y="2442"/>
                  <a:pt x="48" y="2444"/>
                </a:cubicBezTo>
                <a:cubicBezTo>
                  <a:pt x="47" y="2447"/>
                  <a:pt x="47" y="2450"/>
                  <a:pt x="47" y="2454"/>
                </a:cubicBezTo>
                <a:cubicBezTo>
                  <a:pt x="47" y="2455"/>
                  <a:pt x="47" y="2457"/>
                  <a:pt x="47" y="2458"/>
                </a:cubicBezTo>
                <a:cubicBezTo>
                  <a:pt x="47" y="2458"/>
                  <a:pt x="47" y="2459"/>
                  <a:pt x="47" y="2460"/>
                </a:cubicBezTo>
                <a:cubicBezTo>
                  <a:pt x="47" y="2460"/>
                  <a:pt x="46" y="2460"/>
                  <a:pt x="46" y="2461"/>
                </a:cubicBezTo>
                <a:cubicBezTo>
                  <a:pt x="46" y="2461"/>
                  <a:pt x="46" y="2461"/>
                  <a:pt x="46" y="2462"/>
                </a:cubicBezTo>
                <a:cubicBezTo>
                  <a:pt x="46" y="2462"/>
                  <a:pt x="46" y="2463"/>
                  <a:pt x="46" y="2463"/>
                </a:cubicBezTo>
                <a:cubicBezTo>
                  <a:pt x="46" y="2464"/>
                  <a:pt x="47" y="2463"/>
                  <a:pt x="47" y="2464"/>
                </a:cubicBezTo>
                <a:cubicBezTo>
                  <a:pt x="47" y="2464"/>
                  <a:pt x="48" y="2465"/>
                  <a:pt x="48" y="2465"/>
                </a:cubicBezTo>
                <a:cubicBezTo>
                  <a:pt x="48" y="2467"/>
                  <a:pt x="48" y="2469"/>
                  <a:pt x="49" y="2471"/>
                </a:cubicBezTo>
                <a:cubicBezTo>
                  <a:pt x="48" y="2472"/>
                  <a:pt x="48" y="2474"/>
                  <a:pt x="48" y="2475"/>
                </a:cubicBezTo>
                <a:cubicBezTo>
                  <a:pt x="47" y="2476"/>
                  <a:pt x="47" y="2477"/>
                  <a:pt x="46" y="2478"/>
                </a:cubicBezTo>
                <a:cubicBezTo>
                  <a:pt x="46" y="2478"/>
                  <a:pt x="46" y="2479"/>
                  <a:pt x="46" y="2480"/>
                </a:cubicBezTo>
                <a:cubicBezTo>
                  <a:pt x="45" y="2480"/>
                  <a:pt x="45" y="2480"/>
                  <a:pt x="45" y="2480"/>
                </a:cubicBezTo>
                <a:cubicBezTo>
                  <a:pt x="45" y="2480"/>
                  <a:pt x="45" y="2481"/>
                  <a:pt x="45" y="2481"/>
                </a:cubicBezTo>
                <a:cubicBezTo>
                  <a:pt x="45" y="2481"/>
                  <a:pt x="45" y="2481"/>
                  <a:pt x="46" y="2481"/>
                </a:cubicBezTo>
                <a:cubicBezTo>
                  <a:pt x="46" y="2481"/>
                  <a:pt x="46" y="2482"/>
                  <a:pt x="46" y="2482"/>
                </a:cubicBezTo>
                <a:cubicBezTo>
                  <a:pt x="46" y="2483"/>
                  <a:pt x="45" y="2485"/>
                  <a:pt x="45" y="2486"/>
                </a:cubicBezTo>
                <a:cubicBezTo>
                  <a:pt x="45" y="2486"/>
                  <a:pt x="45" y="2487"/>
                  <a:pt x="45" y="2487"/>
                </a:cubicBezTo>
                <a:cubicBezTo>
                  <a:pt x="44" y="2488"/>
                  <a:pt x="45" y="2489"/>
                  <a:pt x="45" y="2490"/>
                </a:cubicBezTo>
                <a:cubicBezTo>
                  <a:pt x="46" y="2491"/>
                  <a:pt x="46" y="2492"/>
                  <a:pt x="46" y="2493"/>
                </a:cubicBezTo>
                <a:cubicBezTo>
                  <a:pt x="47" y="2493"/>
                  <a:pt x="47" y="2494"/>
                  <a:pt x="48" y="2495"/>
                </a:cubicBezTo>
                <a:cubicBezTo>
                  <a:pt x="48" y="2496"/>
                  <a:pt x="47" y="2496"/>
                  <a:pt x="47" y="2497"/>
                </a:cubicBezTo>
                <a:cubicBezTo>
                  <a:pt x="46" y="2498"/>
                  <a:pt x="46" y="2499"/>
                  <a:pt x="45" y="2500"/>
                </a:cubicBezTo>
                <a:cubicBezTo>
                  <a:pt x="45" y="2502"/>
                  <a:pt x="45" y="2504"/>
                  <a:pt x="44" y="2506"/>
                </a:cubicBezTo>
                <a:cubicBezTo>
                  <a:pt x="44" y="2507"/>
                  <a:pt x="44" y="2509"/>
                  <a:pt x="43" y="2510"/>
                </a:cubicBezTo>
                <a:cubicBezTo>
                  <a:pt x="43" y="2511"/>
                  <a:pt x="43" y="2513"/>
                  <a:pt x="42" y="2513"/>
                </a:cubicBezTo>
                <a:cubicBezTo>
                  <a:pt x="42" y="2514"/>
                  <a:pt x="42" y="2514"/>
                  <a:pt x="42" y="2514"/>
                </a:cubicBezTo>
                <a:cubicBezTo>
                  <a:pt x="42" y="2514"/>
                  <a:pt x="42" y="2515"/>
                  <a:pt x="43" y="2515"/>
                </a:cubicBezTo>
                <a:cubicBezTo>
                  <a:pt x="43" y="2515"/>
                  <a:pt x="43" y="2515"/>
                  <a:pt x="43" y="2515"/>
                </a:cubicBezTo>
                <a:cubicBezTo>
                  <a:pt x="43" y="2516"/>
                  <a:pt x="42" y="2516"/>
                  <a:pt x="42" y="2516"/>
                </a:cubicBezTo>
                <a:cubicBezTo>
                  <a:pt x="42" y="2516"/>
                  <a:pt x="42" y="2516"/>
                  <a:pt x="43" y="2516"/>
                </a:cubicBezTo>
                <a:cubicBezTo>
                  <a:pt x="43" y="2517"/>
                  <a:pt x="43" y="2517"/>
                  <a:pt x="43" y="2517"/>
                </a:cubicBezTo>
                <a:cubicBezTo>
                  <a:pt x="43" y="2517"/>
                  <a:pt x="43" y="2518"/>
                  <a:pt x="43" y="2518"/>
                </a:cubicBezTo>
                <a:cubicBezTo>
                  <a:pt x="43" y="2518"/>
                  <a:pt x="42" y="2518"/>
                  <a:pt x="42" y="2520"/>
                </a:cubicBezTo>
                <a:cubicBezTo>
                  <a:pt x="42" y="2524"/>
                  <a:pt x="43" y="2527"/>
                  <a:pt x="43" y="2531"/>
                </a:cubicBezTo>
                <a:cubicBezTo>
                  <a:pt x="43" y="2533"/>
                  <a:pt x="43" y="2535"/>
                  <a:pt x="43" y="2536"/>
                </a:cubicBezTo>
                <a:cubicBezTo>
                  <a:pt x="43" y="2537"/>
                  <a:pt x="42" y="2538"/>
                  <a:pt x="41" y="2539"/>
                </a:cubicBezTo>
                <a:cubicBezTo>
                  <a:pt x="41" y="2539"/>
                  <a:pt x="40" y="2540"/>
                  <a:pt x="40" y="2540"/>
                </a:cubicBezTo>
                <a:cubicBezTo>
                  <a:pt x="39" y="2541"/>
                  <a:pt x="39" y="2543"/>
                  <a:pt x="39" y="2544"/>
                </a:cubicBezTo>
                <a:cubicBezTo>
                  <a:pt x="39" y="2544"/>
                  <a:pt x="38" y="2546"/>
                  <a:pt x="39" y="2547"/>
                </a:cubicBezTo>
                <a:cubicBezTo>
                  <a:pt x="40" y="2547"/>
                  <a:pt x="39" y="2549"/>
                  <a:pt x="39" y="2550"/>
                </a:cubicBezTo>
                <a:cubicBezTo>
                  <a:pt x="38" y="2551"/>
                  <a:pt x="38" y="2553"/>
                  <a:pt x="38" y="2555"/>
                </a:cubicBezTo>
                <a:cubicBezTo>
                  <a:pt x="38" y="2556"/>
                  <a:pt x="38" y="2557"/>
                  <a:pt x="38" y="2557"/>
                </a:cubicBezTo>
                <a:cubicBezTo>
                  <a:pt x="38" y="2558"/>
                  <a:pt x="39" y="2559"/>
                  <a:pt x="39" y="2560"/>
                </a:cubicBezTo>
                <a:cubicBezTo>
                  <a:pt x="39" y="2560"/>
                  <a:pt x="40" y="2561"/>
                  <a:pt x="39" y="2561"/>
                </a:cubicBezTo>
                <a:cubicBezTo>
                  <a:pt x="39" y="2562"/>
                  <a:pt x="39" y="2562"/>
                  <a:pt x="39" y="2562"/>
                </a:cubicBezTo>
                <a:cubicBezTo>
                  <a:pt x="38" y="2561"/>
                  <a:pt x="37" y="2563"/>
                  <a:pt x="37" y="2563"/>
                </a:cubicBezTo>
                <a:cubicBezTo>
                  <a:pt x="37" y="2564"/>
                  <a:pt x="37" y="2564"/>
                  <a:pt x="37" y="2565"/>
                </a:cubicBezTo>
                <a:cubicBezTo>
                  <a:pt x="37" y="2565"/>
                  <a:pt x="37" y="2567"/>
                  <a:pt x="38" y="2567"/>
                </a:cubicBezTo>
                <a:cubicBezTo>
                  <a:pt x="38" y="2568"/>
                  <a:pt x="38" y="2567"/>
                  <a:pt x="38" y="2568"/>
                </a:cubicBezTo>
                <a:cubicBezTo>
                  <a:pt x="39" y="2568"/>
                  <a:pt x="39" y="2568"/>
                  <a:pt x="39" y="2568"/>
                </a:cubicBezTo>
                <a:cubicBezTo>
                  <a:pt x="39" y="2569"/>
                  <a:pt x="39" y="2570"/>
                  <a:pt x="39" y="2571"/>
                </a:cubicBezTo>
                <a:cubicBezTo>
                  <a:pt x="39" y="2572"/>
                  <a:pt x="39" y="2574"/>
                  <a:pt x="38" y="2575"/>
                </a:cubicBezTo>
                <a:cubicBezTo>
                  <a:pt x="38" y="2579"/>
                  <a:pt x="37" y="2587"/>
                  <a:pt x="36" y="2593"/>
                </a:cubicBezTo>
                <a:cubicBezTo>
                  <a:pt x="36" y="2596"/>
                  <a:pt x="36" y="2598"/>
                  <a:pt x="36" y="2600"/>
                </a:cubicBezTo>
                <a:cubicBezTo>
                  <a:pt x="36" y="2602"/>
                  <a:pt x="36" y="2604"/>
                  <a:pt x="35" y="2606"/>
                </a:cubicBezTo>
                <a:cubicBezTo>
                  <a:pt x="35" y="2606"/>
                  <a:pt x="35" y="2607"/>
                  <a:pt x="34" y="2608"/>
                </a:cubicBezTo>
                <a:cubicBezTo>
                  <a:pt x="34" y="2608"/>
                  <a:pt x="34" y="2608"/>
                  <a:pt x="34" y="2608"/>
                </a:cubicBezTo>
                <a:cubicBezTo>
                  <a:pt x="34" y="2609"/>
                  <a:pt x="34" y="2609"/>
                  <a:pt x="34" y="2609"/>
                </a:cubicBezTo>
                <a:cubicBezTo>
                  <a:pt x="35" y="2609"/>
                  <a:pt x="35" y="2610"/>
                  <a:pt x="35" y="2610"/>
                </a:cubicBezTo>
                <a:cubicBezTo>
                  <a:pt x="35" y="2610"/>
                  <a:pt x="36" y="2610"/>
                  <a:pt x="36" y="2611"/>
                </a:cubicBezTo>
                <a:cubicBezTo>
                  <a:pt x="36" y="2611"/>
                  <a:pt x="35" y="2612"/>
                  <a:pt x="35" y="2613"/>
                </a:cubicBezTo>
                <a:cubicBezTo>
                  <a:pt x="35" y="2614"/>
                  <a:pt x="34" y="2617"/>
                  <a:pt x="34" y="2619"/>
                </a:cubicBezTo>
                <a:cubicBezTo>
                  <a:pt x="34" y="2620"/>
                  <a:pt x="33" y="2621"/>
                  <a:pt x="33" y="2621"/>
                </a:cubicBezTo>
                <a:cubicBezTo>
                  <a:pt x="33" y="2622"/>
                  <a:pt x="33" y="2623"/>
                  <a:pt x="33" y="2623"/>
                </a:cubicBezTo>
                <a:cubicBezTo>
                  <a:pt x="32" y="2623"/>
                  <a:pt x="33" y="2624"/>
                  <a:pt x="33" y="2624"/>
                </a:cubicBezTo>
                <a:cubicBezTo>
                  <a:pt x="33" y="2624"/>
                  <a:pt x="33" y="2624"/>
                  <a:pt x="34" y="2624"/>
                </a:cubicBezTo>
                <a:cubicBezTo>
                  <a:pt x="34" y="2623"/>
                  <a:pt x="35" y="2624"/>
                  <a:pt x="35" y="2624"/>
                </a:cubicBezTo>
                <a:cubicBezTo>
                  <a:pt x="35" y="2624"/>
                  <a:pt x="35" y="2624"/>
                  <a:pt x="35" y="2625"/>
                </a:cubicBezTo>
                <a:cubicBezTo>
                  <a:pt x="35" y="2626"/>
                  <a:pt x="34" y="2627"/>
                  <a:pt x="34" y="2629"/>
                </a:cubicBezTo>
                <a:cubicBezTo>
                  <a:pt x="34" y="2631"/>
                  <a:pt x="34" y="2635"/>
                  <a:pt x="34" y="2637"/>
                </a:cubicBezTo>
                <a:cubicBezTo>
                  <a:pt x="34" y="2639"/>
                  <a:pt x="33" y="2643"/>
                  <a:pt x="33" y="2647"/>
                </a:cubicBezTo>
                <a:cubicBezTo>
                  <a:pt x="33" y="2651"/>
                  <a:pt x="32" y="2660"/>
                  <a:pt x="32" y="2668"/>
                </a:cubicBezTo>
                <a:cubicBezTo>
                  <a:pt x="31" y="2671"/>
                  <a:pt x="31" y="2674"/>
                  <a:pt x="31" y="2676"/>
                </a:cubicBezTo>
                <a:cubicBezTo>
                  <a:pt x="31" y="2678"/>
                  <a:pt x="31" y="2679"/>
                  <a:pt x="31" y="2680"/>
                </a:cubicBezTo>
                <a:cubicBezTo>
                  <a:pt x="31" y="2681"/>
                  <a:pt x="31" y="2683"/>
                  <a:pt x="30" y="2683"/>
                </a:cubicBezTo>
                <a:cubicBezTo>
                  <a:pt x="30" y="2683"/>
                  <a:pt x="29" y="2683"/>
                  <a:pt x="29" y="2683"/>
                </a:cubicBezTo>
                <a:cubicBezTo>
                  <a:pt x="28" y="2684"/>
                  <a:pt x="29" y="2686"/>
                  <a:pt x="29" y="2687"/>
                </a:cubicBezTo>
                <a:cubicBezTo>
                  <a:pt x="29" y="2688"/>
                  <a:pt x="28" y="2689"/>
                  <a:pt x="28" y="2690"/>
                </a:cubicBezTo>
                <a:cubicBezTo>
                  <a:pt x="28" y="2691"/>
                  <a:pt x="28" y="2691"/>
                  <a:pt x="28" y="2692"/>
                </a:cubicBezTo>
                <a:cubicBezTo>
                  <a:pt x="28" y="2692"/>
                  <a:pt x="28" y="2692"/>
                  <a:pt x="27" y="2692"/>
                </a:cubicBezTo>
                <a:cubicBezTo>
                  <a:pt x="27" y="2693"/>
                  <a:pt x="27" y="2693"/>
                  <a:pt x="28" y="2693"/>
                </a:cubicBezTo>
                <a:cubicBezTo>
                  <a:pt x="28" y="2693"/>
                  <a:pt x="28" y="2693"/>
                  <a:pt x="28" y="2694"/>
                </a:cubicBezTo>
                <a:cubicBezTo>
                  <a:pt x="30" y="2695"/>
                  <a:pt x="29" y="2696"/>
                  <a:pt x="29" y="2698"/>
                </a:cubicBezTo>
                <a:cubicBezTo>
                  <a:pt x="29" y="2699"/>
                  <a:pt x="29" y="2702"/>
                  <a:pt x="29" y="2704"/>
                </a:cubicBezTo>
                <a:cubicBezTo>
                  <a:pt x="29" y="2705"/>
                  <a:pt x="29" y="2706"/>
                  <a:pt x="30" y="2706"/>
                </a:cubicBezTo>
                <a:cubicBezTo>
                  <a:pt x="30" y="2707"/>
                  <a:pt x="30" y="2707"/>
                  <a:pt x="30" y="2708"/>
                </a:cubicBezTo>
                <a:cubicBezTo>
                  <a:pt x="29" y="2709"/>
                  <a:pt x="29" y="2709"/>
                  <a:pt x="29" y="2709"/>
                </a:cubicBezTo>
                <a:cubicBezTo>
                  <a:pt x="28" y="2710"/>
                  <a:pt x="28" y="2711"/>
                  <a:pt x="28" y="2712"/>
                </a:cubicBezTo>
                <a:cubicBezTo>
                  <a:pt x="28" y="2713"/>
                  <a:pt x="29" y="2714"/>
                  <a:pt x="28" y="2715"/>
                </a:cubicBezTo>
                <a:cubicBezTo>
                  <a:pt x="28" y="2716"/>
                  <a:pt x="28" y="2717"/>
                  <a:pt x="27" y="2717"/>
                </a:cubicBezTo>
                <a:cubicBezTo>
                  <a:pt x="27" y="2718"/>
                  <a:pt x="26" y="2718"/>
                  <a:pt x="26" y="2719"/>
                </a:cubicBezTo>
                <a:cubicBezTo>
                  <a:pt x="26" y="2719"/>
                  <a:pt x="27" y="2720"/>
                  <a:pt x="27" y="2720"/>
                </a:cubicBezTo>
                <a:cubicBezTo>
                  <a:pt x="27" y="2721"/>
                  <a:pt x="27" y="2722"/>
                  <a:pt x="27" y="2723"/>
                </a:cubicBezTo>
                <a:cubicBezTo>
                  <a:pt x="27" y="2725"/>
                  <a:pt x="27" y="2727"/>
                  <a:pt x="28" y="2728"/>
                </a:cubicBezTo>
                <a:cubicBezTo>
                  <a:pt x="29" y="2730"/>
                  <a:pt x="28" y="2731"/>
                  <a:pt x="28" y="2733"/>
                </a:cubicBezTo>
                <a:cubicBezTo>
                  <a:pt x="28" y="2735"/>
                  <a:pt x="27" y="2737"/>
                  <a:pt x="27" y="2739"/>
                </a:cubicBezTo>
                <a:cubicBezTo>
                  <a:pt x="26" y="2740"/>
                  <a:pt x="26" y="2740"/>
                  <a:pt x="26" y="2741"/>
                </a:cubicBezTo>
                <a:cubicBezTo>
                  <a:pt x="26" y="2742"/>
                  <a:pt x="26" y="2742"/>
                  <a:pt x="26" y="2742"/>
                </a:cubicBezTo>
                <a:cubicBezTo>
                  <a:pt x="27" y="2743"/>
                  <a:pt x="27" y="2742"/>
                  <a:pt x="27" y="2743"/>
                </a:cubicBezTo>
                <a:cubicBezTo>
                  <a:pt x="27" y="2743"/>
                  <a:pt x="27" y="2744"/>
                  <a:pt x="27" y="2744"/>
                </a:cubicBezTo>
                <a:cubicBezTo>
                  <a:pt x="27" y="2745"/>
                  <a:pt x="27" y="2746"/>
                  <a:pt x="27" y="2746"/>
                </a:cubicBezTo>
                <a:cubicBezTo>
                  <a:pt x="27" y="2747"/>
                  <a:pt x="26" y="2747"/>
                  <a:pt x="26" y="2747"/>
                </a:cubicBezTo>
                <a:cubicBezTo>
                  <a:pt x="25" y="2747"/>
                  <a:pt x="25" y="2748"/>
                  <a:pt x="25" y="2748"/>
                </a:cubicBezTo>
                <a:cubicBezTo>
                  <a:pt x="24" y="2748"/>
                  <a:pt x="24" y="2749"/>
                  <a:pt x="23" y="2749"/>
                </a:cubicBezTo>
                <a:cubicBezTo>
                  <a:pt x="23" y="2750"/>
                  <a:pt x="24" y="2750"/>
                  <a:pt x="24" y="2751"/>
                </a:cubicBezTo>
                <a:cubicBezTo>
                  <a:pt x="24" y="2751"/>
                  <a:pt x="24" y="2751"/>
                  <a:pt x="24" y="2751"/>
                </a:cubicBezTo>
                <a:cubicBezTo>
                  <a:pt x="24" y="2751"/>
                  <a:pt x="23" y="2751"/>
                  <a:pt x="23" y="2751"/>
                </a:cubicBezTo>
                <a:cubicBezTo>
                  <a:pt x="23" y="2751"/>
                  <a:pt x="23" y="2751"/>
                  <a:pt x="23" y="2751"/>
                </a:cubicBezTo>
                <a:cubicBezTo>
                  <a:pt x="23" y="2752"/>
                  <a:pt x="22" y="2752"/>
                  <a:pt x="23" y="2752"/>
                </a:cubicBezTo>
                <a:cubicBezTo>
                  <a:pt x="23" y="2753"/>
                  <a:pt x="23" y="2753"/>
                  <a:pt x="23" y="2753"/>
                </a:cubicBezTo>
                <a:cubicBezTo>
                  <a:pt x="24" y="2753"/>
                  <a:pt x="24" y="2753"/>
                  <a:pt x="24" y="2753"/>
                </a:cubicBezTo>
                <a:cubicBezTo>
                  <a:pt x="24" y="2753"/>
                  <a:pt x="25" y="2752"/>
                  <a:pt x="25" y="2752"/>
                </a:cubicBezTo>
                <a:cubicBezTo>
                  <a:pt x="26" y="2752"/>
                  <a:pt x="26" y="2752"/>
                  <a:pt x="27" y="2753"/>
                </a:cubicBezTo>
                <a:cubicBezTo>
                  <a:pt x="27" y="2753"/>
                  <a:pt x="27" y="2754"/>
                  <a:pt x="27" y="2754"/>
                </a:cubicBezTo>
                <a:cubicBezTo>
                  <a:pt x="27" y="2754"/>
                  <a:pt x="26" y="2755"/>
                  <a:pt x="25" y="2755"/>
                </a:cubicBezTo>
                <a:cubicBezTo>
                  <a:pt x="25" y="2755"/>
                  <a:pt x="24" y="2756"/>
                  <a:pt x="24" y="2756"/>
                </a:cubicBezTo>
                <a:cubicBezTo>
                  <a:pt x="23" y="2757"/>
                  <a:pt x="23" y="2758"/>
                  <a:pt x="23" y="2758"/>
                </a:cubicBezTo>
                <a:cubicBezTo>
                  <a:pt x="23" y="2760"/>
                  <a:pt x="23" y="2763"/>
                  <a:pt x="22" y="2766"/>
                </a:cubicBezTo>
                <a:cubicBezTo>
                  <a:pt x="22" y="2767"/>
                  <a:pt x="22" y="2768"/>
                  <a:pt x="22" y="2769"/>
                </a:cubicBezTo>
                <a:cubicBezTo>
                  <a:pt x="22" y="2769"/>
                  <a:pt x="22" y="2770"/>
                  <a:pt x="22" y="2771"/>
                </a:cubicBezTo>
                <a:cubicBezTo>
                  <a:pt x="22" y="2771"/>
                  <a:pt x="23" y="2771"/>
                  <a:pt x="23" y="2771"/>
                </a:cubicBezTo>
                <a:cubicBezTo>
                  <a:pt x="23" y="2772"/>
                  <a:pt x="23" y="2773"/>
                  <a:pt x="23" y="2774"/>
                </a:cubicBezTo>
                <a:cubicBezTo>
                  <a:pt x="23" y="2774"/>
                  <a:pt x="23" y="2775"/>
                  <a:pt x="23" y="2776"/>
                </a:cubicBezTo>
                <a:cubicBezTo>
                  <a:pt x="24" y="2778"/>
                  <a:pt x="24" y="2779"/>
                  <a:pt x="23" y="2780"/>
                </a:cubicBezTo>
                <a:cubicBezTo>
                  <a:pt x="23" y="2781"/>
                  <a:pt x="22" y="2781"/>
                  <a:pt x="22" y="2782"/>
                </a:cubicBezTo>
                <a:cubicBezTo>
                  <a:pt x="22" y="2782"/>
                  <a:pt x="22" y="2782"/>
                  <a:pt x="21" y="2782"/>
                </a:cubicBezTo>
                <a:cubicBezTo>
                  <a:pt x="21" y="2782"/>
                  <a:pt x="21" y="2782"/>
                  <a:pt x="20" y="2782"/>
                </a:cubicBezTo>
                <a:cubicBezTo>
                  <a:pt x="20" y="2783"/>
                  <a:pt x="20" y="2784"/>
                  <a:pt x="20" y="2785"/>
                </a:cubicBezTo>
                <a:cubicBezTo>
                  <a:pt x="20" y="2786"/>
                  <a:pt x="20" y="2787"/>
                  <a:pt x="21" y="2788"/>
                </a:cubicBezTo>
                <a:cubicBezTo>
                  <a:pt x="21" y="2788"/>
                  <a:pt x="20" y="2788"/>
                  <a:pt x="20" y="2789"/>
                </a:cubicBezTo>
                <a:cubicBezTo>
                  <a:pt x="20" y="2789"/>
                  <a:pt x="21" y="2789"/>
                  <a:pt x="21" y="2789"/>
                </a:cubicBezTo>
                <a:cubicBezTo>
                  <a:pt x="21" y="2790"/>
                  <a:pt x="22" y="2791"/>
                  <a:pt x="22" y="2791"/>
                </a:cubicBezTo>
                <a:cubicBezTo>
                  <a:pt x="22" y="2792"/>
                  <a:pt x="23" y="2792"/>
                  <a:pt x="23" y="2792"/>
                </a:cubicBezTo>
                <a:cubicBezTo>
                  <a:pt x="23" y="2792"/>
                  <a:pt x="23" y="2793"/>
                  <a:pt x="23" y="2793"/>
                </a:cubicBezTo>
                <a:cubicBezTo>
                  <a:pt x="22" y="2793"/>
                  <a:pt x="22" y="2793"/>
                  <a:pt x="21" y="2794"/>
                </a:cubicBezTo>
                <a:cubicBezTo>
                  <a:pt x="21" y="2794"/>
                  <a:pt x="21" y="2794"/>
                  <a:pt x="21" y="2795"/>
                </a:cubicBezTo>
                <a:cubicBezTo>
                  <a:pt x="21" y="2796"/>
                  <a:pt x="21" y="2798"/>
                  <a:pt x="21" y="2800"/>
                </a:cubicBezTo>
                <a:cubicBezTo>
                  <a:pt x="21" y="2801"/>
                  <a:pt x="22" y="2802"/>
                  <a:pt x="21" y="2803"/>
                </a:cubicBezTo>
                <a:cubicBezTo>
                  <a:pt x="21" y="2803"/>
                  <a:pt x="21" y="2807"/>
                  <a:pt x="20" y="2811"/>
                </a:cubicBezTo>
                <a:cubicBezTo>
                  <a:pt x="20" y="2812"/>
                  <a:pt x="20" y="2813"/>
                  <a:pt x="20" y="2814"/>
                </a:cubicBezTo>
                <a:cubicBezTo>
                  <a:pt x="20" y="2815"/>
                  <a:pt x="20" y="2817"/>
                  <a:pt x="20" y="2818"/>
                </a:cubicBezTo>
                <a:cubicBezTo>
                  <a:pt x="20" y="2818"/>
                  <a:pt x="20" y="2818"/>
                  <a:pt x="21" y="2819"/>
                </a:cubicBezTo>
                <a:cubicBezTo>
                  <a:pt x="22" y="2820"/>
                  <a:pt x="22" y="2821"/>
                  <a:pt x="21" y="2822"/>
                </a:cubicBezTo>
                <a:cubicBezTo>
                  <a:pt x="21" y="2822"/>
                  <a:pt x="21" y="2823"/>
                  <a:pt x="21" y="2823"/>
                </a:cubicBezTo>
                <a:cubicBezTo>
                  <a:pt x="21" y="2823"/>
                  <a:pt x="20" y="2823"/>
                  <a:pt x="20" y="2824"/>
                </a:cubicBezTo>
                <a:cubicBezTo>
                  <a:pt x="20" y="2825"/>
                  <a:pt x="19" y="2825"/>
                  <a:pt x="19" y="2826"/>
                </a:cubicBezTo>
                <a:cubicBezTo>
                  <a:pt x="19" y="2827"/>
                  <a:pt x="19" y="2828"/>
                  <a:pt x="19" y="2828"/>
                </a:cubicBezTo>
                <a:cubicBezTo>
                  <a:pt x="19" y="2830"/>
                  <a:pt x="19" y="2832"/>
                  <a:pt x="20" y="2834"/>
                </a:cubicBezTo>
                <a:cubicBezTo>
                  <a:pt x="21" y="2835"/>
                  <a:pt x="21" y="2836"/>
                  <a:pt x="21" y="2837"/>
                </a:cubicBezTo>
                <a:cubicBezTo>
                  <a:pt x="21" y="2838"/>
                  <a:pt x="20" y="2839"/>
                  <a:pt x="20" y="2839"/>
                </a:cubicBezTo>
                <a:cubicBezTo>
                  <a:pt x="19" y="2840"/>
                  <a:pt x="19" y="2840"/>
                  <a:pt x="19" y="2841"/>
                </a:cubicBezTo>
                <a:cubicBezTo>
                  <a:pt x="18" y="2842"/>
                  <a:pt x="19" y="2843"/>
                  <a:pt x="18" y="2844"/>
                </a:cubicBezTo>
                <a:cubicBezTo>
                  <a:pt x="18" y="2846"/>
                  <a:pt x="18" y="2849"/>
                  <a:pt x="17" y="2850"/>
                </a:cubicBezTo>
                <a:cubicBezTo>
                  <a:pt x="17" y="2851"/>
                  <a:pt x="16" y="2855"/>
                  <a:pt x="16" y="2859"/>
                </a:cubicBezTo>
                <a:cubicBezTo>
                  <a:pt x="16" y="2861"/>
                  <a:pt x="16" y="2863"/>
                  <a:pt x="16" y="2864"/>
                </a:cubicBezTo>
                <a:cubicBezTo>
                  <a:pt x="16" y="2865"/>
                  <a:pt x="16" y="2865"/>
                  <a:pt x="16" y="2865"/>
                </a:cubicBezTo>
                <a:cubicBezTo>
                  <a:pt x="16" y="2865"/>
                  <a:pt x="17" y="2865"/>
                  <a:pt x="17" y="2865"/>
                </a:cubicBezTo>
                <a:cubicBezTo>
                  <a:pt x="17" y="2865"/>
                  <a:pt x="17" y="2865"/>
                  <a:pt x="17" y="2866"/>
                </a:cubicBezTo>
                <a:cubicBezTo>
                  <a:pt x="17" y="2866"/>
                  <a:pt x="17" y="2866"/>
                  <a:pt x="17" y="2866"/>
                </a:cubicBezTo>
                <a:cubicBezTo>
                  <a:pt x="18" y="2867"/>
                  <a:pt x="19" y="2868"/>
                  <a:pt x="19" y="2869"/>
                </a:cubicBezTo>
                <a:cubicBezTo>
                  <a:pt x="19" y="2870"/>
                  <a:pt x="19" y="2870"/>
                  <a:pt x="19" y="2871"/>
                </a:cubicBezTo>
                <a:cubicBezTo>
                  <a:pt x="19" y="2872"/>
                  <a:pt x="18" y="2874"/>
                  <a:pt x="18" y="2875"/>
                </a:cubicBezTo>
                <a:cubicBezTo>
                  <a:pt x="18" y="2877"/>
                  <a:pt x="18" y="2879"/>
                  <a:pt x="17" y="2881"/>
                </a:cubicBezTo>
                <a:cubicBezTo>
                  <a:pt x="17" y="2882"/>
                  <a:pt x="17" y="2883"/>
                  <a:pt x="17" y="2884"/>
                </a:cubicBezTo>
                <a:cubicBezTo>
                  <a:pt x="17" y="2884"/>
                  <a:pt x="18" y="2885"/>
                  <a:pt x="17" y="2885"/>
                </a:cubicBezTo>
                <a:cubicBezTo>
                  <a:pt x="17" y="2885"/>
                  <a:pt x="17" y="2885"/>
                  <a:pt x="16" y="2885"/>
                </a:cubicBezTo>
                <a:cubicBezTo>
                  <a:pt x="16" y="2885"/>
                  <a:pt x="16" y="2886"/>
                  <a:pt x="16" y="2886"/>
                </a:cubicBezTo>
                <a:cubicBezTo>
                  <a:pt x="16" y="2887"/>
                  <a:pt x="16" y="2887"/>
                  <a:pt x="16" y="2888"/>
                </a:cubicBezTo>
                <a:cubicBezTo>
                  <a:pt x="15" y="2890"/>
                  <a:pt x="15" y="2893"/>
                  <a:pt x="15" y="2894"/>
                </a:cubicBezTo>
                <a:cubicBezTo>
                  <a:pt x="15" y="2895"/>
                  <a:pt x="14" y="2897"/>
                  <a:pt x="15" y="2898"/>
                </a:cubicBezTo>
                <a:cubicBezTo>
                  <a:pt x="15" y="2898"/>
                  <a:pt x="15" y="2898"/>
                  <a:pt x="16" y="2898"/>
                </a:cubicBezTo>
                <a:cubicBezTo>
                  <a:pt x="16" y="2898"/>
                  <a:pt x="16" y="2898"/>
                  <a:pt x="16" y="2898"/>
                </a:cubicBezTo>
                <a:cubicBezTo>
                  <a:pt x="17" y="2899"/>
                  <a:pt x="17" y="2899"/>
                  <a:pt x="17" y="2899"/>
                </a:cubicBezTo>
                <a:cubicBezTo>
                  <a:pt x="17" y="2901"/>
                  <a:pt x="16" y="2903"/>
                  <a:pt x="16" y="2905"/>
                </a:cubicBezTo>
                <a:cubicBezTo>
                  <a:pt x="16" y="2907"/>
                  <a:pt x="16" y="2909"/>
                  <a:pt x="16" y="2910"/>
                </a:cubicBezTo>
                <a:cubicBezTo>
                  <a:pt x="16" y="2911"/>
                  <a:pt x="16" y="2911"/>
                  <a:pt x="16" y="2912"/>
                </a:cubicBezTo>
                <a:cubicBezTo>
                  <a:pt x="16" y="2912"/>
                  <a:pt x="16" y="2911"/>
                  <a:pt x="15" y="2912"/>
                </a:cubicBezTo>
                <a:cubicBezTo>
                  <a:pt x="15" y="2912"/>
                  <a:pt x="15" y="2912"/>
                  <a:pt x="15" y="2912"/>
                </a:cubicBezTo>
                <a:cubicBezTo>
                  <a:pt x="15" y="2913"/>
                  <a:pt x="17" y="2916"/>
                  <a:pt x="16" y="2917"/>
                </a:cubicBezTo>
                <a:cubicBezTo>
                  <a:pt x="16" y="2917"/>
                  <a:pt x="15" y="2917"/>
                  <a:pt x="15" y="2917"/>
                </a:cubicBezTo>
                <a:cubicBezTo>
                  <a:pt x="15" y="2917"/>
                  <a:pt x="14" y="2916"/>
                  <a:pt x="14" y="2916"/>
                </a:cubicBezTo>
                <a:cubicBezTo>
                  <a:pt x="14" y="2916"/>
                  <a:pt x="13" y="2917"/>
                  <a:pt x="13" y="2917"/>
                </a:cubicBezTo>
                <a:cubicBezTo>
                  <a:pt x="13" y="2917"/>
                  <a:pt x="13" y="2918"/>
                  <a:pt x="13" y="2918"/>
                </a:cubicBezTo>
                <a:cubicBezTo>
                  <a:pt x="13" y="2918"/>
                  <a:pt x="13" y="2919"/>
                  <a:pt x="13" y="2919"/>
                </a:cubicBezTo>
                <a:cubicBezTo>
                  <a:pt x="13" y="2919"/>
                  <a:pt x="13" y="2919"/>
                  <a:pt x="13" y="2920"/>
                </a:cubicBezTo>
                <a:cubicBezTo>
                  <a:pt x="14" y="2920"/>
                  <a:pt x="12" y="2920"/>
                  <a:pt x="12" y="2921"/>
                </a:cubicBezTo>
                <a:cubicBezTo>
                  <a:pt x="11" y="2922"/>
                  <a:pt x="12" y="2923"/>
                  <a:pt x="12" y="2924"/>
                </a:cubicBezTo>
                <a:cubicBezTo>
                  <a:pt x="12" y="2927"/>
                  <a:pt x="11" y="2930"/>
                  <a:pt x="11" y="2933"/>
                </a:cubicBezTo>
                <a:cubicBezTo>
                  <a:pt x="11" y="2935"/>
                  <a:pt x="11" y="2937"/>
                  <a:pt x="11" y="2940"/>
                </a:cubicBezTo>
                <a:cubicBezTo>
                  <a:pt x="11" y="2941"/>
                  <a:pt x="11" y="2942"/>
                  <a:pt x="11" y="2943"/>
                </a:cubicBezTo>
                <a:cubicBezTo>
                  <a:pt x="11" y="2944"/>
                  <a:pt x="11" y="2945"/>
                  <a:pt x="11" y="2946"/>
                </a:cubicBezTo>
                <a:cubicBezTo>
                  <a:pt x="12" y="2946"/>
                  <a:pt x="12" y="2946"/>
                  <a:pt x="12" y="2947"/>
                </a:cubicBezTo>
                <a:cubicBezTo>
                  <a:pt x="12" y="2948"/>
                  <a:pt x="13" y="2949"/>
                  <a:pt x="14" y="2949"/>
                </a:cubicBezTo>
                <a:cubicBezTo>
                  <a:pt x="15" y="2950"/>
                  <a:pt x="15" y="2950"/>
                  <a:pt x="15" y="2952"/>
                </a:cubicBezTo>
                <a:cubicBezTo>
                  <a:pt x="15" y="2953"/>
                  <a:pt x="15" y="2954"/>
                  <a:pt x="15" y="2955"/>
                </a:cubicBezTo>
                <a:cubicBezTo>
                  <a:pt x="14" y="2956"/>
                  <a:pt x="14" y="2958"/>
                  <a:pt x="14" y="2960"/>
                </a:cubicBezTo>
                <a:cubicBezTo>
                  <a:pt x="14" y="2960"/>
                  <a:pt x="14" y="2960"/>
                  <a:pt x="14" y="2961"/>
                </a:cubicBezTo>
                <a:cubicBezTo>
                  <a:pt x="14" y="2961"/>
                  <a:pt x="14" y="2961"/>
                  <a:pt x="14" y="2961"/>
                </a:cubicBezTo>
                <a:cubicBezTo>
                  <a:pt x="15" y="2962"/>
                  <a:pt x="14" y="2962"/>
                  <a:pt x="14" y="2962"/>
                </a:cubicBezTo>
                <a:cubicBezTo>
                  <a:pt x="14" y="2963"/>
                  <a:pt x="14" y="2964"/>
                  <a:pt x="14" y="2965"/>
                </a:cubicBezTo>
                <a:cubicBezTo>
                  <a:pt x="14" y="2966"/>
                  <a:pt x="14" y="2966"/>
                  <a:pt x="14" y="2967"/>
                </a:cubicBezTo>
                <a:cubicBezTo>
                  <a:pt x="14" y="2968"/>
                  <a:pt x="14" y="2968"/>
                  <a:pt x="14" y="2968"/>
                </a:cubicBezTo>
                <a:cubicBezTo>
                  <a:pt x="13" y="2968"/>
                  <a:pt x="13" y="2968"/>
                  <a:pt x="12" y="2968"/>
                </a:cubicBezTo>
                <a:cubicBezTo>
                  <a:pt x="12" y="2969"/>
                  <a:pt x="12" y="2969"/>
                  <a:pt x="12" y="2970"/>
                </a:cubicBezTo>
                <a:cubicBezTo>
                  <a:pt x="12" y="2970"/>
                  <a:pt x="12" y="2970"/>
                  <a:pt x="12" y="2971"/>
                </a:cubicBezTo>
                <a:cubicBezTo>
                  <a:pt x="12" y="2971"/>
                  <a:pt x="12" y="2971"/>
                  <a:pt x="12" y="2971"/>
                </a:cubicBezTo>
                <a:cubicBezTo>
                  <a:pt x="12" y="2971"/>
                  <a:pt x="13" y="2971"/>
                  <a:pt x="13" y="2971"/>
                </a:cubicBezTo>
                <a:cubicBezTo>
                  <a:pt x="14" y="2970"/>
                  <a:pt x="14" y="2972"/>
                  <a:pt x="14" y="2973"/>
                </a:cubicBezTo>
                <a:cubicBezTo>
                  <a:pt x="14" y="2974"/>
                  <a:pt x="14" y="2975"/>
                  <a:pt x="13" y="2976"/>
                </a:cubicBezTo>
                <a:cubicBezTo>
                  <a:pt x="12" y="2976"/>
                  <a:pt x="12" y="2978"/>
                  <a:pt x="12" y="2979"/>
                </a:cubicBezTo>
                <a:cubicBezTo>
                  <a:pt x="12" y="2979"/>
                  <a:pt x="12" y="2980"/>
                  <a:pt x="12" y="2980"/>
                </a:cubicBezTo>
                <a:cubicBezTo>
                  <a:pt x="12" y="2980"/>
                  <a:pt x="12" y="2981"/>
                  <a:pt x="12" y="2981"/>
                </a:cubicBezTo>
                <a:cubicBezTo>
                  <a:pt x="12" y="2981"/>
                  <a:pt x="13" y="2981"/>
                  <a:pt x="13" y="2981"/>
                </a:cubicBezTo>
                <a:cubicBezTo>
                  <a:pt x="13" y="2981"/>
                  <a:pt x="13" y="2981"/>
                  <a:pt x="13" y="2981"/>
                </a:cubicBezTo>
                <a:cubicBezTo>
                  <a:pt x="14" y="2983"/>
                  <a:pt x="13" y="2985"/>
                  <a:pt x="13" y="2987"/>
                </a:cubicBezTo>
                <a:cubicBezTo>
                  <a:pt x="13" y="2989"/>
                  <a:pt x="13" y="2991"/>
                  <a:pt x="13" y="2992"/>
                </a:cubicBezTo>
                <a:cubicBezTo>
                  <a:pt x="13" y="2995"/>
                  <a:pt x="13" y="2997"/>
                  <a:pt x="13" y="3000"/>
                </a:cubicBezTo>
                <a:cubicBezTo>
                  <a:pt x="13" y="3001"/>
                  <a:pt x="13" y="3002"/>
                  <a:pt x="13" y="3003"/>
                </a:cubicBezTo>
                <a:cubicBezTo>
                  <a:pt x="13" y="3003"/>
                  <a:pt x="13" y="3004"/>
                  <a:pt x="12" y="3004"/>
                </a:cubicBezTo>
                <a:cubicBezTo>
                  <a:pt x="12" y="3004"/>
                  <a:pt x="11" y="3003"/>
                  <a:pt x="11" y="3004"/>
                </a:cubicBezTo>
                <a:cubicBezTo>
                  <a:pt x="11" y="3005"/>
                  <a:pt x="11" y="3007"/>
                  <a:pt x="11" y="3008"/>
                </a:cubicBezTo>
                <a:cubicBezTo>
                  <a:pt x="10" y="3008"/>
                  <a:pt x="10" y="3008"/>
                  <a:pt x="10" y="3008"/>
                </a:cubicBezTo>
                <a:cubicBezTo>
                  <a:pt x="10" y="3008"/>
                  <a:pt x="10" y="3008"/>
                  <a:pt x="10" y="3008"/>
                </a:cubicBezTo>
                <a:cubicBezTo>
                  <a:pt x="9" y="3008"/>
                  <a:pt x="9" y="3009"/>
                  <a:pt x="9" y="3009"/>
                </a:cubicBezTo>
                <a:cubicBezTo>
                  <a:pt x="9" y="3013"/>
                  <a:pt x="10" y="3016"/>
                  <a:pt x="10" y="3020"/>
                </a:cubicBezTo>
                <a:cubicBezTo>
                  <a:pt x="10" y="3021"/>
                  <a:pt x="9" y="3022"/>
                  <a:pt x="10" y="3023"/>
                </a:cubicBezTo>
                <a:cubicBezTo>
                  <a:pt x="10" y="3024"/>
                  <a:pt x="10" y="3024"/>
                  <a:pt x="11" y="3025"/>
                </a:cubicBezTo>
                <a:cubicBezTo>
                  <a:pt x="12" y="3026"/>
                  <a:pt x="13" y="3027"/>
                  <a:pt x="13" y="3028"/>
                </a:cubicBezTo>
                <a:cubicBezTo>
                  <a:pt x="13" y="3028"/>
                  <a:pt x="13" y="3029"/>
                  <a:pt x="13" y="3030"/>
                </a:cubicBezTo>
                <a:cubicBezTo>
                  <a:pt x="13" y="3031"/>
                  <a:pt x="13" y="3032"/>
                  <a:pt x="13" y="3032"/>
                </a:cubicBezTo>
                <a:cubicBezTo>
                  <a:pt x="12" y="3033"/>
                  <a:pt x="12" y="3033"/>
                  <a:pt x="12" y="3033"/>
                </a:cubicBezTo>
                <a:cubicBezTo>
                  <a:pt x="12" y="3033"/>
                  <a:pt x="11" y="3033"/>
                  <a:pt x="11" y="3033"/>
                </a:cubicBezTo>
                <a:cubicBezTo>
                  <a:pt x="11" y="3034"/>
                  <a:pt x="11" y="3035"/>
                  <a:pt x="11" y="3036"/>
                </a:cubicBezTo>
                <a:cubicBezTo>
                  <a:pt x="11" y="3037"/>
                  <a:pt x="10" y="3037"/>
                  <a:pt x="9" y="3038"/>
                </a:cubicBezTo>
                <a:cubicBezTo>
                  <a:pt x="9" y="3038"/>
                  <a:pt x="8" y="3039"/>
                  <a:pt x="8" y="3040"/>
                </a:cubicBezTo>
                <a:cubicBezTo>
                  <a:pt x="8" y="3041"/>
                  <a:pt x="8" y="3042"/>
                  <a:pt x="8" y="3043"/>
                </a:cubicBezTo>
                <a:cubicBezTo>
                  <a:pt x="8" y="3044"/>
                  <a:pt x="7" y="3045"/>
                  <a:pt x="8" y="3046"/>
                </a:cubicBezTo>
                <a:cubicBezTo>
                  <a:pt x="8" y="3047"/>
                  <a:pt x="9" y="3047"/>
                  <a:pt x="9" y="3048"/>
                </a:cubicBezTo>
                <a:cubicBezTo>
                  <a:pt x="10" y="3048"/>
                  <a:pt x="9" y="3049"/>
                  <a:pt x="9" y="3050"/>
                </a:cubicBezTo>
                <a:cubicBezTo>
                  <a:pt x="9" y="3051"/>
                  <a:pt x="8" y="3055"/>
                  <a:pt x="8" y="3059"/>
                </a:cubicBezTo>
                <a:cubicBezTo>
                  <a:pt x="8" y="3061"/>
                  <a:pt x="8" y="3062"/>
                  <a:pt x="8" y="3064"/>
                </a:cubicBezTo>
                <a:cubicBezTo>
                  <a:pt x="8" y="3076"/>
                  <a:pt x="4" y="3087"/>
                  <a:pt x="4" y="3102"/>
                </a:cubicBezTo>
                <a:cubicBezTo>
                  <a:pt x="4" y="3110"/>
                  <a:pt x="0" y="3122"/>
                  <a:pt x="7" y="3127"/>
                </a:cubicBezTo>
                <a:cubicBezTo>
                  <a:pt x="12" y="3131"/>
                  <a:pt x="21" y="3129"/>
                  <a:pt x="27" y="3130"/>
                </a:cubicBezTo>
                <a:cubicBezTo>
                  <a:pt x="31" y="3130"/>
                  <a:pt x="34" y="3128"/>
                  <a:pt x="38" y="3128"/>
                </a:cubicBezTo>
                <a:cubicBezTo>
                  <a:pt x="39" y="3127"/>
                  <a:pt x="43" y="3128"/>
                  <a:pt x="44" y="3127"/>
                </a:cubicBezTo>
                <a:cubicBezTo>
                  <a:pt x="46" y="3127"/>
                  <a:pt x="47" y="3125"/>
                  <a:pt x="47" y="3124"/>
                </a:cubicBezTo>
                <a:cubicBezTo>
                  <a:pt x="50" y="3119"/>
                  <a:pt x="51" y="3118"/>
                  <a:pt x="52" y="3112"/>
                </a:cubicBezTo>
                <a:cubicBezTo>
                  <a:pt x="54" y="3108"/>
                  <a:pt x="55" y="3103"/>
                  <a:pt x="55" y="3098"/>
                </a:cubicBezTo>
                <a:cubicBezTo>
                  <a:pt x="56" y="3093"/>
                  <a:pt x="56" y="3089"/>
                  <a:pt x="57" y="3084"/>
                </a:cubicBezTo>
                <a:cubicBezTo>
                  <a:pt x="57" y="3083"/>
                  <a:pt x="57" y="3081"/>
                  <a:pt x="57" y="3080"/>
                </a:cubicBezTo>
                <a:cubicBezTo>
                  <a:pt x="56" y="3079"/>
                  <a:pt x="56" y="3078"/>
                  <a:pt x="56" y="3077"/>
                </a:cubicBezTo>
                <a:cubicBezTo>
                  <a:pt x="56" y="3075"/>
                  <a:pt x="57" y="3074"/>
                  <a:pt x="58" y="3072"/>
                </a:cubicBezTo>
                <a:cubicBezTo>
                  <a:pt x="58" y="3071"/>
                  <a:pt x="58" y="3070"/>
                  <a:pt x="58" y="3068"/>
                </a:cubicBezTo>
                <a:cubicBezTo>
                  <a:pt x="58" y="3066"/>
                  <a:pt x="59" y="3064"/>
                  <a:pt x="59" y="3062"/>
                </a:cubicBezTo>
                <a:cubicBezTo>
                  <a:pt x="59" y="3060"/>
                  <a:pt x="59" y="3058"/>
                  <a:pt x="59" y="3056"/>
                </a:cubicBezTo>
                <a:cubicBezTo>
                  <a:pt x="59" y="3053"/>
                  <a:pt x="59" y="3051"/>
                  <a:pt x="59" y="3049"/>
                </a:cubicBezTo>
                <a:cubicBezTo>
                  <a:pt x="59" y="3047"/>
                  <a:pt x="58" y="3046"/>
                  <a:pt x="58" y="3045"/>
                </a:cubicBezTo>
                <a:cubicBezTo>
                  <a:pt x="57" y="3043"/>
                  <a:pt x="58" y="3041"/>
                  <a:pt x="58" y="3039"/>
                </a:cubicBezTo>
                <a:cubicBezTo>
                  <a:pt x="61" y="3002"/>
                  <a:pt x="68" y="2913"/>
                  <a:pt x="68" y="2895"/>
                </a:cubicBezTo>
                <a:cubicBezTo>
                  <a:pt x="68" y="2892"/>
                  <a:pt x="68" y="2884"/>
                  <a:pt x="68" y="2877"/>
                </a:cubicBezTo>
                <a:cubicBezTo>
                  <a:pt x="69" y="2871"/>
                  <a:pt x="69" y="2862"/>
                  <a:pt x="69" y="2856"/>
                </a:cubicBezTo>
                <a:cubicBezTo>
                  <a:pt x="70" y="2827"/>
                  <a:pt x="71" y="2816"/>
                  <a:pt x="72" y="2786"/>
                </a:cubicBezTo>
                <a:cubicBezTo>
                  <a:pt x="72" y="2784"/>
                  <a:pt x="72" y="2782"/>
                  <a:pt x="72" y="2779"/>
                </a:cubicBezTo>
                <a:cubicBezTo>
                  <a:pt x="73" y="2777"/>
                  <a:pt x="73" y="2775"/>
                  <a:pt x="72" y="2773"/>
                </a:cubicBezTo>
                <a:cubicBezTo>
                  <a:pt x="72" y="2773"/>
                  <a:pt x="72" y="2773"/>
                  <a:pt x="72" y="2772"/>
                </a:cubicBezTo>
                <a:cubicBezTo>
                  <a:pt x="72" y="2772"/>
                  <a:pt x="73" y="2771"/>
                  <a:pt x="73" y="2770"/>
                </a:cubicBezTo>
                <a:cubicBezTo>
                  <a:pt x="74" y="2770"/>
                  <a:pt x="74" y="2769"/>
                  <a:pt x="74" y="2768"/>
                </a:cubicBezTo>
                <a:cubicBezTo>
                  <a:pt x="74" y="2768"/>
                  <a:pt x="74" y="2768"/>
                  <a:pt x="73" y="2767"/>
                </a:cubicBezTo>
                <a:cubicBezTo>
                  <a:pt x="73" y="2767"/>
                  <a:pt x="73" y="2765"/>
                  <a:pt x="73" y="2764"/>
                </a:cubicBezTo>
                <a:cubicBezTo>
                  <a:pt x="72" y="2762"/>
                  <a:pt x="73" y="2760"/>
                  <a:pt x="73" y="2759"/>
                </a:cubicBezTo>
                <a:cubicBezTo>
                  <a:pt x="73" y="2755"/>
                  <a:pt x="73" y="2751"/>
                  <a:pt x="74" y="2747"/>
                </a:cubicBezTo>
                <a:cubicBezTo>
                  <a:pt x="74" y="2743"/>
                  <a:pt x="74" y="2739"/>
                  <a:pt x="74" y="2735"/>
                </a:cubicBezTo>
                <a:cubicBezTo>
                  <a:pt x="74" y="2734"/>
                  <a:pt x="75" y="2733"/>
                  <a:pt x="75" y="2731"/>
                </a:cubicBezTo>
                <a:cubicBezTo>
                  <a:pt x="75" y="2730"/>
                  <a:pt x="74" y="2727"/>
                  <a:pt x="76" y="2726"/>
                </a:cubicBezTo>
                <a:cubicBezTo>
                  <a:pt x="76" y="2725"/>
                  <a:pt x="77" y="2724"/>
                  <a:pt x="76" y="2723"/>
                </a:cubicBezTo>
                <a:cubicBezTo>
                  <a:pt x="76" y="2722"/>
                  <a:pt x="76" y="2722"/>
                  <a:pt x="76" y="2722"/>
                </a:cubicBezTo>
                <a:cubicBezTo>
                  <a:pt x="76" y="2722"/>
                  <a:pt x="76" y="2722"/>
                  <a:pt x="76" y="2721"/>
                </a:cubicBezTo>
                <a:cubicBezTo>
                  <a:pt x="75" y="2717"/>
                  <a:pt x="76" y="2713"/>
                  <a:pt x="76" y="2709"/>
                </a:cubicBezTo>
                <a:cubicBezTo>
                  <a:pt x="76" y="2705"/>
                  <a:pt x="77" y="2701"/>
                  <a:pt x="77" y="2696"/>
                </a:cubicBezTo>
                <a:cubicBezTo>
                  <a:pt x="78" y="2688"/>
                  <a:pt x="78" y="2679"/>
                  <a:pt x="79" y="2670"/>
                </a:cubicBezTo>
                <a:cubicBezTo>
                  <a:pt x="79" y="2663"/>
                  <a:pt x="80" y="2656"/>
                  <a:pt x="80" y="2648"/>
                </a:cubicBezTo>
                <a:cubicBezTo>
                  <a:pt x="81" y="2631"/>
                  <a:pt x="83" y="2614"/>
                  <a:pt x="84" y="2597"/>
                </a:cubicBezTo>
                <a:cubicBezTo>
                  <a:pt x="84" y="2593"/>
                  <a:pt x="84" y="2589"/>
                  <a:pt x="85" y="2585"/>
                </a:cubicBezTo>
                <a:cubicBezTo>
                  <a:pt x="85" y="2583"/>
                  <a:pt x="85" y="2581"/>
                  <a:pt x="85" y="2580"/>
                </a:cubicBezTo>
                <a:cubicBezTo>
                  <a:pt x="85" y="2578"/>
                  <a:pt x="86" y="2576"/>
                  <a:pt x="85" y="2575"/>
                </a:cubicBezTo>
                <a:cubicBezTo>
                  <a:pt x="84" y="2574"/>
                  <a:pt x="85" y="2574"/>
                  <a:pt x="85" y="2573"/>
                </a:cubicBezTo>
                <a:cubicBezTo>
                  <a:pt x="85" y="2573"/>
                  <a:pt x="86" y="2570"/>
                  <a:pt x="86" y="2570"/>
                </a:cubicBezTo>
                <a:cubicBezTo>
                  <a:pt x="85" y="2570"/>
                  <a:pt x="86" y="2568"/>
                  <a:pt x="86" y="2568"/>
                </a:cubicBezTo>
                <a:cubicBezTo>
                  <a:pt x="85" y="2566"/>
                  <a:pt x="86" y="2565"/>
                  <a:pt x="86" y="2563"/>
                </a:cubicBezTo>
                <a:cubicBezTo>
                  <a:pt x="86" y="2559"/>
                  <a:pt x="87" y="2556"/>
                  <a:pt x="87" y="2552"/>
                </a:cubicBezTo>
                <a:cubicBezTo>
                  <a:pt x="87" y="2552"/>
                  <a:pt x="87" y="2551"/>
                  <a:pt x="86" y="2551"/>
                </a:cubicBezTo>
                <a:cubicBezTo>
                  <a:pt x="86" y="2551"/>
                  <a:pt x="86" y="2550"/>
                  <a:pt x="86" y="2550"/>
                </a:cubicBezTo>
                <a:cubicBezTo>
                  <a:pt x="85" y="2549"/>
                  <a:pt x="85" y="2547"/>
                  <a:pt x="85" y="2545"/>
                </a:cubicBezTo>
                <a:cubicBezTo>
                  <a:pt x="85" y="2545"/>
                  <a:pt x="84" y="2544"/>
                  <a:pt x="85" y="2544"/>
                </a:cubicBezTo>
                <a:cubicBezTo>
                  <a:pt x="86" y="2544"/>
                  <a:pt x="87" y="2545"/>
                  <a:pt x="87" y="2543"/>
                </a:cubicBezTo>
                <a:cubicBezTo>
                  <a:pt x="87" y="2543"/>
                  <a:pt x="87" y="2542"/>
                  <a:pt x="86" y="2542"/>
                </a:cubicBezTo>
                <a:cubicBezTo>
                  <a:pt x="86" y="2541"/>
                  <a:pt x="86" y="2541"/>
                  <a:pt x="87" y="2540"/>
                </a:cubicBezTo>
                <a:cubicBezTo>
                  <a:pt x="87" y="2540"/>
                  <a:pt x="87" y="2540"/>
                  <a:pt x="87" y="2540"/>
                </a:cubicBezTo>
                <a:cubicBezTo>
                  <a:pt x="88" y="2538"/>
                  <a:pt x="87" y="2535"/>
                  <a:pt x="87" y="2533"/>
                </a:cubicBezTo>
                <a:cubicBezTo>
                  <a:pt x="87" y="2531"/>
                  <a:pt x="88" y="2528"/>
                  <a:pt x="87" y="2526"/>
                </a:cubicBezTo>
                <a:cubicBezTo>
                  <a:pt x="87" y="2525"/>
                  <a:pt x="87" y="2525"/>
                  <a:pt x="87" y="2525"/>
                </a:cubicBezTo>
                <a:cubicBezTo>
                  <a:pt x="86" y="2524"/>
                  <a:pt x="87" y="2522"/>
                  <a:pt x="87" y="2522"/>
                </a:cubicBezTo>
                <a:cubicBezTo>
                  <a:pt x="87" y="2520"/>
                  <a:pt x="88" y="2519"/>
                  <a:pt x="88" y="2517"/>
                </a:cubicBezTo>
                <a:cubicBezTo>
                  <a:pt x="88" y="2516"/>
                  <a:pt x="89" y="2514"/>
                  <a:pt x="88" y="2513"/>
                </a:cubicBezTo>
                <a:cubicBezTo>
                  <a:pt x="88" y="2512"/>
                  <a:pt x="88" y="2512"/>
                  <a:pt x="88" y="2512"/>
                </a:cubicBezTo>
                <a:cubicBezTo>
                  <a:pt x="88" y="2512"/>
                  <a:pt x="88" y="2512"/>
                  <a:pt x="88" y="2511"/>
                </a:cubicBezTo>
                <a:cubicBezTo>
                  <a:pt x="88" y="2511"/>
                  <a:pt x="88" y="2510"/>
                  <a:pt x="88" y="2509"/>
                </a:cubicBezTo>
                <a:cubicBezTo>
                  <a:pt x="89" y="2509"/>
                  <a:pt x="89" y="2505"/>
                  <a:pt x="89" y="2504"/>
                </a:cubicBezTo>
                <a:cubicBezTo>
                  <a:pt x="89" y="2502"/>
                  <a:pt x="90" y="2500"/>
                  <a:pt x="90" y="2497"/>
                </a:cubicBezTo>
                <a:cubicBezTo>
                  <a:pt x="90" y="2491"/>
                  <a:pt x="91" y="2485"/>
                  <a:pt x="91" y="2479"/>
                </a:cubicBezTo>
                <a:cubicBezTo>
                  <a:pt x="91" y="2477"/>
                  <a:pt x="92" y="2475"/>
                  <a:pt x="92" y="2472"/>
                </a:cubicBezTo>
                <a:cubicBezTo>
                  <a:pt x="92" y="2471"/>
                  <a:pt x="92" y="2470"/>
                  <a:pt x="92" y="2469"/>
                </a:cubicBezTo>
                <a:cubicBezTo>
                  <a:pt x="92" y="2468"/>
                  <a:pt x="91" y="2467"/>
                  <a:pt x="91" y="2466"/>
                </a:cubicBezTo>
                <a:cubicBezTo>
                  <a:pt x="91" y="2465"/>
                  <a:pt x="91" y="2464"/>
                  <a:pt x="92" y="2462"/>
                </a:cubicBezTo>
                <a:cubicBezTo>
                  <a:pt x="92" y="2462"/>
                  <a:pt x="92" y="2461"/>
                  <a:pt x="92" y="2461"/>
                </a:cubicBezTo>
                <a:cubicBezTo>
                  <a:pt x="92" y="2460"/>
                  <a:pt x="91" y="2460"/>
                  <a:pt x="91" y="2459"/>
                </a:cubicBezTo>
                <a:cubicBezTo>
                  <a:pt x="91" y="2458"/>
                  <a:pt x="93" y="2458"/>
                  <a:pt x="92" y="2457"/>
                </a:cubicBezTo>
                <a:cubicBezTo>
                  <a:pt x="93" y="2454"/>
                  <a:pt x="93" y="2452"/>
                  <a:pt x="93" y="2450"/>
                </a:cubicBezTo>
                <a:cubicBezTo>
                  <a:pt x="93" y="2446"/>
                  <a:pt x="94" y="2443"/>
                  <a:pt x="94" y="2442"/>
                </a:cubicBezTo>
                <a:cubicBezTo>
                  <a:pt x="94" y="2441"/>
                  <a:pt x="94" y="2436"/>
                  <a:pt x="95" y="2431"/>
                </a:cubicBezTo>
                <a:cubicBezTo>
                  <a:pt x="95" y="2429"/>
                  <a:pt x="95" y="2427"/>
                  <a:pt x="95" y="2425"/>
                </a:cubicBezTo>
                <a:cubicBezTo>
                  <a:pt x="95" y="2424"/>
                  <a:pt x="95" y="2423"/>
                  <a:pt x="95" y="2423"/>
                </a:cubicBezTo>
                <a:cubicBezTo>
                  <a:pt x="95" y="2422"/>
                  <a:pt x="96" y="2421"/>
                  <a:pt x="95" y="2420"/>
                </a:cubicBezTo>
                <a:cubicBezTo>
                  <a:pt x="95" y="2420"/>
                  <a:pt x="94" y="2420"/>
                  <a:pt x="95" y="2420"/>
                </a:cubicBezTo>
                <a:cubicBezTo>
                  <a:pt x="95" y="2419"/>
                  <a:pt x="95" y="2419"/>
                  <a:pt x="95" y="2419"/>
                </a:cubicBezTo>
                <a:cubicBezTo>
                  <a:pt x="96" y="2419"/>
                  <a:pt x="95" y="2417"/>
                  <a:pt x="95" y="2417"/>
                </a:cubicBezTo>
                <a:cubicBezTo>
                  <a:pt x="95" y="2415"/>
                  <a:pt x="95" y="2414"/>
                  <a:pt x="95" y="2412"/>
                </a:cubicBezTo>
                <a:cubicBezTo>
                  <a:pt x="96" y="2406"/>
                  <a:pt x="96" y="2403"/>
                  <a:pt x="98" y="2399"/>
                </a:cubicBezTo>
                <a:cubicBezTo>
                  <a:pt x="99" y="2395"/>
                  <a:pt x="100" y="2382"/>
                  <a:pt x="99" y="2374"/>
                </a:cubicBezTo>
                <a:cubicBezTo>
                  <a:pt x="99" y="2372"/>
                  <a:pt x="100" y="2368"/>
                  <a:pt x="98" y="2367"/>
                </a:cubicBezTo>
                <a:cubicBezTo>
                  <a:pt x="98" y="2366"/>
                  <a:pt x="98" y="2366"/>
                  <a:pt x="98" y="2365"/>
                </a:cubicBezTo>
                <a:cubicBezTo>
                  <a:pt x="99" y="2365"/>
                  <a:pt x="99" y="2365"/>
                  <a:pt x="100" y="2364"/>
                </a:cubicBezTo>
                <a:cubicBezTo>
                  <a:pt x="100" y="2363"/>
                  <a:pt x="100" y="2362"/>
                  <a:pt x="100" y="2361"/>
                </a:cubicBezTo>
                <a:cubicBezTo>
                  <a:pt x="100" y="2360"/>
                  <a:pt x="100" y="2358"/>
                  <a:pt x="99" y="2357"/>
                </a:cubicBezTo>
                <a:cubicBezTo>
                  <a:pt x="99" y="2357"/>
                  <a:pt x="99" y="2357"/>
                  <a:pt x="98" y="2356"/>
                </a:cubicBezTo>
                <a:cubicBezTo>
                  <a:pt x="98" y="2356"/>
                  <a:pt x="98" y="2356"/>
                  <a:pt x="98" y="2356"/>
                </a:cubicBezTo>
                <a:cubicBezTo>
                  <a:pt x="98" y="2355"/>
                  <a:pt x="98" y="2354"/>
                  <a:pt x="98" y="2353"/>
                </a:cubicBezTo>
                <a:cubicBezTo>
                  <a:pt x="98" y="2353"/>
                  <a:pt x="99" y="2353"/>
                  <a:pt x="99" y="2353"/>
                </a:cubicBezTo>
                <a:cubicBezTo>
                  <a:pt x="99" y="2354"/>
                  <a:pt x="100" y="2354"/>
                  <a:pt x="100" y="2354"/>
                </a:cubicBezTo>
                <a:cubicBezTo>
                  <a:pt x="100" y="2354"/>
                  <a:pt x="100" y="2353"/>
                  <a:pt x="100" y="2353"/>
                </a:cubicBezTo>
                <a:cubicBezTo>
                  <a:pt x="100" y="2352"/>
                  <a:pt x="100" y="2352"/>
                  <a:pt x="100" y="2352"/>
                </a:cubicBezTo>
                <a:cubicBezTo>
                  <a:pt x="99" y="2351"/>
                  <a:pt x="99" y="2349"/>
                  <a:pt x="99" y="2348"/>
                </a:cubicBezTo>
                <a:cubicBezTo>
                  <a:pt x="98" y="2347"/>
                  <a:pt x="99" y="2346"/>
                  <a:pt x="99" y="2345"/>
                </a:cubicBezTo>
                <a:cubicBezTo>
                  <a:pt x="99" y="2344"/>
                  <a:pt x="99" y="2342"/>
                  <a:pt x="100" y="2342"/>
                </a:cubicBezTo>
                <a:cubicBezTo>
                  <a:pt x="101" y="2341"/>
                  <a:pt x="102" y="2342"/>
                  <a:pt x="101" y="2340"/>
                </a:cubicBezTo>
                <a:cubicBezTo>
                  <a:pt x="101" y="2340"/>
                  <a:pt x="101" y="2340"/>
                  <a:pt x="101" y="2339"/>
                </a:cubicBezTo>
                <a:cubicBezTo>
                  <a:pt x="101" y="2337"/>
                  <a:pt x="102" y="2335"/>
                  <a:pt x="102" y="2333"/>
                </a:cubicBezTo>
                <a:cubicBezTo>
                  <a:pt x="102" y="2331"/>
                  <a:pt x="103" y="2328"/>
                  <a:pt x="102" y="2327"/>
                </a:cubicBezTo>
                <a:cubicBezTo>
                  <a:pt x="101" y="2326"/>
                  <a:pt x="101" y="2326"/>
                  <a:pt x="101" y="2325"/>
                </a:cubicBezTo>
                <a:cubicBezTo>
                  <a:pt x="100" y="2324"/>
                  <a:pt x="100" y="2321"/>
                  <a:pt x="101" y="2320"/>
                </a:cubicBezTo>
                <a:cubicBezTo>
                  <a:pt x="101" y="2320"/>
                  <a:pt x="101" y="2320"/>
                  <a:pt x="102" y="2320"/>
                </a:cubicBezTo>
                <a:cubicBezTo>
                  <a:pt x="102" y="2320"/>
                  <a:pt x="103" y="2319"/>
                  <a:pt x="104" y="2318"/>
                </a:cubicBezTo>
                <a:cubicBezTo>
                  <a:pt x="104" y="2318"/>
                  <a:pt x="103" y="2318"/>
                  <a:pt x="103" y="2318"/>
                </a:cubicBezTo>
                <a:cubicBezTo>
                  <a:pt x="103" y="2318"/>
                  <a:pt x="102" y="2317"/>
                  <a:pt x="102" y="2317"/>
                </a:cubicBezTo>
                <a:cubicBezTo>
                  <a:pt x="103" y="2316"/>
                  <a:pt x="103" y="2316"/>
                  <a:pt x="103" y="2316"/>
                </a:cubicBezTo>
                <a:cubicBezTo>
                  <a:pt x="103" y="2315"/>
                  <a:pt x="103" y="2315"/>
                  <a:pt x="103" y="2315"/>
                </a:cubicBezTo>
                <a:cubicBezTo>
                  <a:pt x="104" y="2307"/>
                  <a:pt x="104" y="2299"/>
                  <a:pt x="106" y="2290"/>
                </a:cubicBezTo>
                <a:cubicBezTo>
                  <a:pt x="106" y="2290"/>
                  <a:pt x="106" y="2288"/>
                  <a:pt x="106" y="2286"/>
                </a:cubicBezTo>
                <a:cubicBezTo>
                  <a:pt x="106" y="2284"/>
                  <a:pt x="106" y="2280"/>
                  <a:pt x="107" y="2278"/>
                </a:cubicBezTo>
                <a:cubicBezTo>
                  <a:pt x="107" y="2276"/>
                  <a:pt x="108" y="2273"/>
                  <a:pt x="108" y="2270"/>
                </a:cubicBezTo>
                <a:cubicBezTo>
                  <a:pt x="108" y="2269"/>
                  <a:pt x="108" y="2267"/>
                  <a:pt x="109" y="2266"/>
                </a:cubicBezTo>
                <a:cubicBezTo>
                  <a:pt x="109" y="2264"/>
                  <a:pt x="110" y="2263"/>
                  <a:pt x="110" y="2262"/>
                </a:cubicBezTo>
                <a:cubicBezTo>
                  <a:pt x="109" y="2260"/>
                  <a:pt x="108" y="2259"/>
                  <a:pt x="108" y="2257"/>
                </a:cubicBezTo>
                <a:cubicBezTo>
                  <a:pt x="109" y="2255"/>
                  <a:pt x="109" y="2253"/>
                  <a:pt x="109" y="2251"/>
                </a:cubicBezTo>
                <a:cubicBezTo>
                  <a:pt x="109" y="2247"/>
                  <a:pt x="109" y="2244"/>
                  <a:pt x="109" y="2241"/>
                </a:cubicBezTo>
                <a:cubicBezTo>
                  <a:pt x="109" y="2238"/>
                  <a:pt x="110" y="2235"/>
                  <a:pt x="109" y="2232"/>
                </a:cubicBezTo>
                <a:cubicBezTo>
                  <a:pt x="109" y="2232"/>
                  <a:pt x="109" y="2231"/>
                  <a:pt x="108" y="2231"/>
                </a:cubicBezTo>
                <a:cubicBezTo>
                  <a:pt x="108" y="2230"/>
                  <a:pt x="108" y="2230"/>
                  <a:pt x="108" y="2229"/>
                </a:cubicBezTo>
                <a:cubicBezTo>
                  <a:pt x="110" y="2229"/>
                  <a:pt x="109" y="2226"/>
                  <a:pt x="109" y="2225"/>
                </a:cubicBezTo>
                <a:cubicBezTo>
                  <a:pt x="109" y="2224"/>
                  <a:pt x="110" y="2222"/>
                  <a:pt x="110" y="2221"/>
                </a:cubicBezTo>
                <a:cubicBezTo>
                  <a:pt x="109" y="2220"/>
                  <a:pt x="108" y="2219"/>
                  <a:pt x="109" y="2219"/>
                </a:cubicBezTo>
                <a:cubicBezTo>
                  <a:pt x="109" y="2219"/>
                  <a:pt x="110" y="2219"/>
                  <a:pt x="110" y="2218"/>
                </a:cubicBezTo>
                <a:cubicBezTo>
                  <a:pt x="110" y="2218"/>
                  <a:pt x="110" y="2217"/>
                  <a:pt x="110" y="2217"/>
                </a:cubicBezTo>
                <a:cubicBezTo>
                  <a:pt x="110" y="2216"/>
                  <a:pt x="110" y="2214"/>
                  <a:pt x="111" y="2213"/>
                </a:cubicBezTo>
                <a:cubicBezTo>
                  <a:pt x="112" y="2212"/>
                  <a:pt x="114" y="2213"/>
                  <a:pt x="113" y="2211"/>
                </a:cubicBezTo>
                <a:cubicBezTo>
                  <a:pt x="112" y="2210"/>
                  <a:pt x="112" y="2210"/>
                  <a:pt x="111" y="2210"/>
                </a:cubicBezTo>
                <a:cubicBezTo>
                  <a:pt x="110" y="2208"/>
                  <a:pt x="111" y="2206"/>
                  <a:pt x="111" y="2205"/>
                </a:cubicBezTo>
                <a:cubicBezTo>
                  <a:pt x="111" y="2202"/>
                  <a:pt x="111" y="2200"/>
                  <a:pt x="111" y="2198"/>
                </a:cubicBezTo>
                <a:cubicBezTo>
                  <a:pt x="112" y="2193"/>
                  <a:pt x="112" y="2188"/>
                  <a:pt x="112" y="2183"/>
                </a:cubicBezTo>
                <a:cubicBezTo>
                  <a:pt x="113" y="2169"/>
                  <a:pt x="114" y="2155"/>
                  <a:pt x="114" y="2153"/>
                </a:cubicBezTo>
                <a:cubicBezTo>
                  <a:pt x="114" y="2150"/>
                  <a:pt x="115" y="2139"/>
                  <a:pt x="116" y="2128"/>
                </a:cubicBezTo>
                <a:cubicBezTo>
                  <a:pt x="116" y="2117"/>
                  <a:pt x="117" y="2099"/>
                  <a:pt x="118" y="2088"/>
                </a:cubicBezTo>
                <a:cubicBezTo>
                  <a:pt x="119" y="2077"/>
                  <a:pt x="121" y="2048"/>
                  <a:pt x="122" y="2024"/>
                </a:cubicBezTo>
                <a:cubicBezTo>
                  <a:pt x="123" y="2017"/>
                  <a:pt x="123" y="2009"/>
                  <a:pt x="124" y="2001"/>
                </a:cubicBezTo>
                <a:cubicBezTo>
                  <a:pt x="124" y="1998"/>
                  <a:pt x="124" y="1994"/>
                  <a:pt x="124" y="1990"/>
                </a:cubicBezTo>
                <a:cubicBezTo>
                  <a:pt x="124" y="1987"/>
                  <a:pt x="125" y="1983"/>
                  <a:pt x="125" y="1979"/>
                </a:cubicBezTo>
                <a:cubicBezTo>
                  <a:pt x="125" y="1979"/>
                  <a:pt x="125" y="1979"/>
                  <a:pt x="125" y="1979"/>
                </a:cubicBezTo>
                <a:cubicBezTo>
                  <a:pt x="125" y="1978"/>
                  <a:pt x="125" y="1976"/>
                  <a:pt x="125" y="1975"/>
                </a:cubicBezTo>
                <a:cubicBezTo>
                  <a:pt x="125" y="1973"/>
                  <a:pt x="125" y="1971"/>
                  <a:pt x="125" y="1969"/>
                </a:cubicBezTo>
                <a:cubicBezTo>
                  <a:pt x="125" y="1965"/>
                  <a:pt x="126" y="1961"/>
                  <a:pt x="126" y="1957"/>
                </a:cubicBezTo>
                <a:cubicBezTo>
                  <a:pt x="126" y="1954"/>
                  <a:pt x="126" y="1950"/>
                  <a:pt x="126" y="1947"/>
                </a:cubicBezTo>
                <a:cubicBezTo>
                  <a:pt x="126" y="1945"/>
                  <a:pt x="127" y="1944"/>
                  <a:pt x="127" y="1942"/>
                </a:cubicBezTo>
                <a:cubicBezTo>
                  <a:pt x="127" y="1940"/>
                  <a:pt x="127" y="1939"/>
                  <a:pt x="127" y="1937"/>
                </a:cubicBezTo>
                <a:cubicBezTo>
                  <a:pt x="127" y="1937"/>
                  <a:pt x="127" y="1936"/>
                  <a:pt x="127" y="1936"/>
                </a:cubicBezTo>
                <a:cubicBezTo>
                  <a:pt x="127" y="1935"/>
                  <a:pt x="127" y="1934"/>
                  <a:pt x="127" y="1933"/>
                </a:cubicBezTo>
                <a:cubicBezTo>
                  <a:pt x="127" y="1931"/>
                  <a:pt x="127" y="1930"/>
                  <a:pt x="127" y="1928"/>
                </a:cubicBezTo>
                <a:cubicBezTo>
                  <a:pt x="128" y="1924"/>
                  <a:pt x="128" y="1914"/>
                  <a:pt x="129" y="1905"/>
                </a:cubicBezTo>
                <a:cubicBezTo>
                  <a:pt x="129" y="1903"/>
                  <a:pt x="129" y="1900"/>
                  <a:pt x="129" y="1898"/>
                </a:cubicBezTo>
                <a:cubicBezTo>
                  <a:pt x="129" y="1895"/>
                  <a:pt x="129" y="1893"/>
                  <a:pt x="130" y="1891"/>
                </a:cubicBezTo>
                <a:cubicBezTo>
                  <a:pt x="130" y="1890"/>
                  <a:pt x="130" y="1890"/>
                  <a:pt x="130" y="1890"/>
                </a:cubicBezTo>
                <a:cubicBezTo>
                  <a:pt x="130" y="1890"/>
                  <a:pt x="130" y="1890"/>
                  <a:pt x="130" y="1890"/>
                </a:cubicBezTo>
                <a:cubicBezTo>
                  <a:pt x="131" y="1890"/>
                  <a:pt x="132" y="1889"/>
                  <a:pt x="132" y="1889"/>
                </a:cubicBezTo>
                <a:cubicBezTo>
                  <a:pt x="132" y="1888"/>
                  <a:pt x="132" y="1888"/>
                  <a:pt x="132" y="1887"/>
                </a:cubicBezTo>
                <a:cubicBezTo>
                  <a:pt x="131" y="1886"/>
                  <a:pt x="131" y="1884"/>
                  <a:pt x="131" y="1883"/>
                </a:cubicBezTo>
                <a:cubicBezTo>
                  <a:pt x="131" y="1882"/>
                  <a:pt x="131" y="1881"/>
                  <a:pt x="131" y="1881"/>
                </a:cubicBezTo>
                <a:cubicBezTo>
                  <a:pt x="131" y="1881"/>
                  <a:pt x="131" y="1880"/>
                  <a:pt x="131" y="1880"/>
                </a:cubicBezTo>
                <a:cubicBezTo>
                  <a:pt x="131" y="1879"/>
                  <a:pt x="131" y="1879"/>
                  <a:pt x="131" y="1879"/>
                </a:cubicBezTo>
                <a:cubicBezTo>
                  <a:pt x="131" y="1878"/>
                  <a:pt x="131" y="1878"/>
                  <a:pt x="131" y="1878"/>
                </a:cubicBezTo>
                <a:cubicBezTo>
                  <a:pt x="130" y="1877"/>
                  <a:pt x="130" y="1875"/>
                  <a:pt x="131" y="1874"/>
                </a:cubicBezTo>
                <a:cubicBezTo>
                  <a:pt x="131" y="1873"/>
                  <a:pt x="132" y="1872"/>
                  <a:pt x="131" y="1870"/>
                </a:cubicBezTo>
                <a:cubicBezTo>
                  <a:pt x="132" y="1869"/>
                  <a:pt x="131" y="1866"/>
                  <a:pt x="131" y="1866"/>
                </a:cubicBezTo>
                <a:cubicBezTo>
                  <a:pt x="132" y="1864"/>
                  <a:pt x="132" y="1862"/>
                  <a:pt x="132" y="1861"/>
                </a:cubicBezTo>
                <a:cubicBezTo>
                  <a:pt x="132" y="1859"/>
                  <a:pt x="132" y="1857"/>
                  <a:pt x="132" y="1855"/>
                </a:cubicBezTo>
                <a:cubicBezTo>
                  <a:pt x="132" y="1853"/>
                  <a:pt x="132" y="1851"/>
                  <a:pt x="133" y="1850"/>
                </a:cubicBezTo>
                <a:cubicBezTo>
                  <a:pt x="133" y="1850"/>
                  <a:pt x="134" y="1850"/>
                  <a:pt x="134" y="1850"/>
                </a:cubicBezTo>
                <a:cubicBezTo>
                  <a:pt x="134" y="1849"/>
                  <a:pt x="134" y="1849"/>
                  <a:pt x="134" y="1848"/>
                </a:cubicBezTo>
                <a:cubicBezTo>
                  <a:pt x="134" y="1848"/>
                  <a:pt x="134" y="1847"/>
                  <a:pt x="133" y="1847"/>
                </a:cubicBezTo>
                <a:cubicBezTo>
                  <a:pt x="132" y="1845"/>
                  <a:pt x="133" y="1843"/>
                  <a:pt x="133" y="1841"/>
                </a:cubicBez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33" name="Freeform 8">
            <a:extLst>
              <a:ext uri="{FF2B5EF4-FFF2-40B4-BE49-F238E27FC236}">
                <a16:creationId xmlns:a16="http://schemas.microsoft.com/office/drawing/2014/main" id="{25955ECD-D309-7842-1AE6-5E94629C840D}"/>
              </a:ext>
            </a:extLst>
          </p:cNvPr>
          <p:cNvSpPr>
            <a:spLocks noChangeAspect="1"/>
          </p:cNvSpPr>
          <p:nvPr userDrawn="1"/>
        </p:nvSpPr>
        <p:spPr bwMode="auto">
          <a:xfrm rot="1054270">
            <a:off x="7372074" y="831434"/>
            <a:ext cx="2095135" cy="2180220"/>
          </a:xfrm>
          <a:custGeom>
            <a:avLst/>
            <a:gdLst>
              <a:gd name="T0" fmla="*/ 1265 w 2198"/>
              <a:gd name="T1" fmla="*/ 1279 h 2287"/>
              <a:gd name="T2" fmla="*/ 1189 w 2198"/>
              <a:gd name="T3" fmla="*/ 1200 h 2287"/>
              <a:gd name="T4" fmla="*/ 1087 w 2198"/>
              <a:gd name="T5" fmla="*/ 1095 h 2287"/>
              <a:gd name="T6" fmla="*/ 1024 w 2198"/>
              <a:gd name="T7" fmla="*/ 1031 h 2287"/>
              <a:gd name="T8" fmla="*/ 980 w 2198"/>
              <a:gd name="T9" fmla="*/ 978 h 2287"/>
              <a:gd name="T10" fmla="*/ 937 w 2198"/>
              <a:gd name="T11" fmla="*/ 939 h 2287"/>
              <a:gd name="T12" fmla="*/ 905 w 2198"/>
              <a:gd name="T13" fmla="*/ 907 h 2287"/>
              <a:gd name="T14" fmla="*/ 858 w 2198"/>
              <a:gd name="T15" fmla="*/ 860 h 2287"/>
              <a:gd name="T16" fmla="*/ 799 w 2198"/>
              <a:gd name="T17" fmla="*/ 793 h 2287"/>
              <a:gd name="T18" fmla="*/ 705 w 2198"/>
              <a:gd name="T19" fmla="*/ 703 h 2287"/>
              <a:gd name="T20" fmla="*/ 649 w 2198"/>
              <a:gd name="T21" fmla="*/ 646 h 2287"/>
              <a:gd name="T22" fmla="*/ 565 w 2198"/>
              <a:gd name="T23" fmla="*/ 558 h 2287"/>
              <a:gd name="T24" fmla="*/ 520 w 2198"/>
              <a:gd name="T25" fmla="*/ 511 h 2287"/>
              <a:gd name="T26" fmla="*/ 484 w 2198"/>
              <a:gd name="T27" fmla="*/ 474 h 2287"/>
              <a:gd name="T28" fmla="*/ 435 w 2198"/>
              <a:gd name="T29" fmla="*/ 422 h 2287"/>
              <a:gd name="T30" fmla="*/ 384 w 2198"/>
              <a:gd name="T31" fmla="*/ 365 h 2287"/>
              <a:gd name="T32" fmla="*/ 300 w 2198"/>
              <a:gd name="T33" fmla="*/ 279 h 2287"/>
              <a:gd name="T34" fmla="*/ 269 w 2198"/>
              <a:gd name="T35" fmla="*/ 245 h 2287"/>
              <a:gd name="T36" fmla="*/ 225 w 2198"/>
              <a:gd name="T37" fmla="*/ 196 h 2287"/>
              <a:gd name="T38" fmla="*/ 174 w 2198"/>
              <a:gd name="T39" fmla="*/ 142 h 2287"/>
              <a:gd name="T40" fmla="*/ 134 w 2198"/>
              <a:gd name="T41" fmla="*/ 107 h 2287"/>
              <a:gd name="T42" fmla="*/ 91 w 2198"/>
              <a:gd name="T43" fmla="*/ 67 h 2287"/>
              <a:gd name="T44" fmla="*/ 7 w 2198"/>
              <a:gd name="T45" fmla="*/ 24 h 2287"/>
              <a:gd name="T46" fmla="*/ 245 w 2198"/>
              <a:gd name="T47" fmla="*/ 289 h 2287"/>
              <a:gd name="T48" fmla="*/ 396 w 2198"/>
              <a:gd name="T49" fmla="*/ 443 h 2287"/>
              <a:gd name="T50" fmla="*/ 463 w 2198"/>
              <a:gd name="T51" fmla="*/ 513 h 2287"/>
              <a:gd name="T52" fmla="*/ 533 w 2198"/>
              <a:gd name="T53" fmla="*/ 590 h 2287"/>
              <a:gd name="T54" fmla="*/ 587 w 2198"/>
              <a:gd name="T55" fmla="*/ 650 h 2287"/>
              <a:gd name="T56" fmla="*/ 649 w 2198"/>
              <a:gd name="T57" fmla="*/ 712 h 2287"/>
              <a:gd name="T58" fmla="*/ 865 w 2198"/>
              <a:gd name="T59" fmla="*/ 936 h 2287"/>
              <a:gd name="T60" fmla="*/ 930 w 2198"/>
              <a:gd name="T61" fmla="*/ 1002 h 2287"/>
              <a:gd name="T62" fmla="*/ 1016 w 2198"/>
              <a:gd name="T63" fmla="*/ 1091 h 2287"/>
              <a:gd name="T64" fmla="*/ 1087 w 2198"/>
              <a:gd name="T65" fmla="*/ 1160 h 2287"/>
              <a:gd name="T66" fmla="*/ 1138 w 2198"/>
              <a:gd name="T67" fmla="*/ 1217 h 2287"/>
              <a:gd name="T68" fmla="*/ 1165 w 2198"/>
              <a:gd name="T69" fmla="*/ 1246 h 2287"/>
              <a:gd name="T70" fmla="*/ 1207 w 2198"/>
              <a:gd name="T71" fmla="*/ 1291 h 2287"/>
              <a:gd name="T72" fmla="*/ 1260 w 2198"/>
              <a:gd name="T73" fmla="*/ 1346 h 2287"/>
              <a:gd name="T74" fmla="*/ 1297 w 2198"/>
              <a:gd name="T75" fmla="*/ 1385 h 2287"/>
              <a:gd name="T76" fmla="*/ 1353 w 2198"/>
              <a:gd name="T77" fmla="*/ 1440 h 2287"/>
              <a:gd name="T78" fmla="*/ 1406 w 2198"/>
              <a:gd name="T79" fmla="*/ 1496 h 2287"/>
              <a:gd name="T80" fmla="*/ 1496 w 2198"/>
              <a:gd name="T81" fmla="*/ 1583 h 2287"/>
              <a:gd name="T82" fmla="*/ 1587 w 2198"/>
              <a:gd name="T83" fmla="*/ 1676 h 2287"/>
              <a:gd name="T84" fmla="*/ 1661 w 2198"/>
              <a:gd name="T85" fmla="*/ 1754 h 2287"/>
              <a:gd name="T86" fmla="*/ 1703 w 2198"/>
              <a:gd name="T87" fmla="*/ 1801 h 2287"/>
              <a:gd name="T88" fmla="*/ 1742 w 2198"/>
              <a:gd name="T89" fmla="*/ 1842 h 2287"/>
              <a:gd name="T90" fmla="*/ 1780 w 2198"/>
              <a:gd name="T91" fmla="*/ 1885 h 2287"/>
              <a:gd name="T92" fmla="*/ 1851 w 2198"/>
              <a:gd name="T93" fmla="*/ 1958 h 2287"/>
              <a:gd name="T94" fmla="*/ 1899 w 2198"/>
              <a:gd name="T95" fmla="*/ 2009 h 2287"/>
              <a:gd name="T96" fmla="*/ 1920 w 2198"/>
              <a:gd name="T97" fmla="*/ 2034 h 2287"/>
              <a:gd name="T98" fmla="*/ 1957 w 2198"/>
              <a:gd name="T99" fmla="*/ 2070 h 2287"/>
              <a:gd name="T100" fmla="*/ 2002 w 2198"/>
              <a:gd name="T101" fmla="*/ 2118 h 2287"/>
              <a:gd name="T102" fmla="*/ 2043 w 2198"/>
              <a:gd name="T103" fmla="*/ 2160 h 2287"/>
              <a:gd name="T104" fmla="*/ 2077 w 2198"/>
              <a:gd name="T105" fmla="*/ 2190 h 2287"/>
              <a:gd name="T106" fmla="*/ 2123 w 2198"/>
              <a:gd name="T107" fmla="*/ 2239 h 2287"/>
              <a:gd name="T108" fmla="*/ 1960 w 2198"/>
              <a:gd name="T109" fmla="*/ 2003 h 2287"/>
              <a:gd name="T110" fmla="*/ 1815 w 2198"/>
              <a:gd name="T111" fmla="*/ 1851 h 2287"/>
              <a:gd name="T112" fmla="*/ 1747 w 2198"/>
              <a:gd name="T113" fmla="*/ 1781 h 2287"/>
              <a:gd name="T114" fmla="*/ 1666 w 2198"/>
              <a:gd name="T115" fmla="*/ 1698 h 2287"/>
              <a:gd name="T116" fmla="*/ 1614 w 2198"/>
              <a:gd name="T117" fmla="*/ 1639 h 2287"/>
              <a:gd name="T118" fmla="*/ 1437 w 2198"/>
              <a:gd name="T119" fmla="*/ 1456 h 2287"/>
              <a:gd name="T120" fmla="*/ 1336 w 2198"/>
              <a:gd name="T121" fmla="*/ 1351 h 2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98" h="2287">
                <a:moveTo>
                  <a:pt x="1309" y="1324"/>
                </a:moveTo>
                <a:lnTo>
                  <a:pt x="1309" y="1324"/>
                </a:lnTo>
                <a:cubicBezTo>
                  <a:pt x="1308" y="1324"/>
                  <a:pt x="1308" y="1323"/>
                  <a:pt x="1307" y="1323"/>
                </a:cubicBezTo>
                <a:cubicBezTo>
                  <a:pt x="1306" y="1321"/>
                  <a:pt x="1305" y="1319"/>
                  <a:pt x="1304" y="1316"/>
                </a:cubicBezTo>
                <a:cubicBezTo>
                  <a:pt x="1303" y="1315"/>
                  <a:pt x="1302" y="1314"/>
                  <a:pt x="1301" y="1313"/>
                </a:cubicBezTo>
                <a:cubicBezTo>
                  <a:pt x="1301" y="1312"/>
                  <a:pt x="1301" y="1311"/>
                  <a:pt x="1300" y="1310"/>
                </a:cubicBezTo>
                <a:cubicBezTo>
                  <a:pt x="1299" y="1310"/>
                  <a:pt x="1298" y="1310"/>
                  <a:pt x="1297" y="1310"/>
                </a:cubicBezTo>
                <a:cubicBezTo>
                  <a:pt x="1297" y="1310"/>
                  <a:pt x="1295" y="1309"/>
                  <a:pt x="1295" y="1308"/>
                </a:cubicBezTo>
                <a:cubicBezTo>
                  <a:pt x="1294" y="1307"/>
                  <a:pt x="1295" y="1307"/>
                  <a:pt x="1295" y="1306"/>
                </a:cubicBezTo>
                <a:cubicBezTo>
                  <a:pt x="1294" y="1305"/>
                  <a:pt x="1293" y="1305"/>
                  <a:pt x="1292" y="1304"/>
                </a:cubicBezTo>
                <a:cubicBezTo>
                  <a:pt x="1292" y="1304"/>
                  <a:pt x="1292" y="1304"/>
                  <a:pt x="1292" y="1303"/>
                </a:cubicBezTo>
                <a:cubicBezTo>
                  <a:pt x="1292" y="1303"/>
                  <a:pt x="1292" y="1302"/>
                  <a:pt x="1292" y="1302"/>
                </a:cubicBezTo>
                <a:cubicBezTo>
                  <a:pt x="1292" y="1301"/>
                  <a:pt x="1292" y="1301"/>
                  <a:pt x="1292" y="1301"/>
                </a:cubicBezTo>
                <a:cubicBezTo>
                  <a:pt x="1292" y="1301"/>
                  <a:pt x="1291" y="1301"/>
                  <a:pt x="1291" y="1301"/>
                </a:cubicBezTo>
                <a:cubicBezTo>
                  <a:pt x="1291" y="1300"/>
                  <a:pt x="1291" y="1300"/>
                  <a:pt x="1290" y="1299"/>
                </a:cubicBezTo>
                <a:cubicBezTo>
                  <a:pt x="1290" y="1299"/>
                  <a:pt x="1289" y="1298"/>
                  <a:pt x="1288" y="1298"/>
                </a:cubicBezTo>
                <a:cubicBezTo>
                  <a:pt x="1287" y="1297"/>
                  <a:pt x="1286" y="1296"/>
                  <a:pt x="1286" y="1295"/>
                </a:cubicBezTo>
                <a:cubicBezTo>
                  <a:pt x="1284" y="1293"/>
                  <a:pt x="1282" y="1291"/>
                  <a:pt x="1280" y="1290"/>
                </a:cubicBezTo>
                <a:cubicBezTo>
                  <a:pt x="1278" y="1289"/>
                  <a:pt x="1278" y="1291"/>
                  <a:pt x="1277" y="1292"/>
                </a:cubicBezTo>
                <a:cubicBezTo>
                  <a:pt x="1277" y="1292"/>
                  <a:pt x="1277" y="1292"/>
                  <a:pt x="1276" y="1291"/>
                </a:cubicBezTo>
                <a:cubicBezTo>
                  <a:pt x="1276" y="1291"/>
                  <a:pt x="1276" y="1290"/>
                  <a:pt x="1275" y="1290"/>
                </a:cubicBezTo>
                <a:cubicBezTo>
                  <a:pt x="1275" y="1289"/>
                  <a:pt x="1274" y="1289"/>
                  <a:pt x="1274" y="1288"/>
                </a:cubicBezTo>
                <a:cubicBezTo>
                  <a:pt x="1272" y="1287"/>
                  <a:pt x="1271" y="1285"/>
                  <a:pt x="1270" y="1283"/>
                </a:cubicBezTo>
                <a:cubicBezTo>
                  <a:pt x="1269" y="1282"/>
                  <a:pt x="1267" y="1278"/>
                  <a:pt x="1265" y="1279"/>
                </a:cubicBezTo>
                <a:cubicBezTo>
                  <a:pt x="1265" y="1279"/>
                  <a:pt x="1265" y="1279"/>
                  <a:pt x="1265" y="1279"/>
                </a:cubicBezTo>
                <a:cubicBezTo>
                  <a:pt x="1264" y="1280"/>
                  <a:pt x="1262" y="1277"/>
                  <a:pt x="1262" y="1277"/>
                </a:cubicBezTo>
                <a:cubicBezTo>
                  <a:pt x="1257" y="1269"/>
                  <a:pt x="1252" y="1264"/>
                  <a:pt x="1245" y="1257"/>
                </a:cubicBezTo>
                <a:cubicBezTo>
                  <a:pt x="1243" y="1255"/>
                  <a:pt x="1241" y="1254"/>
                  <a:pt x="1240" y="1252"/>
                </a:cubicBezTo>
                <a:cubicBezTo>
                  <a:pt x="1239" y="1251"/>
                  <a:pt x="1239" y="1250"/>
                  <a:pt x="1239" y="1250"/>
                </a:cubicBezTo>
                <a:cubicBezTo>
                  <a:pt x="1239" y="1249"/>
                  <a:pt x="1238" y="1248"/>
                  <a:pt x="1238" y="1247"/>
                </a:cubicBezTo>
                <a:cubicBezTo>
                  <a:pt x="1237" y="1246"/>
                  <a:pt x="1235" y="1246"/>
                  <a:pt x="1235" y="1244"/>
                </a:cubicBezTo>
                <a:cubicBezTo>
                  <a:pt x="1234" y="1244"/>
                  <a:pt x="1235" y="1242"/>
                  <a:pt x="1234" y="1242"/>
                </a:cubicBezTo>
                <a:cubicBezTo>
                  <a:pt x="1234" y="1241"/>
                  <a:pt x="1232" y="1241"/>
                  <a:pt x="1231" y="1241"/>
                </a:cubicBezTo>
                <a:cubicBezTo>
                  <a:pt x="1229" y="1241"/>
                  <a:pt x="1229" y="1240"/>
                  <a:pt x="1228" y="1239"/>
                </a:cubicBezTo>
                <a:cubicBezTo>
                  <a:pt x="1227" y="1237"/>
                  <a:pt x="1225" y="1236"/>
                  <a:pt x="1224" y="1235"/>
                </a:cubicBezTo>
                <a:cubicBezTo>
                  <a:pt x="1220" y="1231"/>
                  <a:pt x="1216" y="1228"/>
                  <a:pt x="1216" y="1227"/>
                </a:cubicBezTo>
                <a:cubicBezTo>
                  <a:pt x="1215" y="1226"/>
                  <a:pt x="1214" y="1226"/>
                  <a:pt x="1214" y="1225"/>
                </a:cubicBezTo>
                <a:cubicBezTo>
                  <a:pt x="1213" y="1224"/>
                  <a:pt x="1214" y="1224"/>
                  <a:pt x="1214" y="1223"/>
                </a:cubicBezTo>
                <a:cubicBezTo>
                  <a:pt x="1213" y="1222"/>
                  <a:pt x="1213" y="1221"/>
                  <a:pt x="1213" y="1221"/>
                </a:cubicBezTo>
                <a:cubicBezTo>
                  <a:pt x="1212" y="1219"/>
                  <a:pt x="1211" y="1218"/>
                  <a:pt x="1210" y="1217"/>
                </a:cubicBezTo>
                <a:cubicBezTo>
                  <a:pt x="1210" y="1216"/>
                  <a:pt x="1209" y="1216"/>
                  <a:pt x="1209" y="1216"/>
                </a:cubicBezTo>
                <a:cubicBezTo>
                  <a:pt x="1208" y="1216"/>
                  <a:pt x="1208" y="1216"/>
                  <a:pt x="1207" y="1216"/>
                </a:cubicBezTo>
                <a:cubicBezTo>
                  <a:pt x="1204" y="1215"/>
                  <a:pt x="1202" y="1213"/>
                  <a:pt x="1201" y="1210"/>
                </a:cubicBezTo>
                <a:cubicBezTo>
                  <a:pt x="1200" y="1209"/>
                  <a:pt x="1199" y="1207"/>
                  <a:pt x="1197" y="1206"/>
                </a:cubicBezTo>
                <a:cubicBezTo>
                  <a:pt x="1197" y="1205"/>
                  <a:pt x="1196" y="1205"/>
                  <a:pt x="1195" y="1205"/>
                </a:cubicBezTo>
                <a:cubicBezTo>
                  <a:pt x="1195" y="1205"/>
                  <a:pt x="1195" y="1205"/>
                  <a:pt x="1194" y="1205"/>
                </a:cubicBezTo>
                <a:cubicBezTo>
                  <a:pt x="1193" y="1205"/>
                  <a:pt x="1192" y="1204"/>
                  <a:pt x="1191" y="1203"/>
                </a:cubicBezTo>
                <a:cubicBezTo>
                  <a:pt x="1190" y="1202"/>
                  <a:pt x="1190" y="1201"/>
                  <a:pt x="1189" y="1200"/>
                </a:cubicBezTo>
                <a:cubicBezTo>
                  <a:pt x="1188" y="1199"/>
                  <a:pt x="1187" y="1198"/>
                  <a:pt x="1185" y="1196"/>
                </a:cubicBezTo>
                <a:cubicBezTo>
                  <a:pt x="1184" y="1195"/>
                  <a:pt x="1182" y="1193"/>
                  <a:pt x="1180" y="1192"/>
                </a:cubicBezTo>
                <a:cubicBezTo>
                  <a:pt x="1176" y="1188"/>
                  <a:pt x="1170" y="1183"/>
                  <a:pt x="1169" y="1181"/>
                </a:cubicBezTo>
                <a:cubicBezTo>
                  <a:pt x="1168" y="1180"/>
                  <a:pt x="1166" y="1178"/>
                  <a:pt x="1165" y="1178"/>
                </a:cubicBezTo>
                <a:cubicBezTo>
                  <a:pt x="1164" y="1178"/>
                  <a:pt x="1164" y="1178"/>
                  <a:pt x="1164" y="1178"/>
                </a:cubicBezTo>
                <a:cubicBezTo>
                  <a:pt x="1163" y="1177"/>
                  <a:pt x="1162" y="1175"/>
                  <a:pt x="1162" y="1174"/>
                </a:cubicBezTo>
                <a:cubicBezTo>
                  <a:pt x="1161" y="1172"/>
                  <a:pt x="1160" y="1172"/>
                  <a:pt x="1159" y="1171"/>
                </a:cubicBezTo>
                <a:cubicBezTo>
                  <a:pt x="1156" y="1168"/>
                  <a:pt x="1154" y="1165"/>
                  <a:pt x="1151" y="1163"/>
                </a:cubicBezTo>
                <a:cubicBezTo>
                  <a:pt x="1149" y="1161"/>
                  <a:pt x="1147" y="1158"/>
                  <a:pt x="1145" y="1156"/>
                </a:cubicBezTo>
                <a:cubicBezTo>
                  <a:pt x="1144" y="1154"/>
                  <a:pt x="1141" y="1150"/>
                  <a:pt x="1139" y="1150"/>
                </a:cubicBezTo>
                <a:cubicBezTo>
                  <a:pt x="1139" y="1150"/>
                  <a:pt x="1138" y="1150"/>
                  <a:pt x="1138" y="1150"/>
                </a:cubicBezTo>
                <a:cubicBezTo>
                  <a:pt x="1137" y="1149"/>
                  <a:pt x="1137" y="1149"/>
                  <a:pt x="1137" y="1149"/>
                </a:cubicBezTo>
                <a:cubicBezTo>
                  <a:pt x="1137" y="1148"/>
                  <a:pt x="1136" y="1148"/>
                  <a:pt x="1136" y="1146"/>
                </a:cubicBezTo>
                <a:cubicBezTo>
                  <a:pt x="1135" y="1145"/>
                  <a:pt x="1135" y="1144"/>
                  <a:pt x="1134" y="1143"/>
                </a:cubicBezTo>
                <a:cubicBezTo>
                  <a:pt x="1132" y="1141"/>
                  <a:pt x="1130" y="1140"/>
                  <a:pt x="1128" y="1138"/>
                </a:cubicBezTo>
                <a:cubicBezTo>
                  <a:pt x="1127" y="1137"/>
                  <a:pt x="1125" y="1136"/>
                  <a:pt x="1124" y="1134"/>
                </a:cubicBezTo>
                <a:cubicBezTo>
                  <a:pt x="1123" y="1134"/>
                  <a:pt x="1123" y="1133"/>
                  <a:pt x="1122" y="1133"/>
                </a:cubicBezTo>
                <a:cubicBezTo>
                  <a:pt x="1121" y="1132"/>
                  <a:pt x="1120" y="1133"/>
                  <a:pt x="1120" y="1133"/>
                </a:cubicBezTo>
                <a:cubicBezTo>
                  <a:pt x="1119" y="1132"/>
                  <a:pt x="1119" y="1132"/>
                  <a:pt x="1118" y="1131"/>
                </a:cubicBezTo>
                <a:cubicBezTo>
                  <a:pt x="1116" y="1129"/>
                  <a:pt x="1113" y="1126"/>
                  <a:pt x="1111" y="1124"/>
                </a:cubicBezTo>
                <a:cubicBezTo>
                  <a:pt x="1108" y="1122"/>
                  <a:pt x="1107" y="1119"/>
                  <a:pt x="1105" y="1117"/>
                </a:cubicBezTo>
                <a:cubicBezTo>
                  <a:pt x="1103" y="1114"/>
                  <a:pt x="1100" y="1112"/>
                  <a:pt x="1097" y="1109"/>
                </a:cubicBezTo>
                <a:cubicBezTo>
                  <a:pt x="1095" y="1107"/>
                  <a:pt x="1095" y="1104"/>
                  <a:pt x="1093" y="1101"/>
                </a:cubicBezTo>
                <a:cubicBezTo>
                  <a:pt x="1091" y="1099"/>
                  <a:pt x="1089" y="1097"/>
                  <a:pt x="1087" y="1095"/>
                </a:cubicBezTo>
                <a:cubicBezTo>
                  <a:pt x="1086" y="1094"/>
                  <a:pt x="1085" y="1093"/>
                  <a:pt x="1083" y="1092"/>
                </a:cubicBezTo>
                <a:cubicBezTo>
                  <a:pt x="1083" y="1091"/>
                  <a:pt x="1082" y="1091"/>
                  <a:pt x="1081" y="1090"/>
                </a:cubicBezTo>
                <a:cubicBezTo>
                  <a:pt x="1080" y="1089"/>
                  <a:pt x="1080" y="1089"/>
                  <a:pt x="1080" y="1088"/>
                </a:cubicBezTo>
                <a:cubicBezTo>
                  <a:pt x="1079" y="1086"/>
                  <a:pt x="1078" y="1084"/>
                  <a:pt x="1076" y="1083"/>
                </a:cubicBezTo>
                <a:cubicBezTo>
                  <a:pt x="1074" y="1080"/>
                  <a:pt x="1072" y="1078"/>
                  <a:pt x="1070" y="1076"/>
                </a:cubicBezTo>
                <a:cubicBezTo>
                  <a:pt x="1069" y="1074"/>
                  <a:pt x="1068" y="1073"/>
                  <a:pt x="1066" y="1073"/>
                </a:cubicBezTo>
                <a:cubicBezTo>
                  <a:pt x="1065" y="1072"/>
                  <a:pt x="1063" y="1072"/>
                  <a:pt x="1062" y="1070"/>
                </a:cubicBezTo>
                <a:cubicBezTo>
                  <a:pt x="1062" y="1069"/>
                  <a:pt x="1062" y="1069"/>
                  <a:pt x="1062" y="1069"/>
                </a:cubicBezTo>
                <a:cubicBezTo>
                  <a:pt x="1062" y="1068"/>
                  <a:pt x="1061" y="1068"/>
                  <a:pt x="1061" y="1068"/>
                </a:cubicBezTo>
                <a:cubicBezTo>
                  <a:pt x="1059" y="1066"/>
                  <a:pt x="1058" y="1065"/>
                  <a:pt x="1057" y="1065"/>
                </a:cubicBezTo>
                <a:cubicBezTo>
                  <a:pt x="1056" y="1064"/>
                  <a:pt x="1056" y="1064"/>
                  <a:pt x="1055" y="1064"/>
                </a:cubicBezTo>
                <a:cubicBezTo>
                  <a:pt x="1055" y="1064"/>
                  <a:pt x="1055" y="1064"/>
                  <a:pt x="1054" y="1063"/>
                </a:cubicBezTo>
                <a:cubicBezTo>
                  <a:pt x="1053" y="1062"/>
                  <a:pt x="1051" y="1061"/>
                  <a:pt x="1050" y="1059"/>
                </a:cubicBezTo>
                <a:cubicBezTo>
                  <a:pt x="1049" y="1057"/>
                  <a:pt x="1048" y="1055"/>
                  <a:pt x="1047" y="1053"/>
                </a:cubicBezTo>
                <a:cubicBezTo>
                  <a:pt x="1045" y="1051"/>
                  <a:pt x="1044" y="1049"/>
                  <a:pt x="1043" y="1047"/>
                </a:cubicBezTo>
                <a:cubicBezTo>
                  <a:pt x="1041" y="1045"/>
                  <a:pt x="1039" y="1044"/>
                  <a:pt x="1038" y="1042"/>
                </a:cubicBezTo>
                <a:cubicBezTo>
                  <a:pt x="1038" y="1042"/>
                  <a:pt x="1037" y="1042"/>
                  <a:pt x="1037" y="1041"/>
                </a:cubicBezTo>
                <a:cubicBezTo>
                  <a:pt x="1037" y="1041"/>
                  <a:pt x="1037" y="1041"/>
                  <a:pt x="1037" y="1041"/>
                </a:cubicBezTo>
                <a:cubicBezTo>
                  <a:pt x="1037" y="1040"/>
                  <a:pt x="1036" y="1040"/>
                  <a:pt x="1036" y="1040"/>
                </a:cubicBezTo>
                <a:cubicBezTo>
                  <a:pt x="1035" y="1038"/>
                  <a:pt x="1034" y="1037"/>
                  <a:pt x="1033" y="1036"/>
                </a:cubicBezTo>
                <a:cubicBezTo>
                  <a:pt x="1032" y="1035"/>
                  <a:pt x="1032" y="1034"/>
                  <a:pt x="1031" y="1033"/>
                </a:cubicBezTo>
                <a:cubicBezTo>
                  <a:pt x="1031" y="1032"/>
                  <a:pt x="1030" y="1031"/>
                  <a:pt x="1029" y="1031"/>
                </a:cubicBezTo>
                <a:cubicBezTo>
                  <a:pt x="1027" y="1031"/>
                  <a:pt x="1029" y="1033"/>
                  <a:pt x="1027" y="1033"/>
                </a:cubicBezTo>
                <a:cubicBezTo>
                  <a:pt x="1026" y="1034"/>
                  <a:pt x="1025" y="1032"/>
                  <a:pt x="1024" y="1031"/>
                </a:cubicBezTo>
                <a:cubicBezTo>
                  <a:pt x="1023" y="1030"/>
                  <a:pt x="1021" y="1028"/>
                  <a:pt x="1020" y="1027"/>
                </a:cubicBezTo>
                <a:cubicBezTo>
                  <a:pt x="1019" y="1026"/>
                  <a:pt x="1018" y="1024"/>
                  <a:pt x="1016" y="1023"/>
                </a:cubicBezTo>
                <a:cubicBezTo>
                  <a:pt x="1015" y="1021"/>
                  <a:pt x="1014" y="1021"/>
                  <a:pt x="1015" y="1019"/>
                </a:cubicBezTo>
                <a:cubicBezTo>
                  <a:pt x="1016" y="1019"/>
                  <a:pt x="1016" y="1018"/>
                  <a:pt x="1015" y="1017"/>
                </a:cubicBezTo>
                <a:cubicBezTo>
                  <a:pt x="1015" y="1017"/>
                  <a:pt x="1014" y="1017"/>
                  <a:pt x="1014" y="1016"/>
                </a:cubicBezTo>
                <a:cubicBezTo>
                  <a:pt x="1014" y="1016"/>
                  <a:pt x="1014" y="1016"/>
                  <a:pt x="1014" y="1015"/>
                </a:cubicBezTo>
                <a:cubicBezTo>
                  <a:pt x="1014" y="1015"/>
                  <a:pt x="1014" y="1015"/>
                  <a:pt x="1014" y="1015"/>
                </a:cubicBezTo>
                <a:cubicBezTo>
                  <a:pt x="1013" y="1014"/>
                  <a:pt x="1013" y="1013"/>
                  <a:pt x="1012" y="1013"/>
                </a:cubicBezTo>
                <a:cubicBezTo>
                  <a:pt x="1012" y="1013"/>
                  <a:pt x="1011" y="1012"/>
                  <a:pt x="1011" y="1012"/>
                </a:cubicBezTo>
                <a:cubicBezTo>
                  <a:pt x="1011" y="1012"/>
                  <a:pt x="1011" y="1012"/>
                  <a:pt x="1011" y="1012"/>
                </a:cubicBezTo>
                <a:cubicBezTo>
                  <a:pt x="1010" y="1010"/>
                  <a:pt x="1009" y="1010"/>
                  <a:pt x="1008" y="1009"/>
                </a:cubicBezTo>
                <a:cubicBezTo>
                  <a:pt x="1007" y="1008"/>
                  <a:pt x="1006" y="1006"/>
                  <a:pt x="1004" y="1005"/>
                </a:cubicBezTo>
                <a:cubicBezTo>
                  <a:pt x="1003" y="1004"/>
                  <a:pt x="1002" y="1002"/>
                  <a:pt x="1001" y="1001"/>
                </a:cubicBezTo>
                <a:cubicBezTo>
                  <a:pt x="1001" y="1000"/>
                  <a:pt x="1000" y="1000"/>
                  <a:pt x="1000" y="999"/>
                </a:cubicBezTo>
                <a:cubicBezTo>
                  <a:pt x="999" y="999"/>
                  <a:pt x="999" y="999"/>
                  <a:pt x="998" y="998"/>
                </a:cubicBezTo>
                <a:cubicBezTo>
                  <a:pt x="997" y="997"/>
                  <a:pt x="995" y="996"/>
                  <a:pt x="994" y="995"/>
                </a:cubicBezTo>
                <a:cubicBezTo>
                  <a:pt x="992" y="994"/>
                  <a:pt x="991" y="992"/>
                  <a:pt x="990" y="991"/>
                </a:cubicBezTo>
                <a:cubicBezTo>
                  <a:pt x="988" y="990"/>
                  <a:pt x="987" y="990"/>
                  <a:pt x="986" y="988"/>
                </a:cubicBezTo>
                <a:cubicBezTo>
                  <a:pt x="985" y="987"/>
                  <a:pt x="984" y="985"/>
                  <a:pt x="983" y="984"/>
                </a:cubicBezTo>
                <a:cubicBezTo>
                  <a:pt x="982" y="983"/>
                  <a:pt x="981" y="982"/>
                  <a:pt x="981" y="982"/>
                </a:cubicBezTo>
                <a:cubicBezTo>
                  <a:pt x="980" y="981"/>
                  <a:pt x="979" y="980"/>
                  <a:pt x="978" y="979"/>
                </a:cubicBezTo>
                <a:cubicBezTo>
                  <a:pt x="979" y="979"/>
                  <a:pt x="979" y="979"/>
                  <a:pt x="979" y="979"/>
                </a:cubicBezTo>
                <a:cubicBezTo>
                  <a:pt x="979" y="979"/>
                  <a:pt x="980" y="979"/>
                  <a:pt x="980" y="978"/>
                </a:cubicBezTo>
                <a:cubicBezTo>
                  <a:pt x="980" y="978"/>
                  <a:pt x="980" y="978"/>
                  <a:pt x="980" y="978"/>
                </a:cubicBezTo>
                <a:cubicBezTo>
                  <a:pt x="980" y="977"/>
                  <a:pt x="979" y="977"/>
                  <a:pt x="979" y="977"/>
                </a:cubicBezTo>
                <a:cubicBezTo>
                  <a:pt x="979" y="977"/>
                  <a:pt x="978" y="977"/>
                  <a:pt x="978" y="977"/>
                </a:cubicBezTo>
                <a:cubicBezTo>
                  <a:pt x="978" y="977"/>
                  <a:pt x="977" y="977"/>
                  <a:pt x="977" y="977"/>
                </a:cubicBezTo>
                <a:cubicBezTo>
                  <a:pt x="977" y="976"/>
                  <a:pt x="977" y="976"/>
                  <a:pt x="977" y="976"/>
                </a:cubicBezTo>
                <a:cubicBezTo>
                  <a:pt x="977" y="976"/>
                  <a:pt x="977" y="975"/>
                  <a:pt x="977" y="975"/>
                </a:cubicBezTo>
                <a:cubicBezTo>
                  <a:pt x="977" y="975"/>
                  <a:pt x="977" y="975"/>
                  <a:pt x="976" y="975"/>
                </a:cubicBezTo>
                <a:cubicBezTo>
                  <a:pt x="976" y="974"/>
                  <a:pt x="975" y="974"/>
                  <a:pt x="975" y="973"/>
                </a:cubicBezTo>
                <a:cubicBezTo>
                  <a:pt x="974" y="972"/>
                  <a:pt x="972" y="971"/>
                  <a:pt x="972" y="970"/>
                </a:cubicBezTo>
                <a:cubicBezTo>
                  <a:pt x="970" y="967"/>
                  <a:pt x="967" y="965"/>
                  <a:pt x="964" y="962"/>
                </a:cubicBezTo>
                <a:cubicBezTo>
                  <a:pt x="963" y="961"/>
                  <a:pt x="962" y="960"/>
                  <a:pt x="960" y="959"/>
                </a:cubicBezTo>
                <a:cubicBezTo>
                  <a:pt x="960" y="959"/>
                  <a:pt x="959" y="958"/>
                  <a:pt x="958" y="958"/>
                </a:cubicBezTo>
                <a:cubicBezTo>
                  <a:pt x="957" y="957"/>
                  <a:pt x="956" y="957"/>
                  <a:pt x="956" y="956"/>
                </a:cubicBezTo>
                <a:cubicBezTo>
                  <a:pt x="956" y="956"/>
                  <a:pt x="956" y="956"/>
                  <a:pt x="956" y="956"/>
                </a:cubicBezTo>
                <a:cubicBezTo>
                  <a:pt x="955" y="956"/>
                  <a:pt x="956" y="956"/>
                  <a:pt x="956" y="955"/>
                </a:cubicBezTo>
                <a:cubicBezTo>
                  <a:pt x="956" y="955"/>
                  <a:pt x="955" y="954"/>
                  <a:pt x="955" y="953"/>
                </a:cubicBezTo>
                <a:cubicBezTo>
                  <a:pt x="955" y="953"/>
                  <a:pt x="955" y="953"/>
                  <a:pt x="954" y="953"/>
                </a:cubicBezTo>
                <a:cubicBezTo>
                  <a:pt x="954" y="952"/>
                  <a:pt x="953" y="953"/>
                  <a:pt x="953" y="953"/>
                </a:cubicBezTo>
                <a:cubicBezTo>
                  <a:pt x="952" y="953"/>
                  <a:pt x="951" y="952"/>
                  <a:pt x="951" y="952"/>
                </a:cubicBezTo>
                <a:cubicBezTo>
                  <a:pt x="950" y="952"/>
                  <a:pt x="950" y="952"/>
                  <a:pt x="949" y="951"/>
                </a:cubicBezTo>
                <a:cubicBezTo>
                  <a:pt x="948" y="950"/>
                  <a:pt x="948" y="949"/>
                  <a:pt x="948" y="949"/>
                </a:cubicBezTo>
                <a:cubicBezTo>
                  <a:pt x="947" y="948"/>
                  <a:pt x="946" y="949"/>
                  <a:pt x="945" y="948"/>
                </a:cubicBezTo>
                <a:cubicBezTo>
                  <a:pt x="944" y="948"/>
                  <a:pt x="943" y="946"/>
                  <a:pt x="942" y="945"/>
                </a:cubicBezTo>
                <a:cubicBezTo>
                  <a:pt x="941" y="944"/>
                  <a:pt x="940" y="943"/>
                  <a:pt x="939" y="941"/>
                </a:cubicBezTo>
                <a:cubicBezTo>
                  <a:pt x="938" y="941"/>
                  <a:pt x="938" y="940"/>
                  <a:pt x="937" y="939"/>
                </a:cubicBezTo>
                <a:cubicBezTo>
                  <a:pt x="937" y="938"/>
                  <a:pt x="938" y="938"/>
                  <a:pt x="937" y="937"/>
                </a:cubicBezTo>
                <a:cubicBezTo>
                  <a:pt x="937" y="936"/>
                  <a:pt x="936" y="936"/>
                  <a:pt x="936" y="936"/>
                </a:cubicBezTo>
                <a:cubicBezTo>
                  <a:pt x="935" y="936"/>
                  <a:pt x="935" y="936"/>
                  <a:pt x="935" y="936"/>
                </a:cubicBezTo>
                <a:cubicBezTo>
                  <a:pt x="934" y="936"/>
                  <a:pt x="934" y="935"/>
                  <a:pt x="934" y="935"/>
                </a:cubicBezTo>
                <a:cubicBezTo>
                  <a:pt x="934" y="935"/>
                  <a:pt x="935" y="934"/>
                  <a:pt x="934" y="934"/>
                </a:cubicBezTo>
                <a:cubicBezTo>
                  <a:pt x="934" y="933"/>
                  <a:pt x="934" y="933"/>
                  <a:pt x="934" y="933"/>
                </a:cubicBezTo>
                <a:cubicBezTo>
                  <a:pt x="933" y="933"/>
                  <a:pt x="932" y="934"/>
                  <a:pt x="931" y="933"/>
                </a:cubicBezTo>
                <a:cubicBezTo>
                  <a:pt x="931" y="933"/>
                  <a:pt x="931" y="932"/>
                  <a:pt x="930" y="932"/>
                </a:cubicBezTo>
                <a:cubicBezTo>
                  <a:pt x="930" y="932"/>
                  <a:pt x="930" y="932"/>
                  <a:pt x="930" y="931"/>
                </a:cubicBezTo>
                <a:cubicBezTo>
                  <a:pt x="930" y="931"/>
                  <a:pt x="929" y="930"/>
                  <a:pt x="929" y="929"/>
                </a:cubicBezTo>
                <a:cubicBezTo>
                  <a:pt x="929" y="928"/>
                  <a:pt x="929" y="928"/>
                  <a:pt x="929" y="927"/>
                </a:cubicBezTo>
                <a:cubicBezTo>
                  <a:pt x="928" y="926"/>
                  <a:pt x="928" y="926"/>
                  <a:pt x="927" y="925"/>
                </a:cubicBezTo>
                <a:cubicBezTo>
                  <a:pt x="927" y="925"/>
                  <a:pt x="927" y="925"/>
                  <a:pt x="926" y="925"/>
                </a:cubicBezTo>
                <a:cubicBezTo>
                  <a:pt x="926" y="925"/>
                  <a:pt x="925" y="925"/>
                  <a:pt x="925" y="925"/>
                </a:cubicBezTo>
                <a:cubicBezTo>
                  <a:pt x="925" y="925"/>
                  <a:pt x="924" y="925"/>
                  <a:pt x="924" y="925"/>
                </a:cubicBezTo>
                <a:cubicBezTo>
                  <a:pt x="924" y="925"/>
                  <a:pt x="924" y="925"/>
                  <a:pt x="923" y="925"/>
                </a:cubicBezTo>
                <a:cubicBezTo>
                  <a:pt x="923" y="925"/>
                  <a:pt x="923" y="925"/>
                  <a:pt x="923" y="924"/>
                </a:cubicBezTo>
                <a:cubicBezTo>
                  <a:pt x="922" y="924"/>
                  <a:pt x="921" y="924"/>
                  <a:pt x="921" y="923"/>
                </a:cubicBezTo>
                <a:cubicBezTo>
                  <a:pt x="920" y="923"/>
                  <a:pt x="920" y="922"/>
                  <a:pt x="919" y="921"/>
                </a:cubicBezTo>
                <a:cubicBezTo>
                  <a:pt x="918" y="920"/>
                  <a:pt x="917" y="918"/>
                  <a:pt x="916" y="917"/>
                </a:cubicBezTo>
                <a:cubicBezTo>
                  <a:pt x="915" y="916"/>
                  <a:pt x="913" y="913"/>
                  <a:pt x="913" y="911"/>
                </a:cubicBezTo>
                <a:cubicBezTo>
                  <a:pt x="913" y="911"/>
                  <a:pt x="912" y="910"/>
                  <a:pt x="911" y="909"/>
                </a:cubicBezTo>
                <a:cubicBezTo>
                  <a:pt x="911" y="908"/>
                  <a:pt x="910" y="908"/>
                  <a:pt x="909" y="907"/>
                </a:cubicBezTo>
                <a:cubicBezTo>
                  <a:pt x="908" y="906"/>
                  <a:pt x="906" y="908"/>
                  <a:pt x="905" y="907"/>
                </a:cubicBezTo>
                <a:cubicBezTo>
                  <a:pt x="905" y="906"/>
                  <a:pt x="904" y="905"/>
                  <a:pt x="904" y="904"/>
                </a:cubicBezTo>
                <a:cubicBezTo>
                  <a:pt x="903" y="903"/>
                  <a:pt x="902" y="901"/>
                  <a:pt x="902" y="900"/>
                </a:cubicBezTo>
                <a:cubicBezTo>
                  <a:pt x="902" y="899"/>
                  <a:pt x="902" y="897"/>
                  <a:pt x="900" y="898"/>
                </a:cubicBezTo>
                <a:cubicBezTo>
                  <a:pt x="900" y="898"/>
                  <a:pt x="900" y="898"/>
                  <a:pt x="899" y="898"/>
                </a:cubicBezTo>
                <a:cubicBezTo>
                  <a:pt x="899" y="898"/>
                  <a:pt x="898" y="898"/>
                  <a:pt x="898" y="898"/>
                </a:cubicBezTo>
                <a:cubicBezTo>
                  <a:pt x="897" y="897"/>
                  <a:pt x="896" y="896"/>
                  <a:pt x="896" y="896"/>
                </a:cubicBezTo>
                <a:cubicBezTo>
                  <a:pt x="895" y="895"/>
                  <a:pt x="893" y="893"/>
                  <a:pt x="892" y="893"/>
                </a:cubicBezTo>
                <a:cubicBezTo>
                  <a:pt x="891" y="893"/>
                  <a:pt x="891" y="893"/>
                  <a:pt x="891" y="893"/>
                </a:cubicBezTo>
                <a:cubicBezTo>
                  <a:pt x="891" y="893"/>
                  <a:pt x="890" y="892"/>
                  <a:pt x="890" y="892"/>
                </a:cubicBezTo>
                <a:cubicBezTo>
                  <a:pt x="890" y="892"/>
                  <a:pt x="890" y="892"/>
                  <a:pt x="890" y="892"/>
                </a:cubicBezTo>
                <a:cubicBezTo>
                  <a:pt x="889" y="891"/>
                  <a:pt x="889" y="891"/>
                  <a:pt x="889" y="890"/>
                </a:cubicBezTo>
                <a:cubicBezTo>
                  <a:pt x="889" y="890"/>
                  <a:pt x="889" y="890"/>
                  <a:pt x="889" y="890"/>
                </a:cubicBezTo>
                <a:cubicBezTo>
                  <a:pt x="888" y="889"/>
                  <a:pt x="887" y="888"/>
                  <a:pt x="886" y="887"/>
                </a:cubicBezTo>
                <a:cubicBezTo>
                  <a:pt x="885" y="886"/>
                  <a:pt x="884" y="884"/>
                  <a:pt x="883" y="883"/>
                </a:cubicBezTo>
                <a:cubicBezTo>
                  <a:pt x="882" y="882"/>
                  <a:pt x="881" y="881"/>
                  <a:pt x="880" y="880"/>
                </a:cubicBezTo>
                <a:cubicBezTo>
                  <a:pt x="879" y="879"/>
                  <a:pt x="878" y="879"/>
                  <a:pt x="878" y="879"/>
                </a:cubicBezTo>
                <a:cubicBezTo>
                  <a:pt x="877" y="879"/>
                  <a:pt x="877" y="878"/>
                  <a:pt x="876" y="878"/>
                </a:cubicBezTo>
                <a:cubicBezTo>
                  <a:pt x="876" y="877"/>
                  <a:pt x="875" y="878"/>
                  <a:pt x="875" y="877"/>
                </a:cubicBezTo>
                <a:cubicBezTo>
                  <a:pt x="875" y="877"/>
                  <a:pt x="875" y="877"/>
                  <a:pt x="875" y="877"/>
                </a:cubicBezTo>
                <a:cubicBezTo>
                  <a:pt x="875" y="877"/>
                  <a:pt x="874" y="876"/>
                  <a:pt x="874" y="876"/>
                </a:cubicBezTo>
                <a:cubicBezTo>
                  <a:pt x="874" y="876"/>
                  <a:pt x="874" y="876"/>
                  <a:pt x="874" y="875"/>
                </a:cubicBezTo>
                <a:cubicBezTo>
                  <a:pt x="873" y="874"/>
                  <a:pt x="871" y="873"/>
                  <a:pt x="871" y="872"/>
                </a:cubicBezTo>
                <a:cubicBezTo>
                  <a:pt x="869" y="871"/>
                  <a:pt x="868" y="870"/>
                  <a:pt x="867" y="868"/>
                </a:cubicBezTo>
                <a:cubicBezTo>
                  <a:pt x="864" y="866"/>
                  <a:pt x="861" y="863"/>
                  <a:pt x="858" y="860"/>
                </a:cubicBezTo>
                <a:cubicBezTo>
                  <a:pt x="856" y="858"/>
                  <a:pt x="855" y="857"/>
                  <a:pt x="855" y="855"/>
                </a:cubicBezTo>
                <a:cubicBezTo>
                  <a:pt x="854" y="854"/>
                  <a:pt x="854" y="853"/>
                  <a:pt x="853" y="853"/>
                </a:cubicBezTo>
                <a:cubicBezTo>
                  <a:pt x="853" y="852"/>
                  <a:pt x="852" y="853"/>
                  <a:pt x="851" y="852"/>
                </a:cubicBezTo>
                <a:cubicBezTo>
                  <a:pt x="850" y="852"/>
                  <a:pt x="850" y="850"/>
                  <a:pt x="849" y="849"/>
                </a:cubicBezTo>
                <a:cubicBezTo>
                  <a:pt x="847" y="848"/>
                  <a:pt x="845" y="846"/>
                  <a:pt x="844" y="844"/>
                </a:cubicBezTo>
                <a:cubicBezTo>
                  <a:pt x="844" y="844"/>
                  <a:pt x="844" y="843"/>
                  <a:pt x="844" y="843"/>
                </a:cubicBezTo>
                <a:cubicBezTo>
                  <a:pt x="844" y="842"/>
                  <a:pt x="843" y="841"/>
                  <a:pt x="842" y="841"/>
                </a:cubicBezTo>
                <a:cubicBezTo>
                  <a:pt x="842" y="840"/>
                  <a:pt x="841" y="840"/>
                  <a:pt x="841" y="840"/>
                </a:cubicBezTo>
                <a:cubicBezTo>
                  <a:pt x="840" y="840"/>
                  <a:pt x="840" y="841"/>
                  <a:pt x="839" y="841"/>
                </a:cubicBezTo>
                <a:cubicBezTo>
                  <a:pt x="839" y="841"/>
                  <a:pt x="839" y="840"/>
                  <a:pt x="839" y="839"/>
                </a:cubicBezTo>
                <a:cubicBezTo>
                  <a:pt x="838" y="839"/>
                  <a:pt x="837" y="839"/>
                  <a:pt x="837" y="838"/>
                </a:cubicBezTo>
                <a:cubicBezTo>
                  <a:pt x="836" y="837"/>
                  <a:pt x="837" y="835"/>
                  <a:pt x="836" y="834"/>
                </a:cubicBezTo>
                <a:cubicBezTo>
                  <a:pt x="835" y="834"/>
                  <a:pt x="834" y="834"/>
                  <a:pt x="834" y="834"/>
                </a:cubicBezTo>
                <a:cubicBezTo>
                  <a:pt x="833" y="833"/>
                  <a:pt x="833" y="832"/>
                  <a:pt x="833" y="832"/>
                </a:cubicBezTo>
                <a:cubicBezTo>
                  <a:pt x="832" y="831"/>
                  <a:pt x="831" y="832"/>
                  <a:pt x="830" y="831"/>
                </a:cubicBezTo>
                <a:cubicBezTo>
                  <a:pt x="830" y="831"/>
                  <a:pt x="829" y="831"/>
                  <a:pt x="829" y="830"/>
                </a:cubicBezTo>
                <a:cubicBezTo>
                  <a:pt x="829" y="830"/>
                  <a:pt x="829" y="829"/>
                  <a:pt x="829" y="829"/>
                </a:cubicBezTo>
                <a:cubicBezTo>
                  <a:pt x="828" y="828"/>
                  <a:pt x="826" y="827"/>
                  <a:pt x="825" y="826"/>
                </a:cubicBezTo>
                <a:cubicBezTo>
                  <a:pt x="814" y="814"/>
                  <a:pt x="809" y="810"/>
                  <a:pt x="808" y="809"/>
                </a:cubicBezTo>
                <a:cubicBezTo>
                  <a:pt x="808" y="809"/>
                  <a:pt x="802" y="803"/>
                  <a:pt x="801" y="802"/>
                </a:cubicBezTo>
                <a:cubicBezTo>
                  <a:pt x="800" y="800"/>
                  <a:pt x="800" y="798"/>
                  <a:pt x="799" y="796"/>
                </a:cubicBezTo>
                <a:cubicBezTo>
                  <a:pt x="798" y="796"/>
                  <a:pt x="797" y="795"/>
                  <a:pt x="797" y="795"/>
                </a:cubicBezTo>
                <a:cubicBezTo>
                  <a:pt x="797" y="794"/>
                  <a:pt x="798" y="794"/>
                  <a:pt x="799" y="794"/>
                </a:cubicBezTo>
                <a:cubicBezTo>
                  <a:pt x="799" y="794"/>
                  <a:pt x="799" y="793"/>
                  <a:pt x="799" y="793"/>
                </a:cubicBezTo>
                <a:cubicBezTo>
                  <a:pt x="799" y="792"/>
                  <a:pt x="798" y="792"/>
                  <a:pt x="798" y="792"/>
                </a:cubicBezTo>
                <a:cubicBezTo>
                  <a:pt x="797" y="792"/>
                  <a:pt x="796" y="791"/>
                  <a:pt x="795" y="791"/>
                </a:cubicBezTo>
                <a:cubicBezTo>
                  <a:pt x="794" y="790"/>
                  <a:pt x="793" y="789"/>
                  <a:pt x="792" y="788"/>
                </a:cubicBezTo>
                <a:cubicBezTo>
                  <a:pt x="791" y="788"/>
                  <a:pt x="791" y="787"/>
                  <a:pt x="791" y="787"/>
                </a:cubicBezTo>
                <a:cubicBezTo>
                  <a:pt x="791" y="787"/>
                  <a:pt x="791" y="786"/>
                  <a:pt x="791" y="786"/>
                </a:cubicBezTo>
                <a:cubicBezTo>
                  <a:pt x="791" y="785"/>
                  <a:pt x="791" y="784"/>
                  <a:pt x="791" y="784"/>
                </a:cubicBezTo>
                <a:cubicBezTo>
                  <a:pt x="790" y="784"/>
                  <a:pt x="790" y="784"/>
                  <a:pt x="790" y="784"/>
                </a:cubicBezTo>
                <a:cubicBezTo>
                  <a:pt x="787" y="785"/>
                  <a:pt x="785" y="782"/>
                  <a:pt x="783" y="780"/>
                </a:cubicBezTo>
                <a:cubicBezTo>
                  <a:pt x="780" y="777"/>
                  <a:pt x="776" y="774"/>
                  <a:pt x="775" y="773"/>
                </a:cubicBezTo>
                <a:cubicBezTo>
                  <a:pt x="773" y="771"/>
                  <a:pt x="772" y="769"/>
                  <a:pt x="769" y="768"/>
                </a:cubicBezTo>
                <a:cubicBezTo>
                  <a:pt x="768" y="768"/>
                  <a:pt x="767" y="767"/>
                  <a:pt x="766" y="766"/>
                </a:cubicBezTo>
                <a:cubicBezTo>
                  <a:pt x="765" y="764"/>
                  <a:pt x="765" y="763"/>
                  <a:pt x="764" y="762"/>
                </a:cubicBezTo>
                <a:cubicBezTo>
                  <a:pt x="764" y="761"/>
                  <a:pt x="763" y="761"/>
                  <a:pt x="762" y="760"/>
                </a:cubicBezTo>
                <a:cubicBezTo>
                  <a:pt x="760" y="757"/>
                  <a:pt x="756" y="755"/>
                  <a:pt x="754" y="752"/>
                </a:cubicBezTo>
                <a:cubicBezTo>
                  <a:pt x="750" y="749"/>
                  <a:pt x="747" y="746"/>
                  <a:pt x="744" y="743"/>
                </a:cubicBezTo>
                <a:cubicBezTo>
                  <a:pt x="734" y="732"/>
                  <a:pt x="723" y="721"/>
                  <a:pt x="720" y="719"/>
                </a:cubicBezTo>
                <a:cubicBezTo>
                  <a:pt x="719" y="717"/>
                  <a:pt x="718" y="716"/>
                  <a:pt x="717" y="715"/>
                </a:cubicBezTo>
                <a:cubicBezTo>
                  <a:pt x="716" y="714"/>
                  <a:pt x="715" y="713"/>
                  <a:pt x="714" y="713"/>
                </a:cubicBezTo>
                <a:cubicBezTo>
                  <a:pt x="714" y="713"/>
                  <a:pt x="714" y="712"/>
                  <a:pt x="714" y="712"/>
                </a:cubicBezTo>
                <a:cubicBezTo>
                  <a:pt x="715" y="712"/>
                  <a:pt x="715" y="711"/>
                  <a:pt x="714" y="711"/>
                </a:cubicBezTo>
                <a:cubicBezTo>
                  <a:pt x="714" y="711"/>
                  <a:pt x="713" y="711"/>
                  <a:pt x="713" y="711"/>
                </a:cubicBezTo>
                <a:cubicBezTo>
                  <a:pt x="712" y="711"/>
                  <a:pt x="712" y="711"/>
                  <a:pt x="712" y="711"/>
                </a:cubicBezTo>
                <a:cubicBezTo>
                  <a:pt x="710" y="710"/>
                  <a:pt x="709" y="707"/>
                  <a:pt x="708" y="706"/>
                </a:cubicBezTo>
                <a:cubicBezTo>
                  <a:pt x="707" y="705"/>
                  <a:pt x="706" y="703"/>
                  <a:pt x="705" y="703"/>
                </a:cubicBezTo>
                <a:cubicBezTo>
                  <a:pt x="704" y="703"/>
                  <a:pt x="704" y="703"/>
                  <a:pt x="704" y="703"/>
                </a:cubicBezTo>
                <a:cubicBezTo>
                  <a:pt x="704" y="703"/>
                  <a:pt x="703" y="702"/>
                  <a:pt x="703" y="702"/>
                </a:cubicBezTo>
                <a:cubicBezTo>
                  <a:pt x="702" y="702"/>
                  <a:pt x="702" y="702"/>
                  <a:pt x="702" y="702"/>
                </a:cubicBezTo>
                <a:cubicBezTo>
                  <a:pt x="701" y="701"/>
                  <a:pt x="701" y="700"/>
                  <a:pt x="701" y="700"/>
                </a:cubicBezTo>
                <a:cubicBezTo>
                  <a:pt x="702" y="700"/>
                  <a:pt x="702" y="700"/>
                  <a:pt x="702" y="699"/>
                </a:cubicBezTo>
                <a:cubicBezTo>
                  <a:pt x="703" y="699"/>
                  <a:pt x="702" y="699"/>
                  <a:pt x="702" y="698"/>
                </a:cubicBezTo>
                <a:cubicBezTo>
                  <a:pt x="702" y="698"/>
                  <a:pt x="702" y="698"/>
                  <a:pt x="701" y="698"/>
                </a:cubicBezTo>
                <a:cubicBezTo>
                  <a:pt x="700" y="698"/>
                  <a:pt x="699" y="696"/>
                  <a:pt x="697" y="695"/>
                </a:cubicBezTo>
                <a:cubicBezTo>
                  <a:pt x="696" y="694"/>
                  <a:pt x="694" y="693"/>
                  <a:pt x="693" y="691"/>
                </a:cubicBezTo>
                <a:cubicBezTo>
                  <a:pt x="693" y="691"/>
                  <a:pt x="693" y="691"/>
                  <a:pt x="693" y="690"/>
                </a:cubicBezTo>
                <a:cubicBezTo>
                  <a:pt x="693" y="690"/>
                  <a:pt x="692" y="690"/>
                  <a:pt x="692" y="689"/>
                </a:cubicBezTo>
                <a:cubicBezTo>
                  <a:pt x="691" y="688"/>
                  <a:pt x="691" y="687"/>
                  <a:pt x="690" y="686"/>
                </a:cubicBezTo>
                <a:cubicBezTo>
                  <a:pt x="689" y="685"/>
                  <a:pt x="685" y="682"/>
                  <a:pt x="681" y="678"/>
                </a:cubicBezTo>
                <a:lnTo>
                  <a:pt x="677" y="674"/>
                </a:lnTo>
                <a:cubicBezTo>
                  <a:pt x="677" y="674"/>
                  <a:pt x="676" y="673"/>
                  <a:pt x="675" y="672"/>
                </a:cubicBezTo>
                <a:cubicBezTo>
                  <a:pt x="675" y="672"/>
                  <a:pt x="674" y="672"/>
                  <a:pt x="673" y="672"/>
                </a:cubicBezTo>
                <a:cubicBezTo>
                  <a:pt x="673" y="672"/>
                  <a:pt x="672" y="671"/>
                  <a:pt x="672" y="671"/>
                </a:cubicBezTo>
                <a:cubicBezTo>
                  <a:pt x="672" y="671"/>
                  <a:pt x="672" y="669"/>
                  <a:pt x="672" y="669"/>
                </a:cubicBezTo>
                <a:cubicBezTo>
                  <a:pt x="672" y="669"/>
                  <a:pt x="671" y="668"/>
                  <a:pt x="671" y="668"/>
                </a:cubicBezTo>
                <a:cubicBezTo>
                  <a:pt x="670" y="667"/>
                  <a:pt x="669" y="666"/>
                  <a:pt x="668" y="665"/>
                </a:cubicBezTo>
                <a:cubicBezTo>
                  <a:pt x="666" y="663"/>
                  <a:pt x="664" y="660"/>
                  <a:pt x="661" y="658"/>
                </a:cubicBezTo>
                <a:cubicBezTo>
                  <a:pt x="659" y="656"/>
                  <a:pt x="657" y="654"/>
                  <a:pt x="655" y="651"/>
                </a:cubicBezTo>
                <a:cubicBezTo>
                  <a:pt x="654" y="650"/>
                  <a:pt x="652" y="647"/>
                  <a:pt x="649" y="646"/>
                </a:cubicBezTo>
                <a:cubicBezTo>
                  <a:pt x="649" y="646"/>
                  <a:pt x="649" y="646"/>
                  <a:pt x="649" y="646"/>
                </a:cubicBezTo>
                <a:cubicBezTo>
                  <a:pt x="648" y="646"/>
                  <a:pt x="648" y="645"/>
                  <a:pt x="648" y="645"/>
                </a:cubicBezTo>
                <a:cubicBezTo>
                  <a:pt x="648" y="645"/>
                  <a:pt x="647" y="645"/>
                  <a:pt x="647" y="645"/>
                </a:cubicBezTo>
                <a:cubicBezTo>
                  <a:pt x="647" y="644"/>
                  <a:pt x="646" y="644"/>
                  <a:pt x="646" y="644"/>
                </a:cubicBezTo>
                <a:cubicBezTo>
                  <a:pt x="645" y="642"/>
                  <a:pt x="643" y="641"/>
                  <a:pt x="642" y="639"/>
                </a:cubicBezTo>
                <a:cubicBezTo>
                  <a:pt x="640" y="637"/>
                  <a:pt x="639" y="636"/>
                  <a:pt x="638" y="634"/>
                </a:cubicBezTo>
                <a:cubicBezTo>
                  <a:pt x="634" y="630"/>
                  <a:pt x="631" y="627"/>
                  <a:pt x="628" y="624"/>
                </a:cubicBezTo>
                <a:cubicBezTo>
                  <a:pt x="622" y="618"/>
                  <a:pt x="616" y="612"/>
                  <a:pt x="609" y="606"/>
                </a:cubicBezTo>
                <a:cubicBezTo>
                  <a:pt x="609" y="606"/>
                  <a:pt x="609" y="606"/>
                  <a:pt x="610" y="606"/>
                </a:cubicBezTo>
                <a:cubicBezTo>
                  <a:pt x="610" y="606"/>
                  <a:pt x="610" y="605"/>
                  <a:pt x="610" y="605"/>
                </a:cubicBezTo>
                <a:cubicBezTo>
                  <a:pt x="610" y="605"/>
                  <a:pt x="609" y="605"/>
                  <a:pt x="609" y="605"/>
                </a:cubicBezTo>
                <a:cubicBezTo>
                  <a:pt x="608" y="604"/>
                  <a:pt x="608" y="603"/>
                  <a:pt x="607" y="602"/>
                </a:cubicBezTo>
                <a:cubicBezTo>
                  <a:pt x="607" y="602"/>
                  <a:pt x="606" y="601"/>
                  <a:pt x="606" y="600"/>
                </a:cubicBezTo>
                <a:cubicBezTo>
                  <a:pt x="605" y="599"/>
                  <a:pt x="605" y="598"/>
                  <a:pt x="605" y="598"/>
                </a:cubicBezTo>
                <a:cubicBezTo>
                  <a:pt x="604" y="598"/>
                  <a:pt x="603" y="598"/>
                  <a:pt x="602" y="598"/>
                </a:cubicBezTo>
                <a:cubicBezTo>
                  <a:pt x="601" y="597"/>
                  <a:pt x="601" y="596"/>
                  <a:pt x="600" y="596"/>
                </a:cubicBezTo>
                <a:cubicBezTo>
                  <a:pt x="599" y="594"/>
                  <a:pt x="596" y="591"/>
                  <a:pt x="594" y="589"/>
                </a:cubicBezTo>
                <a:cubicBezTo>
                  <a:pt x="591" y="586"/>
                  <a:pt x="584" y="578"/>
                  <a:pt x="579" y="573"/>
                </a:cubicBezTo>
                <a:cubicBezTo>
                  <a:pt x="578" y="573"/>
                  <a:pt x="576" y="570"/>
                  <a:pt x="574" y="569"/>
                </a:cubicBezTo>
                <a:cubicBezTo>
                  <a:pt x="573" y="568"/>
                  <a:pt x="572" y="567"/>
                  <a:pt x="571" y="565"/>
                </a:cubicBezTo>
                <a:cubicBezTo>
                  <a:pt x="571" y="565"/>
                  <a:pt x="571" y="565"/>
                  <a:pt x="571" y="564"/>
                </a:cubicBezTo>
                <a:cubicBezTo>
                  <a:pt x="571" y="564"/>
                  <a:pt x="571" y="563"/>
                  <a:pt x="571" y="563"/>
                </a:cubicBezTo>
                <a:cubicBezTo>
                  <a:pt x="570" y="563"/>
                  <a:pt x="570" y="562"/>
                  <a:pt x="569" y="562"/>
                </a:cubicBezTo>
                <a:cubicBezTo>
                  <a:pt x="569" y="561"/>
                  <a:pt x="569" y="561"/>
                  <a:pt x="568" y="561"/>
                </a:cubicBezTo>
                <a:cubicBezTo>
                  <a:pt x="567" y="561"/>
                  <a:pt x="565" y="559"/>
                  <a:pt x="565" y="558"/>
                </a:cubicBezTo>
                <a:cubicBezTo>
                  <a:pt x="564" y="557"/>
                  <a:pt x="564" y="555"/>
                  <a:pt x="565" y="554"/>
                </a:cubicBezTo>
                <a:cubicBezTo>
                  <a:pt x="565" y="553"/>
                  <a:pt x="565" y="552"/>
                  <a:pt x="564" y="552"/>
                </a:cubicBezTo>
                <a:cubicBezTo>
                  <a:pt x="562" y="553"/>
                  <a:pt x="562" y="552"/>
                  <a:pt x="560" y="552"/>
                </a:cubicBezTo>
                <a:cubicBezTo>
                  <a:pt x="560" y="552"/>
                  <a:pt x="560" y="552"/>
                  <a:pt x="560" y="552"/>
                </a:cubicBezTo>
                <a:cubicBezTo>
                  <a:pt x="559" y="552"/>
                  <a:pt x="559" y="552"/>
                  <a:pt x="559" y="551"/>
                </a:cubicBezTo>
                <a:cubicBezTo>
                  <a:pt x="559" y="551"/>
                  <a:pt x="559" y="551"/>
                  <a:pt x="558" y="551"/>
                </a:cubicBezTo>
                <a:cubicBezTo>
                  <a:pt x="557" y="551"/>
                  <a:pt x="556" y="549"/>
                  <a:pt x="555" y="548"/>
                </a:cubicBezTo>
                <a:cubicBezTo>
                  <a:pt x="553" y="546"/>
                  <a:pt x="552" y="544"/>
                  <a:pt x="550" y="542"/>
                </a:cubicBezTo>
                <a:cubicBezTo>
                  <a:pt x="547" y="539"/>
                  <a:pt x="543" y="535"/>
                  <a:pt x="540" y="532"/>
                </a:cubicBezTo>
                <a:cubicBezTo>
                  <a:pt x="540" y="531"/>
                  <a:pt x="539" y="531"/>
                  <a:pt x="539" y="531"/>
                </a:cubicBezTo>
                <a:cubicBezTo>
                  <a:pt x="538" y="531"/>
                  <a:pt x="538" y="531"/>
                  <a:pt x="538" y="531"/>
                </a:cubicBezTo>
                <a:cubicBezTo>
                  <a:pt x="538" y="531"/>
                  <a:pt x="538" y="531"/>
                  <a:pt x="537" y="531"/>
                </a:cubicBezTo>
                <a:cubicBezTo>
                  <a:pt x="537" y="531"/>
                  <a:pt x="537" y="531"/>
                  <a:pt x="537" y="530"/>
                </a:cubicBezTo>
                <a:cubicBezTo>
                  <a:pt x="536" y="530"/>
                  <a:pt x="535" y="529"/>
                  <a:pt x="535" y="528"/>
                </a:cubicBezTo>
                <a:cubicBezTo>
                  <a:pt x="535" y="527"/>
                  <a:pt x="534" y="526"/>
                  <a:pt x="533" y="525"/>
                </a:cubicBezTo>
                <a:cubicBezTo>
                  <a:pt x="532" y="524"/>
                  <a:pt x="532" y="523"/>
                  <a:pt x="531" y="522"/>
                </a:cubicBezTo>
                <a:cubicBezTo>
                  <a:pt x="531" y="522"/>
                  <a:pt x="531" y="522"/>
                  <a:pt x="530" y="522"/>
                </a:cubicBezTo>
                <a:cubicBezTo>
                  <a:pt x="530" y="522"/>
                  <a:pt x="530" y="522"/>
                  <a:pt x="530" y="522"/>
                </a:cubicBezTo>
                <a:cubicBezTo>
                  <a:pt x="529" y="522"/>
                  <a:pt x="529" y="521"/>
                  <a:pt x="528" y="521"/>
                </a:cubicBezTo>
                <a:cubicBezTo>
                  <a:pt x="529" y="521"/>
                  <a:pt x="529" y="520"/>
                  <a:pt x="528" y="520"/>
                </a:cubicBezTo>
                <a:cubicBezTo>
                  <a:pt x="528" y="519"/>
                  <a:pt x="527" y="519"/>
                  <a:pt x="526" y="518"/>
                </a:cubicBezTo>
                <a:cubicBezTo>
                  <a:pt x="526" y="517"/>
                  <a:pt x="525" y="516"/>
                  <a:pt x="525" y="515"/>
                </a:cubicBezTo>
                <a:cubicBezTo>
                  <a:pt x="524" y="514"/>
                  <a:pt x="525" y="513"/>
                  <a:pt x="524" y="513"/>
                </a:cubicBezTo>
                <a:cubicBezTo>
                  <a:pt x="523" y="512"/>
                  <a:pt x="520" y="513"/>
                  <a:pt x="520" y="511"/>
                </a:cubicBezTo>
                <a:cubicBezTo>
                  <a:pt x="520" y="511"/>
                  <a:pt x="520" y="511"/>
                  <a:pt x="521" y="511"/>
                </a:cubicBezTo>
                <a:cubicBezTo>
                  <a:pt x="521" y="510"/>
                  <a:pt x="521" y="510"/>
                  <a:pt x="521" y="510"/>
                </a:cubicBezTo>
                <a:cubicBezTo>
                  <a:pt x="521" y="510"/>
                  <a:pt x="521" y="510"/>
                  <a:pt x="521" y="510"/>
                </a:cubicBezTo>
                <a:cubicBezTo>
                  <a:pt x="521" y="509"/>
                  <a:pt x="520" y="509"/>
                  <a:pt x="519" y="509"/>
                </a:cubicBezTo>
                <a:cubicBezTo>
                  <a:pt x="519" y="509"/>
                  <a:pt x="519" y="509"/>
                  <a:pt x="519" y="509"/>
                </a:cubicBezTo>
                <a:cubicBezTo>
                  <a:pt x="516" y="508"/>
                  <a:pt x="515" y="505"/>
                  <a:pt x="513" y="504"/>
                </a:cubicBezTo>
                <a:cubicBezTo>
                  <a:pt x="511" y="502"/>
                  <a:pt x="510" y="501"/>
                  <a:pt x="508" y="499"/>
                </a:cubicBezTo>
                <a:cubicBezTo>
                  <a:pt x="508" y="498"/>
                  <a:pt x="507" y="497"/>
                  <a:pt x="506" y="496"/>
                </a:cubicBezTo>
                <a:cubicBezTo>
                  <a:pt x="505" y="495"/>
                  <a:pt x="506" y="495"/>
                  <a:pt x="506" y="494"/>
                </a:cubicBezTo>
                <a:cubicBezTo>
                  <a:pt x="506" y="493"/>
                  <a:pt x="507" y="493"/>
                  <a:pt x="507" y="492"/>
                </a:cubicBezTo>
                <a:cubicBezTo>
                  <a:pt x="507" y="492"/>
                  <a:pt x="507" y="492"/>
                  <a:pt x="506" y="492"/>
                </a:cubicBezTo>
                <a:cubicBezTo>
                  <a:pt x="506" y="491"/>
                  <a:pt x="505" y="491"/>
                  <a:pt x="505" y="491"/>
                </a:cubicBezTo>
                <a:cubicBezTo>
                  <a:pt x="504" y="492"/>
                  <a:pt x="504" y="492"/>
                  <a:pt x="503" y="492"/>
                </a:cubicBezTo>
                <a:cubicBezTo>
                  <a:pt x="502" y="491"/>
                  <a:pt x="501" y="490"/>
                  <a:pt x="500" y="489"/>
                </a:cubicBezTo>
                <a:cubicBezTo>
                  <a:pt x="499" y="488"/>
                  <a:pt x="499" y="487"/>
                  <a:pt x="498" y="486"/>
                </a:cubicBezTo>
                <a:cubicBezTo>
                  <a:pt x="496" y="484"/>
                  <a:pt x="495" y="483"/>
                  <a:pt x="493" y="481"/>
                </a:cubicBezTo>
                <a:cubicBezTo>
                  <a:pt x="492" y="480"/>
                  <a:pt x="491" y="480"/>
                  <a:pt x="491" y="479"/>
                </a:cubicBezTo>
                <a:cubicBezTo>
                  <a:pt x="490" y="479"/>
                  <a:pt x="490" y="479"/>
                  <a:pt x="490" y="478"/>
                </a:cubicBezTo>
                <a:cubicBezTo>
                  <a:pt x="489" y="478"/>
                  <a:pt x="490" y="477"/>
                  <a:pt x="490" y="477"/>
                </a:cubicBezTo>
                <a:cubicBezTo>
                  <a:pt x="489" y="476"/>
                  <a:pt x="489" y="476"/>
                  <a:pt x="489" y="476"/>
                </a:cubicBezTo>
                <a:cubicBezTo>
                  <a:pt x="489" y="475"/>
                  <a:pt x="489" y="475"/>
                  <a:pt x="489" y="475"/>
                </a:cubicBezTo>
                <a:cubicBezTo>
                  <a:pt x="489" y="475"/>
                  <a:pt x="489" y="475"/>
                  <a:pt x="488" y="475"/>
                </a:cubicBezTo>
                <a:cubicBezTo>
                  <a:pt x="488" y="475"/>
                  <a:pt x="487" y="475"/>
                  <a:pt x="486" y="475"/>
                </a:cubicBezTo>
                <a:cubicBezTo>
                  <a:pt x="486" y="475"/>
                  <a:pt x="485" y="474"/>
                  <a:pt x="484" y="474"/>
                </a:cubicBezTo>
                <a:cubicBezTo>
                  <a:pt x="484" y="474"/>
                  <a:pt x="483" y="473"/>
                  <a:pt x="483" y="473"/>
                </a:cubicBezTo>
                <a:cubicBezTo>
                  <a:pt x="481" y="471"/>
                  <a:pt x="479" y="469"/>
                  <a:pt x="477" y="467"/>
                </a:cubicBezTo>
                <a:cubicBezTo>
                  <a:pt x="476" y="465"/>
                  <a:pt x="476" y="464"/>
                  <a:pt x="476" y="462"/>
                </a:cubicBezTo>
                <a:cubicBezTo>
                  <a:pt x="476" y="462"/>
                  <a:pt x="476" y="461"/>
                  <a:pt x="475" y="461"/>
                </a:cubicBezTo>
                <a:cubicBezTo>
                  <a:pt x="475" y="461"/>
                  <a:pt x="474" y="461"/>
                  <a:pt x="473" y="461"/>
                </a:cubicBezTo>
                <a:cubicBezTo>
                  <a:pt x="472" y="460"/>
                  <a:pt x="472" y="460"/>
                  <a:pt x="472" y="459"/>
                </a:cubicBezTo>
                <a:cubicBezTo>
                  <a:pt x="471" y="457"/>
                  <a:pt x="469" y="456"/>
                  <a:pt x="467" y="455"/>
                </a:cubicBezTo>
                <a:cubicBezTo>
                  <a:pt x="467" y="455"/>
                  <a:pt x="466" y="455"/>
                  <a:pt x="465" y="455"/>
                </a:cubicBezTo>
                <a:cubicBezTo>
                  <a:pt x="463" y="453"/>
                  <a:pt x="462" y="452"/>
                  <a:pt x="461" y="450"/>
                </a:cubicBezTo>
                <a:cubicBezTo>
                  <a:pt x="461" y="450"/>
                  <a:pt x="461" y="449"/>
                  <a:pt x="460" y="449"/>
                </a:cubicBezTo>
                <a:cubicBezTo>
                  <a:pt x="459" y="447"/>
                  <a:pt x="458" y="446"/>
                  <a:pt x="457" y="444"/>
                </a:cubicBezTo>
                <a:cubicBezTo>
                  <a:pt x="456" y="443"/>
                  <a:pt x="455" y="442"/>
                  <a:pt x="454" y="441"/>
                </a:cubicBezTo>
                <a:cubicBezTo>
                  <a:pt x="453" y="439"/>
                  <a:pt x="453" y="438"/>
                  <a:pt x="453" y="436"/>
                </a:cubicBezTo>
                <a:cubicBezTo>
                  <a:pt x="453" y="436"/>
                  <a:pt x="453" y="436"/>
                  <a:pt x="453" y="435"/>
                </a:cubicBezTo>
                <a:cubicBezTo>
                  <a:pt x="452" y="435"/>
                  <a:pt x="452" y="435"/>
                  <a:pt x="452" y="435"/>
                </a:cubicBezTo>
                <a:cubicBezTo>
                  <a:pt x="452" y="435"/>
                  <a:pt x="451" y="435"/>
                  <a:pt x="451" y="435"/>
                </a:cubicBezTo>
                <a:cubicBezTo>
                  <a:pt x="451" y="435"/>
                  <a:pt x="451" y="435"/>
                  <a:pt x="451" y="435"/>
                </a:cubicBezTo>
                <a:cubicBezTo>
                  <a:pt x="451" y="435"/>
                  <a:pt x="451" y="435"/>
                  <a:pt x="451" y="434"/>
                </a:cubicBezTo>
                <a:cubicBezTo>
                  <a:pt x="450" y="434"/>
                  <a:pt x="450" y="434"/>
                  <a:pt x="450" y="434"/>
                </a:cubicBezTo>
                <a:cubicBezTo>
                  <a:pt x="449" y="434"/>
                  <a:pt x="449" y="434"/>
                  <a:pt x="449" y="434"/>
                </a:cubicBezTo>
                <a:cubicBezTo>
                  <a:pt x="449" y="434"/>
                  <a:pt x="449" y="433"/>
                  <a:pt x="449" y="433"/>
                </a:cubicBezTo>
                <a:cubicBezTo>
                  <a:pt x="449" y="432"/>
                  <a:pt x="448" y="432"/>
                  <a:pt x="448" y="432"/>
                </a:cubicBezTo>
                <a:cubicBezTo>
                  <a:pt x="444" y="432"/>
                  <a:pt x="441" y="428"/>
                  <a:pt x="439" y="426"/>
                </a:cubicBezTo>
                <a:cubicBezTo>
                  <a:pt x="438" y="425"/>
                  <a:pt x="436" y="423"/>
                  <a:pt x="435" y="422"/>
                </a:cubicBezTo>
                <a:cubicBezTo>
                  <a:pt x="435" y="422"/>
                  <a:pt x="435" y="421"/>
                  <a:pt x="435" y="421"/>
                </a:cubicBezTo>
                <a:cubicBezTo>
                  <a:pt x="435" y="420"/>
                  <a:pt x="434" y="420"/>
                  <a:pt x="434" y="419"/>
                </a:cubicBezTo>
                <a:cubicBezTo>
                  <a:pt x="434" y="419"/>
                  <a:pt x="434" y="419"/>
                  <a:pt x="434" y="418"/>
                </a:cubicBezTo>
                <a:cubicBezTo>
                  <a:pt x="434" y="417"/>
                  <a:pt x="433" y="416"/>
                  <a:pt x="432" y="415"/>
                </a:cubicBezTo>
                <a:cubicBezTo>
                  <a:pt x="432" y="414"/>
                  <a:pt x="431" y="412"/>
                  <a:pt x="430" y="412"/>
                </a:cubicBezTo>
                <a:cubicBezTo>
                  <a:pt x="429" y="412"/>
                  <a:pt x="428" y="410"/>
                  <a:pt x="427" y="409"/>
                </a:cubicBezTo>
                <a:cubicBezTo>
                  <a:pt x="426" y="408"/>
                  <a:pt x="425" y="407"/>
                  <a:pt x="424" y="406"/>
                </a:cubicBezTo>
                <a:cubicBezTo>
                  <a:pt x="424" y="405"/>
                  <a:pt x="423" y="405"/>
                  <a:pt x="422" y="404"/>
                </a:cubicBezTo>
                <a:cubicBezTo>
                  <a:pt x="421" y="404"/>
                  <a:pt x="420" y="404"/>
                  <a:pt x="420" y="404"/>
                </a:cubicBezTo>
                <a:cubicBezTo>
                  <a:pt x="419" y="403"/>
                  <a:pt x="419" y="403"/>
                  <a:pt x="419" y="402"/>
                </a:cubicBezTo>
                <a:cubicBezTo>
                  <a:pt x="419" y="402"/>
                  <a:pt x="420" y="402"/>
                  <a:pt x="420" y="401"/>
                </a:cubicBezTo>
                <a:cubicBezTo>
                  <a:pt x="420" y="401"/>
                  <a:pt x="418" y="399"/>
                  <a:pt x="418" y="399"/>
                </a:cubicBezTo>
                <a:cubicBezTo>
                  <a:pt x="417" y="399"/>
                  <a:pt x="415" y="396"/>
                  <a:pt x="414" y="397"/>
                </a:cubicBezTo>
                <a:cubicBezTo>
                  <a:pt x="414" y="397"/>
                  <a:pt x="414" y="397"/>
                  <a:pt x="414" y="397"/>
                </a:cubicBezTo>
                <a:cubicBezTo>
                  <a:pt x="413" y="397"/>
                  <a:pt x="412" y="396"/>
                  <a:pt x="412" y="396"/>
                </a:cubicBezTo>
                <a:cubicBezTo>
                  <a:pt x="411" y="395"/>
                  <a:pt x="410" y="394"/>
                  <a:pt x="410" y="393"/>
                </a:cubicBezTo>
                <a:cubicBezTo>
                  <a:pt x="408" y="390"/>
                  <a:pt x="402" y="384"/>
                  <a:pt x="398" y="379"/>
                </a:cubicBezTo>
                <a:cubicBezTo>
                  <a:pt x="396" y="377"/>
                  <a:pt x="395" y="376"/>
                  <a:pt x="393" y="374"/>
                </a:cubicBezTo>
                <a:cubicBezTo>
                  <a:pt x="392" y="373"/>
                  <a:pt x="389" y="371"/>
                  <a:pt x="389" y="370"/>
                </a:cubicBezTo>
                <a:cubicBezTo>
                  <a:pt x="389" y="369"/>
                  <a:pt x="389" y="369"/>
                  <a:pt x="389" y="369"/>
                </a:cubicBezTo>
                <a:cubicBezTo>
                  <a:pt x="388" y="368"/>
                  <a:pt x="388" y="367"/>
                  <a:pt x="387" y="367"/>
                </a:cubicBezTo>
                <a:cubicBezTo>
                  <a:pt x="386" y="367"/>
                  <a:pt x="386" y="367"/>
                  <a:pt x="385" y="366"/>
                </a:cubicBezTo>
                <a:cubicBezTo>
                  <a:pt x="385" y="366"/>
                  <a:pt x="385" y="366"/>
                  <a:pt x="384" y="366"/>
                </a:cubicBezTo>
                <a:cubicBezTo>
                  <a:pt x="384" y="366"/>
                  <a:pt x="384" y="365"/>
                  <a:pt x="384" y="365"/>
                </a:cubicBezTo>
                <a:cubicBezTo>
                  <a:pt x="382" y="362"/>
                  <a:pt x="380" y="359"/>
                  <a:pt x="378" y="357"/>
                </a:cubicBezTo>
                <a:cubicBezTo>
                  <a:pt x="378" y="357"/>
                  <a:pt x="377" y="357"/>
                  <a:pt x="377" y="357"/>
                </a:cubicBezTo>
                <a:cubicBezTo>
                  <a:pt x="375" y="358"/>
                  <a:pt x="374" y="355"/>
                  <a:pt x="373" y="354"/>
                </a:cubicBezTo>
                <a:cubicBezTo>
                  <a:pt x="371" y="352"/>
                  <a:pt x="369" y="349"/>
                  <a:pt x="367" y="348"/>
                </a:cubicBezTo>
                <a:cubicBezTo>
                  <a:pt x="366" y="346"/>
                  <a:pt x="363" y="343"/>
                  <a:pt x="360" y="340"/>
                </a:cubicBezTo>
                <a:cubicBezTo>
                  <a:pt x="357" y="338"/>
                  <a:pt x="351" y="331"/>
                  <a:pt x="345" y="325"/>
                </a:cubicBezTo>
                <a:cubicBezTo>
                  <a:pt x="344" y="323"/>
                  <a:pt x="342" y="321"/>
                  <a:pt x="340" y="319"/>
                </a:cubicBezTo>
                <a:cubicBezTo>
                  <a:pt x="340" y="319"/>
                  <a:pt x="335" y="315"/>
                  <a:pt x="336" y="315"/>
                </a:cubicBezTo>
                <a:cubicBezTo>
                  <a:pt x="336" y="315"/>
                  <a:pt x="337" y="315"/>
                  <a:pt x="337" y="315"/>
                </a:cubicBezTo>
                <a:cubicBezTo>
                  <a:pt x="337" y="314"/>
                  <a:pt x="337" y="314"/>
                  <a:pt x="337" y="313"/>
                </a:cubicBezTo>
                <a:cubicBezTo>
                  <a:pt x="337" y="313"/>
                  <a:pt x="336" y="312"/>
                  <a:pt x="336" y="312"/>
                </a:cubicBezTo>
                <a:cubicBezTo>
                  <a:pt x="335" y="311"/>
                  <a:pt x="334" y="311"/>
                  <a:pt x="334" y="310"/>
                </a:cubicBezTo>
                <a:cubicBezTo>
                  <a:pt x="333" y="309"/>
                  <a:pt x="332" y="308"/>
                  <a:pt x="331" y="307"/>
                </a:cubicBezTo>
                <a:cubicBezTo>
                  <a:pt x="331" y="306"/>
                  <a:pt x="330" y="305"/>
                  <a:pt x="329" y="305"/>
                </a:cubicBezTo>
                <a:cubicBezTo>
                  <a:pt x="329" y="305"/>
                  <a:pt x="328" y="305"/>
                  <a:pt x="327" y="305"/>
                </a:cubicBezTo>
                <a:cubicBezTo>
                  <a:pt x="326" y="305"/>
                  <a:pt x="326" y="304"/>
                  <a:pt x="325" y="303"/>
                </a:cubicBezTo>
                <a:cubicBezTo>
                  <a:pt x="324" y="303"/>
                  <a:pt x="322" y="301"/>
                  <a:pt x="320" y="299"/>
                </a:cubicBezTo>
                <a:cubicBezTo>
                  <a:pt x="319" y="298"/>
                  <a:pt x="318" y="297"/>
                  <a:pt x="318" y="296"/>
                </a:cubicBezTo>
                <a:cubicBezTo>
                  <a:pt x="317" y="295"/>
                  <a:pt x="316" y="294"/>
                  <a:pt x="315" y="293"/>
                </a:cubicBezTo>
                <a:cubicBezTo>
                  <a:pt x="314" y="292"/>
                  <a:pt x="313" y="291"/>
                  <a:pt x="313" y="290"/>
                </a:cubicBezTo>
                <a:cubicBezTo>
                  <a:pt x="312" y="289"/>
                  <a:pt x="312" y="288"/>
                  <a:pt x="312" y="287"/>
                </a:cubicBezTo>
                <a:cubicBezTo>
                  <a:pt x="311" y="286"/>
                  <a:pt x="309" y="286"/>
                  <a:pt x="308" y="285"/>
                </a:cubicBezTo>
                <a:cubicBezTo>
                  <a:pt x="306" y="283"/>
                  <a:pt x="304" y="283"/>
                  <a:pt x="303" y="281"/>
                </a:cubicBezTo>
                <a:cubicBezTo>
                  <a:pt x="301" y="281"/>
                  <a:pt x="301" y="280"/>
                  <a:pt x="300" y="279"/>
                </a:cubicBezTo>
                <a:cubicBezTo>
                  <a:pt x="299" y="277"/>
                  <a:pt x="298" y="276"/>
                  <a:pt x="297" y="275"/>
                </a:cubicBezTo>
                <a:cubicBezTo>
                  <a:pt x="296" y="273"/>
                  <a:pt x="296" y="272"/>
                  <a:pt x="295" y="271"/>
                </a:cubicBezTo>
                <a:cubicBezTo>
                  <a:pt x="295" y="271"/>
                  <a:pt x="295" y="271"/>
                  <a:pt x="294" y="271"/>
                </a:cubicBezTo>
                <a:cubicBezTo>
                  <a:pt x="293" y="272"/>
                  <a:pt x="293" y="271"/>
                  <a:pt x="292" y="270"/>
                </a:cubicBezTo>
                <a:cubicBezTo>
                  <a:pt x="292" y="270"/>
                  <a:pt x="290" y="268"/>
                  <a:pt x="292" y="268"/>
                </a:cubicBezTo>
                <a:cubicBezTo>
                  <a:pt x="292" y="268"/>
                  <a:pt x="292" y="267"/>
                  <a:pt x="292" y="267"/>
                </a:cubicBezTo>
                <a:cubicBezTo>
                  <a:pt x="292" y="266"/>
                  <a:pt x="292" y="266"/>
                  <a:pt x="292" y="266"/>
                </a:cubicBezTo>
                <a:cubicBezTo>
                  <a:pt x="292" y="265"/>
                  <a:pt x="292" y="265"/>
                  <a:pt x="292" y="265"/>
                </a:cubicBezTo>
                <a:cubicBezTo>
                  <a:pt x="292" y="264"/>
                  <a:pt x="291" y="265"/>
                  <a:pt x="291" y="264"/>
                </a:cubicBezTo>
                <a:cubicBezTo>
                  <a:pt x="291" y="264"/>
                  <a:pt x="291" y="263"/>
                  <a:pt x="291" y="263"/>
                </a:cubicBezTo>
                <a:cubicBezTo>
                  <a:pt x="291" y="262"/>
                  <a:pt x="291" y="262"/>
                  <a:pt x="290" y="261"/>
                </a:cubicBezTo>
                <a:cubicBezTo>
                  <a:pt x="289" y="261"/>
                  <a:pt x="289" y="262"/>
                  <a:pt x="288" y="262"/>
                </a:cubicBezTo>
                <a:cubicBezTo>
                  <a:pt x="288" y="262"/>
                  <a:pt x="288" y="263"/>
                  <a:pt x="288" y="263"/>
                </a:cubicBezTo>
                <a:cubicBezTo>
                  <a:pt x="288" y="263"/>
                  <a:pt x="287" y="263"/>
                  <a:pt x="287" y="262"/>
                </a:cubicBezTo>
                <a:cubicBezTo>
                  <a:pt x="287" y="262"/>
                  <a:pt x="286" y="262"/>
                  <a:pt x="286" y="262"/>
                </a:cubicBezTo>
                <a:cubicBezTo>
                  <a:pt x="287" y="261"/>
                  <a:pt x="287" y="261"/>
                  <a:pt x="287" y="261"/>
                </a:cubicBezTo>
                <a:cubicBezTo>
                  <a:pt x="286" y="260"/>
                  <a:pt x="285" y="258"/>
                  <a:pt x="284" y="257"/>
                </a:cubicBezTo>
                <a:cubicBezTo>
                  <a:pt x="283" y="256"/>
                  <a:pt x="282" y="255"/>
                  <a:pt x="281" y="254"/>
                </a:cubicBezTo>
                <a:cubicBezTo>
                  <a:pt x="281" y="253"/>
                  <a:pt x="280" y="253"/>
                  <a:pt x="280" y="252"/>
                </a:cubicBezTo>
                <a:cubicBezTo>
                  <a:pt x="279" y="251"/>
                  <a:pt x="278" y="251"/>
                  <a:pt x="277" y="250"/>
                </a:cubicBezTo>
                <a:cubicBezTo>
                  <a:pt x="277" y="249"/>
                  <a:pt x="276" y="249"/>
                  <a:pt x="275" y="248"/>
                </a:cubicBezTo>
                <a:cubicBezTo>
                  <a:pt x="275" y="248"/>
                  <a:pt x="275" y="248"/>
                  <a:pt x="274" y="248"/>
                </a:cubicBezTo>
                <a:cubicBezTo>
                  <a:pt x="274" y="248"/>
                  <a:pt x="273" y="247"/>
                  <a:pt x="273" y="247"/>
                </a:cubicBezTo>
                <a:cubicBezTo>
                  <a:pt x="272" y="246"/>
                  <a:pt x="270" y="246"/>
                  <a:pt x="269" y="245"/>
                </a:cubicBezTo>
                <a:cubicBezTo>
                  <a:pt x="269" y="244"/>
                  <a:pt x="269" y="244"/>
                  <a:pt x="269" y="244"/>
                </a:cubicBezTo>
                <a:cubicBezTo>
                  <a:pt x="269" y="243"/>
                  <a:pt x="269" y="243"/>
                  <a:pt x="269" y="243"/>
                </a:cubicBezTo>
                <a:cubicBezTo>
                  <a:pt x="269" y="243"/>
                  <a:pt x="269" y="243"/>
                  <a:pt x="270" y="242"/>
                </a:cubicBezTo>
                <a:cubicBezTo>
                  <a:pt x="270" y="242"/>
                  <a:pt x="270" y="242"/>
                  <a:pt x="270" y="241"/>
                </a:cubicBezTo>
                <a:cubicBezTo>
                  <a:pt x="270" y="241"/>
                  <a:pt x="270" y="240"/>
                  <a:pt x="269" y="240"/>
                </a:cubicBezTo>
                <a:cubicBezTo>
                  <a:pt x="270" y="239"/>
                  <a:pt x="267" y="238"/>
                  <a:pt x="267" y="238"/>
                </a:cubicBezTo>
                <a:cubicBezTo>
                  <a:pt x="266" y="237"/>
                  <a:pt x="265" y="236"/>
                  <a:pt x="263" y="235"/>
                </a:cubicBezTo>
                <a:cubicBezTo>
                  <a:pt x="263" y="235"/>
                  <a:pt x="262" y="235"/>
                  <a:pt x="262" y="235"/>
                </a:cubicBezTo>
                <a:cubicBezTo>
                  <a:pt x="262" y="235"/>
                  <a:pt x="261" y="235"/>
                  <a:pt x="261" y="235"/>
                </a:cubicBezTo>
                <a:cubicBezTo>
                  <a:pt x="260" y="235"/>
                  <a:pt x="260" y="234"/>
                  <a:pt x="260" y="234"/>
                </a:cubicBezTo>
                <a:cubicBezTo>
                  <a:pt x="261" y="232"/>
                  <a:pt x="258" y="230"/>
                  <a:pt x="257" y="230"/>
                </a:cubicBezTo>
                <a:cubicBezTo>
                  <a:pt x="255" y="228"/>
                  <a:pt x="253" y="227"/>
                  <a:pt x="253" y="226"/>
                </a:cubicBezTo>
                <a:cubicBezTo>
                  <a:pt x="253" y="226"/>
                  <a:pt x="251" y="223"/>
                  <a:pt x="248" y="221"/>
                </a:cubicBezTo>
                <a:cubicBezTo>
                  <a:pt x="247" y="220"/>
                  <a:pt x="246" y="219"/>
                  <a:pt x="246" y="218"/>
                </a:cubicBezTo>
                <a:cubicBezTo>
                  <a:pt x="245" y="217"/>
                  <a:pt x="245" y="216"/>
                  <a:pt x="243" y="216"/>
                </a:cubicBezTo>
                <a:cubicBezTo>
                  <a:pt x="243" y="216"/>
                  <a:pt x="242" y="216"/>
                  <a:pt x="242" y="216"/>
                </a:cubicBezTo>
                <a:cubicBezTo>
                  <a:pt x="241" y="215"/>
                  <a:pt x="241" y="215"/>
                  <a:pt x="240" y="215"/>
                </a:cubicBezTo>
                <a:cubicBezTo>
                  <a:pt x="240" y="215"/>
                  <a:pt x="240" y="214"/>
                  <a:pt x="239" y="214"/>
                </a:cubicBezTo>
                <a:cubicBezTo>
                  <a:pt x="239" y="213"/>
                  <a:pt x="238" y="211"/>
                  <a:pt x="238" y="211"/>
                </a:cubicBezTo>
                <a:cubicBezTo>
                  <a:pt x="239" y="209"/>
                  <a:pt x="234" y="205"/>
                  <a:pt x="231" y="205"/>
                </a:cubicBezTo>
                <a:cubicBezTo>
                  <a:pt x="230" y="204"/>
                  <a:pt x="227" y="204"/>
                  <a:pt x="228" y="202"/>
                </a:cubicBezTo>
                <a:cubicBezTo>
                  <a:pt x="228" y="202"/>
                  <a:pt x="228" y="202"/>
                  <a:pt x="228" y="201"/>
                </a:cubicBezTo>
                <a:cubicBezTo>
                  <a:pt x="228" y="201"/>
                  <a:pt x="228" y="201"/>
                  <a:pt x="227" y="200"/>
                </a:cubicBezTo>
                <a:cubicBezTo>
                  <a:pt x="227" y="199"/>
                  <a:pt x="226" y="198"/>
                  <a:pt x="225" y="196"/>
                </a:cubicBezTo>
                <a:cubicBezTo>
                  <a:pt x="223" y="195"/>
                  <a:pt x="221" y="193"/>
                  <a:pt x="221" y="192"/>
                </a:cubicBezTo>
                <a:cubicBezTo>
                  <a:pt x="220" y="191"/>
                  <a:pt x="218" y="188"/>
                  <a:pt x="215" y="185"/>
                </a:cubicBezTo>
                <a:cubicBezTo>
                  <a:pt x="214" y="183"/>
                  <a:pt x="211" y="180"/>
                  <a:pt x="208" y="181"/>
                </a:cubicBezTo>
                <a:cubicBezTo>
                  <a:pt x="208" y="181"/>
                  <a:pt x="208" y="181"/>
                  <a:pt x="208" y="181"/>
                </a:cubicBezTo>
                <a:cubicBezTo>
                  <a:pt x="207" y="181"/>
                  <a:pt x="207" y="181"/>
                  <a:pt x="207" y="180"/>
                </a:cubicBezTo>
                <a:cubicBezTo>
                  <a:pt x="206" y="180"/>
                  <a:pt x="205" y="179"/>
                  <a:pt x="205" y="179"/>
                </a:cubicBezTo>
                <a:cubicBezTo>
                  <a:pt x="204" y="178"/>
                  <a:pt x="203" y="177"/>
                  <a:pt x="202" y="176"/>
                </a:cubicBezTo>
                <a:cubicBezTo>
                  <a:pt x="201" y="174"/>
                  <a:pt x="200" y="173"/>
                  <a:pt x="199" y="171"/>
                </a:cubicBezTo>
                <a:cubicBezTo>
                  <a:pt x="198" y="171"/>
                  <a:pt x="196" y="169"/>
                  <a:pt x="196" y="168"/>
                </a:cubicBezTo>
                <a:cubicBezTo>
                  <a:pt x="196" y="168"/>
                  <a:pt x="196" y="168"/>
                  <a:pt x="196" y="168"/>
                </a:cubicBezTo>
                <a:cubicBezTo>
                  <a:pt x="196" y="166"/>
                  <a:pt x="195" y="166"/>
                  <a:pt x="194" y="165"/>
                </a:cubicBezTo>
                <a:cubicBezTo>
                  <a:pt x="193" y="163"/>
                  <a:pt x="191" y="161"/>
                  <a:pt x="190" y="160"/>
                </a:cubicBezTo>
                <a:cubicBezTo>
                  <a:pt x="189" y="159"/>
                  <a:pt x="189" y="158"/>
                  <a:pt x="187" y="158"/>
                </a:cubicBezTo>
                <a:cubicBezTo>
                  <a:pt x="186" y="158"/>
                  <a:pt x="185" y="158"/>
                  <a:pt x="184" y="157"/>
                </a:cubicBezTo>
                <a:cubicBezTo>
                  <a:pt x="183" y="156"/>
                  <a:pt x="182" y="155"/>
                  <a:pt x="181" y="154"/>
                </a:cubicBezTo>
                <a:cubicBezTo>
                  <a:pt x="179" y="152"/>
                  <a:pt x="178" y="151"/>
                  <a:pt x="177" y="150"/>
                </a:cubicBezTo>
                <a:cubicBezTo>
                  <a:pt x="177" y="149"/>
                  <a:pt x="177" y="149"/>
                  <a:pt x="178" y="149"/>
                </a:cubicBezTo>
                <a:cubicBezTo>
                  <a:pt x="178" y="149"/>
                  <a:pt x="178" y="148"/>
                  <a:pt x="178" y="148"/>
                </a:cubicBezTo>
                <a:cubicBezTo>
                  <a:pt x="178" y="148"/>
                  <a:pt x="177" y="148"/>
                  <a:pt x="177" y="148"/>
                </a:cubicBezTo>
                <a:cubicBezTo>
                  <a:pt x="176" y="147"/>
                  <a:pt x="173" y="148"/>
                  <a:pt x="173" y="146"/>
                </a:cubicBezTo>
                <a:cubicBezTo>
                  <a:pt x="174" y="145"/>
                  <a:pt x="174" y="145"/>
                  <a:pt x="174" y="145"/>
                </a:cubicBezTo>
                <a:cubicBezTo>
                  <a:pt x="175" y="145"/>
                  <a:pt x="175" y="145"/>
                  <a:pt x="175" y="144"/>
                </a:cubicBezTo>
                <a:cubicBezTo>
                  <a:pt x="175" y="144"/>
                  <a:pt x="175" y="143"/>
                  <a:pt x="175" y="143"/>
                </a:cubicBezTo>
                <a:cubicBezTo>
                  <a:pt x="175" y="142"/>
                  <a:pt x="175" y="142"/>
                  <a:pt x="174" y="142"/>
                </a:cubicBezTo>
                <a:cubicBezTo>
                  <a:pt x="173" y="141"/>
                  <a:pt x="173" y="142"/>
                  <a:pt x="172" y="142"/>
                </a:cubicBezTo>
                <a:cubicBezTo>
                  <a:pt x="172" y="141"/>
                  <a:pt x="172" y="141"/>
                  <a:pt x="172" y="141"/>
                </a:cubicBezTo>
                <a:cubicBezTo>
                  <a:pt x="172" y="141"/>
                  <a:pt x="172" y="141"/>
                  <a:pt x="173" y="141"/>
                </a:cubicBezTo>
                <a:cubicBezTo>
                  <a:pt x="174" y="140"/>
                  <a:pt x="170" y="137"/>
                  <a:pt x="170" y="137"/>
                </a:cubicBezTo>
                <a:cubicBezTo>
                  <a:pt x="168" y="135"/>
                  <a:pt x="166" y="133"/>
                  <a:pt x="164" y="131"/>
                </a:cubicBezTo>
                <a:cubicBezTo>
                  <a:pt x="162" y="130"/>
                  <a:pt x="161" y="128"/>
                  <a:pt x="159" y="126"/>
                </a:cubicBezTo>
                <a:cubicBezTo>
                  <a:pt x="158" y="125"/>
                  <a:pt x="157" y="123"/>
                  <a:pt x="155" y="123"/>
                </a:cubicBezTo>
                <a:cubicBezTo>
                  <a:pt x="155" y="123"/>
                  <a:pt x="154" y="123"/>
                  <a:pt x="154" y="123"/>
                </a:cubicBezTo>
                <a:cubicBezTo>
                  <a:pt x="153" y="123"/>
                  <a:pt x="153" y="123"/>
                  <a:pt x="152" y="122"/>
                </a:cubicBezTo>
                <a:cubicBezTo>
                  <a:pt x="152" y="122"/>
                  <a:pt x="151" y="122"/>
                  <a:pt x="150" y="121"/>
                </a:cubicBezTo>
                <a:cubicBezTo>
                  <a:pt x="149" y="121"/>
                  <a:pt x="148" y="121"/>
                  <a:pt x="147" y="121"/>
                </a:cubicBezTo>
                <a:cubicBezTo>
                  <a:pt x="147" y="120"/>
                  <a:pt x="146" y="119"/>
                  <a:pt x="145" y="119"/>
                </a:cubicBezTo>
                <a:cubicBezTo>
                  <a:pt x="145" y="118"/>
                  <a:pt x="142" y="116"/>
                  <a:pt x="143" y="115"/>
                </a:cubicBezTo>
                <a:cubicBezTo>
                  <a:pt x="143" y="115"/>
                  <a:pt x="143" y="115"/>
                  <a:pt x="143" y="115"/>
                </a:cubicBezTo>
                <a:cubicBezTo>
                  <a:pt x="143" y="114"/>
                  <a:pt x="143" y="113"/>
                  <a:pt x="143" y="113"/>
                </a:cubicBezTo>
                <a:cubicBezTo>
                  <a:pt x="142" y="113"/>
                  <a:pt x="142" y="113"/>
                  <a:pt x="141" y="114"/>
                </a:cubicBezTo>
                <a:cubicBezTo>
                  <a:pt x="141" y="114"/>
                  <a:pt x="141" y="114"/>
                  <a:pt x="140" y="114"/>
                </a:cubicBezTo>
                <a:cubicBezTo>
                  <a:pt x="139" y="113"/>
                  <a:pt x="138" y="111"/>
                  <a:pt x="137" y="110"/>
                </a:cubicBezTo>
                <a:cubicBezTo>
                  <a:pt x="136" y="110"/>
                  <a:pt x="136" y="110"/>
                  <a:pt x="136" y="110"/>
                </a:cubicBezTo>
                <a:cubicBezTo>
                  <a:pt x="136" y="109"/>
                  <a:pt x="137" y="109"/>
                  <a:pt x="137" y="109"/>
                </a:cubicBezTo>
                <a:cubicBezTo>
                  <a:pt x="138" y="108"/>
                  <a:pt x="139" y="105"/>
                  <a:pt x="136" y="105"/>
                </a:cubicBezTo>
                <a:cubicBezTo>
                  <a:pt x="136" y="105"/>
                  <a:pt x="136" y="106"/>
                  <a:pt x="135" y="106"/>
                </a:cubicBezTo>
                <a:cubicBezTo>
                  <a:pt x="135" y="106"/>
                  <a:pt x="135" y="106"/>
                  <a:pt x="134" y="106"/>
                </a:cubicBezTo>
                <a:cubicBezTo>
                  <a:pt x="134" y="107"/>
                  <a:pt x="134" y="107"/>
                  <a:pt x="134" y="107"/>
                </a:cubicBezTo>
                <a:cubicBezTo>
                  <a:pt x="133" y="107"/>
                  <a:pt x="132" y="106"/>
                  <a:pt x="132" y="105"/>
                </a:cubicBezTo>
                <a:cubicBezTo>
                  <a:pt x="132" y="104"/>
                  <a:pt x="132" y="104"/>
                  <a:pt x="132" y="103"/>
                </a:cubicBezTo>
                <a:cubicBezTo>
                  <a:pt x="132" y="103"/>
                  <a:pt x="131" y="102"/>
                  <a:pt x="131" y="102"/>
                </a:cubicBezTo>
                <a:cubicBezTo>
                  <a:pt x="130" y="101"/>
                  <a:pt x="129" y="99"/>
                  <a:pt x="128" y="99"/>
                </a:cubicBezTo>
                <a:cubicBezTo>
                  <a:pt x="127" y="98"/>
                  <a:pt x="126" y="99"/>
                  <a:pt x="125" y="98"/>
                </a:cubicBezTo>
                <a:cubicBezTo>
                  <a:pt x="123" y="97"/>
                  <a:pt x="121" y="94"/>
                  <a:pt x="119" y="92"/>
                </a:cubicBezTo>
                <a:cubicBezTo>
                  <a:pt x="118" y="92"/>
                  <a:pt x="111" y="86"/>
                  <a:pt x="112" y="85"/>
                </a:cubicBezTo>
                <a:cubicBezTo>
                  <a:pt x="112" y="85"/>
                  <a:pt x="113" y="85"/>
                  <a:pt x="113" y="85"/>
                </a:cubicBezTo>
                <a:cubicBezTo>
                  <a:pt x="113" y="84"/>
                  <a:pt x="113" y="84"/>
                  <a:pt x="112" y="84"/>
                </a:cubicBezTo>
                <a:cubicBezTo>
                  <a:pt x="112" y="84"/>
                  <a:pt x="109" y="82"/>
                  <a:pt x="111" y="82"/>
                </a:cubicBezTo>
                <a:cubicBezTo>
                  <a:pt x="112" y="82"/>
                  <a:pt x="112" y="82"/>
                  <a:pt x="112" y="81"/>
                </a:cubicBezTo>
                <a:cubicBezTo>
                  <a:pt x="113" y="81"/>
                  <a:pt x="112" y="80"/>
                  <a:pt x="112" y="80"/>
                </a:cubicBezTo>
                <a:cubicBezTo>
                  <a:pt x="111" y="80"/>
                  <a:pt x="111" y="80"/>
                  <a:pt x="110" y="80"/>
                </a:cubicBezTo>
                <a:cubicBezTo>
                  <a:pt x="110" y="80"/>
                  <a:pt x="110" y="79"/>
                  <a:pt x="109" y="78"/>
                </a:cubicBezTo>
                <a:cubicBezTo>
                  <a:pt x="109" y="78"/>
                  <a:pt x="108" y="77"/>
                  <a:pt x="108" y="77"/>
                </a:cubicBezTo>
                <a:cubicBezTo>
                  <a:pt x="106" y="76"/>
                  <a:pt x="104" y="74"/>
                  <a:pt x="103" y="73"/>
                </a:cubicBezTo>
                <a:cubicBezTo>
                  <a:pt x="102" y="72"/>
                  <a:pt x="102" y="72"/>
                  <a:pt x="101" y="71"/>
                </a:cubicBezTo>
                <a:cubicBezTo>
                  <a:pt x="101" y="71"/>
                  <a:pt x="100" y="70"/>
                  <a:pt x="100" y="69"/>
                </a:cubicBezTo>
                <a:cubicBezTo>
                  <a:pt x="99" y="69"/>
                  <a:pt x="99" y="69"/>
                  <a:pt x="98" y="69"/>
                </a:cubicBezTo>
                <a:cubicBezTo>
                  <a:pt x="98" y="69"/>
                  <a:pt x="97" y="69"/>
                  <a:pt x="96" y="69"/>
                </a:cubicBezTo>
                <a:cubicBezTo>
                  <a:pt x="96" y="69"/>
                  <a:pt x="95" y="68"/>
                  <a:pt x="94" y="68"/>
                </a:cubicBezTo>
                <a:cubicBezTo>
                  <a:pt x="94" y="68"/>
                  <a:pt x="94" y="68"/>
                  <a:pt x="94" y="68"/>
                </a:cubicBezTo>
                <a:cubicBezTo>
                  <a:pt x="93" y="69"/>
                  <a:pt x="93" y="69"/>
                  <a:pt x="93" y="68"/>
                </a:cubicBezTo>
                <a:cubicBezTo>
                  <a:pt x="92" y="68"/>
                  <a:pt x="92" y="67"/>
                  <a:pt x="91" y="67"/>
                </a:cubicBezTo>
                <a:cubicBezTo>
                  <a:pt x="91" y="66"/>
                  <a:pt x="90" y="66"/>
                  <a:pt x="91" y="65"/>
                </a:cubicBezTo>
                <a:cubicBezTo>
                  <a:pt x="91" y="64"/>
                  <a:pt x="91" y="64"/>
                  <a:pt x="91" y="64"/>
                </a:cubicBezTo>
                <a:cubicBezTo>
                  <a:pt x="91" y="62"/>
                  <a:pt x="89" y="62"/>
                  <a:pt x="89" y="61"/>
                </a:cubicBezTo>
                <a:cubicBezTo>
                  <a:pt x="88" y="60"/>
                  <a:pt x="89" y="59"/>
                  <a:pt x="88" y="57"/>
                </a:cubicBezTo>
                <a:cubicBezTo>
                  <a:pt x="88" y="56"/>
                  <a:pt x="86" y="54"/>
                  <a:pt x="85" y="54"/>
                </a:cubicBezTo>
                <a:cubicBezTo>
                  <a:pt x="84" y="53"/>
                  <a:pt x="83" y="52"/>
                  <a:pt x="83" y="52"/>
                </a:cubicBezTo>
                <a:cubicBezTo>
                  <a:pt x="82" y="52"/>
                  <a:pt x="81" y="52"/>
                  <a:pt x="81" y="52"/>
                </a:cubicBezTo>
                <a:cubicBezTo>
                  <a:pt x="79" y="51"/>
                  <a:pt x="78" y="49"/>
                  <a:pt x="77" y="48"/>
                </a:cubicBezTo>
                <a:cubicBezTo>
                  <a:pt x="76" y="46"/>
                  <a:pt x="74" y="45"/>
                  <a:pt x="73" y="43"/>
                </a:cubicBezTo>
                <a:cubicBezTo>
                  <a:pt x="72" y="42"/>
                  <a:pt x="71" y="41"/>
                  <a:pt x="70" y="40"/>
                </a:cubicBezTo>
                <a:cubicBezTo>
                  <a:pt x="59" y="31"/>
                  <a:pt x="54" y="17"/>
                  <a:pt x="43" y="8"/>
                </a:cubicBezTo>
                <a:cubicBezTo>
                  <a:pt x="40" y="5"/>
                  <a:pt x="37" y="3"/>
                  <a:pt x="33" y="2"/>
                </a:cubicBezTo>
                <a:cubicBezTo>
                  <a:pt x="32" y="1"/>
                  <a:pt x="30" y="0"/>
                  <a:pt x="28" y="0"/>
                </a:cubicBezTo>
                <a:cubicBezTo>
                  <a:pt x="27" y="0"/>
                  <a:pt x="26" y="1"/>
                  <a:pt x="25" y="2"/>
                </a:cubicBezTo>
                <a:cubicBezTo>
                  <a:pt x="25" y="3"/>
                  <a:pt x="25" y="3"/>
                  <a:pt x="25" y="3"/>
                </a:cubicBezTo>
                <a:cubicBezTo>
                  <a:pt x="25" y="4"/>
                  <a:pt x="24" y="4"/>
                  <a:pt x="24" y="4"/>
                </a:cubicBezTo>
                <a:cubicBezTo>
                  <a:pt x="23" y="4"/>
                  <a:pt x="24" y="6"/>
                  <a:pt x="23" y="6"/>
                </a:cubicBezTo>
                <a:cubicBezTo>
                  <a:pt x="22" y="6"/>
                  <a:pt x="21" y="6"/>
                  <a:pt x="20" y="6"/>
                </a:cubicBezTo>
                <a:cubicBezTo>
                  <a:pt x="19" y="7"/>
                  <a:pt x="19" y="9"/>
                  <a:pt x="18" y="9"/>
                </a:cubicBezTo>
                <a:cubicBezTo>
                  <a:pt x="18" y="9"/>
                  <a:pt x="18" y="9"/>
                  <a:pt x="17" y="9"/>
                </a:cubicBezTo>
                <a:cubicBezTo>
                  <a:pt x="16" y="10"/>
                  <a:pt x="16" y="11"/>
                  <a:pt x="15" y="12"/>
                </a:cubicBezTo>
                <a:cubicBezTo>
                  <a:pt x="14" y="12"/>
                  <a:pt x="13" y="13"/>
                  <a:pt x="13" y="14"/>
                </a:cubicBezTo>
                <a:cubicBezTo>
                  <a:pt x="11" y="16"/>
                  <a:pt x="10" y="19"/>
                  <a:pt x="9" y="21"/>
                </a:cubicBezTo>
                <a:cubicBezTo>
                  <a:pt x="8" y="22"/>
                  <a:pt x="8" y="23"/>
                  <a:pt x="7" y="24"/>
                </a:cubicBezTo>
                <a:cubicBezTo>
                  <a:pt x="7" y="25"/>
                  <a:pt x="7" y="25"/>
                  <a:pt x="7" y="26"/>
                </a:cubicBezTo>
                <a:cubicBezTo>
                  <a:pt x="7" y="27"/>
                  <a:pt x="7" y="27"/>
                  <a:pt x="7" y="28"/>
                </a:cubicBezTo>
                <a:cubicBezTo>
                  <a:pt x="6" y="29"/>
                  <a:pt x="4" y="30"/>
                  <a:pt x="3" y="31"/>
                </a:cubicBezTo>
                <a:cubicBezTo>
                  <a:pt x="2" y="33"/>
                  <a:pt x="1" y="34"/>
                  <a:pt x="1" y="36"/>
                </a:cubicBezTo>
                <a:cubicBezTo>
                  <a:pt x="1" y="36"/>
                  <a:pt x="0" y="37"/>
                  <a:pt x="0" y="37"/>
                </a:cubicBezTo>
                <a:cubicBezTo>
                  <a:pt x="1" y="37"/>
                  <a:pt x="1" y="38"/>
                  <a:pt x="1" y="38"/>
                </a:cubicBezTo>
                <a:cubicBezTo>
                  <a:pt x="5" y="46"/>
                  <a:pt x="12" y="51"/>
                  <a:pt x="17" y="58"/>
                </a:cubicBezTo>
                <a:cubicBezTo>
                  <a:pt x="20" y="62"/>
                  <a:pt x="23" y="65"/>
                  <a:pt x="27" y="69"/>
                </a:cubicBezTo>
                <a:cubicBezTo>
                  <a:pt x="28" y="71"/>
                  <a:pt x="30" y="73"/>
                  <a:pt x="32" y="75"/>
                </a:cubicBezTo>
                <a:cubicBezTo>
                  <a:pt x="34" y="77"/>
                  <a:pt x="35" y="78"/>
                  <a:pt x="37" y="80"/>
                </a:cubicBezTo>
                <a:cubicBezTo>
                  <a:pt x="39" y="81"/>
                  <a:pt x="40" y="82"/>
                  <a:pt x="41" y="83"/>
                </a:cubicBezTo>
                <a:cubicBezTo>
                  <a:pt x="43" y="85"/>
                  <a:pt x="45" y="88"/>
                  <a:pt x="48" y="89"/>
                </a:cubicBezTo>
                <a:cubicBezTo>
                  <a:pt x="49" y="90"/>
                  <a:pt x="51" y="90"/>
                  <a:pt x="52" y="91"/>
                </a:cubicBezTo>
                <a:cubicBezTo>
                  <a:pt x="53" y="92"/>
                  <a:pt x="53" y="93"/>
                  <a:pt x="54" y="94"/>
                </a:cubicBezTo>
                <a:cubicBezTo>
                  <a:pt x="79" y="121"/>
                  <a:pt x="141" y="186"/>
                  <a:pt x="153" y="198"/>
                </a:cubicBezTo>
                <a:cubicBezTo>
                  <a:pt x="156" y="201"/>
                  <a:pt x="162" y="207"/>
                  <a:pt x="166" y="211"/>
                </a:cubicBezTo>
                <a:cubicBezTo>
                  <a:pt x="171" y="215"/>
                  <a:pt x="177" y="222"/>
                  <a:pt x="181" y="226"/>
                </a:cubicBezTo>
                <a:cubicBezTo>
                  <a:pt x="202" y="246"/>
                  <a:pt x="211" y="254"/>
                  <a:pt x="231" y="275"/>
                </a:cubicBezTo>
                <a:cubicBezTo>
                  <a:pt x="233" y="277"/>
                  <a:pt x="235" y="279"/>
                  <a:pt x="236" y="281"/>
                </a:cubicBezTo>
                <a:cubicBezTo>
                  <a:pt x="237" y="281"/>
                  <a:pt x="238" y="282"/>
                  <a:pt x="238" y="283"/>
                </a:cubicBezTo>
                <a:cubicBezTo>
                  <a:pt x="239" y="284"/>
                  <a:pt x="240" y="284"/>
                  <a:pt x="241" y="284"/>
                </a:cubicBezTo>
                <a:cubicBezTo>
                  <a:pt x="242" y="284"/>
                  <a:pt x="242" y="285"/>
                  <a:pt x="242" y="286"/>
                </a:cubicBezTo>
                <a:cubicBezTo>
                  <a:pt x="243" y="287"/>
                  <a:pt x="243" y="288"/>
                  <a:pt x="244" y="289"/>
                </a:cubicBezTo>
                <a:cubicBezTo>
                  <a:pt x="244" y="289"/>
                  <a:pt x="245" y="289"/>
                  <a:pt x="245" y="289"/>
                </a:cubicBezTo>
                <a:cubicBezTo>
                  <a:pt x="246" y="289"/>
                  <a:pt x="247" y="291"/>
                  <a:pt x="248" y="292"/>
                </a:cubicBezTo>
                <a:cubicBezTo>
                  <a:pt x="249" y="293"/>
                  <a:pt x="251" y="294"/>
                  <a:pt x="252" y="295"/>
                </a:cubicBezTo>
                <a:cubicBezTo>
                  <a:pt x="254" y="298"/>
                  <a:pt x="257" y="300"/>
                  <a:pt x="259" y="303"/>
                </a:cubicBezTo>
                <a:cubicBezTo>
                  <a:pt x="266" y="310"/>
                  <a:pt x="273" y="317"/>
                  <a:pt x="274" y="317"/>
                </a:cubicBezTo>
                <a:cubicBezTo>
                  <a:pt x="274" y="318"/>
                  <a:pt x="274" y="318"/>
                  <a:pt x="275" y="318"/>
                </a:cubicBezTo>
                <a:cubicBezTo>
                  <a:pt x="275" y="319"/>
                  <a:pt x="275" y="320"/>
                  <a:pt x="276" y="321"/>
                </a:cubicBezTo>
                <a:cubicBezTo>
                  <a:pt x="277" y="321"/>
                  <a:pt x="278" y="323"/>
                  <a:pt x="279" y="324"/>
                </a:cubicBezTo>
                <a:cubicBezTo>
                  <a:pt x="281" y="325"/>
                  <a:pt x="282" y="327"/>
                  <a:pt x="283" y="328"/>
                </a:cubicBezTo>
                <a:cubicBezTo>
                  <a:pt x="286" y="331"/>
                  <a:pt x="289" y="334"/>
                  <a:pt x="291" y="337"/>
                </a:cubicBezTo>
                <a:cubicBezTo>
                  <a:pt x="303" y="349"/>
                  <a:pt x="315" y="362"/>
                  <a:pt x="327" y="374"/>
                </a:cubicBezTo>
                <a:cubicBezTo>
                  <a:pt x="332" y="380"/>
                  <a:pt x="338" y="385"/>
                  <a:pt x="343" y="391"/>
                </a:cubicBezTo>
                <a:cubicBezTo>
                  <a:pt x="347" y="395"/>
                  <a:pt x="351" y="399"/>
                  <a:pt x="354" y="403"/>
                </a:cubicBezTo>
                <a:cubicBezTo>
                  <a:pt x="358" y="407"/>
                  <a:pt x="362" y="411"/>
                  <a:pt x="366" y="415"/>
                </a:cubicBezTo>
                <a:cubicBezTo>
                  <a:pt x="367" y="417"/>
                  <a:pt x="369" y="418"/>
                  <a:pt x="371" y="420"/>
                </a:cubicBezTo>
                <a:cubicBezTo>
                  <a:pt x="372" y="421"/>
                  <a:pt x="372" y="422"/>
                  <a:pt x="373" y="423"/>
                </a:cubicBezTo>
                <a:cubicBezTo>
                  <a:pt x="374" y="423"/>
                  <a:pt x="375" y="425"/>
                  <a:pt x="375" y="425"/>
                </a:cubicBezTo>
                <a:cubicBezTo>
                  <a:pt x="376" y="425"/>
                  <a:pt x="376" y="425"/>
                  <a:pt x="376" y="425"/>
                </a:cubicBezTo>
                <a:cubicBezTo>
                  <a:pt x="376" y="426"/>
                  <a:pt x="377" y="426"/>
                  <a:pt x="377" y="426"/>
                </a:cubicBezTo>
                <a:cubicBezTo>
                  <a:pt x="377" y="427"/>
                  <a:pt x="379" y="426"/>
                  <a:pt x="379" y="427"/>
                </a:cubicBezTo>
                <a:cubicBezTo>
                  <a:pt x="380" y="428"/>
                  <a:pt x="380" y="429"/>
                  <a:pt x="380" y="430"/>
                </a:cubicBezTo>
                <a:cubicBezTo>
                  <a:pt x="381" y="431"/>
                  <a:pt x="383" y="432"/>
                  <a:pt x="384" y="433"/>
                </a:cubicBezTo>
                <a:cubicBezTo>
                  <a:pt x="385" y="435"/>
                  <a:pt x="387" y="436"/>
                  <a:pt x="388" y="438"/>
                </a:cubicBezTo>
                <a:cubicBezTo>
                  <a:pt x="389" y="439"/>
                  <a:pt x="393" y="444"/>
                  <a:pt x="395" y="443"/>
                </a:cubicBezTo>
                <a:cubicBezTo>
                  <a:pt x="395" y="443"/>
                  <a:pt x="395" y="443"/>
                  <a:pt x="396" y="443"/>
                </a:cubicBezTo>
                <a:cubicBezTo>
                  <a:pt x="397" y="442"/>
                  <a:pt x="398" y="445"/>
                  <a:pt x="399" y="445"/>
                </a:cubicBezTo>
                <a:cubicBezTo>
                  <a:pt x="399" y="446"/>
                  <a:pt x="402" y="448"/>
                  <a:pt x="401" y="449"/>
                </a:cubicBezTo>
                <a:cubicBezTo>
                  <a:pt x="401" y="449"/>
                  <a:pt x="401" y="450"/>
                  <a:pt x="402" y="450"/>
                </a:cubicBezTo>
                <a:cubicBezTo>
                  <a:pt x="403" y="450"/>
                  <a:pt x="403" y="449"/>
                  <a:pt x="404" y="450"/>
                </a:cubicBezTo>
                <a:cubicBezTo>
                  <a:pt x="404" y="450"/>
                  <a:pt x="405" y="451"/>
                  <a:pt x="405" y="452"/>
                </a:cubicBezTo>
                <a:cubicBezTo>
                  <a:pt x="406" y="452"/>
                  <a:pt x="405" y="453"/>
                  <a:pt x="405" y="454"/>
                </a:cubicBezTo>
                <a:cubicBezTo>
                  <a:pt x="405" y="456"/>
                  <a:pt x="408" y="458"/>
                  <a:pt x="409" y="459"/>
                </a:cubicBezTo>
                <a:cubicBezTo>
                  <a:pt x="410" y="461"/>
                  <a:pt x="412" y="462"/>
                  <a:pt x="414" y="462"/>
                </a:cubicBezTo>
                <a:cubicBezTo>
                  <a:pt x="415" y="462"/>
                  <a:pt x="416" y="463"/>
                  <a:pt x="416" y="464"/>
                </a:cubicBezTo>
                <a:cubicBezTo>
                  <a:pt x="417" y="466"/>
                  <a:pt x="418" y="467"/>
                  <a:pt x="419" y="469"/>
                </a:cubicBezTo>
                <a:cubicBezTo>
                  <a:pt x="420" y="470"/>
                  <a:pt x="421" y="470"/>
                  <a:pt x="423" y="471"/>
                </a:cubicBezTo>
                <a:cubicBezTo>
                  <a:pt x="423" y="471"/>
                  <a:pt x="424" y="471"/>
                  <a:pt x="425" y="472"/>
                </a:cubicBezTo>
                <a:cubicBezTo>
                  <a:pt x="425" y="473"/>
                  <a:pt x="426" y="473"/>
                  <a:pt x="426" y="474"/>
                </a:cubicBezTo>
                <a:cubicBezTo>
                  <a:pt x="426" y="475"/>
                  <a:pt x="426" y="475"/>
                  <a:pt x="426" y="476"/>
                </a:cubicBezTo>
                <a:cubicBezTo>
                  <a:pt x="426" y="477"/>
                  <a:pt x="428" y="478"/>
                  <a:pt x="429" y="479"/>
                </a:cubicBezTo>
                <a:cubicBezTo>
                  <a:pt x="430" y="481"/>
                  <a:pt x="431" y="482"/>
                  <a:pt x="432" y="484"/>
                </a:cubicBezTo>
                <a:cubicBezTo>
                  <a:pt x="436" y="488"/>
                  <a:pt x="440" y="492"/>
                  <a:pt x="444" y="496"/>
                </a:cubicBezTo>
                <a:cubicBezTo>
                  <a:pt x="445" y="498"/>
                  <a:pt x="447" y="499"/>
                  <a:pt x="449" y="501"/>
                </a:cubicBezTo>
                <a:cubicBezTo>
                  <a:pt x="450" y="502"/>
                  <a:pt x="451" y="504"/>
                  <a:pt x="453" y="504"/>
                </a:cubicBezTo>
                <a:cubicBezTo>
                  <a:pt x="454" y="505"/>
                  <a:pt x="455" y="505"/>
                  <a:pt x="457" y="505"/>
                </a:cubicBezTo>
                <a:cubicBezTo>
                  <a:pt x="457" y="506"/>
                  <a:pt x="458" y="507"/>
                  <a:pt x="458" y="507"/>
                </a:cubicBezTo>
                <a:cubicBezTo>
                  <a:pt x="458" y="508"/>
                  <a:pt x="460" y="509"/>
                  <a:pt x="461" y="511"/>
                </a:cubicBezTo>
                <a:cubicBezTo>
                  <a:pt x="462" y="511"/>
                  <a:pt x="463" y="512"/>
                  <a:pt x="463" y="512"/>
                </a:cubicBezTo>
                <a:cubicBezTo>
                  <a:pt x="463" y="513"/>
                  <a:pt x="463" y="513"/>
                  <a:pt x="463" y="513"/>
                </a:cubicBezTo>
                <a:cubicBezTo>
                  <a:pt x="463" y="514"/>
                  <a:pt x="463" y="514"/>
                  <a:pt x="463" y="514"/>
                </a:cubicBezTo>
                <a:cubicBezTo>
                  <a:pt x="462" y="514"/>
                  <a:pt x="462" y="515"/>
                  <a:pt x="463" y="515"/>
                </a:cubicBezTo>
                <a:cubicBezTo>
                  <a:pt x="463" y="516"/>
                  <a:pt x="464" y="517"/>
                  <a:pt x="465" y="518"/>
                </a:cubicBezTo>
                <a:cubicBezTo>
                  <a:pt x="467" y="521"/>
                  <a:pt x="470" y="523"/>
                  <a:pt x="470" y="524"/>
                </a:cubicBezTo>
                <a:cubicBezTo>
                  <a:pt x="470" y="524"/>
                  <a:pt x="474" y="528"/>
                  <a:pt x="478" y="532"/>
                </a:cubicBezTo>
                <a:cubicBezTo>
                  <a:pt x="479" y="533"/>
                  <a:pt x="481" y="534"/>
                  <a:pt x="482" y="536"/>
                </a:cubicBezTo>
                <a:cubicBezTo>
                  <a:pt x="483" y="536"/>
                  <a:pt x="484" y="538"/>
                  <a:pt x="485" y="538"/>
                </a:cubicBezTo>
                <a:cubicBezTo>
                  <a:pt x="486" y="538"/>
                  <a:pt x="486" y="538"/>
                  <a:pt x="487" y="538"/>
                </a:cubicBezTo>
                <a:cubicBezTo>
                  <a:pt x="487" y="538"/>
                  <a:pt x="488" y="539"/>
                  <a:pt x="488" y="540"/>
                </a:cubicBezTo>
                <a:cubicBezTo>
                  <a:pt x="488" y="540"/>
                  <a:pt x="488" y="540"/>
                  <a:pt x="487" y="540"/>
                </a:cubicBezTo>
                <a:cubicBezTo>
                  <a:pt x="487" y="542"/>
                  <a:pt x="490" y="544"/>
                  <a:pt x="491" y="545"/>
                </a:cubicBezTo>
                <a:cubicBezTo>
                  <a:pt x="495" y="550"/>
                  <a:pt x="497" y="552"/>
                  <a:pt x="499" y="556"/>
                </a:cubicBezTo>
                <a:cubicBezTo>
                  <a:pt x="501" y="559"/>
                  <a:pt x="511" y="569"/>
                  <a:pt x="517" y="574"/>
                </a:cubicBezTo>
                <a:cubicBezTo>
                  <a:pt x="517" y="574"/>
                  <a:pt x="518" y="575"/>
                  <a:pt x="519" y="576"/>
                </a:cubicBezTo>
                <a:cubicBezTo>
                  <a:pt x="519" y="576"/>
                  <a:pt x="520" y="577"/>
                  <a:pt x="520" y="577"/>
                </a:cubicBezTo>
                <a:cubicBezTo>
                  <a:pt x="521" y="577"/>
                  <a:pt x="521" y="577"/>
                  <a:pt x="521" y="577"/>
                </a:cubicBezTo>
                <a:cubicBezTo>
                  <a:pt x="522" y="577"/>
                  <a:pt x="522" y="578"/>
                  <a:pt x="522" y="578"/>
                </a:cubicBezTo>
                <a:cubicBezTo>
                  <a:pt x="522" y="578"/>
                  <a:pt x="523" y="578"/>
                  <a:pt x="523" y="579"/>
                </a:cubicBezTo>
                <a:cubicBezTo>
                  <a:pt x="524" y="579"/>
                  <a:pt x="524" y="580"/>
                  <a:pt x="524" y="581"/>
                </a:cubicBezTo>
                <a:cubicBezTo>
                  <a:pt x="525" y="582"/>
                  <a:pt x="525" y="582"/>
                  <a:pt x="526" y="583"/>
                </a:cubicBezTo>
                <a:cubicBezTo>
                  <a:pt x="527" y="584"/>
                  <a:pt x="528" y="585"/>
                  <a:pt x="529" y="585"/>
                </a:cubicBezTo>
                <a:cubicBezTo>
                  <a:pt x="530" y="585"/>
                  <a:pt x="531" y="585"/>
                  <a:pt x="532" y="586"/>
                </a:cubicBezTo>
                <a:cubicBezTo>
                  <a:pt x="532" y="587"/>
                  <a:pt x="532" y="589"/>
                  <a:pt x="533" y="589"/>
                </a:cubicBezTo>
                <a:cubicBezTo>
                  <a:pt x="533" y="589"/>
                  <a:pt x="533" y="590"/>
                  <a:pt x="533" y="590"/>
                </a:cubicBezTo>
                <a:cubicBezTo>
                  <a:pt x="533" y="590"/>
                  <a:pt x="533" y="590"/>
                  <a:pt x="533" y="590"/>
                </a:cubicBezTo>
                <a:cubicBezTo>
                  <a:pt x="534" y="590"/>
                  <a:pt x="534" y="590"/>
                  <a:pt x="534" y="590"/>
                </a:cubicBezTo>
                <a:cubicBezTo>
                  <a:pt x="536" y="590"/>
                  <a:pt x="537" y="592"/>
                  <a:pt x="539" y="593"/>
                </a:cubicBezTo>
                <a:cubicBezTo>
                  <a:pt x="539" y="593"/>
                  <a:pt x="540" y="594"/>
                  <a:pt x="540" y="595"/>
                </a:cubicBezTo>
                <a:cubicBezTo>
                  <a:pt x="539" y="595"/>
                  <a:pt x="539" y="596"/>
                  <a:pt x="539" y="596"/>
                </a:cubicBezTo>
                <a:cubicBezTo>
                  <a:pt x="539" y="597"/>
                  <a:pt x="540" y="597"/>
                  <a:pt x="540" y="597"/>
                </a:cubicBezTo>
                <a:cubicBezTo>
                  <a:pt x="542" y="597"/>
                  <a:pt x="541" y="599"/>
                  <a:pt x="542" y="601"/>
                </a:cubicBezTo>
                <a:cubicBezTo>
                  <a:pt x="543" y="602"/>
                  <a:pt x="544" y="602"/>
                  <a:pt x="545" y="603"/>
                </a:cubicBezTo>
                <a:cubicBezTo>
                  <a:pt x="546" y="604"/>
                  <a:pt x="549" y="608"/>
                  <a:pt x="550" y="608"/>
                </a:cubicBezTo>
                <a:cubicBezTo>
                  <a:pt x="551" y="608"/>
                  <a:pt x="551" y="608"/>
                  <a:pt x="551" y="607"/>
                </a:cubicBezTo>
                <a:cubicBezTo>
                  <a:pt x="552" y="607"/>
                  <a:pt x="553" y="608"/>
                  <a:pt x="554" y="609"/>
                </a:cubicBezTo>
                <a:cubicBezTo>
                  <a:pt x="555" y="610"/>
                  <a:pt x="555" y="611"/>
                  <a:pt x="555" y="612"/>
                </a:cubicBezTo>
                <a:cubicBezTo>
                  <a:pt x="555" y="613"/>
                  <a:pt x="555" y="613"/>
                  <a:pt x="556" y="614"/>
                </a:cubicBezTo>
                <a:cubicBezTo>
                  <a:pt x="556" y="614"/>
                  <a:pt x="557" y="615"/>
                  <a:pt x="557" y="614"/>
                </a:cubicBezTo>
                <a:cubicBezTo>
                  <a:pt x="557" y="614"/>
                  <a:pt x="558" y="614"/>
                  <a:pt x="558" y="614"/>
                </a:cubicBezTo>
                <a:cubicBezTo>
                  <a:pt x="558" y="614"/>
                  <a:pt x="558" y="614"/>
                  <a:pt x="558" y="614"/>
                </a:cubicBezTo>
                <a:cubicBezTo>
                  <a:pt x="559" y="615"/>
                  <a:pt x="559" y="615"/>
                  <a:pt x="560" y="616"/>
                </a:cubicBezTo>
                <a:cubicBezTo>
                  <a:pt x="560" y="616"/>
                  <a:pt x="560" y="617"/>
                  <a:pt x="560" y="618"/>
                </a:cubicBezTo>
                <a:cubicBezTo>
                  <a:pt x="560" y="618"/>
                  <a:pt x="560" y="618"/>
                  <a:pt x="560" y="619"/>
                </a:cubicBezTo>
                <a:cubicBezTo>
                  <a:pt x="560" y="619"/>
                  <a:pt x="561" y="620"/>
                  <a:pt x="561" y="620"/>
                </a:cubicBezTo>
                <a:cubicBezTo>
                  <a:pt x="565" y="624"/>
                  <a:pt x="572" y="632"/>
                  <a:pt x="574" y="635"/>
                </a:cubicBezTo>
                <a:cubicBezTo>
                  <a:pt x="575" y="635"/>
                  <a:pt x="576" y="637"/>
                  <a:pt x="577" y="638"/>
                </a:cubicBezTo>
                <a:cubicBezTo>
                  <a:pt x="579" y="640"/>
                  <a:pt x="581" y="642"/>
                  <a:pt x="582" y="644"/>
                </a:cubicBezTo>
                <a:cubicBezTo>
                  <a:pt x="583" y="646"/>
                  <a:pt x="586" y="648"/>
                  <a:pt x="587" y="650"/>
                </a:cubicBezTo>
                <a:cubicBezTo>
                  <a:pt x="589" y="653"/>
                  <a:pt x="591" y="657"/>
                  <a:pt x="594" y="658"/>
                </a:cubicBezTo>
                <a:cubicBezTo>
                  <a:pt x="595" y="658"/>
                  <a:pt x="596" y="659"/>
                  <a:pt x="596" y="659"/>
                </a:cubicBezTo>
                <a:cubicBezTo>
                  <a:pt x="598" y="661"/>
                  <a:pt x="600" y="662"/>
                  <a:pt x="601" y="664"/>
                </a:cubicBezTo>
                <a:cubicBezTo>
                  <a:pt x="605" y="667"/>
                  <a:pt x="609" y="672"/>
                  <a:pt x="611" y="674"/>
                </a:cubicBezTo>
                <a:cubicBezTo>
                  <a:pt x="612" y="675"/>
                  <a:pt x="613" y="676"/>
                  <a:pt x="614" y="677"/>
                </a:cubicBezTo>
                <a:cubicBezTo>
                  <a:pt x="615" y="677"/>
                  <a:pt x="615" y="678"/>
                  <a:pt x="616" y="677"/>
                </a:cubicBezTo>
                <a:cubicBezTo>
                  <a:pt x="616" y="677"/>
                  <a:pt x="616" y="676"/>
                  <a:pt x="616" y="676"/>
                </a:cubicBezTo>
                <a:cubicBezTo>
                  <a:pt x="617" y="676"/>
                  <a:pt x="617" y="677"/>
                  <a:pt x="618" y="677"/>
                </a:cubicBezTo>
                <a:cubicBezTo>
                  <a:pt x="618" y="677"/>
                  <a:pt x="618" y="678"/>
                  <a:pt x="618" y="678"/>
                </a:cubicBezTo>
                <a:cubicBezTo>
                  <a:pt x="618" y="678"/>
                  <a:pt x="618" y="678"/>
                  <a:pt x="618" y="678"/>
                </a:cubicBezTo>
                <a:cubicBezTo>
                  <a:pt x="617" y="678"/>
                  <a:pt x="617" y="679"/>
                  <a:pt x="617" y="679"/>
                </a:cubicBezTo>
                <a:cubicBezTo>
                  <a:pt x="618" y="680"/>
                  <a:pt x="619" y="681"/>
                  <a:pt x="620" y="682"/>
                </a:cubicBezTo>
                <a:cubicBezTo>
                  <a:pt x="621" y="683"/>
                  <a:pt x="622" y="684"/>
                  <a:pt x="622" y="684"/>
                </a:cubicBezTo>
                <a:cubicBezTo>
                  <a:pt x="623" y="685"/>
                  <a:pt x="624" y="685"/>
                  <a:pt x="624" y="685"/>
                </a:cubicBezTo>
                <a:cubicBezTo>
                  <a:pt x="625" y="684"/>
                  <a:pt x="626" y="684"/>
                  <a:pt x="626" y="685"/>
                </a:cubicBezTo>
                <a:cubicBezTo>
                  <a:pt x="626" y="686"/>
                  <a:pt x="626" y="686"/>
                  <a:pt x="626" y="687"/>
                </a:cubicBezTo>
                <a:cubicBezTo>
                  <a:pt x="626" y="687"/>
                  <a:pt x="626" y="688"/>
                  <a:pt x="626" y="688"/>
                </a:cubicBezTo>
                <a:cubicBezTo>
                  <a:pt x="626" y="689"/>
                  <a:pt x="628" y="691"/>
                  <a:pt x="628" y="691"/>
                </a:cubicBezTo>
                <a:cubicBezTo>
                  <a:pt x="628" y="692"/>
                  <a:pt x="628" y="692"/>
                  <a:pt x="628" y="692"/>
                </a:cubicBezTo>
                <a:cubicBezTo>
                  <a:pt x="627" y="692"/>
                  <a:pt x="628" y="693"/>
                  <a:pt x="628" y="693"/>
                </a:cubicBezTo>
                <a:cubicBezTo>
                  <a:pt x="629" y="693"/>
                  <a:pt x="630" y="694"/>
                  <a:pt x="631" y="694"/>
                </a:cubicBezTo>
                <a:cubicBezTo>
                  <a:pt x="632" y="694"/>
                  <a:pt x="632" y="695"/>
                  <a:pt x="633" y="696"/>
                </a:cubicBezTo>
                <a:cubicBezTo>
                  <a:pt x="635" y="698"/>
                  <a:pt x="637" y="700"/>
                  <a:pt x="638" y="701"/>
                </a:cubicBezTo>
                <a:cubicBezTo>
                  <a:pt x="642" y="705"/>
                  <a:pt x="645" y="709"/>
                  <a:pt x="649" y="712"/>
                </a:cubicBezTo>
                <a:cubicBezTo>
                  <a:pt x="658" y="722"/>
                  <a:pt x="668" y="732"/>
                  <a:pt x="670" y="734"/>
                </a:cubicBezTo>
                <a:cubicBezTo>
                  <a:pt x="672" y="736"/>
                  <a:pt x="680" y="744"/>
                  <a:pt x="687" y="752"/>
                </a:cubicBezTo>
                <a:cubicBezTo>
                  <a:pt x="695" y="760"/>
                  <a:pt x="707" y="773"/>
                  <a:pt x="715" y="781"/>
                </a:cubicBezTo>
                <a:cubicBezTo>
                  <a:pt x="723" y="789"/>
                  <a:pt x="742" y="810"/>
                  <a:pt x="759" y="827"/>
                </a:cubicBezTo>
                <a:cubicBezTo>
                  <a:pt x="765" y="833"/>
                  <a:pt x="771" y="839"/>
                  <a:pt x="776" y="845"/>
                </a:cubicBezTo>
                <a:cubicBezTo>
                  <a:pt x="779" y="848"/>
                  <a:pt x="782" y="851"/>
                  <a:pt x="785" y="854"/>
                </a:cubicBezTo>
                <a:cubicBezTo>
                  <a:pt x="786" y="855"/>
                  <a:pt x="788" y="857"/>
                  <a:pt x="789" y="858"/>
                </a:cubicBezTo>
                <a:cubicBezTo>
                  <a:pt x="790" y="859"/>
                  <a:pt x="792" y="858"/>
                  <a:pt x="792" y="860"/>
                </a:cubicBezTo>
                <a:cubicBezTo>
                  <a:pt x="792" y="861"/>
                  <a:pt x="794" y="863"/>
                  <a:pt x="795" y="864"/>
                </a:cubicBezTo>
                <a:cubicBezTo>
                  <a:pt x="796" y="865"/>
                  <a:pt x="797" y="866"/>
                  <a:pt x="798" y="867"/>
                </a:cubicBezTo>
                <a:cubicBezTo>
                  <a:pt x="801" y="870"/>
                  <a:pt x="803" y="872"/>
                  <a:pt x="806" y="875"/>
                </a:cubicBezTo>
                <a:cubicBezTo>
                  <a:pt x="809" y="877"/>
                  <a:pt x="811" y="880"/>
                  <a:pt x="814" y="883"/>
                </a:cubicBezTo>
                <a:cubicBezTo>
                  <a:pt x="816" y="885"/>
                  <a:pt x="818" y="888"/>
                  <a:pt x="820" y="888"/>
                </a:cubicBezTo>
                <a:cubicBezTo>
                  <a:pt x="821" y="889"/>
                  <a:pt x="821" y="890"/>
                  <a:pt x="822" y="890"/>
                </a:cubicBezTo>
                <a:cubicBezTo>
                  <a:pt x="822" y="892"/>
                  <a:pt x="825" y="894"/>
                  <a:pt x="826" y="895"/>
                </a:cubicBezTo>
                <a:cubicBezTo>
                  <a:pt x="829" y="898"/>
                  <a:pt x="836" y="906"/>
                  <a:pt x="842" y="912"/>
                </a:cubicBezTo>
                <a:cubicBezTo>
                  <a:pt x="846" y="916"/>
                  <a:pt x="849" y="919"/>
                  <a:pt x="852" y="923"/>
                </a:cubicBezTo>
                <a:cubicBezTo>
                  <a:pt x="853" y="923"/>
                  <a:pt x="853" y="924"/>
                  <a:pt x="853" y="924"/>
                </a:cubicBezTo>
                <a:cubicBezTo>
                  <a:pt x="853" y="925"/>
                  <a:pt x="853" y="925"/>
                  <a:pt x="853" y="925"/>
                </a:cubicBezTo>
                <a:cubicBezTo>
                  <a:pt x="854" y="927"/>
                  <a:pt x="856" y="928"/>
                  <a:pt x="857" y="929"/>
                </a:cubicBezTo>
                <a:cubicBezTo>
                  <a:pt x="858" y="929"/>
                  <a:pt x="859" y="930"/>
                  <a:pt x="860" y="931"/>
                </a:cubicBezTo>
                <a:cubicBezTo>
                  <a:pt x="860" y="931"/>
                  <a:pt x="861" y="932"/>
                  <a:pt x="862" y="933"/>
                </a:cubicBezTo>
                <a:cubicBezTo>
                  <a:pt x="863" y="933"/>
                  <a:pt x="863" y="933"/>
                  <a:pt x="864" y="933"/>
                </a:cubicBezTo>
                <a:cubicBezTo>
                  <a:pt x="865" y="934"/>
                  <a:pt x="865" y="935"/>
                  <a:pt x="865" y="936"/>
                </a:cubicBezTo>
                <a:cubicBezTo>
                  <a:pt x="866" y="938"/>
                  <a:pt x="868" y="937"/>
                  <a:pt x="868" y="938"/>
                </a:cubicBezTo>
                <a:cubicBezTo>
                  <a:pt x="869" y="938"/>
                  <a:pt x="869" y="939"/>
                  <a:pt x="869" y="939"/>
                </a:cubicBezTo>
                <a:cubicBezTo>
                  <a:pt x="869" y="941"/>
                  <a:pt x="872" y="943"/>
                  <a:pt x="873" y="944"/>
                </a:cubicBezTo>
                <a:cubicBezTo>
                  <a:pt x="875" y="946"/>
                  <a:pt x="876" y="947"/>
                  <a:pt x="878" y="949"/>
                </a:cubicBezTo>
                <a:cubicBezTo>
                  <a:pt x="879" y="950"/>
                  <a:pt x="880" y="951"/>
                  <a:pt x="880" y="953"/>
                </a:cubicBezTo>
                <a:cubicBezTo>
                  <a:pt x="880" y="954"/>
                  <a:pt x="880" y="954"/>
                  <a:pt x="879" y="955"/>
                </a:cubicBezTo>
                <a:cubicBezTo>
                  <a:pt x="879" y="955"/>
                  <a:pt x="879" y="955"/>
                  <a:pt x="880" y="956"/>
                </a:cubicBezTo>
                <a:cubicBezTo>
                  <a:pt x="880" y="957"/>
                  <a:pt x="881" y="958"/>
                  <a:pt x="881" y="958"/>
                </a:cubicBezTo>
                <a:cubicBezTo>
                  <a:pt x="882" y="958"/>
                  <a:pt x="882" y="958"/>
                  <a:pt x="882" y="958"/>
                </a:cubicBezTo>
                <a:cubicBezTo>
                  <a:pt x="883" y="958"/>
                  <a:pt x="883" y="957"/>
                  <a:pt x="883" y="957"/>
                </a:cubicBezTo>
                <a:cubicBezTo>
                  <a:pt x="884" y="957"/>
                  <a:pt x="884" y="957"/>
                  <a:pt x="885" y="957"/>
                </a:cubicBezTo>
                <a:cubicBezTo>
                  <a:pt x="887" y="957"/>
                  <a:pt x="888" y="959"/>
                  <a:pt x="889" y="960"/>
                </a:cubicBezTo>
                <a:cubicBezTo>
                  <a:pt x="891" y="962"/>
                  <a:pt x="891" y="964"/>
                  <a:pt x="893" y="966"/>
                </a:cubicBezTo>
                <a:cubicBezTo>
                  <a:pt x="894" y="968"/>
                  <a:pt x="895" y="971"/>
                  <a:pt x="897" y="972"/>
                </a:cubicBezTo>
                <a:cubicBezTo>
                  <a:pt x="899" y="973"/>
                  <a:pt x="900" y="973"/>
                  <a:pt x="901" y="975"/>
                </a:cubicBezTo>
                <a:cubicBezTo>
                  <a:pt x="902" y="977"/>
                  <a:pt x="903" y="977"/>
                  <a:pt x="903" y="978"/>
                </a:cubicBezTo>
                <a:cubicBezTo>
                  <a:pt x="904" y="979"/>
                  <a:pt x="904" y="980"/>
                  <a:pt x="905" y="981"/>
                </a:cubicBezTo>
                <a:cubicBezTo>
                  <a:pt x="905" y="982"/>
                  <a:pt x="906" y="983"/>
                  <a:pt x="907" y="984"/>
                </a:cubicBezTo>
                <a:cubicBezTo>
                  <a:pt x="908" y="985"/>
                  <a:pt x="909" y="986"/>
                  <a:pt x="910" y="988"/>
                </a:cubicBezTo>
                <a:cubicBezTo>
                  <a:pt x="912" y="989"/>
                  <a:pt x="914" y="992"/>
                  <a:pt x="916" y="992"/>
                </a:cubicBezTo>
                <a:cubicBezTo>
                  <a:pt x="917" y="993"/>
                  <a:pt x="918" y="991"/>
                  <a:pt x="919" y="992"/>
                </a:cubicBezTo>
                <a:cubicBezTo>
                  <a:pt x="920" y="992"/>
                  <a:pt x="921" y="994"/>
                  <a:pt x="922" y="995"/>
                </a:cubicBezTo>
                <a:cubicBezTo>
                  <a:pt x="923" y="996"/>
                  <a:pt x="928" y="1003"/>
                  <a:pt x="929" y="1002"/>
                </a:cubicBezTo>
                <a:cubicBezTo>
                  <a:pt x="930" y="1001"/>
                  <a:pt x="930" y="1001"/>
                  <a:pt x="930" y="1002"/>
                </a:cubicBezTo>
                <a:cubicBezTo>
                  <a:pt x="931" y="1003"/>
                  <a:pt x="933" y="1004"/>
                  <a:pt x="934" y="1006"/>
                </a:cubicBezTo>
                <a:cubicBezTo>
                  <a:pt x="939" y="1014"/>
                  <a:pt x="944" y="1019"/>
                  <a:pt x="951" y="1026"/>
                </a:cubicBezTo>
                <a:cubicBezTo>
                  <a:pt x="954" y="1028"/>
                  <a:pt x="957" y="1031"/>
                  <a:pt x="959" y="1034"/>
                </a:cubicBezTo>
                <a:cubicBezTo>
                  <a:pt x="959" y="1034"/>
                  <a:pt x="959" y="1034"/>
                  <a:pt x="959" y="1034"/>
                </a:cubicBezTo>
                <a:cubicBezTo>
                  <a:pt x="958" y="1034"/>
                  <a:pt x="958" y="1034"/>
                  <a:pt x="958" y="1035"/>
                </a:cubicBezTo>
                <a:cubicBezTo>
                  <a:pt x="959" y="1035"/>
                  <a:pt x="959" y="1035"/>
                  <a:pt x="960" y="1035"/>
                </a:cubicBezTo>
                <a:cubicBezTo>
                  <a:pt x="962" y="1036"/>
                  <a:pt x="961" y="1038"/>
                  <a:pt x="962" y="1039"/>
                </a:cubicBezTo>
                <a:cubicBezTo>
                  <a:pt x="962" y="1040"/>
                  <a:pt x="963" y="1042"/>
                  <a:pt x="965" y="1041"/>
                </a:cubicBezTo>
                <a:cubicBezTo>
                  <a:pt x="965" y="1041"/>
                  <a:pt x="965" y="1041"/>
                  <a:pt x="966" y="1041"/>
                </a:cubicBezTo>
                <a:cubicBezTo>
                  <a:pt x="967" y="1041"/>
                  <a:pt x="968" y="1044"/>
                  <a:pt x="969" y="1044"/>
                </a:cubicBezTo>
                <a:cubicBezTo>
                  <a:pt x="970" y="1045"/>
                  <a:pt x="971" y="1047"/>
                  <a:pt x="972" y="1048"/>
                </a:cubicBezTo>
                <a:cubicBezTo>
                  <a:pt x="976" y="1051"/>
                  <a:pt x="980" y="1055"/>
                  <a:pt x="980" y="1056"/>
                </a:cubicBezTo>
                <a:cubicBezTo>
                  <a:pt x="982" y="1057"/>
                  <a:pt x="983" y="1059"/>
                  <a:pt x="984" y="1060"/>
                </a:cubicBezTo>
                <a:cubicBezTo>
                  <a:pt x="985" y="1061"/>
                  <a:pt x="985" y="1061"/>
                  <a:pt x="985" y="1061"/>
                </a:cubicBezTo>
                <a:cubicBezTo>
                  <a:pt x="984" y="1062"/>
                  <a:pt x="984" y="1063"/>
                  <a:pt x="985" y="1064"/>
                </a:cubicBezTo>
                <a:cubicBezTo>
                  <a:pt x="986" y="1065"/>
                  <a:pt x="987" y="1066"/>
                  <a:pt x="987" y="1066"/>
                </a:cubicBezTo>
                <a:cubicBezTo>
                  <a:pt x="988" y="1067"/>
                  <a:pt x="988" y="1067"/>
                  <a:pt x="989" y="1067"/>
                </a:cubicBezTo>
                <a:cubicBezTo>
                  <a:pt x="989" y="1067"/>
                  <a:pt x="989" y="1066"/>
                  <a:pt x="989" y="1066"/>
                </a:cubicBezTo>
                <a:cubicBezTo>
                  <a:pt x="991" y="1066"/>
                  <a:pt x="991" y="1068"/>
                  <a:pt x="992" y="1069"/>
                </a:cubicBezTo>
                <a:cubicBezTo>
                  <a:pt x="994" y="1070"/>
                  <a:pt x="995" y="1072"/>
                  <a:pt x="997" y="1073"/>
                </a:cubicBezTo>
                <a:cubicBezTo>
                  <a:pt x="998" y="1075"/>
                  <a:pt x="999" y="1076"/>
                  <a:pt x="1001" y="1077"/>
                </a:cubicBezTo>
                <a:cubicBezTo>
                  <a:pt x="1002" y="1078"/>
                  <a:pt x="1003" y="1077"/>
                  <a:pt x="1004" y="1078"/>
                </a:cubicBezTo>
                <a:cubicBezTo>
                  <a:pt x="1005" y="1079"/>
                  <a:pt x="1006" y="1081"/>
                  <a:pt x="1006" y="1082"/>
                </a:cubicBezTo>
                <a:cubicBezTo>
                  <a:pt x="1009" y="1085"/>
                  <a:pt x="1013" y="1088"/>
                  <a:pt x="1016" y="1091"/>
                </a:cubicBezTo>
                <a:cubicBezTo>
                  <a:pt x="1020" y="1095"/>
                  <a:pt x="1026" y="1100"/>
                  <a:pt x="1027" y="1101"/>
                </a:cubicBezTo>
                <a:cubicBezTo>
                  <a:pt x="1028" y="1102"/>
                  <a:pt x="1030" y="1104"/>
                  <a:pt x="1032" y="1104"/>
                </a:cubicBezTo>
                <a:cubicBezTo>
                  <a:pt x="1032" y="1104"/>
                  <a:pt x="1032" y="1104"/>
                  <a:pt x="1032" y="1104"/>
                </a:cubicBezTo>
                <a:cubicBezTo>
                  <a:pt x="1032" y="1104"/>
                  <a:pt x="1032" y="1104"/>
                  <a:pt x="1032" y="1105"/>
                </a:cubicBezTo>
                <a:cubicBezTo>
                  <a:pt x="1033" y="1105"/>
                  <a:pt x="1033" y="1105"/>
                  <a:pt x="1033" y="1106"/>
                </a:cubicBezTo>
                <a:cubicBezTo>
                  <a:pt x="1033" y="1106"/>
                  <a:pt x="1033" y="1107"/>
                  <a:pt x="1033" y="1107"/>
                </a:cubicBezTo>
                <a:cubicBezTo>
                  <a:pt x="1034" y="1110"/>
                  <a:pt x="1037" y="1112"/>
                  <a:pt x="1038" y="1114"/>
                </a:cubicBezTo>
                <a:cubicBezTo>
                  <a:pt x="1041" y="1116"/>
                  <a:pt x="1043" y="1118"/>
                  <a:pt x="1045" y="1120"/>
                </a:cubicBezTo>
                <a:cubicBezTo>
                  <a:pt x="1047" y="1122"/>
                  <a:pt x="1049" y="1125"/>
                  <a:pt x="1052" y="1127"/>
                </a:cubicBezTo>
                <a:cubicBezTo>
                  <a:pt x="1053" y="1129"/>
                  <a:pt x="1054" y="1130"/>
                  <a:pt x="1055" y="1131"/>
                </a:cubicBezTo>
                <a:cubicBezTo>
                  <a:pt x="1056" y="1132"/>
                  <a:pt x="1057" y="1132"/>
                  <a:pt x="1058" y="1133"/>
                </a:cubicBezTo>
                <a:cubicBezTo>
                  <a:pt x="1058" y="1133"/>
                  <a:pt x="1058" y="1133"/>
                  <a:pt x="1059" y="1133"/>
                </a:cubicBezTo>
                <a:cubicBezTo>
                  <a:pt x="1059" y="1134"/>
                  <a:pt x="1059" y="1133"/>
                  <a:pt x="1060" y="1134"/>
                </a:cubicBezTo>
                <a:cubicBezTo>
                  <a:pt x="1061" y="1136"/>
                  <a:pt x="1061" y="1138"/>
                  <a:pt x="1063" y="1140"/>
                </a:cubicBezTo>
                <a:cubicBezTo>
                  <a:pt x="1064" y="1141"/>
                  <a:pt x="1066" y="1143"/>
                  <a:pt x="1068" y="1144"/>
                </a:cubicBezTo>
                <a:cubicBezTo>
                  <a:pt x="1069" y="1146"/>
                  <a:pt x="1071" y="1147"/>
                  <a:pt x="1072" y="1148"/>
                </a:cubicBezTo>
                <a:cubicBezTo>
                  <a:pt x="1073" y="1149"/>
                  <a:pt x="1074" y="1150"/>
                  <a:pt x="1076" y="1150"/>
                </a:cubicBezTo>
                <a:cubicBezTo>
                  <a:pt x="1076" y="1150"/>
                  <a:pt x="1077" y="1150"/>
                  <a:pt x="1077" y="1151"/>
                </a:cubicBezTo>
                <a:cubicBezTo>
                  <a:pt x="1079" y="1152"/>
                  <a:pt x="1080" y="1153"/>
                  <a:pt x="1081" y="1154"/>
                </a:cubicBezTo>
                <a:cubicBezTo>
                  <a:pt x="1082" y="1155"/>
                  <a:pt x="1083" y="1156"/>
                  <a:pt x="1084" y="1157"/>
                </a:cubicBezTo>
                <a:cubicBezTo>
                  <a:pt x="1084" y="1158"/>
                  <a:pt x="1085" y="1158"/>
                  <a:pt x="1085" y="1158"/>
                </a:cubicBezTo>
                <a:cubicBezTo>
                  <a:pt x="1086" y="1158"/>
                  <a:pt x="1086" y="1158"/>
                  <a:pt x="1086" y="1158"/>
                </a:cubicBezTo>
                <a:cubicBezTo>
                  <a:pt x="1086" y="1158"/>
                  <a:pt x="1086" y="1158"/>
                  <a:pt x="1087" y="1158"/>
                </a:cubicBezTo>
                <a:cubicBezTo>
                  <a:pt x="1087" y="1158"/>
                  <a:pt x="1087" y="1159"/>
                  <a:pt x="1087" y="1160"/>
                </a:cubicBezTo>
                <a:cubicBezTo>
                  <a:pt x="1087" y="1161"/>
                  <a:pt x="1089" y="1162"/>
                  <a:pt x="1089" y="1163"/>
                </a:cubicBezTo>
                <a:cubicBezTo>
                  <a:pt x="1090" y="1164"/>
                  <a:pt x="1091" y="1165"/>
                  <a:pt x="1092" y="1166"/>
                </a:cubicBezTo>
                <a:cubicBezTo>
                  <a:pt x="1092" y="1166"/>
                  <a:pt x="1092" y="1167"/>
                  <a:pt x="1092" y="1167"/>
                </a:cubicBezTo>
                <a:cubicBezTo>
                  <a:pt x="1094" y="1169"/>
                  <a:pt x="1095" y="1170"/>
                  <a:pt x="1097" y="1171"/>
                </a:cubicBezTo>
                <a:cubicBezTo>
                  <a:pt x="1098" y="1172"/>
                  <a:pt x="1098" y="1173"/>
                  <a:pt x="1099" y="1174"/>
                </a:cubicBezTo>
                <a:cubicBezTo>
                  <a:pt x="1100" y="1175"/>
                  <a:pt x="1101" y="1176"/>
                  <a:pt x="1101" y="1178"/>
                </a:cubicBezTo>
                <a:cubicBezTo>
                  <a:pt x="1101" y="1179"/>
                  <a:pt x="1102" y="1179"/>
                  <a:pt x="1102" y="1180"/>
                </a:cubicBezTo>
                <a:cubicBezTo>
                  <a:pt x="1103" y="1181"/>
                  <a:pt x="1105" y="1183"/>
                  <a:pt x="1106" y="1184"/>
                </a:cubicBezTo>
                <a:cubicBezTo>
                  <a:pt x="1109" y="1188"/>
                  <a:pt x="1113" y="1191"/>
                  <a:pt x="1117" y="1194"/>
                </a:cubicBezTo>
                <a:cubicBezTo>
                  <a:pt x="1117" y="1195"/>
                  <a:pt x="1117" y="1195"/>
                  <a:pt x="1117" y="1195"/>
                </a:cubicBezTo>
                <a:cubicBezTo>
                  <a:pt x="1117" y="1195"/>
                  <a:pt x="1118" y="1196"/>
                  <a:pt x="1118" y="1196"/>
                </a:cubicBezTo>
                <a:cubicBezTo>
                  <a:pt x="1118" y="1197"/>
                  <a:pt x="1118" y="1198"/>
                  <a:pt x="1119" y="1199"/>
                </a:cubicBezTo>
                <a:cubicBezTo>
                  <a:pt x="1119" y="1199"/>
                  <a:pt x="1120" y="1200"/>
                  <a:pt x="1120" y="1201"/>
                </a:cubicBezTo>
                <a:cubicBezTo>
                  <a:pt x="1122" y="1202"/>
                  <a:pt x="1123" y="1203"/>
                  <a:pt x="1124" y="1205"/>
                </a:cubicBezTo>
                <a:cubicBezTo>
                  <a:pt x="1125" y="1206"/>
                  <a:pt x="1126" y="1207"/>
                  <a:pt x="1127" y="1208"/>
                </a:cubicBezTo>
                <a:cubicBezTo>
                  <a:pt x="1128" y="1209"/>
                  <a:pt x="1128" y="1209"/>
                  <a:pt x="1129" y="1210"/>
                </a:cubicBezTo>
                <a:cubicBezTo>
                  <a:pt x="1129" y="1210"/>
                  <a:pt x="1130" y="1211"/>
                  <a:pt x="1130" y="1211"/>
                </a:cubicBezTo>
                <a:cubicBezTo>
                  <a:pt x="1131" y="1212"/>
                  <a:pt x="1134" y="1211"/>
                  <a:pt x="1135" y="1212"/>
                </a:cubicBezTo>
                <a:cubicBezTo>
                  <a:pt x="1135" y="1213"/>
                  <a:pt x="1133" y="1213"/>
                  <a:pt x="1133" y="1214"/>
                </a:cubicBezTo>
                <a:cubicBezTo>
                  <a:pt x="1133" y="1215"/>
                  <a:pt x="1134" y="1217"/>
                  <a:pt x="1135" y="1217"/>
                </a:cubicBezTo>
                <a:cubicBezTo>
                  <a:pt x="1135" y="1217"/>
                  <a:pt x="1135" y="1217"/>
                  <a:pt x="1135" y="1216"/>
                </a:cubicBezTo>
                <a:cubicBezTo>
                  <a:pt x="1134" y="1216"/>
                  <a:pt x="1134" y="1215"/>
                  <a:pt x="1135" y="1215"/>
                </a:cubicBezTo>
                <a:cubicBezTo>
                  <a:pt x="1135" y="1215"/>
                  <a:pt x="1135" y="1215"/>
                  <a:pt x="1135" y="1215"/>
                </a:cubicBezTo>
                <a:cubicBezTo>
                  <a:pt x="1136" y="1215"/>
                  <a:pt x="1137" y="1216"/>
                  <a:pt x="1138" y="1217"/>
                </a:cubicBezTo>
                <a:cubicBezTo>
                  <a:pt x="1138" y="1218"/>
                  <a:pt x="1138" y="1218"/>
                  <a:pt x="1139" y="1219"/>
                </a:cubicBezTo>
                <a:cubicBezTo>
                  <a:pt x="1139" y="1219"/>
                  <a:pt x="1140" y="1219"/>
                  <a:pt x="1140" y="1220"/>
                </a:cubicBezTo>
                <a:cubicBezTo>
                  <a:pt x="1140" y="1220"/>
                  <a:pt x="1140" y="1221"/>
                  <a:pt x="1140" y="1221"/>
                </a:cubicBezTo>
                <a:cubicBezTo>
                  <a:pt x="1140" y="1221"/>
                  <a:pt x="1141" y="1221"/>
                  <a:pt x="1141" y="1221"/>
                </a:cubicBezTo>
                <a:cubicBezTo>
                  <a:pt x="1141" y="1221"/>
                  <a:pt x="1141" y="1221"/>
                  <a:pt x="1141" y="1221"/>
                </a:cubicBezTo>
                <a:cubicBezTo>
                  <a:pt x="1143" y="1219"/>
                  <a:pt x="1144" y="1221"/>
                  <a:pt x="1144" y="1222"/>
                </a:cubicBezTo>
                <a:cubicBezTo>
                  <a:pt x="1145" y="1224"/>
                  <a:pt x="1146" y="1226"/>
                  <a:pt x="1147" y="1228"/>
                </a:cubicBezTo>
                <a:cubicBezTo>
                  <a:pt x="1147" y="1230"/>
                  <a:pt x="1148" y="1231"/>
                  <a:pt x="1150" y="1232"/>
                </a:cubicBezTo>
                <a:cubicBezTo>
                  <a:pt x="1151" y="1234"/>
                  <a:pt x="1152" y="1235"/>
                  <a:pt x="1153" y="1236"/>
                </a:cubicBezTo>
                <a:cubicBezTo>
                  <a:pt x="1154" y="1237"/>
                  <a:pt x="1155" y="1238"/>
                  <a:pt x="1156" y="1239"/>
                </a:cubicBezTo>
                <a:cubicBezTo>
                  <a:pt x="1156" y="1239"/>
                  <a:pt x="1157" y="1241"/>
                  <a:pt x="1158" y="1241"/>
                </a:cubicBezTo>
                <a:cubicBezTo>
                  <a:pt x="1158" y="1241"/>
                  <a:pt x="1158" y="1241"/>
                  <a:pt x="1159" y="1241"/>
                </a:cubicBezTo>
                <a:cubicBezTo>
                  <a:pt x="1159" y="1241"/>
                  <a:pt x="1159" y="1241"/>
                  <a:pt x="1159" y="1241"/>
                </a:cubicBezTo>
                <a:cubicBezTo>
                  <a:pt x="1159" y="1241"/>
                  <a:pt x="1159" y="1240"/>
                  <a:pt x="1159" y="1240"/>
                </a:cubicBezTo>
                <a:cubicBezTo>
                  <a:pt x="1160" y="1240"/>
                  <a:pt x="1161" y="1241"/>
                  <a:pt x="1161" y="1242"/>
                </a:cubicBezTo>
                <a:cubicBezTo>
                  <a:pt x="1161" y="1242"/>
                  <a:pt x="1160" y="1242"/>
                  <a:pt x="1160" y="1242"/>
                </a:cubicBezTo>
                <a:cubicBezTo>
                  <a:pt x="1160" y="1243"/>
                  <a:pt x="1162" y="1244"/>
                  <a:pt x="1162" y="1245"/>
                </a:cubicBezTo>
                <a:cubicBezTo>
                  <a:pt x="1163" y="1246"/>
                  <a:pt x="1163" y="1246"/>
                  <a:pt x="1164" y="1247"/>
                </a:cubicBezTo>
                <a:cubicBezTo>
                  <a:pt x="1164" y="1248"/>
                  <a:pt x="1164" y="1248"/>
                  <a:pt x="1164" y="1248"/>
                </a:cubicBezTo>
                <a:cubicBezTo>
                  <a:pt x="1165" y="1248"/>
                  <a:pt x="1165" y="1248"/>
                  <a:pt x="1165" y="1249"/>
                </a:cubicBezTo>
                <a:cubicBezTo>
                  <a:pt x="1165" y="1249"/>
                  <a:pt x="1166" y="1249"/>
                  <a:pt x="1166" y="1249"/>
                </a:cubicBezTo>
                <a:cubicBezTo>
                  <a:pt x="1166" y="1250"/>
                  <a:pt x="1167" y="1250"/>
                  <a:pt x="1167" y="1250"/>
                </a:cubicBezTo>
                <a:cubicBezTo>
                  <a:pt x="1168" y="1250"/>
                  <a:pt x="1166" y="1247"/>
                  <a:pt x="1166" y="1247"/>
                </a:cubicBezTo>
                <a:cubicBezTo>
                  <a:pt x="1165" y="1247"/>
                  <a:pt x="1164" y="1246"/>
                  <a:pt x="1165" y="1246"/>
                </a:cubicBezTo>
                <a:cubicBezTo>
                  <a:pt x="1166" y="1245"/>
                  <a:pt x="1166" y="1245"/>
                  <a:pt x="1167" y="1246"/>
                </a:cubicBezTo>
                <a:cubicBezTo>
                  <a:pt x="1168" y="1246"/>
                  <a:pt x="1168" y="1247"/>
                  <a:pt x="1169" y="1248"/>
                </a:cubicBezTo>
                <a:cubicBezTo>
                  <a:pt x="1171" y="1250"/>
                  <a:pt x="1172" y="1252"/>
                  <a:pt x="1174" y="1254"/>
                </a:cubicBezTo>
                <a:cubicBezTo>
                  <a:pt x="1176" y="1256"/>
                  <a:pt x="1178" y="1258"/>
                  <a:pt x="1180" y="1260"/>
                </a:cubicBezTo>
                <a:cubicBezTo>
                  <a:pt x="1180" y="1261"/>
                  <a:pt x="1181" y="1261"/>
                  <a:pt x="1182" y="1262"/>
                </a:cubicBezTo>
                <a:cubicBezTo>
                  <a:pt x="1182" y="1263"/>
                  <a:pt x="1183" y="1263"/>
                  <a:pt x="1183" y="1264"/>
                </a:cubicBezTo>
                <a:cubicBezTo>
                  <a:pt x="1183" y="1264"/>
                  <a:pt x="1183" y="1264"/>
                  <a:pt x="1183" y="1264"/>
                </a:cubicBezTo>
                <a:cubicBezTo>
                  <a:pt x="1183" y="1264"/>
                  <a:pt x="1183" y="1265"/>
                  <a:pt x="1184" y="1265"/>
                </a:cubicBezTo>
                <a:cubicBezTo>
                  <a:pt x="1184" y="1266"/>
                  <a:pt x="1182" y="1265"/>
                  <a:pt x="1181" y="1265"/>
                </a:cubicBezTo>
                <a:cubicBezTo>
                  <a:pt x="1181" y="1265"/>
                  <a:pt x="1181" y="1266"/>
                  <a:pt x="1181" y="1267"/>
                </a:cubicBezTo>
                <a:cubicBezTo>
                  <a:pt x="1182" y="1267"/>
                  <a:pt x="1183" y="1266"/>
                  <a:pt x="1184" y="1266"/>
                </a:cubicBezTo>
                <a:cubicBezTo>
                  <a:pt x="1184" y="1267"/>
                  <a:pt x="1184" y="1268"/>
                  <a:pt x="1184" y="1268"/>
                </a:cubicBezTo>
                <a:cubicBezTo>
                  <a:pt x="1184" y="1269"/>
                  <a:pt x="1185" y="1270"/>
                  <a:pt x="1185" y="1270"/>
                </a:cubicBezTo>
                <a:cubicBezTo>
                  <a:pt x="1186" y="1272"/>
                  <a:pt x="1187" y="1273"/>
                  <a:pt x="1188" y="1274"/>
                </a:cubicBezTo>
                <a:cubicBezTo>
                  <a:pt x="1190" y="1276"/>
                  <a:pt x="1193" y="1278"/>
                  <a:pt x="1193" y="1279"/>
                </a:cubicBezTo>
                <a:cubicBezTo>
                  <a:pt x="1195" y="1279"/>
                  <a:pt x="1195" y="1282"/>
                  <a:pt x="1196" y="1283"/>
                </a:cubicBezTo>
                <a:cubicBezTo>
                  <a:pt x="1196" y="1283"/>
                  <a:pt x="1196" y="1283"/>
                  <a:pt x="1197" y="1284"/>
                </a:cubicBezTo>
                <a:cubicBezTo>
                  <a:pt x="1198" y="1283"/>
                  <a:pt x="1198" y="1283"/>
                  <a:pt x="1198" y="1282"/>
                </a:cubicBezTo>
                <a:cubicBezTo>
                  <a:pt x="1199" y="1282"/>
                  <a:pt x="1199" y="1282"/>
                  <a:pt x="1199" y="1282"/>
                </a:cubicBezTo>
                <a:cubicBezTo>
                  <a:pt x="1200" y="1283"/>
                  <a:pt x="1199" y="1284"/>
                  <a:pt x="1200" y="1285"/>
                </a:cubicBezTo>
                <a:cubicBezTo>
                  <a:pt x="1200" y="1286"/>
                  <a:pt x="1201" y="1286"/>
                  <a:pt x="1201" y="1287"/>
                </a:cubicBezTo>
                <a:cubicBezTo>
                  <a:pt x="1202" y="1288"/>
                  <a:pt x="1204" y="1289"/>
                  <a:pt x="1205" y="1290"/>
                </a:cubicBezTo>
                <a:cubicBezTo>
                  <a:pt x="1205" y="1291"/>
                  <a:pt x="1205" y="1291"/>
                  <a:pt x="1206" y="1291"/>
                </a:cubicBezTo>
                <a:cubicBezTo>
                  <a:pt x="1207" y="1291"/>
                  <a:pt x="1207" y="1291"/>
                  <a:pt x="1207" y="1291"/>
                </a:cubicBezTo>
                <a:cubicBezTo>
                  <a:pt x="1209" y="1293"/>
                  <a:pt x="1211" y="1296"/>
                  <a:pt x="1213" y="1299"/>
                </a:cubicBezTo>
                <a:cubicBezTo>
                  <a:pt x="1214" y="1300"/>
                  <a:pt x="1216" y="1301"/>
                  <a:pt x="1217" y="1302"/>
                </a:cubicBezTo>
                <a:cubicBezTo>
                  <a:pt x="1218" y="1303"/>
                  <a:pt x="1218" y="1303"/>
                  <a:pt x="1219" y="1303"/>
                </a:cubicBezTo>
                <a:cubicBezTo>
                  <a:pt x="1219" y="1304"/>
                  <a:pt x="1221" y="1305"/>
                  <a:pt x="1220" y="1305"/>
                </a:cubicBezTo>
                <a:cubicBezTo>
                  <a:pt x="1219" y="1305"/>
                  <a:pt x="1217" y="1304"/>
                  <a:pt x="1217" y="1305"/>
                </a:cubicBezTo>
                <a:cubicBezTo>
                  <a:pt x="1216" y="1306"/>
                  <a:pt x="1218" y="1306"/>
                  <a:pt x="1218" y="1306"/>
                </a:cubicBezTo>
                <a:cubicBezTo>
                  <a:pt x="1219" y="1306"/>
                  <a:pt x="1220" y="1306"/>
                  <a:pt x="1221" y="1307"/>
                </a:cubicBezTo>
                <a:cubicBezTo>
                  <a:pt x="1221" y="1307"/>
                  <a:pt x="1221" y="1307"/>
                  <a:pt x="1221" y="1308"/>
                </a:cubicBezTo>
                <a:cubicBezTo>
                  <a:pt x="1221" y="1308"/>
                  <a:pt x="1221" y="1308"/>
                  <a:pt x="1221" y="1308"/>
                </a:cubicBezTo>
                <a:cubicBezTo>
                  <a:pt x="1222" y="1310"/>
                  <a:pt x="1223" y="1312"/>
                  <a:pt x="1225" y="1313"/>
                </a:cubicBezTo>
                <a:cubicBezTo>
                  <a:pt x="1227" y="1316"/>
                  <a:pt x="1230" y="1319"/>
                  <a:pt x="1233" y="1321"/>
                </a:cubicBezTo>
                <a:cubicBezTo>
                  <a:pt x="1234" y="1322"/>
                  <a:pt x="1236" y="1323"/>
                  <a:pt x="1237" y="1324"/>
                </a:cubicBezTo>
                <a:cubicBezTo>
                  <a:pt x="1238" y="1325"/>
                  <a:pt x="1240" y="1326"/>
                  <a:pt x="1241" y="1327"/>
                </a:cubicBezTo>
                <a:cubicBezTo>
                  <a:pt x="1241" y="1327"/>
                  <a:pt x="1241" y="1327"/>
                  <a:pt x="1242" y="1328"/>
                </a:cubicBezTo>
                <a:cubicBezTo>
                  <a:pt x="1242" y="1328"/>
                  <a:pt x="1242" y="1328"/>
                  <a:pt x="1242" y="1328"/>
                </a:cubicBezTo>
                <a:cubicBezTo>
                  <a:pt x="1242" y="1329"/>
                  <a:pt x="1242" y="1330"/>
                  <a:pt x="1243" y="1330"/>
                </a:cubicBezTo>
                <a:cubicBezTo>
                  <a:pt x="1243" y="1330"/>
                  <a:pt x="1244" y="1330"/>
                  <a:pt x="1244" y="1330"/>
                </a:cubicBezTo>
                <a:cubicBezTo>
                  <a:pt x="1245" y="1330"/>
                  <a:pt x="1245" y="1329"/>
                  <a:pt x="1246" y="1330"/>
                </a:cubicBezTo>
                <a:cubicBezTo>
                  <a:pt x="1246" y="1330"/>
                  <a:pt x="1247" y="1331"/>
                  <a:pt x="1247" y="1332"/>
                </a:cubicBezTo>
                <a:cubicBezTo>
                  <a:pt x="1248" y="1333"/>
                  <a:pt x="1248" y="1334"/>
                  <a:pt x="1249" y="1334"/>
                </a:cubicBezTo>
                <a:cubicBezTo>
                  <a:pt x="1250" y="1334"/>
                  <a:pt x="1251" y="1334"/>
                  <a:pt x="1252" y="1335"/>
                </a:cubicBezTo>
                <a:cubicBezTo>
                  <a:pt x="1253" y="1336"/>
                  <a:pt x="1253" y="1337"/>
                  <a:pt x="1254" y="1337"/>
                </a:cubicBezTo>
                <a:cubicBezTo>
                  <a:pt x="1256" y="1339"/>
                  <a:pt x="1258" y="1342"/>
                  <a:pt x="1259" y="1344"/>
                </a:cubicBezTo>
                <a:cubicBezTo>
                  <a:pt x="1259" y="1345"/>
                  <a:pt x="1260" y="1345"/>
                  <a:pt x="1260" y="1346"/>
                </a:cubicBezTo>
                <a:cubicBezTo>
                  <a:pt x="1260" y="1347"/>
                  <a:pt x="1261" y="1347"/>
                  <a:pt x="1262" y="1348"/>
                </a:cubicBezTo>
                <a:cubicBezTo>
                  <a:pt x="1262" y="1348"/>
                  <a:pt x="1262" y="1348"/>
                  <a:pt x="1262" y="1348"/>
                </a:cubicBezTo>
                <a:cubicBezTo>
                  <a:pt x="1263" y="1350"/>
                  <a:pt x="1265" y="1350"/>
                  <a:pt x="1266" y="1350"/>
                </a:cubicBezTo>
                <a:cubicBezTo>
                  <a:pt x="1266" y="1350"/>
                  <a:pt x="1267" y="1351"/>
                  <a:pt x="1267" y="1351"/>
                </a:cubicBezTo>
                <a:cubicBezTo>
                  <a:pt x="1267" y="1351"/>
                  <a:pt x="1267" y="1352"/>
                  <a:pt x="1267" y="1353"/>
                </a:cubicBezTo>
                <a:cubicBezTo>
                  <a:pt x="1267" y="1353"/>
                  <a:pt x="1268" y="1354"/>
                  <a:pt x="1268" y="1355"/>
                </a:cubicBezTo>
                <a:cubicBezTo>
                  <a:pt x="1268" y="1355"/>
                  <a:pt x="1269" y="1356"/>
                  <a:pt x="1269" y="1356"/>
                </a:cubicBezTo>
                <a:cubicBezTo>
                  <a:pt x="1269" y="1357"/>
                  <a:pt x="1269" y="1356"/>
                  <a:pt x="1270" y="1356"/>
                </a:cubicBezTo>
                <a:cubicBezTo>
                  <a:pt x="1270" y="1356"/>
                  <a:pt x="1270" y="1357"/>
                  <a:pt x="1270" y="1357"/>
                </a:cubicBezTo>
                <a:cubicBezTo>
                  <a:pt x="1270" y="1357"/>
                  <a:pt x="1270" y="1357"/>
                  <a:pt x="1270" y="1358"/>
                </a:cubicBezTo>
                <a:cubicBezTo>
                  <a:pt x="1271" y="1358"/>
                  <a:pt x="1271" y="1358"/>
                  <a:pt x="1272" y="1358"/>
                </a:cubicBezTo>
                <a:cubicBezTo>
                  <a:pt x="1272" y="1358"/>
                  <a:pt x="1273" y="1357"/>
                  <a:pt x="1273" y="1357"/>
                </a:cubicBezTo>
                <a:cubicBezTo>
                  <a:pt x="1273" y="1357"/>
                  <a:pt x="1274" y="1357"/>
                  <a:pt x="1274" y="1358"/>
                </a:cubicBezTo>
                <a:cubicBezTo>
                  <a:pt x="1274" y="1359"/>
                  <a:pt x="1275" y="1359"/>
                  <a:pt x="1275" y="1360"/>
                </a:cubicBezTo>
                <a:cubicBezTo>
                  <a:pt x="1277" y="1362"/>
                  <a:pt x="1279" y="1364"/>
                  <a:pt x="1280" y="1366"/>
                </a:cubicBezTo>
                <a:cubicBezTo>
                  <a:pt x="1281" y="1367"/>
                  <a:pt x="1281" y="1368"/>
                  <a:pt x="1282" y="1369"/>
                </a:cubicBezTo>
                <a:cubicBezTo>
                  <a:pt x="1282" y="1369"/>
                  <a:pt x="1283" y="1370"/>
                  <a:pt x="1283" y="1371"/>
                </a:cubicBezTo>
                <a:cubicBezTo>
                  <a:pt x="1283" y="1372"/>
                  <a:pt x="1284" y="1373"/>
                  <a:pt x="1285" y="1374"/>
                </a:cubicBezTo>
                <a:cubicBezTo>
                  <a:pt x="1285" y="1374"/>
                  <a:pt x="1286" y="1376"/>
                  <a:pt x="1287" y="1376"/>
                </a:cubicBezTo>
                <a:cubicBezTo>
                  <a:pt x="1288" y="1376"/>
                  <a:pt x="1288" y="1376"/>
                  <a:pt x="1289" y="1376"/>
                </a:cubicBezTo>
                <a:cubicBezTo>
                  <a:pt x="1289" y="1376"/>
                  <a:pt x="1289" y="1376"/>
                  <a:pt x="1290" y="1376"/>
                </a:cubicBezTo>
                <a:cubicBezTo>
                  <a:pt x="1290" y="1376"/>
                  <a:pt x="1291" y="1376"/>
                  <a:pt x="1291" y="1376"/>
                </a:cubicBezTo>
                <a:cubicBezTo>
                  <a:pt x="1293" y="1379"/>
                  <a:pt x="1293" y="1383"/>
                  <a:pt x="1295" y="1385"/>
                </a:cubicBezTo>
                <a:cubicBezTo>
                  <a:pt x="1296" y="1385"/>
                  <a:pt x="1296" y="1385"/>
                  <a:pt x="1297" y="1385"/>
                </a:cubicBezTo>
                <a:cubicBezTo>
                  <a:pt x="1299" y="1385"/>
                  <a:pt x="1299" y="1386"/>
                  <a:pt x="1300" y="1387"/>
                </a:cubicBezTo>
                <a:cubicBezTo>
                  <a:pt x="1301" y="1388"/>
                  <a:pt x="1302" y="1388"/>
                  <a:pt x="1302" y="1389"/>
                </a:cubicBezTo>
                <a:cubicBezTo>
                  <a:pt x="1303" y="1389"/>
                  <a:pt x="1303" y="1389"/>
                  <a:pt x="1304" y="1389"/>
                </a:cubicBezTo>
                <a:cubicBezTo>
                  <a:pt x="1305" y="1389"/>
                  <a:pt x="1305" y="1389"/>
                  <a:pt x="1305" y="1390"/>
                </a:cubicBezTo>
                <a:cubicBezTo>
                  <a:pt x="1306" y="1391"/>
                  <a:pt x="1307" y="1391"/>
                  <a:pt x="1308" y="1392"/>
                </a:cubicBezTo>
                <a:cubicBezTo>
                  <a:pt x="1308" y="1393"/>
                  <a:pt x="1308" y="1394"/>
                  <a:pt x="1308" y="1394"/>
                </a:cubicBezTo>
                <a:cubicBezTo>
                  <a:pt x="1309" y="1395"/>
                  <a:pt x="1310" y="1396"/>
                  <a:pt x="1310" y="1397"/>
                </a:cubicBezTo>
                <a:cubicBezTo>
                  <a:pt x="1311" y="1398"/>
                  <a:pt x="1312" y="1399"/>
                  <a:pt x="1313" y="1400"/>
                </a:cubicBezTo>
                <a:cubicBezTo>
                  <a:pt x="1314" y="1400"/>
                  <a:pt x="1315" y="1401"/>
                  <a:pt x="1316" y="1402"/>
                </a:cubicBezTo>
                <a:cubicBezTo>
                  <a:pt x="1316" y="1403"/>
                  <a:pt x="1317" y="1404"/>
                  <a:pt x="1318" y="1404"/>
                </a:cubicBezTo>
                <a:cubicBezTo>
                  <a:pt x="1319" y="1405"/>
                  <a:pt x="1320" y="1403"/>
                  <a:pt x="1321" y="1404"/>
                </a:cubicBezTo>
                <a:cubicBezTo>
                  <a:pt x="1322" y="1405"/>
                  <a:pt x="1322" y="1406"/>
                  <a:pt x="1323" y="1407"/>
                </a:cubicBezTo>
                <a:cubicBezTo>
                  <a:pt x="1324" y="1409"/>
                  <a:pt x="1325" y="1410"/>
                  <a:pt x="1326" y="1411"/>
                </a:cubicBezTo>
                <a:cubicBezTo>
                  <a:pt x="1327" y="1412"/>
                  <a:pt x="1328" y="1413"/>
                  <a:pt x="1330" y="1414"/>
                </a:cubicBezTo>
                <a:cubicBezTo>
                  <a:pt x="1333" y="1417"/>
                  <a:pt x="1336" y="1420"/>
                  <a:pt x="1339" y="1423"/>
                </a:cubicBezTo>
                <a:cubicBezTo>
                  <a:pt x="1339" y="1424"/>
                  <a:pt x="1340" y="1425"/>
                  <a:pt x="1341" y="1426"/>
                </a:cubicBezTo>
                <a:cubicBezTo>
                  <a:pt x="1341" y="1427"/>
                  <a:pt x="1342" y="1428"/>
                  <a:pt x="1342" y="1429"/>
                </a:cubicBezTo>
                <a:cubicBezTo>
                  <a:pt x="1342" y="1429"/>
                  <a:pt x="1343" y="1429"/>
                  <a:pt x="1343" y="1429"/>
                </a:cubicBezTo>
                <a:cubicBezTo>
                  <a:pt x="1343" y="1429"/>
                  <a:pt x="1343" y="1429"/>
                  <a:pt x="1343" y="1429"/>
                </a:cubicBezTo>
                <a:cubicBezTo>
                  <a:pt x="1344" y="1429"/>
                  <a:pt x="1345" y="1430"/>
                  <a:pt x="1345" y="1431"/>
                </a:cubicBezTo>
                <a:cubicBezTo>
                  <a:pt x="1346" y="1432"/>
                  <a:pt x="1347" y="1432"/>
                  <a:pt x="1347" y="1433"/>
                </a:cubicBezTo>
                <a:cubicBezTo>
                  <a:pt x="1348" y="1434"/>
                  <a:pt x="1350" y="1436"/>
                  <a:pt x="1351" y="1437"/>
                </a:cubicBezTo>
                <a:cubicBezTo>
                  <a:pt x="1351" y="1437"/>
                  <a:pt x="1353" y="1438"/>
                  <a:pt x="1353" y="1439"/>
                </a:cubicBezTo>
                <a:cubicBezTo>
                  <a:pt x="1354" y="1439"/>
                  <a:pt x="1353" y="1440"/>
                  <a:pt x="1353" y="1440"/>
                </a:cubicBezTo>
                <a:cubicBezTo>
                  <a:pt x="1353" y="1441"/>
                  <a:pt x="1353" y="1441"/>
                  <a:pt x="1354" y="1441"/>
                </a:cubicBezTo>
                <a:cubicBezTo>
                  <a:pt x="1354" y="1441"/>
                  <a:pt x="1354" y="1440"/>
                  <a:pt x="1354" y="1440"/>
                </a:cubicBezTo>
                <a:cubicBezTo>
                  <a:pt x="1354" y="1438"/>
                  <a:pt x="1358" y="1439"/>
                  <a:pt x="1358" y="1441"/>
                </a:cubicBezTo>
                <a:cubicBezTo>
                  <a:pt x="1358" y="1441"/>
                  <a:pt x="1357" y="1442"/>
                  <a:pt x="1357" y="1443"/>
                </a:cubicBezTo>
                <a:cubicBezTo>
                  <a:pt x="1357" y="1443"/>
                  <a:pt x="1358" y="1444"/>
                  <a:pt x="1358" y="1444"/>
                </a:cubicBezTo>
                <a:cubicBezTo>
                  <a:pt x="1359" y="1444"/>
                  <a:pt x="1360" y="1445"/>
                  <a:pt x="1360" y="1446"/>
                </a:cubicBezTo>
                <a:cubicBezTo>
                  <a:pt x="1360" y="1447"/>
                  <a:pt x="1361" y="1448"/>
                  <a:pt x="1361" y="1448"/>
                </a:cubicBezTo>
                <a:cubicBezTo>
                  <a:pt x="1362" y="1449"/>
                  <a:pt x="1362" y="1448"/>
                  <a:pt x="1362" y="1449"/>
                </a:cubicBezTo>
                <a:cubicBezTo>
                  <a:pt x="1364" y="1449"/>
                  <a:pt x="1363" y="1450"/>
                  <a:pt x="1364" y="1450"/>
                </a:cubicBezTo>
                <a:cubicBezTo>
                  <a:pt x="1364" y="1451"/>
                  <a:pt x="1365" y="1451"/>
                  <a:pt x="1366" y="1451"/>
                </a:cubicBezTo>
                <a:cubicBezTo>
                  <a:pt x="1367" y="1452"/>
                  <a:pt x="1367" y="1452"/>
                  <a:pt x="1368" y="1452"/>
                </a:cubicBezTo>
                <a:cubicBezTo>
                  <a:pt x="1368" y="1452"/>
                  <a:pt x="1368" y="1452"/>
                  <a:pt x="1368" y="1452"/>
                </a:cubicBezTo>
                <a:cubicBezTo>
                  <a:pt x="1368" y="1453"/>
                  <a:pt x="1368" y="1453"/>
                  <a:pt x="1368" y="1454"/>
                </a:cubicBezTo>
                <a:cubicBezTo>
                  <a:pt x="1368" y="1455"/>
                  <a:pt x="1370" y="1456"/>
                  <a:pt x="1371" y="1457"/>
                </a:cubicBezTo>
                <a:cubicBezTo>
                  <a:pt x="1382" y="1468"/>
                  <a:pt x="1387" y="1473"/>
                  <a:pt x="1388" y="1473"/>
                </a:cubicBezTo>
                <a:cubicBezTo>
                  <a:pt x="1388" y="1473"/>
                  <a:pt x="1394" y="1479"/>
                  <a:pt x="1395" y="1481"/>
                </a:cubicBezTo>
                <a:cubicBezTo>
                  <a:pt x="1395" y="1482"/>
                  <a:pt x="1396" y="1483"/>
                  <a:pt x="1396" y="1484"/>
                </a:cubicBezTo>
                <a:cubicBezTo>
                  <a:pt x="1397" y="1485"/>
                  <a:pt x="1397" y="1485"/>
                  <a:pt x="1397" y="1486"/>
                </a:cubicBezTo>
                <a:cubicBezTo>
                  <a:pt x="1398" y="1487"/>
                  <a:pt x="1398" y="1487"/>
                  <a:pt x="1399" y="1488"/>
                </a:cubicBezTo>
                <a:cubicBezTo>
                  <a:pt x="1399" y="1488"/>
                  <a:pt x="1399" y="1488"/>
                  <a:pt x="1399" y="1488"/>
                </a:cubicBezTo>
                <a:cubicBezTo>
                  <a:pt x="1399" y="1489"/>
                  <a:pt x="1399" y="1489"/>
                  <a:pt x="1399" y="1489"/>
                </a:cubicBezTo>
                <a:cubicBezTo>
                  <a:pt x="1399" y="1490"/>
                  <a:pt x="1399" y="1491"/>
                  <a:pt x="1400" y="1491"/>
                </a:cubicBezTo>
                <a:cubicBezTo>
                  <a:pt x="1400" y="1492"/>
                  <a:pt x="1401" y="1492"/>
                  <a:pt x="1402" y="1493"/>
                </a:cubicBezTo>
                <a:cubicBezTo>
                  <a:pt x="1404" y="1493"/>
                  <a:pt x="1405" y="1494"/>
                  <a:pt x="1406" y="1496"/>
                </a:cubicBezTo>
                <a:cubicBezTo>
                  <a:pt x="1405" y="1496"/>
                  <a:pt x="1405" y="1497"/>
                  <a:pt x="1406" y="1497"/>
                </a:cubicBezTo>
                <a:cubicBezTo>
                  <a:pt x="1406" y="1498"/>
                  <a:pt x="1407" y="1498"/>
                  <a:pt x="1408" y="1498"/>
                </a:cubicBezTo>
                <a:cubicBezTo>
                  <a:pt x="1409" y="1498"/>
                  <a:pt x="1409" y="1499"/>
                  <a:pt x="1410" y="1499"/>
                </a:cubicBezTo>
                <a:cubicBezTo>
                  <a:pt x="1411" y="1500"/>
                  <a:pt x="1412" y="1501"/>
                  <a:pt x="1413" y="1502"/>
                </a:cubicBezTo>
                <a:cubicBezTo>
                  <a:pt x="1416" y="1506"/>
                  <a:pt x="1420" y="1509"/>
                  <a:pt x="1421" y="1510"/>
                </a:cubicBezTo>
                <a:cubicBezTo>
                  <a:pt x="1422" y="1511"/>
                  <a:pt x="1423" y="1512"/>
                  <a:pt x="1424" y="1513"/>
                </a:cubicBezTo>
                <a:cubicBezTo>
                  <a:pt x="1425" y="1514"/>
                  <a:pt x="1425" y="1514"/>
                  <a:pt x="1426" y="1514"/>
                </a:cubicBezTo>
                <a:cubicBezTo>
                  <a:pt x="1427" y="1514"/>
                  <a:pt x="1427" y="1514"/>
                  <a:pt x="1428" y="1514"/>
                </a:cubicBezTo>
                <a:cubicBezTo>
                  <a:pt x="1429" y="1515"/>
                  <a:pt x="1430" y="1517"/>
                  <a:pt x="1431" y="1518"/>
                </a:cubicBezTo>
                <a:cubicBezTo>
                  <a:pt x="1431" y="1519"/>
                  <a:pt x="1431" y="1520"/>
                  <a:pt x="1432" y="1520"/>
                </a:cubicBezTo>
                <a:cubicBezTo>
                  <a:pt x="1433" y="1521"/>
                  <a:pt x="1433" y="1521"/>
                  <a:pt x="1434" y="1522"/>
                </a:cubicBezTo>
                <a:cubicBezTo>
                  <a:pt x="1435" y="1524"/>
                  <a:pt x="1437" y="1525"/>
                  <a:pt x="1439" y="1527"/>
                </a:cubicBezTo>
                <a:cubicBezTo>
                  <a:pt x="1442" y="1530"/>
                  <a:pt x="1447" y="1535"/>
                  <a:pt x="1452" y="1540"/>
                </a:cubicBezTo>
                <a:cubicBezTo>
                  <a:pt x="1462" y="1550"/>
                  <a:pt x="1473" y="1561"/>
                  <a:pt x="1476" y="1564"/>
                </a:cubicBezTo>
                <a:cubicBezTo>
                  <a:pt x="1477" y="1565"/>
                  <a:pt x="1478" y="1566"/>
                  <a:pt x="1479" y="1567"/>
                </a:cubicBezTo>
                <a:cubicBezTo>
                  <a:pt x="1480" y="1568"/>
                  <a:pt x="1481" y="1569"/>
                  <a:pt x="1482" y="1570"/>
                </a:cubicBezTo>
                <a:cubicBezTo>
                  <a:pt x="1482" y="1570"/>
                  <a:pt x="1483" y="1569"/>
                  <a:pt x="1483" y="1570"/>
                </a:cubicBezTo>
                <a:cubicBezTo>
                  <a:pt x="1483" y="1570"/>
                  <a:pt x="1483" y="1570"/>
                  <a:pt x="1483" y="1571"/>
                </a:cubicBezTo>
                <a:cubicBezTo>
                  <a:pt x="1483" y="1571"/>
                  <a:pt x="1483" y="1571"/>
                  <a:pt x="1483" y="1571"/>
                </a:cubicBezTo>
                <a:cubicBezTo>
                  <a:pt x="1484" y="1572"/>
                  <a:pt x="1485" y="1573"/>
                  <a:pt x="1486" y="1574"/>
                </a:cubicBezTo>
                <a:cubicBezTo>
                  <a:pt x="1487" y="1575"/>
                  <a:pt x="1488" y="1576"/>
                  <a:pt x="1488" y="1577"/>
                </a:cubicBezTo>
                <a:cubicBezTo>
                  <a:pt x="1489" y="1578"/>
                  <a:pt x="1490" y="1579"/>
                  <a:pt x="1491" y="1579"/>
                </a:cubicBezTo>
                <a:cubicBezTo>
                  <a:pt x="1491" y="1580"/>
                  <a:pt x="1491" y="1580"/>
                  <a:pt x="1492" y="1580"/>
                </a:cubicBezTo>
                <a:cubicBezTo>
                  <a:pt x="1494" y="1580"/>
                  <a:pt x="1495" y="1581"/>
                  <a:pt x="1496" y="1583"/>
                </a:cubicBezTo>
                <a:cubicBezTo>
                  <a:pt x="1496" y="1583"/>
                  <a:pt x="1496" y="1583"/>
                  <a:pt x="1496" y="1583"/>
                </a:cubicBezTo>
                <a:cubicBezTo>
                  <a:pt x="1496" y="1584"/>
                  <a:pt x="1496" y="1584"/>
                  <a:pt x="1495" y="1584"/>
                </a:cubicBezTo>
                <a:cubicBezTo>
                  <a:pt x="1496" y="1586"/>
                  <a:pt x="1497" y="1587"/>
                  <a:pt x="1499" y="1588"/>
                </a:cubicBezTo>
                <a:cubicBezTo>
                  <a:pt x="1500" y="1589"/>
                  <a:pt x="1502" y="1590"/>
                  <a:pt x="1503" y="1592"/>
                </a:cubicBezTo>
                <a:cubicBezTo>
                  <a:pt x="1504" y="1593"/>
                  <a:pt x="1505" y="1595"/>
                  <a:pt x="1506" y="1596"/>
                </a:cubicBezTo>
                <a:cubicBezTo>
                  <a:pt x="1508" y="1597"/>
                  <a:pt x="1511" y="1601"/>
                  <a:pt x="1515" y="1604"/>
                </a:cubicBezTo>
                <a:cubicBezTo>
                  <a:pt x="1516" y="1605"/>
                  <a:pt x="1517" y="1607"/>
                  <a:pt x="1518" y="1608"/>
                </a:cubicBezTo>
                <a:cubicBezTo>
                  <a:pt x="1519" y="1609"/>
                  <a:pt x="1520" y="1610"/>
                  <a:pt x="1522" y="1610"/>
                </a:cubicBezTo>
                <a:cubicBezTo>
                  <a:pt x="1522" y="1611"/>
                  <a:pt x="1523" y="1611"/>
                  <a:pt x="1523" y="1611"/>
                </a:cubicBezTo>
                <a:cubicBezTo>
                  <a:pt x="1524" y="1611"/>
                  <a:pt x="1524" y="1612"/>
                  <a:pt x="1525" y="1613"/>
                </a:cubicBezTo>
                <a:cubicBezTo>
                  <a:pt x="1526" y="1616"/>
                  <a:pt x="1528" y="1617"/>
                  <a:pt x="1529" y="1619"/>
                </a:cubicBezTo>
                <a:cubicBezTo>
                  <a:pt x="1531" y="1621"/>
                  <a:pt x="1533" y="1623"/>
                  <a:pt x="1535" y="1625"/>
                </a:cubicBezTo>
                <a:cubicBezTo>
                  <a:pt x="1537" y="1627"/>
                  <a:pt x="1539" y="1629"/>
                  <a:pt x="1541" y="1631"/>
                </a:cubicBezTo>
                <a:cubicBezTo>
                  <a:pt x="1542" y="1632"/>
                  <a:pt x="1542" y="1633"/>
                  <a:pt x="1543" y="1634"/>
                </a:cubicBezTo>
                <a:cubicBezTo>
                  <a:pt x="1544" y="1634"/>
                  <a:pt x="1545" y="1636"/>
                  <a:pt x="1546" y="1636"/>
                </a:cubicBezTo>
                <a:cubicBezTo>
                  <a:pt x="1548" y="1637"/>
                  <a:pt x="1549" y="1637"/>
                  <a:pt x="1550" y="1638"/>
                </a:cubicBezTo>
                <a:cubicBezTo>
                  <a:pt x="1552" y="1640"/>
                  <a:pt x="1553" y="1642"/>
                  <a:pt x="1554" y="1644"/>
                </a:cubicBezTo>
                <a:cubicBezTo>
                  <a:pt x="1556" y="1645"/>
                  <a:pt x="1557" y="1647"/>
                  <a:pt x="1558" y="1649"/>
                </a:cubicBezTo>
                <a:cubicBezTo>
                  <a:pt x="1562" y="1652"/>
                  <a:pt x="1565" y="1656"/>
                  <a:pt x="1568" y="1659"/>
                </a:cubicBezTo>
                <a:cubicBezTo>
                  <a:pt x="1571" y="1662"/>
                  <a:pt x="1573" y="1664"/>
                  <a:pt x="1576" y="1667"/>
                </a:cubicBezTo>
                <a:cubicBezTo>
                  <a:pt x="1578" y="1669"/>
                  <a:pt x="1580" y="1671"/>
                  <a:pt x="1583" y="1673"/>
                </a:cubicBezTo>
                <a:cubicBezTo>
                  <a:pt x="1583" y="1673"/>
                  <a:pt x="1584" y="1674"/>
                  <a:pt x="1584" y="1674"/>
                </a:cubicBezTo>
                <a:cubicBezTo>
                  <a:pt x="1585" y="1675"/>
                  <a:pt x="1585" y="1675"/>
                  <a:pt x="1585" y="1675"/>
                </a:cubicBezTo>
                <a:cubicBezTo>
                  <a:pt x="1586" y="1676"/>
                  <a:pt x="1586" y="1676"/>
                  <a:pt x="1587" y="1676"/>
                </a:cubicBezTo>
                <a:cubicBezTo>
                  <a:pt x="1587" y="1676"/>
                  <a:pt x="1587" y="1676"/>
                  <a:pt x="1587" y="1677"/>
                </a:cubicBezTo>
                <a:cubicBezTo>
                  <a:pt x="1587" y="1678"/>
                  <a:pt x="1589" y="1680"/>
                  <a:pt x="1589" y="1681"/>
                </a:cubicBezTo>
                <a:cubicBezTo>
                  <a:pt x="1590" y="1682"/>
                  <a:pt x="1591" y="1684"/>
                  <a:pt x="1592" y="1684"/>
                </a:cubicBezTo>
                <a:cubicBezTo>
                  <a:pt x="1592" y="1684"/>
                  <a:pt x="1592" y="1684"/>
                  <a:pt x="1592" y="1684"/>
                </a:cubicBezTo>
                <a:cubicBezTo>
                  <a:pt x="1593" y="1684"/>
                  <a:pt x="1593" y="1684"/>
                  <a:pt x="1593" y="1684"/>
                </a:cubicBezTo>
                <a:cubicBezTo>
                  <a:pt x="1594" y="1685"/>
                  <a:pt x="1595" y="1686"/>
                  <a:pt x="1596" y="1687"/>
                </a:cubicBezTo>
                <a:cubicBezTo>
                  <a:pt x="1597" y="1689"/>
                  <a:pt x="1600" y="1692"/>
                  <a:pt x="1602" y="1694"/>
                </a:cubicBezTo>
                <a:cubicBezTo>
                  <a:pt x="1605" y="1697"/>
                  <a:pt x="1612" y="1705"/>
                  <a:pt x="1617" y="1709"/>
                </a:cubicBezTo>
                <a:cubicBezTo>
                  <a:pt x="1618" y="1710"/>
                  <a:pt x="1620" y="1712"/>
                  <a:pt x="1622" y="1714"/>
                </a:cubicBezTo>
                <a:cubicBezTo>
                  <a:pt x="1623" y="1715"/>
                  <a:pt x="1625" y="1716"/>
                  <a:pt x="1625" y="1718"/>
                </a:cubicBezTo>
                <a:cubicBezTo>
                  <a:pt x="1626" y="1719"/>
                  <a:pt x="1626" y="1720"/>
                  <a:pt x="1626" y="1720"/>
                </a:cubicBezTo>
                <a:cubicBezTo>
                  <a:pt x="1627" y="1721"/>
                  <a:pt x="1628" y="1721"/>
                  <a:pt x="1628" y="1722"/>
                </a:cubicBezTo>
                <a:cubicBezTo>
                  <a:pt x="1630" y="1723"/>
                  <a:pt x="1632" y="1725"/>
                  <a:pt x="1633" y="1727"/>
                </a:cubicBezTo>
                <a:cubicBezTo>
                  <a:pt x="1633" y="1727"/>
                  <a:pt x="1634" y="1728"/>
                  <a:pt x="1634" y="1729"/>
                </a:cubicBezTo>
                <a:cubicBezTo>
                  <a:pt x="1634" y="1729"/>
                  <a:pt x="1635" y="1730"/>
                  <a:pt x="1635" y="1730"/>
                </a:cubicBezTo>
                <a:cubicBezTo>
                  <a:pt x="1635" y="1730"/>
                  <a:pt x="1635" y="1730"/>
                  <a:pt x="1636" y="1730"/>
                </a:cubicBezTo>
                <a:cubicBezTo>
                  <a:pt x="1637" y="1730"/>
                  <a:pt x="1637" y="1731"/>
                  <a:pt x="1638" y="1732"/>
                </a:cubicBezTo>
                <a:cubicBezTo>
                  <a:pt x="1639" y="1733"/>
                  <a:pt x="1640" y="1734"/>
                  <a:pt x="1641" y="1735"/>
                </a:cubicBezTo>
                <a:cubicBezTo>
                  <a:pt x="1642" y="1736"/>
                  <a:pt x="1644" y="1738"/>
                  <a:pt x="1646" y="1740"/>
                </a:cubicBezTo>
                <a:cubicBezTo>
                  <a:pt x="1649" y="1744"/>
                  <a:pt x="1653" y="1747"/>
                  <a:pt x="1656" y="1751"/>
                </a:cubicBezTo>
                <a:cubicBezTo>
                  <a:pt x="1657" y="1751"/>
                  <a:pt x="1657" y="1751"/>
                  <a:pt x="1658" y="1751"/>
                </a:cubicBezTo>
                <a:cubicBezTo>
                  <a:pt x="1659" y="1751"/>
                  <a:pt x="1659" y="1751"/>
                  <a:pt x="1660" y="1752"/>
                </a:cubicBezTo>
                <a:cubicBezTo>
                  <a:pt x="1660" y="1752"/>
                  <a:pt x="1660" y="1752"/>
                  <a:pt x="1660" y="1752"/>
                </a:cubicBezTo>
                <a:cubicBezTo>
                  <a:pt x="1661" y="1753"/>
                  <a:pt x="1661" y="1754"/>
                  <a:pt x="1661" y="1754"/>
                </a:cubicBezTo>
                <a:cubicBezTo>
                  <a:pt x="1662" y="1755"/>
                  <a:pt x="1662" y="1756"/>
                  <a:pt x="1663" y="1757"/>
                </a:cubicBezTo>
                <a:cubicBezTo>
                  <a:pt x="1664" y="1758"/>
                  <a:pt x="1665" y="1760"/>
                  <a:pt x="1666" y="1760"/>
                </a:cubicBezTo>
                <a:cubicBezTo>
                  <a:pt x="1666" y="1760"/>
                  <a:pt x="1667" y="1760"/>
                  <a:pt x="1667" y="1760"/>
                </a:cubicBezTo>
                <a:cubicBezTo>
                  <a:pt x="1667" y="1760"/>
                  <a:pt x="1667" y="1760"/>
                  <a:pt x="1668" y="1760"/>
                </a:cubicBezTo>
                <a:cubicBezTo>
                  <a:pt x="1668" y="1760"/>
                  <a:pt x="1668" y="1761"/>
                  <a:pt x="1668" y="1761"/>
                </a:cubicBezTo>
                <a:cubicBezTo>
                  <a:pt x="1667" y="1763"/>
                  <a:pt x="1669" y="1764"/>
                  <a:pt x="1670" y="1765"/>
                </a:cubicBezTo>
                <a:cubicBezTo>
                  <a:pt x="1671" y="1766"/>
                  <a:pt x="1671" y="1768"/>
                  <a:pt x="1672" y="1769"/>
                </a:cubicBezTo>
                <a:cubicBezTo>
                  <a:pt x="1672" y="1769"/>
                  <a:pt x="1672" y="1769"/>
                  <a:pt x="1672" y="1769"/>
                </a:cubicBezTo>
                <a:cubicBezTo>
                  <a:pt x="1673" y="1770"/>
                  <a:pt x="1673" y="1770"/>
                  <a:pt x="1674" y="1770"/>
                </a:cubicBezTo>
                <a:cubicBezTo>
                  <a:pt x="1674" y="1770"/>
                  <a:pt x="1675" y="1770"/>
                  <a:pt x="1675" y="1770"/>
                </a:cubicBezTo>
                <a:cubicBezTo>
                  <a:pt x="1675" y="1770"/>
                  <a:pt x="1675" y="1770"/>
                  <a:pt x="1676" y="1771"/>
                </a:cubicBezTo>
                <a:cubicBezTo>
                  <a:pt x="1676" y="1771"/>
                  <a:pt x="1676" y="1771"/>
                  <a:pt x="1676" y="1772"/>
                </a:cubicBezTo>
                <a:cubicBezTo>
                  <a:pt x="1676" y="1772"/>
                  <a:pt x="1676" y="1772"/>
                  <a:pt x="1675" y="1773"/>
                </a:cubicBezTo>
                <a:cubicBezTo>
                  <a:pt x="1675" y="1773"/>
                  <a:pt x="1675" y="1773"/>
                  <a:pt x="1676" y="1774"/>
                </a:cubicBezTo>
                <a:cubicBezTo>
                  <a:pt x="1677" y="1775"/>
                  <a:pt x="1678" y="1774"/>
                  <a:pt x="1679" y="1775"/>
                </a:cubicBezTo>
                <a:cubicBezTo>
                  <a:pt x="1679" y="1775"/>
                  <a:pt x="1680" y="1776"/>
                  <a:pt x="1680" y="1776"/>
                </a:cubicBezTo>
                <a:cubicBezTo>
                  <a:pt x="1681" y="1777"/>
                  <a:pt x="1682" y="1778"/>
                  <a:pt x="1683" y="1779"/>
                </a:cubicBezTo>
                <a:cubicBezTo>
                  <a:pt x="1686" y="1782"/>
                  <a:pt x="1689" y="1785"/>
                  <a:pt x="1690" y="1787"/>
                </a:cubicBezTo>
                <a:cubicBezTo>
                  <a:pt x="1690" y="1787"/>
                  <a:pt x="1691" y="1788"/>
                  <a:pt x="1691" y="1789"/>
                </a:cubicBezTo>
                <a:cubicBezTo>
                  <a:pt x="1691" y="1789"/>
                  <a:pt x="1691" y="1789"/>
                  <a:pt x="1691" y="1790"/>
                </a:cubicBezTo>
                <a:cubicBezTo>
                  <a:pt x="1691" y="1790"/>
                  <a:pt x="1691" y="1791"/>
                  <a:pt x="1692" y="1791"/>
                </a:cubicBezTo>
                <a:cubicBezTo>
                  <a:pt x="1693" y="1791"/>
                  <a:pt x="1693" y="1790"/>
                  <a:pt x="1694" y="1790"/>
                </a:cubicBezTo>
                <a:cubicBezTo>
                  <a:pt x="1695" y="1791"/>
                  <a:pt x="1696" y="1793"/>
                  <a:pt x="1696" y="1794"/>
                </a:cubicBezTo>
                <a:cubicBezTo>
                  <a:pt x="1698" y="1797"/>
                  <a:pt x="1700" y="1799"/>
                  <a:pt x="1703" y="1801"/>
                </a:cubicBezTo>
                <a:cubicBezTo>
                  <a:pt x="1704" y="1802"/>
                  <a:pt x="1705" y="1803"/>
                  <a:pt x="1706" y="1804"/>
                </a:cubicBezTo>
                <a:cubicBezTo>
                  <a:pt x="1706" y="1805"/>
                  <a:pt x="1707" y="1805"/>
                  <a:pt x="1707" y="1805"/>
                </a:cubicBezTo>
                <a:cubicBezTo>
                  <a:pt x="1707" y="1806"/>
                  <a:pt x="1707" y="1806"/>
                  <a:pt x="1707" y="1807"/>
                </a:cubicBezTo>
                <a:cubicBezTo>
                  <a:pt x="1708" y="1807"/>
                  <a:pt x="1708" y="1807"/>
                  <a:pt x="1708" y="1808"/>
                </a:cubicBezTo>
                <a:cubicBezTo>
                  <a:pt x="1708" y="1808"/>
                  <a:pt x="1709" y="1808"/>
                  <a:pt x="1709" y="1808"/>
                </a:cubicBezTo>
                <a:cubicBezTo>
                  <a:pt x="1709" y="1809"/>
                  <a:pt x="1710" y="1808"/>
                  <a:pt x="1710" y="1808"/>
                </a:cubicBezTo>
                <a:cubicBezTo>
                  <a:pt x="1711" y="1808"/>
                  <a:pt x="1712" y="1808"/>
                  <a:pt x="1712" y="1809"/>
                </a:cubicBezTo>
                <a:cubicBezTo>
                  <a:pt x="1714" y="1810"/>
                  <a:pt x="1715" y="1811"/>
                  <a:pt x="1717" y="1812"/>
                </a:cubicBezTo>
                <a:cubicBezTo>
                  <a:pt x="1718" y="1813"/>
                  <a:pt x="1718" y="1814"/>
                  <a:pt x="1719" y="1815"/>
                </a:cubicBezTo>
                <a:cubicBezTo>
                  <a:pt x="1719" y="1816"/>
                  <a:pt x="1720" y="1817"/>
                  <a:pt x="1720" y="1818"/>
                </a:cubicBezTo>
                <a:cubicBezTo>
                  <a:pt x="1721" y="1819"/>
                  <a:pt x="1721" y="1819"/>
                  <a:pt x="1721" y="1820"/>
                </a:cubicBezTo>
                <a:cubicBezTo>
                  <a:pt x="1721" y="1820"/>
                  <a:pt x="1721" y="1820"/>
                  <a:pt x="1721" y="1820"/>
                </a:cubicBezTo>
                <a:cubicBezTo>
                  <a:pt x="1721" y="1821"/>
                  <a:pt x="1721" y="1821"/>
                  <a:pt x="1722" y="1821"/>
                </a:cubicBezTo>
                <a:cubicBezTo>
                  <a:pt x="1722" y="1821"/>
                  <a:pt x="1722" y="1821"/>
                  <a:pt x="1722" y="1821"/>
                </a:cubicBezTo>
                <a:cubicBezTo>
                  <a:pt x="1723" y="1821"/>
                  <a:pt x="1723" y="1821"/>
                  <a:pt x="1723" y="1821"/>
                </a:cubicBezTo>
                <a:cubicBezTo>
                  <a:pt x="1724" y="1822"/>
                  <a:pt x="1724" y="1824"/>
                  <a:pt x="1725" y="1825"/>
                </a:cubicBezTo>
                <a:cubicBezTo>
                  <a:pt x="1726" y="1825"/>
                  <a:pt x="1726" y="1825"/>
                  <a:pt x="1726" y="1825"/>
                </a:cubicBezTo>
                <a:cubicBezTo>
                  <a:pt x="1726" y="1826"/>
                  <a:pt x="1728" y="1827"/>
                  <a:pt x="1729" y="1827"/>
                </a:cubicBezTo>
                <a:cubicBezTo>
                  <a:pt x="1729" y="1828"/>
                  <a:pt x="1730" y="1828"/>
                  <a:pt x="1731" y="1828"/>
                </a:cubicBezTo>
                <a:cubicBezTo>
                  <a:pt x="1732" y="1828"/>
                  <a:pt x="1733" y="1828"/>
                  <a:pt x="1733" y="1829"/>
                </a:cubicBezTo>
                <a:cubicBezTo>
                  <a:pt x="1734" y="1829"/>
                  <a:pt x="1735" y="1830"/>
                  <a:pt x="1735" y="1831"/>
                </a:cubicBezTo>
                <a:cubicBezTo>
                  <a:pt x="1735" y="1832"/>
                  <a:pt x="1735" y="1833"/>
                  <a:pt x="1736" y="1834"/>
                </a:cubicBezTo>
                <a:cubicBezTo>
                  <a:pt x="1737" y="1835"/>
                  <a:pt x="1738" y="1837"/>
                  <a:pt x="1739" y="1838"/>
                </a:cubicBezTo>
                <a:cubicBezTo>
                  <a:pt x="1740" y="1840"/>
                  <a:pt x="1741" y="1841"/>
                  <a:pt x="1742" y="1842"/>
                </a:cubicBezTo>
                <a:cubicBezTo>
                  <a:pt x="1743" y="1843"/>
                  <a:pt x="1744" y="1844"/>
                  <a:pt x="1744" y="1845"/>
                </a:cubicBezTo>
                <a:cubicBezTo>
                  <a:pt x="1744" y="1845"/>
                  <a:pt x="1744" y="1846"/>
                  <a:pt x="1744" y="1846"/>
                </a:cubicBezTo>
                <a:cubicBezTo>
                  <a:pt x="1744" y="1846"/>
                  <a:pt x="1744" y="1846"/>
                  <a:pt x="1745" y="1846"/>
                </a:cubicBezTo>
                <a:cubicBezTo>
                  <a:pt x="1745" y="1846"/>
                  <a:pt x="1745" y="1846"/>
                  <a:pt x="1745" y="1846"/>
                </a:cubicBezTo>
                <a:cubicBezTo>
                  <a:pt x="1745" y="1846"/>
                  <a:pt x="1745" y="1847"/>
                  <a:pt x="1745" y="1847"/>
                </a:cubicBezTo>
                <a:cubicBezTo>
                  <a:pt x="1745" y="1847"/>
                  <a:pt x="1746" y="1847"/>
                  <a:pt x="1746" y="1847"/>
                </a:cubicBezTo>
                <a:cubicBezTo>
                  <a:pt x="1746" y="1847"/>
                  <a:pt x="1747" y="1847"/>
                  <a:pt x="1747" y="1847"/>
                </a:cubicBezTo>
                <a:cubicBezTo>
                  <a:pt x="1747" y="1848"/>
                  <a:pt x="1747" y="1848"/>
                  <a:pt x="1747" y="1848"/>
                </a:cubicBezTo>
                <a:cubicBezTo>
                  <a:pt x="1747" y="1848"/>
                  <a:pt x="1747" y="1849"/>
                  <a:pt x="1748" y="1850"/>
                </a:cubicBezTo>
                <a:cubicBezTo>
                  <a:pt x="1751" y="1852"/>
                  <a:pt x="1754" y="1854"/>
                  <a:pt x="1757" y="1857"/>
                </a:cubicBezTo>
                <a:cubicBezTo>
                  <a:pt x="1758" y="1858"/>
                  <a:pt x="1760" y="1859"/>
                  <a:pt x="1761" y="1860"/>
                </a:cubicBezTo>
                <a:cubicBezTo>
                  <a:pt x="1762" y="1861"/>
                  <a:pt x="1762" y="1862"/>
                  <a:pt x="1762" y="1863"/>
                </a:cubicBezTo>
                <a:cubicBezTo>
                  <a:pt x="1762" y="1864"/>
                  <a:pt x="1762" y="1865"/>
                  <a:pt x="1762" y="1865"/>
                </a:cubicBezTo>
                <a:cubicBezTo>
                  <a:pt x="1762" y="1866"/>
                  <a:pt x="1763" y="1867"/>
                  <a:pt x="1764" y="1868"/>
                </a:cubicBezTo>
                <a:cubicBezTo>
                  <a:pt x="1764" y="1869"/>
                  <a:pt x="1765" y="1870"/>
                  <a:pt x="1766" y="1870"/>
                </a:cubicBezTo>
                <a:cubicBezTo>
                  <a:pt x="1767" y="1869"/>
                  <a:pt x="1768" y="1872"/>
                  <a:pt x="1768" y="1872"/>
                </a:cubicBezTo>
                <a:cubicBezTo>
                  <a:pt x="1769" y="1874"/>
                  <a:pt x="1770" y="1875"/>
                  <a:pt x="1771" y="1876"/>
                </a:cubicBezTo>
                <a:cubicBezTo>
                  <a:pt x="1772" y="1877"/>
                  <a:pt x="1773" y="1878"/>
                  <a:pt x="1773" y="1878"/>
                </a:cubicBezTo>
                <a:cubicBezTo>
                  <a:pt x="1774" y="1878"/>
                  <a:pt x="1775" y="1879"/>
                  <a:pt x="1775" y="1879"/>
                </a:cubicBezTo>
                <a:cubicBezTo>
                  <a:pt x="1776" y="1879"/>
                  <a:pt x="1777" y="1879"/>
                  <a:pt x="1777" y="1880"/>
                </a:cubicBezTo>
                <a:cubicBezTo>
                  <a:pt x="1777" y="1880"/>
                  <a:pt x="1777" y="1880"/>
                  <a:pt x="1777" y="1881"/>
                </a:cubicBezTo>
                <a:cubicBezTo>
                  <a:pt x="1776" y="1881"/>
                  <a:pt x="1777" y="1882"/>
                  <a:pt x="1777" y="1883"/>
                </a:cubicBezTo>
                <a:cubicBezTo>
                  <a:pt x="1777" y="1883"/>
                  <a:pt x="1778" y="1883"/>
                  <a:pt x="1778" y="1884"/>
                </a:cubicBezTo>
                <a:cubicBezTo>
                  <a:pt x="1779" y="1884"/>
                  <a:pt x="1780" y="1885"/>
                  <a:pt x="1780" y="1885"/>
                </a:cubicBezTo>
                <a:cubicBezTo>
                  <a:pt x="1781" y="1885"/>
                  <a:pt x="1781" y="1885"/>
                  <a:pt x="1781" y="1885"/>
                </a:cubicBezTo>
                <a:cubicBezTo>
                  <a:pt x="1781" y="1885"/>
                  <a:pt x="1781" y="1884"/>
                  <a:pt x="1782" y="1885"/>
                </a:cubicBezTo>
                <a:cubicBezTo>
                  <a:pt x="1783" y="1885"/>
                  <a:pt x="1783" y="1886"/>
                  <a:pt x="1784" y="1886"/>
                </a:cubicBezTo>
                <a:cubicBezTo>
                  <a:pt x="1785" y="1888"/>
                  <a:pt x="1786" y="1889"/>
                  <a:pt x="1786" y="1890"/>
                </a:cubicBezTo>
                <a:cubicBezTo>
                  <a:pt x="1789" y="1893"/>
                  <a:pt x="1794" y="1899"/>
                  <a:pt x="1798" y="1904"/>
                </a:cubicBezTo>
                <a:cubicBezTo>
                  <a:pt x="1800" y="1905"/>
                  <a:pt x="1802" y="1907"/>
                  <a:pt x="1803" y="1908"/>
                </a:cubicBezTo>
                <a:cubicBezTo>
                  <a:pt x="1804" y="1910"/>
                  <a:pt x="1806" y="1911"/>
                  <a:pt x="1807" y="1913"/>
                </a:cubicBezTo>
                <a:cubicBezTo>
                  <a:pt x="1807" y="1913"/>
                  <a:pt x="1808" y="1914"/>
                  <a:pt x="1808" y="1915"/>
                </a:cubicBezTo>
                <a:cubicBezTo>
                  <a:pt x="1808" y="1915"/>
                  <a:pt x="1808" y="1915"/>
                  <a:pt x="1808" y="1915"/>
                </a:cubicBezTo>
                <a:cubicBezTo>
                  <a:pt x="1808" y="1916"/>
                  <a:pt x="1809" y="1916"/>
                  <a:pt x="1809" y="1916"/>
                </a:cubicBezTo>
                <a:cubicBezTo>
                  <a:pt x="1809" y="1916"/>
                  <a:pt x="1810" y="1916"/>
                  <a:pt x="1810" y="1915"/>
                </a:cubicBezTo>
                <a:cubicBezTo>
                  <a:pt x="1810" y="1915"/>
                  <a:pt x="1811" y="1915"/>
                  <a:pt x="1811" y="1916"/>
                </a:cubicBezTo>
                <a:cubicBezTo>
                  <a:pt x="1812" y="1916"/>
                  <a:pt x="1812" y="1917"/>
                  <a:pt x="1812" y="1918"/>
                </a:cubicBezTo>
                <a:cubicBezTo>
                  <a:pt x="1813" y="1919"/>
                  <a:pt x="1815" y="1921"/>
                  <a:pt x="1816" y="1923"/>
                </a:cubicBezTo>
                <a:cubicBezTo>
                  <a:pt x="1816" y="1923"/>
                  <a:pt x="1817" y="1924"/>
                  <a:pt x="1817" y="1925"/>
                </a:cubicBezTo>
                <a:cubicBezTo>
                  <a:pt x="1817" y="1925"/>
                  <a:pt x="1818" y="1926"/>
                  <a:pt x="1818" y="1926"/>
                </a:cubicBezTo>
                <a:cubicBezTo>
                  <a:pt x="1818" y="1927"/>
                  <a:pt x="1818" y="1927"/>
                  <a:pt x="1819" y="1927"/>
                </a:cubicBezTo>
                <a:cubicBezTo>
                  <a:pt x="1819" y="1927"/>
                  <a:pt x="1819" y="1926"/>
                  <a:pt x="1819" y="1926"/>
                </a:cubicBezTo>
                <a:cubicBezTo>
                  <a:pt x="1819" y="1925"/>
                  <a:pt x="1820" y="1925"/>
                  <a:pt x="1820" y="1925"/>
                </a:cubicBezTo>
                <a:cubicBezTo>
                  <a:pt x="1820" y="1925"/>
                  <a:pt x="1820" y="1926"/>
                  <a:pt x="1821" y="1926"/>
                </a:cubicBezTo>
                <a:cubicBezTo>
                  <a:pt x="1821" y="1927"/>
                  <a:pt x="1822" y="1928"/>
                  <a:pt x="1823" y="1929"/>
                </a:cubicBezTo>
                <a:cubicBezTo>
                  <a:pt x="1825" y="1931"/>
                  <a:pt x="1827" y="1934"/>
                  <a:pt x="1829" y="1935"/>
                </a:cubicBezTo>
                <a:cubicBezTo>
                  <a:pt x="1830" y="1936"/>
                  <a:pt x="1834" y="1940"/>
                  <a:pt x="1836" y="1942"/>
                </a:cubicBezTo>
                <a:cubicBezTo>
                  <a:pt x="1839" y="1945"/>
                  <a:pt x="1845" y="1952"/>
                  <a:pt x="1851" y="1958"/>
                </a:cubicBezTo>
                <a:cubicBezTo>
                  <a:pt x="1852" y="1960"/>
                  <a:pt x="1854" y="1961"/>
                  <a:pt x="1856" y="1963"/>
                </a:cubicBezTo>
                <a:cubicBezTo>
                  <a:pt x="1857" y="1964"/>
                  <a:pt x="1858" y="1965"/>
                  <a:pt x="1859" y="1966"/>
                </a:cubicBezTo>
                <a:cubicBezTo>
                  <a:pt x="1859" y="1967"/>
                  <a:pt x="1861" y="1968"/>
                  <a:pt x="1861" y="1969"/>
                </a:cubicBezTo>
                <a:cubicBezTo>
                  <a:pt x="1860" y="1969"/>
                  <a:pt x="1860" y="1969"/>
                  <a:pt x="1860" y="1970"/>
                </a:cubicBezTo>
                <a:cubicBezTo>
                  <a:pt x="1860" y="1971"/>
                  <a:pt x="1862" y="1972"/>
                  <a:pt x="1863" y="1973"/>
                </a:cubicBezTo>
                <a:cubicBezTo>
                  <a:pt x="1863" y="1973"/>
                  <a:pt x="1864" y="1974"/>
                  <a:pt x="1865" y="1975"/>
                </a:cubicBezTo>
                <a:cubicBezTo>
                  <a:pt x="1865" y="1975"/>
                  <a:pt x="1865" y="1976"/>
                  <a:pt x="1866" y="1976"/>
                </a:cubicBezTo>
                <a:cubicBezTo>
                  <a:pt x="1866" y="1976"/>
                  <a:pt x="1866" y="1977"/>
                  <a:pt x="1866" y="1977"/>
                </a:cubicBezTo>
                <a:cubicBezTo>
                  <a:pt x="1866" y="1977"/>
                  <a:pt x="1866" y="1977"/>
                  <a:pt x="1866" y="1977"/>
                </a:cubicBezTo>
                <a:cubicBezTo>
                  <a:pt x="1866" y="1977"/>
                  <a:pt x="1867" y="1978"/>
                  <a:pt x="1867" y="1978"/>
                </a:cubicBezTo>
                <a:cubicBezTo>
                  <a:pt x="1869" y="1977"/>
                  <a:pt x="1870" y="1978"/>
                  <a:pt x="1871" y="1979"/>
                </a:cubicBezTo>
                <a:cubicBezTo>
                  <a:pt x="1872" y="1980"/>
                  <a:pt x="1874" y="1982"/>
                  <a:pt x="1876" y="1984"/>
                </a:cubicBezTo>
                <a:cubicBezTo>
                  <a:pt x="1876" y="1984"/>
                  <a:pt x="1877" y="1985"/>
                  <a:pt x="1877" y="1985"/>
                </a:cubicBezTo>
                <a:cubicBezTo>
                  <a:pt x="1878" y="1985"/>
                  <a:pt x="1878" y="1985"/>
                  <a:pt x="1879" y="1986"/>
                </a:cubicBezTo>
                <a:cubicBezTo>
                  <a:pt x="1879" y="1986"/>
                  <a:pt x="1879" y="1987"/>
                  <a:pt x="1879" y="1987"/>
                </a:cubicBezTo>
                <a:cubicBezTo>
                  <a:pt x="1879" y="1988"/>
                  <a:pt x="1880" y="1989"/>
                  <a:pt x="1881" y="1990"/>
                </a:cubicBezTo>
                <a:cubicBezTo>
                  <a:pt x="1882" y="1990"/>
                  <a:pt x="1882" y="1991"/>
                  <a:pt x="1883" y="1992"/>
                </a:cubicBezTo>
                <a:cubicBezTo>
                  <a:pt x="1883" y="1992"/>
                  <a:pt x="1884" y="1993"/>
                  <a:pt x="1884" y="1994"/>
                </a:cubicBezTo>
                <a:cubicBezTo>
                  <a:pt x="1884" y="1995"/>
                  <a:pt x="1884" y="1996"/>
                  <a:pt x="1884" y="1996"/>
                </a:cubicBezTo>
                <a:cubicBezTo>
                  <a:pt x="1885" y="1996"/>
                  <a:pt x="1885" y="1996"/>
                  <a:pt x="1886" y="1996"/>
                </a:cubicBezTo>
                <a:cubicBezTo>
                  <a:pt x="1887" y="1997"/>
                  <a:pt x="1887" y="1997"/>
                  <a:pt x="1888" y="1998"/>
                </a:cubicBezTo>
                <a:cubicBezTo>
                  <a:pt x="1889" y="1999"/>
                  <a:pt x="1891" y="2000"/>
                  <a:pt x="1892" y="2001"/>
                </a:cubicBezTo>
                <a:cubicBezTo>
                  <a:pt x="1894" y="2001"/>
                  <a:pt x="1895" y="2002"/>
                  <a:pt x="1896" y="2004"/>
                </a:cubicBezTo>
                <a:cubicBezTo>
                  <a:pt x="1897" y="2006"/>
                  <a:pt x="1898" y="2007"/>
                  <a:pt x="1899" y="2009"/>
                </a:cubicBezTo>
                <a:cubicBezTo>
                  <a:pt x="1900" y="2010"/>
                  <a:pt x="1900" y="2011"/>
                  <a:pt x="1901" y="2011"/>
                </a:cubicBezTo>
                <a:cubicBezTo>
                  <a:pt x="1901" y="2011"/>
                  <a:pt x="1901" y="2012"/>
                  <a:pt x="1902" y="2012"/>
                </a:cubicBezTo>
                <a:cubicBezTo>
                  <a:pt x="1902" y="2012"/>
                  <a:pt x="1902" y="2011"/>
                  <a:pt x="1903" y="2011"/>
                </a:cubicBezTo>
                <a:cubicBezTo>
                  <a:pt x="1903" y="2011"/>
                  <a:pt x="1903" y="2012"/>
                  <a:pt x="1904" y="2012"/>
                </a:cubicBezTo>
                <a:cubicBezTo>
                  <a:pt x="1904" y="2013"/>
                  <a:pt x="1905" y="2013"/>
                  <a:pt x="1905" y="2014"/>
                </a:cubicBezTo>
                <a:cubicBezTo>
                  <a:pt x="1905" y="2014"/>
                  <a:pt x="1905" y="2015"/>
                  <a:pt x="1905" y="2015"/>
                </a:cubicBezTo>
                <a:cubicBezTo>
                  <a:pt x="1905" y="2016"/>
                  <a:pt x="1905" y="2016"/>
                  <a:pt x="1905" y="2017"/>
                </a:cubicBezTo>
                <a:cubicBezTo>
                  <a:pt x="1905" y="2017"/>
                  <a:pt x="1904" y="2018"/>
                  <a:pt x="1905" y="2018"/>
                </a:cubicBezTo>
                <a:cubicBezTo>
                  <a:pt x="1905" y="2019"/>
                  <a:pt x="1906" y="2019"/>
                  <a:pt x="1907" y="2019"/>
                </a:cubicBezTo>
                <a:cubicBezTo>
                  <a:pt x="1907" y="2019"/>
                  <a:pt x="1907" y="2019"/>
                  <a:pt x="1906" y="2019"/>
                </a:cubicBezTo>
                <a:cubicBezTo>
                  <a:pt x="1906" y="2019"/>
                  <a:pt x="1906" y="2019"/>
                  <a:pt x="1906" y="2020"/>
                </a:cubicBezTo>
                <a:cubicBezTo>
                  <a:pt x="1905" y="2020"/>
                  <a:pt x="1906" y="2020"/>
                  <a:pt x="1906" y="2020"/>
                </a:cubicBezTo>
                <a:cubicBezTo>
                  <a:pt x="1906" y="2021"/>
                  <a:pt x="1906" y="2021"/>
                  <a:pt x="1907" y="2021"/>
                </a:cubicBezTo>
                <a:cubicBezTo>
                  <a:pt x="1907" y="2021"/>
                  <a:pt x="1907" y="2021"/>
                  <a:pt x="1907" y="2021"/>
                </a:cubicBezTo>
                <a:cubicBezTo>
                  <a:pt x="1907" y="2020"/>
                  <a:pt x="1908" y="2020"/>
                  <a:pt x="1908" y="2020"/>
                </a:cubicBezTo>
                <a:cubicBezTo>
                  <a:pt x="1908" y="2020"/>
                  <a:pt x="1908" y="2019"/>
                  <a:pt x="1908" y="2019"/>
                </a:cubicBezTo>
                <a:cubicBezTo>
                  <a:pt x="1908" y="2018"/>
                  <a:pt x="1909" y="2018"/>
                  <a:pt x="1910" y="2019"/>
                </a:cubicBezTo>
                <a:cubicBezTo>
                  <a:pt x="1910" y="2019"/>
                  <a:pt x="1910" y="2019"/>
                  <a:pt x="1911" y="2019"/>
                </a:cubicBezTo>
                <a:cubicBezTo>
                  <a:pt x="1911" y="2019"/>
                  <a:pt x="1910" y="2020"/>
                  <a:pt x="1910" y="2021"/>
                </a:cubicBezTo>
                <a:cubicBezTo>
                  <a:pt x="1910" y="2022"/>
                  <a:pt x="1910" y="2022"/>
                  <a:pt x="1910" y="2023"/>
                </a:cubicBezTo>
                <a:cubicBezTo>
                  <a:pt x="1911" y="2024"/>
                  <a:pt x="1911" y="2024"/>
                  <a:pt x="1911" y="2025"/>
                </a:cubicBezTo>
                <a:cubicBezTo>
                  <a:pt x="1912" y="2026"/>
                  <a:pt x="1914" y="2028"/>
                  <a:pt x="1916" y="2031"/>
                </a:cubicBezTo>
                <a:cubicBezTo>
                  <a:pt x="1917" y="2031"/>
                  <a:pt x="1918" y="2032"/>
                  <a:pt x="1918" y="2033"/>
                </a:cubicBezTo>
                <a:cubicBezTo>
                  <a:pt x="1918" y="2033"/>
                  <a:pt x="1919" y="2034"/>
                  <a:pt x="1920" y="2034"/>
                </a:cubicBezTo>
                <a:cubicBezTo>
                  <a:pt x="1920" y="2034"/>
                  <a:pt x="1921" y="2034"/>
                  <a:pt x="1921" y="2034"/>
                </a:cubicBezTo>
                <a:cubicBezTo>
                  <a:pt x="1922" y="2034"/>
                  <a:pt x="1922" y="2035"/>
                  <a:pt x="1923" y="2035"/>
                </a:cubicBezTo>
                <a:cubicBezTo>
                  <a:pt x="1923" y="2036"/>
                  <a:pt x="1924" y="2036"/>
                  <a:pt x="1925" y="2037"/>
                </a:cubicBezTo>
                <a:cubicBezTo>
                  <a:pt x="1926" y="2037"/>
                  <a:pt x="1928" y="2038"/>
                  <a:pt x="1928" y="2040"/>
                </a:cubicBezTo>
                <a:cubicBezTo>
                  <a:pt x="1928" y="2040"/>
                  <a:pt x="1928" y="2041"/>
                  <a:pt x="1928" y="2041"/>
                </a:cubicBezTo>
                <a:cubicBezTo>
                  <a:pt x="1928" y="2042"/>
                  <a:pt x="1928" y="2042"/>
                  <a:pt x="1928" y="2042"/>
                </a:cubicBezTo>
                <a:cubicBezTo>
                  <a:pt x="1927" y="2042"/>
                  <a:pt x="1927" y="2042"/>
                  <a:pt x="1927" y="2043"/>
                </a:cubicBezTo>
                <a:cubicBezTo>
                  <a:pt x="1928" y="2044"/>
                  <a:pt x="1928" y="2044"/>
                  <a:pt x="1929" y="2045"/>
                </a:cubicBezTo>
                <a:cubicBezTo>
                  <a:pt x="1930" y="2045"/>
                  <a:pt x="1930" y="2046"/>
                  <a:pt x="1931" y="2046"/>
                </a:cubicBezTo>
                <a:cubicBezTo>
                  <a:pt x="1931" y="2047"/>
                  <a:pt x="1932" y="2047"/>
                  <a:pt x="1932" y="2047"/>
                </a:cubicBezTo>
                <a:cubicBezTo>
                  <a:pt x="1932" y="2048"/>
                  <a:pt x="1932" y="2047"/>
                  <a:pt x="1933" y="2047"/>
                </a:cubicBezTo>
                <a:cubicBezTo>
                  <a:pt x="1933" y="2047"/>
                  <a:pt x="1934" y="2048"/>
                  <a:pt x="1935" y="2048"/>
                </a:cubicBezTo>
                <a:cubicBezTo>
                  <a:pt x="1935" y="2048"/>
                  <a:pt x="1936" y="2048"/>
                  <a:pt x="1936" y="2048"/>
                </a:cubicBezTo>
                <a:cubicBezTo>
                  <a:pt x="1936" y="2048"/>
                  <a:pt x="1937" y="2048"/>
                  <a:pt x="1937" y="2048"/>
                </a:cubicBezTo>
                <a:cubicBezTo>
                  <a:pt x="1937" y="2049"/>
                  <a:pt x="1936" y="2049"/>
                  <a:pt x="1936" y="2050"/>
                </a:cubicBezTo>
                <a:cubicBezTo>
                  <a:pt x="1936" y="2050"/>
                  <a:pt x="1936" y="2050"/>
                  <a:pt x="1937" y="2051"/>
                </a:cubicBezTo>
                <a:cubicBezTo>
                  <a:pt x="1938" y="2052"/>
                  <a:pt x="1939" y="2053"/>
                  <a:pt x="1941" y="2054"/>
                </a:cubicBezTo>
                <a:cubicBezTo>
                  <a:pt x="1941" y="2055"/>
                  <a:pt x="1943" y="2055"/>
                  <a:pt x="1943" y="2056"/>
                </a:cubicBezTo>
                <a:cubicBezTo>
                  <a:pt x="1943" y="2057"/>
                  <a:pt x="1945" y="2059"/>
                  <a:pt x="1948" y="2062"/>
                </a:cubicBezTo>
                <a:cubicBezTo>
                  <a:pt x="1949" y="2063"/>
                  <a:pt x="1950" y="2064"/>
                  <a:pt x="1950" y="2065"/>
                </a:cubicBezTo>
                <a:cubicBezTo>
                  <a:pt x="1951" y="2066"/>
                  <a:pt x="1952" y="2067"/>
                  <a:pt x="1953" y="2067"/>
                </a:cubicBezTo>
                <a:cubicBezTo>
                  <a:pt x="1953" y="2067"/>
                  <a:pt x="1954" y="2067"/>
                  <a:pt x="1955" y="2067"/>
                </a:cubicBezTo>
                <a:cubicBezTo>
                  <a:pt x="1956" y="2067"/>
                  <a:pt x="1956" y="2068"/>
                  <a:pt x="1957" y="2069"/>
                </a:cubicBezTo>
                <a:cubicBezTo>
                  <a:pt x="1957" y="2069"/>
                  <a:pt x="1957" y="2070"/>
                  <a:pt x="1957" y="2070"/>
                </a:cubicBezTo>
                <a:cubicBezTo>
                  <a:pt x="1958" y="2070"/>
                  <a:pt x="1957" y="2071"/>
                  <a:pt x="1958" y="2071"/>
                </a:cubicBezTo>
                <a:cubicBezTo>
                  <a:pt x="1958" y="2072"/>
                  <a:pt x="1958" y="2073"/>
                  <a:pt x="1958" y="2073"/>
                </a:cubicBezTo>
                <a:cubicBezTo>
                  <a:pt x="1959" y="2074"/>
                  <a:pt x="1960" y="2075"/>
                  <a:pt x="1960" y="2075"/>
                </a:cubicBezTo>
                <a:cubicBezTo>
                  <a:pt x="1961" y="2076"/>
                  <a:pt x="1963" y="2078"/>
                  <a:pt x="1965" y="2078"/>
                </a:cubicBezTo>
                <a:cubicBezTo>
                  <a:pt x="1966" y="2078"/>
                  <a:pt x="1968" y="2079"/>
                  <a:pt x="1968" y="2080"/>
                </a:cubicBezTo>
                <a:cubicBezTo>
                  <a:pt x="1969" y="2080"/>
                  <a:pt x="1969" y="2081"/>
                  <a:pt x="1969" y="2082"/>
                </a:cubicBezTo>
                <a:cubicBezTo>
                  <a:pt x="1969" y="2082"/>
                  <a:pt x="1969" y="2083"/>
                  <a:pt x="1969" y="2084"/>
                </a:cubicBezTo>
                <a:cubicBezTo>
                  <a:pt x="1970" y="2085"/>
                  <a:pt x="1971" y="2085"/>
                  <a:pt x="1971" y="2086"/>
                </a:cubicBezTo>
                <a:cubicBezTo>
                  <a:pt x="1973" y="2088"/>
                  <a:pt x="1975" y="2090"/>
                  <a:pt x="1975" y="2091"/>
                </a:cubicBezTo>
                <a:cubicBezTo>
                  <a:pt x="1976" y="2092"/>
                  <a:pt x="1978" y="2095"/>
                  <a:pt x="1981" y="2098"/>
                </a:cubicBezTo>
                <a:cubicBezTo>
                  <a:pt x="1982" y="2099"/>
                  <a:pt x="1984" y="2100"/>
                  <a:pt x="1985" y="2102"/>
                </a:cubicBezTo>
                <a:cubicBezTo>
                  <a:pt x="1985" y="2102"/>
                  <a:pt x="1985" y="2102"/>
                  <a:pt x="1985" y="2102"/>
                </a:cubicBezTo>
                <a:cubicBezTo>
                  <a:pt x="1985" y="2102"/>
                  <a:pt x="1986" y="2102"/>
                  <a:pt x="1986" y="2101"/>
                </a:cubicBezTo>
                <a:cubicBezTo>
                  <a:pt x="1986" y="2101"/>
                  <a:pt x="1986" y="2101"/>
                  <a:pt x="1986" y="2101"/>
                </a:cubicBezTo>
                <a:cubicBezTo>
                  <a:pt x="1987" y="2102"/>
                  <a:pt x="1987" y="2102"/>
                  <a:pt x="1987" y="2102"/>
                </a:cubicBezTo>
                <a:cubicBezTo>
                  <a:pt x="1988" y="2103"/>
                  <a:pt x="1989" y="2102"/>
                  <a:pt x="1990" y="2103"/>
                </a:cubicBezTo>
                <a:cubicBezTo>
                  <a:pt x="1991" y="2103"/>
                  <a:pt x="1991" y="2103"/>
                  <a:pt x="1991" y="2104"/>
                </a:cubicBezTo>
                <a:cubicBezTo>
                  <a:pt x="1992" y="2105"/>
                  <a:pt x="1993" y="2106"/>
                  <a:pt x="1994" y="2107"/>
                </a:cubicBezTo>
                <a:cubicBezTo>
                  <a:pt x="1995" y="2109"/>
                  <a:pt x="1996" y="2110"/>
                  <a:pt x="1998" y="2112"/>
                </a:cubicBezTo>
                <a:cubicBezTo>
                  <a:pt x="1998" y="2112"/>
                  <a:pt x="1999" y="2113"/>
                  <a:pt x="2000" y="2114"/>
                </a:cubicBezTo>
                <a:cubicBezTo>
                  <a:pt x="2000" y="2114"/>
                  <a:pt x="2001" y="2114"/>
                  <a:pt x="2001" y="2115"/>
                </a:cubicBezTo>
                <a:cubicBezTo>
                  <a:pt x="2001" y="2115"/>
                  <a:pt x="2000" y="2115"/>
                  <a:pt x="2000" y="2115"/>
                </a:cubicBezTo>
                <a:cubicBezTo>
                  <a:pt x="2000" y="2116"/>
                  <a:pt x="2000" y="2116"/>
                  <a:pt x="2001" y="2116"/>
                </a:cubicBezTo>
                <a:cubicBezTo>
                  <a:pt x="2001" y="2117"/>
                  <a:pt x="2002" y="2117"/>
                  <a:pt x="2002" y="2118"/>
                </a:cubicBezTo>
                <a:cubicBezTo>
                  <a:pt x="2003" y="2119"/>
                  <a:pt x="2005" y="2121"/>
                  <a:pt x="2006" y="2123"/>
                </a:cubicBezTo>
                <a:cubicBezTo>
                  <a:pt x="2007" y="2123"/>
                  <a:pt x="2007" y="2125"/>
                  <a:pt x="2009" y="2125"/>
                </a:cubicBezTo>
                <a:cubicBezTo>
                  <a:pt x="2009" y="2125"/>
                  <a:pt x="2009" y="2125"/>
                  <a:pt x="2009" y="2125"/>
                </a:cubicBezTo>
                <a:cubicBezTo>
                  <a:pt x="2010" y="2125"/>
                  <a:pt x="2010" y="2124"/>
                  <a:pt x="2010" y="2124"/>
                </a:cubicBezTo>
                <a:cubicBezTo>
                  <a:pt x="2010" y="2124"/>
                  <a:pt x="2011" y="2124"/>
                  <a:pt x="2011" y="2125"/>
                </a:cubicBezTo>
                <a:cubicBezTo>
                  <a:pt x="2012" y="2126"/>
                  <a:pt x="2014" y="2128"/>
                  <a:pt x="2015" y="2129"/>
                </a:cubicBezTo>
                <a:cubicBezTo>
                  <a:pt x="2016" y="2130"/>
                  <a:pt x="2017" y="2132"/>
                  <a:pt x="2019" y="2133"/>
                </a:cubicBezTo>
                <a:cubicBezTo>
                  <a:pt x="2019" y="2133"/>
                  <a:pt x="2020" y="2133"/>
                  <a:pt x="2020" y="2133"/>
                </a:cubicBezTo>
                <a:cubicBezTo>
                  <a:pt x="2019" y="2134"/>
                  <a:pt x="2019" y="2134"/>
                  <a:pt x="2019" y="2134"/>
                </a:cubicBezTo>
                <a:cubicBezTo>
                  <a:pt x="2019" y="2134"/>
                  <a:pt x="2019" y="2135"/>
                  <a:pt x="2019" y="2135"/>
                </a:cubicBezTo>
                <a:cubicBezTo>
                  <a:pt x="2020" y="2135"/>
                  <a:pt x="2023" y="2135"/>
                  <a:pt x="2023" y="2137"/>
                </a:cubicBezTo>
                <a:cubicBezTo>
                  <a:pt x="2023" y="2137"/>
                  <a:pt x="2023" y="2137"/>
                  <a:pt x="2022" y="2138"/>
                </a:cubicBezTo>
                <a:cubicBezTo>
                  <a:pt x="2022" y="2138"/>
                  <a:pt x="2022" y="2138"/>
                  <a:pt x="2022" y="2138"/>
                </a:cubicBezTo>
                <a:cubicBezTo>
                  <a:pt x="2022" y="2138"/>
                  <a:pt x="2022" y="2139"/>
                  <a:pt x="2022" y="2139"/>
                </a:cubicBezTo>
                <a:cubicBezTo>
                  <a:pt x="2022" y="2140"/>
                  <a:pt x="2022" y="2140"/>
                  <a:pt x="2022" y="2140"/>
                </a:cubicBezTo>
                <a:cubicBezTo>
                  <a:pt x="2022" y="2141"/>
                  <a:pt x="2023" y="2141"/>
                  <a:pt x="2023" y="2141"/>
                </a:cubicBezTo>
                <a:cubicBezTo>
                  <a:pt x="2023" y="2141"/>
                  <a:pt x="2023" y="2141"/>
                  <a:pt x="2024" y="2141"/>
                </a:cubicBezTo>
                <a:cubicBezTo>
                  <a:pt x="2024" y="2141"/>
                  <a:pt x="2023" y="2142"/>
                  <a:pt x="2024" y="2143"/>
                </a:cubicBezTo>
                <a:cubicBezTo>
                  <a:pt x="2024" y="2144"/>
                  <a:pt x="2025" y="2145"/>
                  <a:pt x="2026" y="2145"/>
                </a:cubicBezTo>
                <a:cubicBezTo>
                  <a:pt x="2028" y="2147"/>
                  <a:pt x="2030" y="2149"/>
                  <a:pt x="2032" y="2151"/>
                </a:cubicBezTo>
                <a:cubicBezTo>
                  <a:pt x="2034" y="2153"/>
                  <a:pt x="2035" y="2155"/>
                  <a:pt x="2037" y="2156"/>
                </a:cubicBezTo>
                <a:cubicBezTo>
                  <a:pt x="2038" y="2157"/>
                  <a:pt x="2038" y="2158"/>
                  <a:pt x="2039" y="2159"/>
                </a:cubicBezTo>
                <a:cubicBezTo>
                  <a:pt x="2040" y="2159"/>
                  <a:pt x="2041" y="2160"/>
                  <a:pt x="2041" y="2160"/>
                </a:cubicBezTo>
                <a:cubicBezTo>
                  <a:pt x="2042" y="2160"/>
                  <a:pt x="2043" y="2160"/>
                  <a:pt x="2043" y="2160"/>
                </a:cubicBezTo>
                <a:cubicBezTo>
                  <a:pt x="2043" y="2161"/>
                  <a:pt x="2045" y="2161"/>
                  <a:pt x="2046" y="2161"/>
                </a:cubicBezTo>
                <a:cubicBezTo>
                  <a:pt x="2047" y="2161"/>
                  <a:pt x="2047" y="2161"/>
                  <a:pt x="2048" y="2161"/>
                </a:cubicBezTo>
                <a:cubicBezTo>
                  <a:pt x="2049" y="2162"/>
                  <a:pt x="2050" y="2163"/>
                  <a:pt x="2051" y="2164"/>
                </a:cubicBezTo>
                <a:cubicBezTo>
                  <a:pt x="2052" y="2165"/>
                  <a:pt x="2053" y="2166"/>
                  <a:pt x="2054" y="2167"/>
                </a:cubicBezTo>
                <a:cubicBezTo>
                  <a:pt x="2054" y="2168"/>
                  <a:pt x="2054" y="2168"/>
                  <a:pt x="2054" y="2168"/>
                </a:cubicBezTo>
                <a:cubicBezTo>
                  <a:pt x="2055" y="2168"/>
                  <a:pt x="2055" y="2168"/>
                  <a:pt x="2055" y="2168"/>
                </a:cubicBezTo>
                <a:cubicBezTo>
                  <a:pt x="2055" y="2168"/>
                  <a:pt x="2056" y="2169"/>
                  <a:pt x="2056" y="2169"/>
                </a:cubicBezTo>
                <a:cubicBezTo>
                  <a:pt x="2056" y="2169"/>
                  <a:pt x="2057" y="2170"/>
                  <a:pt x="2057" y="2171"/>
                </a:cubicBezTo>
                <a:cubicBezTo>
                  <a:pt x="2058" y="2171"/>
                  <a:pt x="2059" y="2172"/>
                  <a:pt x="2059" y="2173"/>
                </a:cubicBezTo>
                <a:cubicBezTo>
                  <a:pt x="2059" y="2173"/>
                  <a:pt x="2060" y="2173"/>
                  <a:pt x="2059" y="2173"/>
                </a:cubicBezTo>
                <a:cubicBezTo>
                  <a:pt x="2059" y="2174"/>
                  <a:pt x="2059" y="2174"/>
                  <a:pt x="2059" y="2175"/>
                </a:cubicBezTo>
                <a:cubicBezTo>
                  <a:pt x="2059" y="2175"/>
                  <a:pt x="2059" y="2175"/>
                  <a:pt x="2059" y="2176"/>
                </a:cubicBezTo>
                <a:cubicBezTo>
                  <a:pt x="2060" y="2176"/>
                  <a:pt x="2060" y="2176"/>
                  <a:pt x="2060" y="2176"/>
                </a:cubicBezTo>
                <a:cubicBezTo>
                  <a:pt x="2061" y="2177"/>
                  <a:pt x="2061" y="2177"/>
                  <a:pt x="2061" y="2177"/>
                </a:cubicBezTo>
                <a:cubicBezTo>
                  <a:pt x="2061" y="2177"/>
                  <a:pt x="2061" y="2176"/>
                  <a:pt x="2061" y="2176"/>
                </a:cubicBezTo>
                <a:cubicBezTo>
                  <a:pt x="2062" y="2174"/>
                  <a:pt x="2063" y="2176"/>
                  <a:pt x="2063" y="2176"/>
                </a:cubicBezTo>
                <a:cubicBezTo>
                  <a:pt x="2064" y="2177"/>
                  <a:pt x="2064" y="2178"/>
                  <a:pt x="2064" y="2179"/>
                </a:cubicBezTo>
                <a:cubicBezTo>
                  <a:pt x="2064" y="2181"/>
                  <a:pt x="2065" y="2181"/>
                  <a:pt x="2066" y="2182"/>
                </a:cubicBezTo>
                <a:cubicBezTo>
                  <a:pt x="2067" y="2182"/>
                  <a:pt x="2067" y="2182"/>
                  <a:pt x="2068" y="2183"/>
                </a:cubicBezTo>
                <a:cubicBezTo>
                  <a:pt x="2068" y="2183"/>
                  <a:pt x="2068" y="2183"/>
                  <a:pt x="2068" y="2183"/>
                </a:cubicBezTo>
                <a:cubicBezTo>
                  <a:pt x="2068" y="2183"/>
                  <a:pt x="2068" y="2183"/>
                  <a:pt x="2068" y="2183"/>
                </a:cubicBezTo>
                <a:cubicBezTo>
                  <a:pt x="2069" y="2182"/>
                  <a:pt x="2069" y="2182"/>
                  <a:pt x="2069" y="2182"/>
                </a:cubicBezTo>
                <a:cubicBezTo>
                  <a:pt x="2071" y="2183"/>
                  <a:pt x="2072" y="2185"/>
                  <a:pt x="2073" y="2186"/>
                </a:cubicBezTo>
                <a:cubicBezTo>
                  <a:pt x="2075" y="2188"/>
                  <a:pt x="2076" y="2189"/>
                  <a:pt x="2077" y="2190"/>
                </a:cubicBezTo>
                <a:cubicBezTo>
                  <a:pt x="2079" y="2192"/>
                  <a:pt x="2081" y="2193"/>
                  <a:pt x="2082" y="2195"/>
                </a:cubicBezTo>
                <a:cubicBezTo>
                  <a:pt x="2083" y="2196"/>
                  <a:pt x="2084" y="2197"/>
                  <a:pt x="2085" y="2198"/>
                </a:cubicBezTo>
                <a:cubicBezTo>
                  <a:pt x="2085" y="2198"/>
                  <a:pt x="2085" y="2198"/>
                  <a:pt x="2085" y="2198"/>
                </a:cubicBezTo>
                <a:cubicBezTo>
                  <a:pt x="2085" y="2199"/>
                  <a:pt x="2084" y="2199"/>
                  <a:pt x="2084" y="2200"/>
                </a:cubicBezTo>
                <a:cubicBezTo>
                  <a:pt x="2085" y="2200"/>
                  <a:pt x="2087" y="2202"/>
                  <a:pt x="2087" y="2203"/>
                </a:cubicBezTo>
                <a:cubicBezTo>
                  <a:pt x="2087" y="2203"/>
                  <a:pt x="2087" y="2203"/>
                  <a:pt x="2086" y="2203"/>
                </a:cubicBezTo>
                <a:cubicBezTo>
                  <a:pt x="2086" y="2203"/>
                  <a:pt x="2086" y="2203"/>
                  <a:pt x="2086" y="2203"/>
                </a:cubicBezTo>
                <a:cubicBezTo>
                  <a:pt x="2086" y="2204"/>
                  <a:pt x="2087" y="2204"/>
                  <a:pt x="2087" y="2204"/>
                </a:cubicBezTo>
                <a:cubicBezTo>
                  <a:pt x="2089" y="2207"/>
                  <a:pt x="2093" y="2209"/>
                  <a:pt x="2095" y="2212"/>
                </a:cubicBezTo>
                <a:cubicBezTo>
                  <a:pt x="2096" y="2212"/>
                  <a:pt x="2096" y="2213"/>
                  <a:pt x="2097" y="2213"/>
                </a:cubicBezTo>
                <a:cubicBezTo>
                  <a:pt x="2098" y="2214"/>
                  <a:pt x="2099" y="2214"/>
                  <a:pt x="2100" y="2214"/>
                </a:cubicBezTo>
                <a:cubicBezTo>
                  <a:pt x="2101" y="2214"/>
                  <a:pt x="2102" y="2214"/>
                  <a:pt x="2103" y="2214"/>
                </a:cubicBezTo>
                <a:cubicBezTo>
                  <a:pt x="2104" y="2215"/>
                  <a:pt x="2104" y="2215"/>
                  <a:pt x="2105" y="2216"/>
                </a:cubicBezTo>
                <a:cubicBezTo>
                  <a:pt x="2105" y="2217"/>
                  <a:pt x="2106" y="2217"/>
                  <a:pt x="2106" y="2218"/>
                </a:cubicBezTo>
                <a:cubicBezTo>
                  <a:pt x="2106" y="2218"/>
                  <a:pt x="2106" y="2218"/>
                  <a:pt x="2106" y="2218"/>
                </a:cubicBezTo>
                <a:cubicBezTo>
                  <a:pt x="2106" y="2219"/>
                  <a:pt x="2106" y="2219"/>
                  <a:pt x="2106" y="2219"/>
                </a:cubicBezTo>
                <a:cubicBezTo>
                  <a:pt x="2106" y="2220"/>
                  <a:pt x="2107" y="2221"/>
                  <a:pt x="2107" y="2221"/>
                </a:cubicBezTo>
                <a:cubicBezTo>
                  <a:pt x="2108" y="2222"/>
                  <a:pt x="2108" y="2222"/>
                  <a:pt x="2108" y="2223"/>
                </a:cubicBezTo>
                <a:cubicBezTo>
                  <a:pt x="2108" y="2224"/>
                  <a:pt x="2108" y="2225"/>
                  <a:pt x="2109" y="2226"/>
                </a:cubicBezTo>
                <a:cubicBezTo>
                  <a:pt x="2109" y="2227"/>
                  <a:pt x="2110" y="2227"/>
                  <a:pt x="2111" y="2228"/>
                </a:cubicBezTo>
                <a:cubicBezTo>
                  <a:pt x="2111" y="2229"/>
                  <a:pt x="2112" y="2230"/>
                  <a:pt x="2113" y="2231"/>
                </a:cubicBezTo>
                <a:cubicBezTo>
                  <a:pt x="2114" y="2231"/>
                  <a:pt x="2115" y="2230"/>
                  <a:pt x="2115" y="2230"/>
                </a:cubicBezTo>
                <a:cubicBezTo>
                  <a:pt x="2116" y="2231"/>
                  <a:pt x="2116" y="2232"/>
                  <a:pt x="2117" y="2232"/>
                </a:cubicBezTo>
                <a:cubicBezTo>
                  <a:pt x="2117" y="2233"/>
                  <a:pt x="2120" y="2236"/>
                  <a:pt x="2123" y="2239"/>
                </a:cubicBezTo>
                <a:cubicBezTo>
                  <a:pt x="2124" y="2240"/>
                  <a:pt x="2125" y="2241"/>
                  <a:pt x="2126" y="2242"/>
                </a:cubicBezTo>
                <a:cubicBezTo>
                  <a:pt x="2136" y="2251"/>
                  <a:pt x="2140" y="2261"/>
                  <a:pt x="2152" y="2271"/>
                </a:cubicBezTo>
                <a:cubicBezTo>
                  <a:pt x="2157" y="2276"/>
                  <a:pt x="2164" y="2287"/>
                  <a:pt x="2173" y="2286"/>
                </a:cubicBezTo>
                <a:cubicBezTo>
                  <a:pt x="2179" y="2285"/>
                  <a:pt x="2183" y="2277"/>
                  <a:pt x="2188" y="2273"/>
                </a:cubicBezTo>
                <a:cubicBezTo>
                  <a:pt x="2191" y="2270"/>
                  <a:pt x="2191" y="2267"/>
                  <a:pt x="2193" y="2263"/>
                </a:cubicBezTo>
                <a:cubicBezTo>
                  <a:pt x="2194" y="2262"/>
                  <a:pt x="2197" y="2260"/>
                  <a:pt x="2198" y="2258"/>
                </a:cubicBezTo>
                <a:cubicBezTo>
                  <a:pt x="2198" y="2257"/>
                  <a:pt x="2197" y="2255"/>
                  <a:pt x="2197" y="2254"/>
                </a:cubicBezTo>
                <a:cubicBezTo>
                  <a:pt x="2195" y="2249"/>
                  <a:pt x="2195" y="2247"/>
                  <a:pt x="2192" y="2242"/>
                </a:cubicBezTo>
                <a:cubicBezTo>
                  <a:pt x="2189" y="2238"/>
                  <a:pt x="2187" y="2234"/>
                  <a:pt x="2184" y="2230"/>
                </a:cubicBezTo>
                <a:cubicBezTo>
                  <a:pt x="2180" y="2227"/>
                  <a:pt x="2177" y="2223"/>
                  <a:pt x="2174" y="2220"/>
                </a:cubicBezTo>
                <a:cubicBezTo>
                  <a:pt x="2173" y="2219"/>
                  <a:pt x="2172" y="2218"/>
                  <a:pt x="2171" y="2217"/>
                </a:cubicBezTo>
                <a:cubicBezTo>
                  <a:pt x="2170" y="2217"/>
                  <a:pt x="2169" y="2216"/>
                  <a:pt x="2168" y="2215"/>
                </a:cubicBezTo>
                <a:cubicBezTo>
                  <a:pt x="2167" y="2214"/>
                  <a:pt x="2167" y="2213"/>
                  <a:pt x="2166" y="2211"/>
                </a:cubicBezTo>
                <a:cubicBezTo>
                  <a:pt x="2165" y="2210"/>
                  <a:pt x="2164" y="2210"/>
                  <a:pt x="2163" y="2209"/>
                </a:cubicBezTo>
                <a:cubicBezTo>
                  <a:pt x="2162" y="2207"/>
                  <a:pt x="2161" y="2205"/>
                  <a:pt x="2159" y="2204"/>
                </a:cubicBezTo>
                <a:cubicBezTo>
                  <a:pt x="2158" y="2202"/>
                  <a:pt x="2156" y="2201"/>
                  <a:pt x="2155" y="2199"/>
                </a:cubicBezTo>
                <a:cubicBezTo>
                  <a:pt x="2153" y="2198"/>
                  <a:pt x="2151" y="2196"/>
                  <a:pt x="2150" y="2194"/>
                </a:cubicBezTo>
                <a:cubicBezTo>
                  <a:pt x="2149" y="2193"/>
                  <a:pt x="2147" y="2193"/>
                  <a:pt x="2146" y="2193"/>
                </a:cubicBezTo>
                <a:cubicBezTo>
                  <a:pt x="2144" y="2192"/>
                  <a:pt x="2143" y="2190"/>
                  <a:pt x="2142" y="2188"/>
                </a:cubicBezTo>
                <a:cubicBezTo>
                  <a:pt x="2117" y="2161"/>
                  <a:pt x="2055" y="2096"/>
                  <a:pt x="2043" y="2084"/>
                </a:cubicBezTo>
                <a:cubicBezTo>
                  <a:pt x="2040" y="2082"/>
                  <a:pt x="2034" y="2076"/>
                  <a:pt x="2030" y="2072"/>
                </a:cubicBezTo>
                <a:cubicBezTo>
                  <a:pt x="2025" y="2068"/>
                  <a:pt x="2019" y="2061"/>
                  <a:pt x="2015" y="2057"/>
                </a:cubicBezTo>
                <a:cubicBezTo>
                  <a:pt x="1994" y="2037"/>
                  <a:pt x="1986" y="2028"/>
                  <a:pt x="1965" y="2008"/>
                </a:cubicBezTo>
                <a:cubicBezTo>
                  <a:pt x="1963" y="2006"/>
                  <a:pt x="1962" y="2004"/>
                  <a:pt x="1960" y="2003"/>
                </a:cubicBezTo>
                <a:cubicBezTo>
                  <a:pt x="1959" y="2001"/>
                  <a:pt x="1957" y="1999"/>
                  <a:pt x="1955" y="1998"/>
                </a:cubicBezTo>
                <a:cubicBezTo>
                  <a:pt x="1955" y="1998"/>
                  <a:pt x="1955" y="1998"/>
                  <a:pt x="1955" y="1998"/>
                </a:cubicBezTo>
                <a:cubicBezTo>
                  <a:pt x="1954" y="1998"/>
                  <a:pt x="1954" y="1997"/>
                  <a:pt x="1954" y="1996"/>
                </a:cubicBezTo>
                <a:cubicBezTo>
                  <a:pt x="1954" y="1995"/>
                  <a:pt x="1953" y="1994"/>
                  <a:pt x="1953" y="1994"/>
                </a:cubicBezTo>
                <a:cubicBezTo>
                  <a:pt x="1952" y="1994"/>
                  <a:pt x="1952" y="1994"/>
                  <a:pt x="1952" y="1994"/>
                </a:cubicBezTo>
                <a:cubicBezTo>
                  <a:pt x="1951" y="1994"/>
                  <a:pt x="1950" y="1993"/>
                  <a:pt x="1949" y="1992"/>
                </a:cubicBezTo>
                <a:cubicBezTo>
                  <a:pt x="1948" y="1991"/>
                  <a:pt x="1946" y="1990"/>
                  <a:pt x="1945" y="1988"/>
                </a:cubicBezTo>
                <a:cubicBezTo>
                  <a:pt x="1942" y="1985"/>
                  <a:pt x="1940" y="1983"/>
                  <a:pt x="1937" y="1980"/>
                </a:cubicBezTo>
                <a:cubicBezTo>
                  <a:pt x="1934" y="1977"/>
                  <a:pt x="1932" y="1974"/>
                  <a:pt x="1929" y="1971"/>
                </a:cubicBezTo>
                <a:cubicBezTo>
                  <a:pt x="1928" y="1970"/>
                  <a:pt x="1927" y="1969"/>
                  <a:pt x="1926" y="1968"/>
                </a:cubicBezTo>
                <a:cubicBezTo>
                  <a:pt x="1925" y="1967"/>
                  <a:pt x="1923" y="1966"/>
                  <a:pt x="1923" y="1964"/>
                </a:cubicBezTo>
                <a:cubicBezTo>
                  <a:pt x="1923" y="1963"/>
                  <a:pt x="1923" y="1962"/>
                  <a:pt x="1921" y="1961"/>
                </a:cubicBezTo>
                <a:cubicBezTo>
                  <a:pt x="1921" y="1961"/>
                  <a:pt x="1920" y="1961"/>
                  <a:pt x="1920" y="1961"/>
                </a:cubicBezTo>
                <a:cubicBezTo>
                  <a:pt x="1920" y="1961"/>
                  <a:pt x="1920" y="1961"/>
                  <a:pt x="1919" y="1961"/>
                </a:cubicBezTo>
                <a:cubicBezTo>
                  <a:pt x="1916" y="1959"/>
                  <a:pt x="1914" y="1955"/>
                  <a:pt x="1911" y="1953"/>
                </a:cubicBezTo>
                <a:cubicBezTo>
                  <a:pt x="1908" y="1949"/>
                  <a:pt x="1905" y="1946"/>
                  <a:pt x="1902" y="1943"/>
                </a:cubicBezTo>
                <a:cubicBezTo>
                  <a:pt x="1896" y="1937"/>
                  <a:pt x="1890" y="1931"/>
                  <a:pt x="1884" y="1924"/>
                </a:cubicBezTo>
                <a:cubicBezTo>
                  <a:pt x="1879" y="1919"/>
                  <a:pt x="1874" y="1914"/>
                  <a:pt x="1869" y="1908"/>
                </a:cubicBezTo>
                <a:cubicBezTo>
                  <a:pt x="1857" y="1896"/>
                  <a:pt x="1845" y="1883"/>
                  <a:pt x="1833" y="1871"/>
                </a:cubicBezTo>
                <a:cubicBezTo>
                  <a:pt x="1831" y="1868"/>
                  <a:pt x="1828" y="1865"/>
                  <a:pt x="1825" y="1863"/>
                </a:cubicBezTo>
                <a:cubicBezTo>
                  <a:pt x="1824" y="1861"/>
                  <a:pt x="1823" y="1860"/>
                  <a:pt x="1821" y="1858"/>
                </a:cubicBezTo>
                <a:cubicBezTo>
                  <a:pt x="1820" y="1857"/>
                  <a:pt x="1819" y="1856"/>
                  <a:pt x="1818" y="1855"/>
                </a:cubicBezTo>
                <a:cubicBezTo>
                  <a:pt x="1816" y="1855"/>
                  <a:pt x="1817" y="1855"/>
                  <a:pt x="1817" y="1854"/>
                </a:cubicBezTo>
                <a:cubicBezTo>
                  <a:pt x="1816" y="1853"/>
                  <a:pt x="1815" y="1851"/>
                  <a:pt x="1815" y="1851"/>
                </a:cubicBezTo>
                <a:cubicBezTo>
                  <a:pt x="1814" y="1851"/>
                  <a:pt x="1813" y="1850"/>
                  <a:pt x="1813" y="1850"/>
                </a:cubicBezTo>
                <a:cubicBezTo>
                  <a:pt x="1812" y="1849"/>
                  <a:pt x="1811" y="1848"/>
                  <a:pt x="1810" y="1847"/>
                </a:cubicBezTo>
                <a:cubicBezTo>
                  <a:pt x="1807" y="1844"/>
                  <a:pt x="1805" y="1841"/>
                  <a:pt x="1802" y="1839"/>
                </a:cubicBezTo>
                <a:cubicBezTo>
                  <a:pt x="1802" y="1838"/>
                  <a:pt x="1802" y="1838"/>
                  <a:pt x="1801" y="1838"/>
                </a:cubicBezTo>
                <a:cubicBezTo>
                  <a:pt x="1801" y="1838"/>
                  <a:pt x="1801" y="1838"/>
                  <a:pt x="1800" y="1838"/>
                </a:cubicBezTo>
                <a:cubicBezTo>
                  <a:pt x="1799" y="1838"/>
                  <a:pt x="1797" y="1836"/>
                  <a:pt x="1796" y="1835"/>
                </a:cubicBezTo>
                <a:cubicBezTo>
                  <a:pt x="1796" y="1835"/>
                  <a:pt x="1795" y="1835"/>
                  <a:pt x="1795" y="1834"/>
                </a:cubicBezTo>
                <a:cubicBezTo>
                  <a:pt x="1795" y="1834"/>
                  <a:pt x="1797" y="1834"/>
                  <a:pt x="1796" y="1832"/>
                </a:cubicBezTo>
                <a:cubicBezTo>
                  <a:pt x="1796" y="1832"/>
                  <a:pt x="1795" y="1832"/>
                  <a:pt x="1794" y="1832"/>
                </a:cubicBezTo>
                <a:cubicBezTo>
                  <a:pt x="1794" y="1832"/>
                  <a:pt x="1793" y="1831"/>
                  <a:pt x="1794" y="1830"/>
                </a:cubicBezTo>
                <a:cubicBezTo>
                  <a:pt x="1794" y="1830"/>
                  <a:pt x="1794" y="1830"/>
                  <a:pt x="1794" y="1830"/>
                </a:cubicBezTo>
                <a:cubicBezTo>
                  <a:pt x="1792" y="1828"/>
                  <a:pt x="1790" y="1827"/>
                  <a:pt x="1789" y="1825"/>
                </a:cubicBezTo>
                <a:cubicBezTo>
                  <a:pt x="1787" y="1824"/>
                  <a:pt x="1785" y="1821"/>
                  <a:pt x="1783" y="1820"/>
                </a:cubicBezTo>
                <a:cubicBezTo>
                  <a:pt x="1783" y="1820"/>
                  <a:pt x="1782" y="1820"/>
                  <a:pt x="1782" y="1820"/>
                </a:cubicBezTo>
                <a:cubicBezTo>
                  <a:pt x="1781" y="1820"/>
                  <a:pt x="1780" y="1819"/>
                  <a:pt x="1780" y="1818"/>
                </a:cubicBezTo>
                <a:cubicBezTo>
                  <a:pt x="1779" y="1817"/>
                  <a:pt x="1778" y="1815"/>
                  <a:pt x="1777" y="1814"/>
                </a:cubicBezTo>
                <a:cubicBezTo>
                  <a:pt x="1776" y="1813"/>
                  <a:pt x="1776" y="1811"/>
                  <a:pt x="1774" y="1811"/>
                </a:cubicBezTo>
                <a:cubicBezTo>
                  <a:pt x="1774" y="1811"/>
                  <a:pt x="1774" y="1811"/>
                  <a:pt x="1773" y="1811"/>
                </a:cubicBezTo>
                <a:cubicBezTo>
                  <a:pt x="1773" y="1811"/>
                  <a:pt x="1773" y="1810"/>
                  <a:pt x="1773" y="1810"/>
                </a:cubicBezTo>
                <a:cubicBezTo>
                  <a:pt x="1773" y="1810"/>
                  <a:pt x="1772" y="1810"/>
                  <a:pt x="1772" y="1809"/>
                </a:cubicBezTo>
                <a:cubicBezTo>
                  <a:pt x="1772" y="1808"/>
                  <a:pt x="1769" y="1805"/>
                  <a:pt x="1768" y="1804"/>
                </a:cubicBezTo>
                <a:cubicBezTo>
                  <a:pt x="1767" y="1803"/>
                  <a:pt x="1765" y="1801"/>
                  <a:pt x="1764" y="1799"/>
                </a:cubicBezTo>
                <a:cubicBezTo>
                  <a:pt x="1760" y="1795"/>
                  <a:pt x="1756" y="1790"/>
                  <a:pt x="1752" y="1786"/>
                </a:cubicBezTo>
                <a:cubicBezTo>
                  <a:pt x="1750" y="1784"/>
                  <a:pt x="1748" y="1783"/>
                  <a:pt x="1747" y="1781"/>
                </a:cubicBezTo>
                <a:cubicBezTo>
                  <a:pt x="1746" y="1780"/>
                  <a:pt x="1745" y="1779"/>
                  <a:pt x="1744" y="1778"/>
                </a:cubicBezTo>
                <a:cubicBezTo>
                  <a:pt x="1744" y="1778"/>
                  <a:pt x="1743" y="1777"/>
                  <a:pt x="1742" y="1777"/>
                </a:cubicBezTo>
                <a:cubicBezTo>
                  <a:pt x="1741" y="1776"/>
                  <a:pt x="1740" y="1775"/>
                  <a:pt x="1739" y="1774"/>
                </a:cubicBezTo>
                <a:cubicBezTo>
                  <a:pt x="1739" y="1774"/>
                  <a:pt x="1739" y="1774"/>
                  <a:pt x="1738" y="1773"/>
                </a:cubicBezTo>
                <a:cubicBezTo>
                  <a:pt x="1738" y="1773"/>
                  <a:pt x="1737" y="1773"/>
                  <a:pt x="1737" y="1772"/>
                </a:cubicBezTo>
                <a:cubicBezTo>
                  <a:pt x="1736" y="1772"/>
                  <a:pt x="1736" y="1770"/>
                  <a:pt x="1736" y="1770"/>
                </a:cubicBezTo>
                <a:cubicBezTo>
                  <a:pt x="1734" y="1768"/>
                  <a:pt x="1733" y="1766"/>
                  <a:pt x="1731" y="1765"/>
                </a:cubicBezTo>
                <a:cubicBezTo>
                  <a:pt x="1729" y="1762"/>
                  <a:pt x="1727" y="1760"/>
                  <a:pt x="1726" y="1759"/>
                </a:cubicBezTo>
                <a:cubicBezTo>
                  <a:pt x="1726" y="1758"/>
                  <a:pt x="1722" y="1755"/>
                  <a:pt x="1718" y="1751"/>
                </a:cubicBezTo>
                <a:cubicBezTo>
                  <a:pt x="1717" y="1749"/>
                  <a:pt x="1715" y="1748"/>
                  <a:pt x="1714" y="1747"/>
                </a:cubicBezTo>
                <a:cubicBezTo>
                  <a:pt x="1713" y="1746"/>
                  <a:pt x="1713" y="1745"/>
                  <a:pt x="1712" y="1745"/>
                </a:cubicBezTo>
                <a:cubicBezTo>
                  <a:pt x="1712" y="1744"/>
                  <a:pt x="1712" y="1743"/>
                  <a:pt x="1711" y="1743"/>
                </a:cubicBezTo>
                <a:cubicBezTo>
                  <a:pt x="1710" y="1743"/>
                  <a:pt x="1710" y="1743"/>
                  <a:pt x="1710" y="1743"/>
                </a:cubicBezTo>
                <a:cubicBezTo>
                  <a:pt x="1710" y="1743"/>
                  <a:pt x="1710" y="1743"/>
                  <a:pt x="1710" y="1743"/>
                </a:cubicBezTo>
                <a:cubicBezTo>
                  <a:pt x="1710" y="1742"/>
                  <a:pt x="1709" y="1741"/>
                  <a:pt x="1708" y="1741"/>
                </a:cubicBezTo>
                <a:cubicBezTo>
                  <a:pt x="1707" y="1740"/>
                  <a:pt x="1706" y="1739"/>
                  <a:pt x="1705" y="1737"/>
                </a:cubicBezTo>
                <a:cubicBezTo>
                  <a:pt x="1701" y="1733"/>
                  <a:pt x="1699" y="1731"/>
                  <a:pt x="1697" y="1727"/>
                </a:cubicBezTo>
                <a:cubicBezTo>
                  <a:pt x="1695" y="1724"/>
                  <a:pt x="1685" y="1714"/>
                  <a:pt x="1680" y="1709"/>
                </a:cubicBezTo>
                <a:cubicBezTo>
                  <a:pt x="1678" y="1708"/>
                  <a:pt x="1676" y="1705"/>
                  <a:pt x="1673" y="1705"/>
                </a:cubicBezTo>
                <a:cubicBezTo>
                  <a:pt x="1673" y="1705"/>
                  <a:pt x="1672" y="1704"/>
                  <a:pt x="1672" y="1704"/>
                </a:cubicBezTo>
                <a:cubicBezTo>
                  <a:pt x="1672" y="1703"/>
                  <a:pt x="1673" y="1703"/>
                  <a:pt x="1672" y="1702"/>
                </a:cubicBezTo>
                <a:cubicBezTo>
                  <a:pt x="1672" y="1701"/>
                  <a:pt x="1671" y="1700"/>
                  <a:pt x="1670" y="1700"/>
                </a:cubicBezTo>
                <a:cubicBezTo>
                  <a:pt x="1669" y="1699"/>
                  <a:pt x="1668" y="1697"/>
                  <a:pt x="1667" y="1697"/>
                </a:cubicBezTo>
                <a:cubicBezTo>
                  <a:pt x="1667" y="1698"/>
                  <a:pt x="1666" y="1698"/>
                  <a:pt x="1666" y="1698"/>
                </a:cubicBezTo>
                <a:cubicBezTo>
                  <a:pt x="1666" y="1698"/>
                  <a:pt x="1665" y="1698"/>
                  <a:pt x="1665" y="1697"/>
                </a:cubicBezTo>
                <a:cubicBezTo>
                  <a:pt x="1665" y="1697"/>
                  <a:pt x="1664" y="1696"/>
                  <a:pt x="1663" y="1696"/>
                </a:cubicBezTo>
                <a:cubicBezTo>
                  <a:pt x="1663" y="1695"/>
                  <a:pt x="1664" y="1695"/>
                  <a:pt x="1664" y="1695"/>
                </a:cubicBezTo>
                <a:cubicBezTo>
                  <a:pt x="1664" y="1695"/>
                  <a:pt x="1665" y="1695"/>
                  <a:pt x="1665" y="1695"/>
                </a:cubicBezTo>
                <a:cubicBezTo>
                  <a:pt x="1665" y="1695"/>
                  <a:pt x="1665" y="1694"/>
                  <a:pt x="1665" y="1694"/>
                </a:cubicBezTo>
                <a:cubicBezTo>
                  <a:pt x="1664" y="1693"/>
                  <a:pt x="1664" y="1693"/>
                  <a:pt x="1663" y="1693"/>
                </a:cubicBezTo>
                <a:cubicBezTo>
                  <a:pt x="1662" y="1693"/>
                  <a:pt x="1661" y="1693"/>
                  <a:pt x="1660" y="1692"/>
                </a:cubicBezTo>
                <a:cubicBezTo>
                  <a:pt x="1659" y="1691"/>
                  <a:pt x="1658" y="1690"/>
                  <a:pt x="1658" y="1690"/>
                </a:cubicBezTo>
                <a:cubicBezTo>
                  <a:pt x="1657" y="1689"/>
                  <a:pt x="1656" y="1688"/>
                  <a:pt x="1656" y="1687"/>
                </a:cubicBezTo>
                <a:cubicBezTo>
                  <a:pt x="1657" y="1685"/>
                  <a:pt x="1657" y="1685"/>
                  <a:pt x="1656" y="1685"/>
                </a:cubicBezTo>
                <a:cubicBezTo>
                  <a:pt x="1655" y="1684"/>
                  <a:pt x="1655" y="1685"/>
                  <a:pt x="1654" y="1684"/>
                </a:cubicBezTo>
                <a:cubicBezTo>
                  <a:pt x="1653" y="1682"/>
                  <a:pt x="1652" y="1681"/>
                  <a:pt x="1651" y="1679"/>
                </a:cubicBezTo>
                <a:cubicBezTo>
                  <a:pt x="1650" y="1678"/>
                  <a:pt x="1648" y="1676"/>
                  <a:pt x="1646" y="1675"/>
                </a:cubicBezTo>
                <a:cubicBezTo>
                  <a:pt x="1645" y="1675"/>
                  <a:pt x="1645" y="1675"/>
                  <a:pt x="1644" y="1675"/>
                </a:cubicBezTo>
                <a:cubicBezTo>
                  <a:pt x="1643" y="1675"/>
                  <a:pt x="1641" y="1673"/>
                  <a:pt x="1641" y="1671"/>
                </a:cubicBezTo>
                <a:cubicBezTo>
                  <a:pt x="1641" y="1671"/>
                  <a:pt x="1641" y="1671"/>
                  <a:pt x="1641" y="1671"/>
                </a:cubicBezTo>
                <a:cubicBezTo>
                  <a:pt x="1642" y="1670"/>
                  <a:pt x="1642" y="1669"/>
                  <a:pt x="1641" y="1668"/>
                </a:cubicBezTo>
                <a:cubicBezTo>
                  <a:pt x="1641" y="1668"/>
                  <a:pt x="1641" y="1668"/>
                  <a:pt x="1641" y="1668"/>
                </a:cubicBezTo>
                <a:cubicBezTo>
                  <a:pt x="1640" y="1668"/>
                  <a:pt x="1639" y="1668"/>
                  <a:pt x="1639" y="1668"/>
                </a:cubicBezTo>
                <a:cubicBezTo>
                  <a:pt x="1639" y="1668"/>
                  <a:pt x="1639" y="1667"/>
                  <a:pt x="1639" y="1667"/>
                </a:cubicBezTo>
                <a:cubicBezTo>
                  <a:pt x="1639" y="1666"/>
                  <a:pt x="1639" y="1666"/>
                  <a:pt x="1639" y="1666"/>
                </a:cubicBezTo>
                <a:cubicBezTo>
                  <a:pt x="1633" y="1660"/>
                  <a:pt x="1627" y="1654"/>
                  <a:pt x="1622" y="1648"/>
                </a:cubicBezTo>
                <a:cubicBezTo>
                  <a:pt x="1622" y="1647"/>
                  <a:pt x="1620" y="1646"/>
                  <a:pt x="1619" y="1644"/>
                </a:cubicBezTo>
                <a:cubicBezTo>
                  <a:pt x="1617" y="1643"/>
                  <a:pt x="1615" y="1641"/>
                  <a:pt x="1614" y="1639"/>
                </a:cubicBezTo>
                <a:cubicBezTo>
                  <a:pt x="1613" y="1637"/>
                  <a:pt x="1610" y="1634"/>
                  <a:pt x="1609" y="1632"/>
                </a:cubicBezTo>
                <a:cubicBezTo>
                  <a:pt x="1608" y="1631"/>
                  <a:pt x="1607" y="1630"/>
                  <a:pt x="1606" y="1629"/>
                </a:cubicBezTo>
                <a:cubicBezTo>
                  <a:pt x="1605" y="1628"/>
                  <a:pt x="1605" y="1626"/>
                  <a:pt x="1604" y="1625"/>
                </a:cubicBezTo>
                <a:cubicBezTo>
                  <a:pt x="1602" y="1625"/>
                  <a:pt x="1601" y="1625"/>
                  <a:pt x="1600" y="1623"/>
                </a:cubicBezTo>
                <a:cubicBezTo>
                  <a:pt x="1598" y="1622"/>
                  <a:pt x="1596" y="1620"/>
                  <a:pt x="1595" y="1619"/>
                </a:cubicBezTo>
                <a:cubicBezTo>
                  <a:pt x="1593" y="1616"/>
                  <a:pt x="1590" y="1614"/>
                  <a:pt x="1588" y="1612"/>
                </a:cubicBezTo>
                <a:cubicBezTo>
                  <a:pt x="1586" y="1610"/>
                  <a:pt x="1584" y="1607"/>
                  <a:pt x="1581" y="1605"/>
                </a:cubicBezTo>
                <a:cubicBezTo>
                  <a:pt x="1581" y="1606"/>
                  <a:pt x="1580" y="1606"/>
                  <a:pt x="1580" y="1605"/>
                </a:cubicBezTo>
                <a:cubicBezTo>
                  <a:pt x="1579" y="1605"/>
                  <a:pt x="1579" y="1605"/>
                  <a:pt x="1579" y="1604"/>
                </a:cubicBezTo>
                <a:cubicBezTo>
                  <a:pt x="1580" y="1603"/>
                  <a:pt x="1577" y="1601"/>
                  <a:pt x="1576" y="1601"/>
                </a:cubicBezTo>
                <a:cubicBezTo>
                  <a:pt x="1575" y="1600"/>
                  <a:pt x="1574" y="1598"/>
                  <a:pt x="1573" y="1598"/>
                </a:cubicBezTo>
                <a:cubicBezTo>
                  <a:pt x="1573" y="1598"/>
                  <a:pt x="1571" y="1598"/>
                  <a:pt x="1571" y="1597"/>
                </a:cubicBezTo>
                <a:cubicBezTo>
                  <a:pt x="1572" y="1597"/>
                  <a:pt x="1572" y="1596"/>
                  <a:pt x="1572" y="1596"/>
                </a:cubicBezTo>
                <a:cubicBezTo>
                  <a:pt x="1572" y="1595"/>
                  <a:pt x="1571" y="1595"/>
                  <a:pt x="1571" y="1595"/>
                </a:cubicBezTo>
                <a:cubicBezTo>
                  <a:pt x="1570" y="1594"/>
                  <a:pt x="1569" y="1593"/>
                  <a:pt x="1569" y="1592"/>
                </a:cubicBezTo>
                <a:cubicBezTo>
                  <a:pt x="1569" y="1591"/>
                  <a:pt x="1570" y="1589"/>
                  <a:pt x="1568" y="1589"/>
                </a:cubicBezTo>
                <a:cubicBezTo>
                  <a:pt x="1568" y="1589"/>
                  <a:pt x="1567" y="1589"/>
                  <a:pt x="1566" y="1589"/>
                </a:cubicBezTo>
                <a:cubicBezTo>
                  <a:pt x="1564" y="1589"/>
                  <a:pt x="1564" y="1587"/>
                  <a:pt x="1562" y="1586"/>
                </a:cubicBezTo>
                <a:cubicBezTo>
                  <a:pt x="1561" y="1584"/>
                  <a:pt x="1559" y="1583"/>
                  <a:pt x="1557" y="1581"/>
                </a:cubicBezTo>
                <a:cubicBezTo>
                  <a:pt x="1554" y="1577"/>
                  <a:pt x="1551" y="1574"/>
                  <a:pt x="1547" y="1570"/>
                </a:cubicBezTo>
                <a:cubicBezTo>
                  <a:pt x="1538" y="1560"/>
                  <a:pt x="1528" y="1550"/>
                  <a:pt x="1526" y="1548"/>
                </a:cubicBezTo>
                <a:cubicBezTo>
                  <a:pt x="1524" y="1546"/>
                  <a:pt x="1516" y="1538"/>
                  <a:pt x="1509" y="1531"/>
                </a:cubicBezTo>
                <a:cubicBezTo>
                  <a:pt x="1501" y="1523"/>
                  <a:pt x="1489" y="1510"/>
                  <a:pt x="1481" y="1502"/>
                </a:cubicBezTo>
                <a:cubicBezTo>
                  <a:pt x="1474" y="1494"/>
                  <a:pt x="1454" y="1473"/>
                  <a:pt x="1437" y="1456"/>
                </a:cubicBezTo>
                <a:cubicBezTo>
                  <a:pt x="1432" y="1450"/>
                  <a:pt x="1426" y="1445"/>
                  <a:pt x="1421" y="1439"/>
                </a:cubicBezTo>
                <a:cubicBezTo>
                  <a:pt x="1419" y="1437"/>
                  <a:pt x="1416" y="1434"/>
                  <a:pt x="1413" y="1431"/>
                </a:cubicBezTo>
                <a:cubicBezTo>
                  <a:pt x="1411" y="1429"/>
                  <a:pt x="1409" y="1425"/>
                  <a:pt x="1406" y="1424"/>
                </a:cubicBezTo>
                <a:cubicBezTo>
                  <a:pt x="1406" y="1424"/>
                  <a:pt x="1405" y="1423"/>
                  <a:pt x="1405" y="1423"/>
                </a:cubicBezTo>
                <a:cubicBezTo>
                  <a:pt x="1404" y="1422"/>
                  <a:pt x="1404" y="1421"/>
                  <a:pt x="1403" y="1420"/>
                </a:cubicBezTo>
                <a:cubicBezTo>
                  <a:pt x="1401" y="1419"/>
                  <a:pt x="1400" y="1418"/>
                  <a:pt x="1398" y="1416"/>
                </a:cubicBezTo>
                <a:cubicBezTo>
                  <a:pt x="1396" y="1413"/>
                  <a:pt x="1393" y="1411"/>
                  <a:pt x="1390" y="1408"/>
                </a:cubicBezTo>
                <a:cubicBezTo>
                  <a:pt x="1388" y="1405"/>
                  <a:pt x="1385" y="1403"/>
                  <a:pt x="1383" y="1401"/>
                </a:cubicBezTo>
                <a:cubicBezTo>
                  <a:pt x="1382" y="1399"/>
                  <a:pt x="1380" y="1398"/>
                  <a:pt x="1379" y="1397"/>
                </a:cubicBezTo>
                <a:cubicBezTo>
                  <a:pt x="1378" y="1396"/>
                  <a:pt x="1377" y="1394"/>
                  <a:pt x="1376" y="1394"/>
                </a:cubicBezTo>
                <a:cubicBezTo>
                  <a:pt x="1376" y="1393"/>
                  <a:pt x="1376" y="1393"/>
                  <a:pt x="1375" y="1392"/>
                </a:cubicBezTo>
                <a:cubicBezTo>
                  <a:pt x="1374" y="1392"/>
                  <a:pt x="1374" y="1391"/>
                  <a:pt x="1373" y="1390"/>
                </a:cubicBezTo>
                <a:cubicBezTo>
                  <a:pt x="1372" y="1389"/>
                  <a:pt x="1371" y="1388"/>
                  <a:pt x="1370" y="1387"/>
                </a:cubicBezTo>
                <a:cubicBezTo>
                  <a:pt x="1367" y="1384"/>
                  <a:pt x="1360" y="1377"/>
                  <a:pt x="1354" y="1371"/>
                </a:cubicBezTo>
                <a:cubicBezTo>
                  <a:pt x="1352" y="1369"/>
                  <a:pt x="1350" y="1367"/>
                  <a:pt x="1348" y="1365"/>
                </a:cubicBezTo>
                <a:cubicBezTo>
                  <a:pt x="1347" y="1363"/>
                  <a:pt x="1345" y="1362"/>
                  <a:pt x="1343" y="1360"/>
                </a:cubicBezTo>
                <a:cubicBezTo>
                  <a:pt x="1343" y="1360"/>
                  <a:pt x="1343" y="1360"/>
                  <a:pt x="1343" y="1360"/>
                </a:cubicBezTo>
                <a:cubicBezTo>
                  <a:pt x="1343" y="1359"/>
                  <a:pt x="1344" y="1359"/>
                  <a:pt x="1344" y="1359"/>
                </a:cubicBezTo>
                <a:cubicBezTo>
                  <a:pt x="1344" y="1359"/>
                  <a:pt x="1344" y="1358"/>
                  <a:pt x="1344" y="1357"/>
                </a:cubicBezTo>
                <a:cubicBezTo>
                  <a:pt x="1343" y="1357"/>
                  <a:pt x="1343" y="1356"/>
                  <a:pt x="1342" y="1356"/>
                </a:cubicBezTo>
                <a:cubicBezTo>
                  <a:pt x="1341" y="1355"/>
                  <a:pt x="1340" y="1355"/>
                  <a:pt x="1339" y="1354"/>
                </a:cubicBezTo>
                <a:cubicBezTo>
                  <a:pt x="1338" y="1353"/>
                  <a:pt x="1338" y="1353"/>
                  <a:pt x="1337" y="1352"/>
                </a:cubicBezTo>
                <a:cubicBezTo>
                  <a:pt x="1337" y="1352"/>
                  <a:pt x="1337" y="1352"/>
                  <a:pt x="1336" y="1352"/>
                </a:cubicBezTo>
                <a:cubicBezTo>
                  <a:pt x="1336" y="1352"/>
                  <a:pt x="1336" y="1351"/>
                  <a:pt x="1336" y="1351"/>
                </a:cubicBezTo>
                <a:cubicBezTo>
                  <a:pt x="1335" y="1351"/>
                  <a:pt x="1335" y="1351"/>
                  <a:pt x="1335" y="1351"/>
                </a:cubicBezTo>
                <a:cubicBezTo>
                  <a:pt x="1334" y="1351"/>
                  <a:pt x="1332" y="1349"/>
                  <a:pt x="1332" y="1348"/>
                </a:cubicBezTo>
                <a:cubicBezTo>
                  <a:pt x="1331" y="1347"/>
                  <a:pt x="1331" y="1346"/>
                  <a:pt x="1329" y="1345"/>
                </a:cubicBezTo>
                <a:cubicBezTo>
                  <a:pt x="1329" y="1344"/>
                  <a:pt x="1327" y="1342"/>
                  <a:pt x="1326" y="1342"/>
                </a:cubicBezTo>
                <a:cubicBezTo>
                  <a:pt x="1325" y="1341"/>
                  <a:pt x="1324" y="1339"/>
                  <a:pt x="1323" y="1338"/>
                </a:cubicBezTo>
                <a:cubicBezTo>
                  <a:pt x="1321" y="1337"/>
                  <a:pt x="1320" y="1335"/>
                  <a:pt x="1318" y="1334"/>
                </a:cubicBezTo>
                <a:cubicBezTo>
                  <a:pt x="1318" y="1333"/>
                  <a:pt x="1316" y="1332"/>
                  <a:pt x="1316" y="1330"/>
                </a:cubicBezTo>
                <a:cubicBezTo>
                  <a:pt x="1316" y="1330"/>
                  <a:pt x="1316" y="1330"/>
                  <a:pt x="1316" y="1329"/>
                </a:cubicBezTo>
                <a:cubicBezTo>
                  <a:pt x="1316" y="1329"/>
                  <a:pt x="1316" y="1328"/>
                  <a:pt x="1315" y="1328"/>
                </a:cubicBezTo>
                <a:cubicBezTo>
                  <a:pt x="1315" y="1328"/>
                  <a:pt x="1314" y="1328"/>
                  <a:pt x="1314" y="1328"/>
                </a:cubicBezTo>
                <a:cubicBezTo>
                  <a:pt x="1312" y="1327"/>
                  <a:pt x="1311" y="1326"/>
                  <a:pt x="1309" y="1324"/>
                </a:cubicBez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34" name="Freeform 9">
            <a:extLst>
              <a:ext uri="{FF2B5EF4-FFF2-40B4-BE49-F238E27FC236}">
                <a16:creationId xmlns:a16="http://schemas.microsoft.com/office/drawing/2014/main" id="{5C2918C8-1852-4704-18A6-850834CF25AC}"/>
              </a:ext>
            </a:extLst>
          </p:cNvPr>
          <p:cNvSpPr>
            <a:spLocks noChangeAspect="1"/>
          </p:cNvSpPr>
          <p:nvPr userDrawn="1"/>
        </p:nvSpPr>
        <p:spPr bwMode="auto">
          <a:xfrm>
            <a:off x="9990755" y="685121"/>
            <a:ext cx="2350988" cy="1895611"/>
          </a:xfrm>
          <a:custGeom>
            <a:avLst/>
            <a:gdLst>
              <a:gd name="T0" fmla="*/ 1416 w 2468"/>
              <a:gd name="T1" fmla="*/ 1106 h 1989"/>
              <a:gd name="T2" fmla="*/ 1330 w 2468"/>
              <a:gd name="T3" fmla="*/ 1038 h 1989"/>
              <a:gd name="T4" fmla="*/ 1215 w 2468"/>
              <a:gd name="T5" fmla="*/ 947 h 1989"/>
              <a:gd name="T6" fmla="*/ 1144 w 2468"/>
              <a:gd name="T7" fmla="*/ 892 h 1989"/>
              <a:gd name="T8" fmla="*/ 1093 w 2468"/>
              <a:gd name="T9" fmla="*/ 845 h 1989"/>
              <a:gd name="T10" fmla="*/ 1046 w 2468"/>
              <a:gd name="T11" fmla="*/ 812 h 1989"/>
              <a:gd name="T12" fmla="*/ 1010 w 2468"/>
              <a:gd name="T13" fmla="*/ 785 h 1989"/>
              <a:gd name="T14" fmla="*/ 957 w 2468"/>
              <a:gd name="T15" fmla="*/ 744 h 1989"/>
              <a:gd name="T16" fmla="*/ 890 w 2468"/>
              <a:gd name="T17" fmla="*/ 685 h 1989"/>
              <a:gd name="T18" fmla="*/ 785 w 2468"/>
              <a:gd name="T19" fmla="*/ 608 h 1989"/>
              <a:gd name="T20" fmla="*/ 722 w 2468"/>
              <a:gd name="T21" fmla="*/ 559 h 1989"/>
              <a:gd name="T22" fmla="*/ 627 w 2468"/>
              <a:gd name="T23" fmla="*/ 483 h 1989"/>
              <a:gd name="T24" fmla="*/ 577 w 2468"/>
              <a:gd name="T25" fmla="*/ 443 h 1989"/>
              <a:gd name="T26" fmla="*/ 536 w 2468"/>
              <a:gd name="T27" fmla="*/ 410 h 1989"/>
              <a:gd name="T28" fmla="*/ 481 w 2468"/>
              <a:gd name="T29" fmla="*/ 365 h 1989"/>
              <a:gd name="T30" fmla="*/ 422 w 2468"/>
              <a:gd name="T31" fmla="*/ 315 h 1989"/>
              <a:gd name="T32" fmla="*/ 328 w 2468"/>
              <a:gd name="T33" fmla="*/ 241 h 1989"/>
              <a:gd name="T34" fmla="*/ 293 w 2468"/>
              <a:gd name="T35" fmla="*/ 211 h 1989"/>
              <a:gd name="T36" fmla="*/ 243 w 2468"/>
              <a:gd name="T37" fmla="*/ 169 h 1989"/>
              <a:gd name="T38" fmla="*/ 186 w 2468"/>
              <a:gd name="T39" fmla="*/ 121 h 1989"/>
              <a:gd name="T40" fmla="*/ 141 w 2468"/>
              <a:gd name="T41" fmla="*/ 92 h 1989"/>
              <a:gd name="T42" fmla="*/ 94 w 2468"/>
              <a:gd name="T43" fmla="*/ 58 h 1989"/>
              <a:gd name="T44" fmla="*/ 5 w 2468"/>
              <a:gd name="T45" fmla="*/ 27 h 1989"/>
              <a:gd name="T46" fmla="*/ 275 w 2468"/>
              <a:gd name="T47" fmla="*/ 258 h 1989"/>
              <a:gd name="T48" fmla="*/ 445 w 2468"/>
              <a:gd name="T49" fmla="*/ 391 h 1989"/>
              <a:gd name="T50" fmla="*/ 521 w 2468"/>
              <a:gd name="T51" fmla="*/ 452 h 1989"/>
              <a:gd name="T52" fmla="*/ 600 w 2468"/>
              <a:gd name="T53" fmla="*/ 519 h 1989"/>
              <a:gd name="T54" fmla="*/ 661 w 2468"/>
              <a:gd name="T55" fmla="*/ 572 h 1989"/>
              <a:gd name="T56" fmla="*/ 730 w 2468"/>
              <a:gd name="T57" fmla="*/ 625 h 1989"/>
              <a:gd name="T58" fmla="*/ 975 w 2468"/>
              <a:gd name="T59" fmla="*/ 819 h 1989"/>
              <a:gd name="T60" fmla="*/ 1047 w 2468"/>
              <a:gd name="T61" fmla="*/ 875 h 1989"/>
              <a:gd name="T62" fmla="*/ 1144 w 2468"/>
              <a:gd name="T63" fmla="*/ 952 h 1989"/>
              <a:gd name="T64" fmla="*/ 1224 w 2468"/>
              <a:gd name="T65" fmla="*/ 1012 h 1989"/>
              <a:gd name="T66" fmla="*/ 1281 w 2468"/>
              <a:gd name="T67" fmla="*/ 1062 h 1989"/>
              <a:gd name="T68" fmla="*/ 1312 w 2468"/>
              <a:gd name="T69" fmla="*/ 1087 h 1989"/>
              <a:gd name="T70" fmla="*/ 1360 w 2468"/>
              <a:gd name="T71" fmla="*/ 1126 h 1989"/>
              <a:gd name="T72" fmla="*/ 1419 w 2468"/>
              <a:gd name="T73" fmla="*/ 1174 h 1989"/>
              <a:gd name="T74" fmla="*/ 1461 w 2468"/>
              <a:gd name="T75" fmla="*/ 1207 h 1989"/>
              <a:gd name="T76" fmla="*/ 1524 w 2468"/>
              <a:gd name="T77" fmla="*/ 1255 h 1989"/>
              <a:gd name="T78" fmla="*/ 1583 w 2468"/>
              <a:gd name="T79" fmla="*/ 1303 h 1989"/>
              <a:gd name="T80" fmla="*/ 1684 w 2468"/>
              <a:gd name="T81" fmla="*/ 1377 h 1989"/>
              <a:gd name="T82" fmla="*/ 1787 w 2468"/>
              <a:gd name="T83" fmla="*/ 1458 h 1989"/>
              <a:gd name="T84" fmla="*/ 1870 w 2468"/>
              <a:gd name="T85" fmla="*/ 1526 h 1989"/>
              <a:gd name="T86" fmla="*/ 1918 w 2468"/>
              <a:gd name="T87" fmla="*/ 1567 h 1989"/>
              <a:gd name="T88" fmla="*/ 1962 w 2468"/>
              <a:gd name="T89" fmla="*/ 1603 h 1989"/>
              <a:gd name="T90" fmla="*/ 2006 w 2468"/>
              <a:gd name="T91" fmla="*/ 1640 h 1989"/>
              <a:gd name="T92" fmla="*/ 2085 w 2468"/>
              <a:gd name="T93" fmla="*/ 1703 h 1989"/>
              <a:gd name="T94" fmla="*/ 2140 w 2468"/>
              <a:gd name="T95" fmla="*/ 1747 h 1989"/>
              <a:gd name="T96" fmla="*/ 2163 w 2468"/>
              <a:gd name="T97" fmla="*/ 1770 h 1989"/>
              <a:gd name="T98" fmla="*/ 2205 w 2468"/>
              <a:gd name="T99" fmla="*/ 1800 h 1989"/>
              <a:gd name="T100" fmla="*/ 2256 w 2468"/>
              <a:gd name="T101" fmla="*/ 1842 h 1989"/>
              <a:gd name="T102" fmla="*/ 2302 w 2468"/>
              <a:gd name="T103" fmla="*/ 1879 h 1989"/>
              <a:gd name="T104" fmla="*/ 2340 w 2468"/>
              <a:gd name="T105" fmla="*/ 1904 h 1989"/>
              <a:gd name="T106" fmla="*/ 2392 w 2468"/>
              <a:gd name="T107" fmla="*/ 1947 h 1989"/>
              <a:gd name="T108" fmla="*/ 2199 w 2468"/>
              <a:gd name="T109" fmla="*/ 1733 h 1989"/>
              <a:gd name="T110" fmla="*/ 2035 w 2468"/>
              <a:gd name="T111" fmla="*/ 1602 h 1989"/>
              <a:gd name="T112" fmla="*/ 1959 w 2468"/>
              <a:gd name="T113" fmla="*/ 1541 h 1989"/>
              <a:gd name="T114" fmla="*/ 1868 w 2468"/>
              <a:gd name="T115" fmla="*/ 1469 h 1989"/>
              <a:gd name="T116" fmla="*/ 1808 w 2468"/>
              <a:gd name="T117" fmla="*/ 1418 h 1989"/>
              <a:gd name="T118" fmla="*/ 1609 w 2468"/>
              <a:gd name="T119" fmla="*/ 1259 h 1989"/>
              <a:gd name="T120" fmla="*/ 1495 w 2468"/>
              <a:gd name="T121" fmla="*/ 1169 h 19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68" h="1989">
                <a:moveTo>
                  <a:pt x="1465" y="1146"/>
                </a:moveTo>
                <a:lnTo>
                  <a:pt x="1465" y="1146"/>
                </a:lnTo>
                <a:cubicBezTo>
                  <a:pt x="1464" y="1145"/>
                  <a:pt x="1464" y="1145"/>
                  <a:pt x="1463" y="1145"/>
                </a:cubicBezTo>
                <a:cubicBezTo>
                  <a:pt x="1462" y="1143"/>
                  <a:pt x="1460" y="1141"/>
                  <a:pt x="1459" y="1138"/>
                </a:cubicBezTo>
                <a:cubicBezTo>
                  <a:pt x="1458" y="1137"/>
                  <a:pt x="1457" y="1136"/>
                  <a:pt x="1456" y="1135"/>
                </a:cubicBezTo>
                <a:cubicBezTo>
                  <a:pt x="1456" y="1134"/>
                  <a:pt x="1455" y="1133"/>
                  <a:pt x="1454" y="1133"/>
                </a:cubicBezTo>
                <a:cubicBezTo>
                  <a:pt x="1453" y="1133"/>
                  <a:pt x="1453" y="1133"/>
                  <a:pt x="1452" y="1133"/>
                </a:cubicBezTo>
                <a:cubicBezTo>
                  <a:pt x="1451" y="1133"/>
                  <a:pt x="1450" y="1132"/>
                  <a:pt x="1449" y="1132"/>
                </a:cubicBezTo>
                <a:cubicBezTo>
                  <a:pt x="1448" y="1131"/>
                  <a:pt x="1449" y="1130"/>
                  <a:pt x="1448" y="1129"/>
                </a:cubicBezTo>
                <a:cubicBezTo>
                  <a:pt x="1448" y="1128"/>
                  <a:pt x="1446" y="1129"/>
                  <a:pt x="1446" y="1128"/>
                </a:cubicBezTo>
                <a:cubicBezTo>
                  <a:pt x="1446" y="1128"/>
                  <a:pt x="1446" y="1127"/>
                  <a:pt x="1445" y="1127"/>
                </a:cubicBezTo>
                <a:cubicBezTo>
                  <a:pt x="1445" y="1127"/>
                  <a:pt x="1445" y="1126"/>
                  <a:pt x="1445" y="1125"/>
                </a:cubicBezTo>
                <a:cubicBezTo>
                  <a:pt x="1445" y="1125"/>
                  <a:pt x="1445" y="1125"/>
                  <a:pt x="1445" y="1125"/>
                </a:cubicBezTo>
                <a:cubicBezTo>
                  <a:pt x="1445" y="1125"/>
                  <a:pt x="1445" y="1125"/>
                  <a:pt x="1444" y="1124"/>
                </a:cubicBezTo>
                <a:cubicBezTo>
                  <a:pt x="1444" y="1124"/>
                  <a:pt x="1444" y="1124"/>
                  <a:pt x="1443" y="1123"/>
                </a:cubicBezTo>
                <a:cubicBezTo>
                  <a:pt x="1443" y="1123"/>
                  <a:pt x="1442" y="1122"/>
                  <a:pt x="1441" y="1122"/>
                </a:cubicBezTo>
                <a:cubicBezTo>
                  <a:pt x="1440" y="1121"/>
                  <a:pt x="1439" y="1120"/>
                  <a:pt x="1438" y="1120"/>
                </a:cubicBezTo>
                <a:cubicBezTo>
                  <a:pt x="1436" y="1118"/>
                  <a:pt x="1434" y="1116"/>
                  <a:pt x="1431" y="1115"/>
                </a:cubicBezTo>
                <a:cubicBezTo>
                  <a:pt x="1430" y="1115"/>
                  <a:pt x="1430" y="1116"/>
                  <a:pt x="1429" y="1117"/>
                </a:cubicBezTo>
                <a:cubicBezTo>
                  <a:pt x="1429" y="1118"/>
                  <a:pt x="1429" y="1118"/>
                  <a:pt x="1429" y="1117"/>
                </a:cubicBezTo>
                <a:cubicBezTo>
                  <a:pt x="1428" y="1117"/>
                  <a:pt x="1428" y="1116"/>
                  <a:pt x="1427" y="1116"/>
                </a:cubicBezTo>
                <a:cubicBezTo>
                  <a:pt x="1427" y="1115"/>
                  <a:pt x="1426" y="1115"/>
                  <a:pt x="1425" y="1114"/>
                </a:cubicBezTo>
                <a:cubicBezTo>
                  <a:pt x="1424" y="1113"/>
                  <a:pt x="1422" y="1112"/>
                  <a:pt x="1421" y="1110"/>
                </a:cubicBezTo>
                <a:cubicBezTo>
                  <a:pt x="1420" y="1109"/>
                  <a:pt x="1418" y="1105"/>
                  <a:pt x="1416" y="1106"/>
                </a:cubicBezTo>
                <a:cubicBezTo>
                  <a:pt x="1415" y="1106"/>
                  <a:pt x="1415" y="1107"/>
                  <a:pt x="1415" y="1107"/>
                </a:cubicBezTo>
                <a:cubicBezTo>
                  <a:pt x="1414" y="1107"/>
                  <a:pt x="1413" y="1105"/>
                  <a:pt x="1412" y="1104"/>
                </a:cubicBezTo>
                <a:cubicBezTo>
                  <a:pt x="1406" y="1098"/>
                  <a:pt x="1401" y="1093"/>
                  <a:pt x="1393" y="1087"/>
                </a:cubicBezTo>
                <a:cubicBezTo>
                  <a:pt x="1391" y="1086"/>
                  <a:pt x="1388" y="1085"/>
                  <a:pt x="1387" y="1083"/>
                </a:cubicBezTo>
                <a:cubicBezTo>
                  <a:pt x="1386" y="1082"/>
                  <a:pt x="1386" y="1082"/>
                  <a:pt x="1386" y="1081"/>
                </a:cubicBezTo>
                <a:cubicBezTo>
                  <a:pt x="1386" y="1080"/>
                  <a:pt x="1385" y="1079"/>
                  <a:pt x="1384" y="1078"/>
                </a:cubicBezTo>
                <a:cubicBezTo>
                  <a:pt x="1383" y="1078"/>
                  <a:pt x="1382" y="1077"/>
                  <a:pt x="1381" y="1076"/>
                </a:cubicBezTo>
                <a:cubicBezTo>
                  <a:pt x="1381" y="1075"/>
                  <a:pt x="1381" y="1074"/>
                  <a:pt x="1380" y="1074"/>
                </a:cubicBezTo>
                <a:cubicBezTo>
                  <a:pt x="1379" y="1073"/>
                  <a:pt x="1378" y="1073"/>
                  <a:pt x="1377" y="1073"/>
                </a:cubicBezTo>
                <a:cubicBezTo>
                  <a:pt x="1375" y="1073"/>
                  <a:pt x="1374" y="1073"/>
                  <a:pt x="1373" y="1072"/>
                </a:cubicBezTo>
                <a:cubicBezTo>
                  <a:pt x="1372" y="1070"/>
                  <a:pt x="1370" y="1069"/>
                  <a:pt x="1369" y="1068"/>
                </a:cubicBezTo>
                <a:cubicBezTo>
                  <a:pt x="1365" y="1065"/>
                  <a:pt x="1361" y="1062"/>
                  <a:pt x="1360" y="1062"/>
                </a:cubicBezTo>
                <a:cubicBezTo>
                  <a:pt x="1359" y="1061"/>
                  <a:pt x="1358" y="1060"/>
                  <a:pt x="1358" y="1060"/>
                </a:cubicBezTo>
                <a:cubicBezTo>
                  <a:pt x="1357" y="1059"/>
                  <a:pt x="1357" y="1058"/>
                  <a:pt x="1357" y="1057"/>
                </a:cubicBezTo>
                <a:cubicBezTo>
                  <a:pt x="1357" y="1057"/>
                  <a:pt x="1356" y="1056"/>
                  <a:pt x="1356" y="1055"/>
                </a:cubicBezTo>
                <a:cubicBezTo>
                  <a:pt x="1355" y="1054"/>
                  <a:pt x="1354" y="1053"/>
                  <a:pt x="1353" y="1052"/>
                </a:cubicBezTo>
                <a:cubicBezTo>
                  <a:pt x="1352" y="1052"/>
                  <a:pt x="1352" y="1051"/>
                  <a:pt x="1352" y="1051"/>
                </a:cubicBezTo>
                <a:cubicBezTo>
                  <a:pt x="1351" y="1051"/>
                  <a:pt x="1351" y="1051"/>
                  <a:pt x="1350" y="1051"/>
                </a:cubicBezTo>
                <a:cubicBezTo>
                  <a:pt x="1347" y="1051"/>
                  <a:pt x="1344" y="1049"/>
                  <a:pt x="1343" y="1047"/>
                </a:cubicBezTo>
                <a:cubicBezTo>
                  <a:pt x="1342" y="1045"/>
                  <a:pt x="1340" y="1044"/>
                  <a:pt x="1339" y="1043"/>
                </a:cubicBezTo>
                <a:cubicBezTo>
                  <a:pt x="1338" y="1043"/>
                  <a:pt x="1338" y="1042"/>
                  <a:pt x="1337" y="1042"/>
                </a:cubicBezTo>
                <a:cubicBezTo>
                  <a:pt x="1337" y="1042"/>
                  <a:pt x="1336" y="1042"/>
                  <a:pt x="1336" y="1042"/>
                </a:cubicBezTo>
                <a:cubicBezTo>
                  <a:pt x="1335" y="1042"/>
                  <a:pt x="1333" y="1042"/>
                  <a:pt x="1333" y="1041"/>
                </a:cubicBezTo>
                <a:cubicBezTo>
                  <a:pt x="1332" y="1040"/>
                  <a:pt x="1331" y="1039"/>
                  <a:pt x="1330" y="1038"/>
                </a:cubicBezTo>
                <a:cubicBezTo>
                  <a:pt x="1329" y="1037"/>
                  <a:pt x="1327" y="1036"/>
                  <a:pt x="1326" y="1035"/>
                </a:cubicBezTo>
                <a:cubicBezTo>
                  <a:pt x="1324" y="1034"/>
                  <a:pt x="1322" y="1033"/>
                  <a:pt x="1320" y="1031"/>
                </a:cubicBezTo>
                <a:cubicBezTo>
                  <a:pt x="1315" y="1028"/>
                  <a:pt x="1309" y="1023"/>
                  <a:pt x="1307" y="1022"/>
                </a:cubicBezTo>
                <a:cubicBezTo>
                  <a:pt x="1306" y="1021"/>
                  <a:pt x="1304" y="1019"/>
                  <a:pt x="1303" y="1019"/>
                </a:cubicBezTo>
                <a:cubicBezTo>
                  <a:pt x="1303" y="1019"/>
                  <a:pt x="1302" y="1019"/>
                  <a:pt x="1302" y="1019"/>
                </a:cubicBezTo>
                <a:cubicBezTo>
                  <a:pt x="1301" y="1019"/>
                  <a:pt x="1300" y="1017"/>
                  <a:pt x="1299" y="1016"/>
                </a:cubicBezTo>
                <a:cubicBezTo>
                  <a:pt x="1299" y="1014"/>
                  <a:pt x="1298" y="1014"/>
                  <a:pt x="1296" y="1013"/>
                </a:cubicBezTo>
                <a:cubicBezTo>
                  <a:pt x="1293" y="1011"/>
                  <a:pt x="1290" y="1008"/>
                  <a:pt x="1288" y="1006"/>
                </a:cubicBezTo>
                <a:cubicBezTo>
                  <a:pt x="1285" y="1004"/>
                  <a:pt x="1283" y="1002"/>
                  <a:pt x="1281" y="1000"/>
                </a:cubicBezTo>
                <a:cubicBezTo>
                  <a:pt x="1279" y="999"/>
                  <a:pt x="1276" y="995"/>
                  <a:pt x="1274" y="995"/>
                </a:cubicBezTo>
                <a:cubicBezTo>
                  <a:pt x="1273" y="995"/>
                  <a:pt x="1273" y="995"/>
                  <a:pt x="1272" y="995"/>
                </a:cubicBezTo>
                <a:cubicBezTo>
                  <a:pt x="1272" y="995"/>
                  <a:pt x="1272" y="995"/>
                  <a:pt x="1272" y="994"/>
                </a:cubicBezTo>
                <a:cubicBezTo>
                  <a:pt x="1271" y="993"/>
                  <a:pt x="1270" y="993"/>
                  <a:pt x="1270" y="992"/>
                </a:cubicBezTo>
                <a:cubicBezTo>
                  <a:pt x="1269" y="991"/>
                  <a:pt x="1269" y="990"/>
                  <a:pt x="1268" y="989"/>
                </a:cubicBezTo>
                <a:cubicBezTo>
                  <a:pt x="1266" y="987"/>
                  <a:pt x="1264" y="986"/>
                  <a:pt x="1262" y="985"/>
                </a:cubicBezTo>
                <a:cubicBezTo>
                  <a:pt x="1260" y="984"/>
                  <a:pt x="1258" y="983"/>
                  <a:pt x="1257" y="981"/>
                </a:cubicBezTo>
                <a:cubicBezTo>
                  <a:pt x="1256" y="981"/>
                  <a:pt x="1255" y="980"/>
                  <a:pt x="1255" y="980"/>
                </a:cubicBezTo>
                <a:cubicBezTo>
                  <a:pt x="1254" y="980"/>
                  <a:pt x="1253" y="980"/>
                  <a:pt x="1252" y="980"/>
                </a:cubicBezTo>
                <a:cubicBezTo>
                  <a:pt x="1252" y="980"/>
                  <a:pt x="1251" y="980"/>
                  <a:pt x="1251" y="979"/>
                </a:cubicBezTo>
                <a:cubicBezTo>
                  <a:pt x="1248" y="977"/>
                  <a:pt x="1245" y="975"/>
                  <a:pt x="1242" y="973"/>
                </a:cubicBezTo>
                <a:cubicBezTo>
                  <a:pt x="1240" y="972"/>
                  <a:pt x="1238" y="969"/>
                  <a:pt x="1236" y="967"/>
                </a:cubicBezTo>
                <a:cubicBezTo>
                  <a:pt x="1233" y="964"/>
                  <a:pt x="1230" y="962"/>
                  <a:pt x="1227" y="960"/>
                </a:cubicBezTo>
                <a:cubicBezTo>
                  <a:pt x="1225" y="958"/>
                  <a:pt x="1224" y="955"/>
                  <a:pt x="1221" y="953"/>
                </a:cubicBezTo>
                <a:cubicBezTo>
                  <a:pt x="1219" y="951"/>
                  <a:pt x="1217" y="949"/>
                  <a:pt x="1215" y="947"/>
                </a:cubicBezTo>
                <a:cubicBezTo>
                  <a:pt x="1214" y="946"/>
                  <a:pt x="1212" y="946"/>
                  <a:pt x="1211" y="945"/>
                </a:cubicBezTo>
                <a:cubicBezTo>
                  <a:pt x="1210" y="944"/>
                  <a:pt x="1209" y="944"/>
                  <a:pt x="1208" y="943"/>
                </a:cubicBezTo>
                <a:cubicBezTo>
                  <a:pt x="1208" y="943"/>
                  <a:pt x="1207" y="942"/>
                  <a:pt x="1207" y="942"/>
                </a:cubicBezTo>
                <a:cubicBezTo>
                  <a:pt x="1206" y="940"/>
                  <a:pt x="1204" y="938"/>
                  <a:pt x="1203" y="937"/>
                </a:cubicBezTo>
                <a:cubicBezTo>
                  <a:pt x="1201" y="935"/>
                  <a:pt x="1198" y="932"/>
                  <a:pt x="1196" y="930"/>
                </a:cubicBezTo>
                <a:cubicBezTo>
                  <a:pt x="1195" y="929"/>
                  <a:pt x="1193" y="928"/>
                  <a:pt x="1192" y="928"/>
                </a:cubicBezTo>
                <a:cubicBezTo>
                  <a:pt x="1190" y="927"/>
                  <a:pt x="1189" y="927"/>
                  <a:pt x="1187" y="926"/>
                </a:cubicBezTo>
                <a:cubicBezTo>
                  <a:pt x="1187" y="925"/>
                  <a:pt x="1187" y="925"/>
                  <a:pt x="1187" y="925"/>
                </a:cubicBezTo>
                <a:cubicBezTo>
                  <a:pt x="1186" y="924"/>
                  <a:pt x="1186" y="924"/>
                  <a:pt x="1185" y="924"/>
                </a:cubicBezTo>
                <a:cubicBezTo>
                  <a:pt x="1184" y="923"/>
                  <a:pt x="1183" y="922"/>
                  <a:pt x="1181" y="921"/>
                </a:cubicBezTo>
                <a:cubicBezTo>
                  <a:pt x="1180" y="921"/>
                  <a:pt x="1180" y="921"/>
                  <a:pt x="1180" y="921"/>
                </a:cubicBezTo>
                <a:cubicBezTo>
                  <a:pt x="1179" y="921"/>
                  <a:pt x="1179" y="920"/>
                  <a:pt x="1179" y="920"/>
                </a:cubicBezTo>
                <a:cubicBezTo>
                  <a:pt x="1177" y="919"/>
                  <a:pt x="1175" y="918"/>
                  <a:pt x="1174" y="916"/>
                </a:cubicBezTo>
                <a:cubicBezTo>
                  <a:pt x="1173" y="914"/>
                  <a:pt x="1171" y="913"/>
                  <a:pt x="1170" y="911"/>
                </a:cubicBezTo>
                <a:cubicBezTo>
                  <a:pt x="1168" y="909"/>
                  <a:pt x="1166" y="907"/>
                  <a:pt x="1165" y="905"/>
                </a:cubicBezTo>
                <a:cubicBezTo>
                  <a:pt x="1163" y="903"/>
                  <a:pt x="1161" y="903"/>
                  <a:pt x="1159" y="901"/>
                </a:cubicBezTo>
                <a:cubicBezTo>
                  <a:pt x="1159" y="901"/>
                  <a:pt x="1159" y="901"/>
                  <a:pt x="1159" y="901"/>
                </a:cubicBezTo>
                <a:cubicBezTo>
                  <a:pt x="1158" y="901"/>
                  <a:pt x="1158" y="900"/>
                  <a:pt x="1158" y="900"/>
                </a:cubicBezTo>
                <a:cubicBezTo>
                  <a:pt x="1158" y="900"/>
                  <a:pt x="1158" y="899"/>
                  <a:pt x="1158" y="899"/>
                </a:cubicBezTo>
                <a:cubicBezTo>
                  <a:pt x="1156" y="898"/>
                  <a:pt x="1155" y="897"/>
                  <a:pt x="1154" y="896"/>
                </a:cubicBezTo>
                <a:cubicBezTo>
                  <a:pt x="1153" y="895"/>
                  <a:pt x="1152" y="894"/>
                  <a:pt x="1152" y="893"/>
                </a:cubicBezTo>
                <a:cubicBezTo>
                  <a:pt x="1151" y="893"/>
                  <a:pt x="1150" y="892"/>
                  <a:pt x="1149" y="892"/>
                </a:cubicBezTo>
                <a:cubicBezTo>
                  <a:pt x="1148" y="892"/>
                  <a:pt x="1149" y="893"/>
                  <a:pt x="1148" y="894"/>
                </a:cubicBezTo>
                <a:cubicBezTo>
                  <a:pt x="1146" y="895"/>
                  <a:pt x="1145" y="893"/>
                  <a:pt x="1144" y="892"/>
                </a:cubicBezTo>
                <a:cubicBezTo>
                  <a:pt x="1143" y="891"/>
                  <a:pt x="1141" y="890"/>
                  <a:pt x="1140" y="889"/>
                </a:cubicBezTo>
                <a:cubicBezTo>
                  <a:pt x="1138" y="887"/>
                  <a:pt x="1137" y="886"/>
                  <a:pt x="1135" y="885"/>
                </a:cubicBezTo>
                <a:cubicBezTo>
                  <a:pt x="1134" y="884"/>
                  <a:pt x="1133" y="884"/>
                  <a:pt x="1134" y="882"/>
                </a:cubicBezTo>
                <a:cubicBezTo>
                  <a:pt x="1134" y="881"/>
                  <a:pt x="1134" y="880"/>
                  <a:pt x="1133" y="879"/>
                </a:cubicBezTo>
                <a:cubicBezTo>
                  <a:pt x="1133" y="879"/>
                  <a:pt x="1133" y="879"/>
                  <a:pt x="1133" y="879"/>
                </a:cubicBezTo>
                <a:cubicBezTo>
                  <a:pt x="1133" y="879"/>
                  <a:pt x="1133" y="878"/>
                  <a:pt x="1132" y="878"/>
                </a:cubicBezTo>
                <a:cubicBezTo>
                  <a:pt x="1132" y="878"/>
                  <a:pt x="1132" y="877"/>
                  <a:pt x="1132" y="877"/>
                </a:cubicBezTo>
                <a:cubicBezTo>
                  <a:pt x="1131" y="877"/>
                  <a:pt x="1131" y="876"/>
                  <a:pt x="1130" y="876"/>
                </a:cubicBezTo>
                <a:cubicBezTo>
                  <a:pt x="1129" y="875"/>
                  <a:pt x="1129" y="875"/>
                  <a:pt x="1129" y="875"/>
                </a:cubicBezTo>
                <a:cubicBezTo>
                  <a:pt x="1129" y="875"/>
                  <a:pt x="1129" y="875"/>
                  <a:pt x="1129" y="875"/>
                </a:cubicBezTo>
                <a:cubicBezTo>
                  <a:pt x="1128" y="873"/>
                  <a:pt x="1127" y="873"/>
                  <a:pt x="1126" y="872"/>
                </a:cubicBezTo>
                <a:cubicBezTo>
                  <a:pt x="1124" y="871"/>
                  <a:pt x="1123" y="870"/>
                  <a:pt x="1121" y="869"/>
                </a:cubicBezTo>
                <a:cubicBezTo>
                  <a:pt x="1120" y="868"/>
                  <a:pt x="1119" y="867"/>
                  <a:pt x="1118" y="865"/>
                </a:cubicBezTo>
                <a:cubicBezTo>
                  <a:pt x="1117" y="865"/>
                  <a:pt x="1117" y="864"/>
                  <a:pt x="1116" y="864"/>
                </a:cubicBezTo>
                <a:cubicBezTo>
                  <a:pt x="1115" y="863"/>
                  <a:pt x="1115" y="863"/>
                  <a:pt x="1114" y="863"/>
                </a:cubicBezTo>
                <a:cubicBezTo>
                  <a:pt x="1113" y="862"/>
                  <a:pt x="1111" y="861"/>
                  <a:pt x="1109" y="860"/>
                </a:cubicBezTo>
                <a:cubicBezTo>
                  <a:pt x="1108" y="859"/>
                  <a:pt x="1107" y="858"/>
                  <a:pt x="1105" y="857"/>
                </a:cubicBezTo>
                <a:cubicBezTo>
                  <a:pt x="1103" y="857"/>
                  <a:pt x="1102" y="856"/>
                  <a:pt x="1101" y="855"/>
                </a:cubicBezTo>
                <a:cubicBezTo>
                  <a:pt x="1100" y="853"/>
                  <a:pt x="1098" y="852"/>
                  <a:pt x="1097" y="851"/>
                </a:cubicBezTo>
                <a:cubicBezTo>
                  <a:pt x="1096" y="850"/>
                  <a:pt x="1096" y="849"/>
                  <a:pt x="1095" y="849"/>
                </a:cubicBezTo>
                <a:cubicBezTo>
                  <a:pt x="1094" y="848"/>
                  <a:pt x="1093" y="848"/>
                  <a:pt x="1092" y="847"/>
                </a:cubicBezTo>
                <a:cubicBezTo>
                  <a:pt x="1092" y="847"/>
                  <a:pt x="1093" y="847"/>
                  <a:pt x="1093" y="847"/>
                </a:cubicBezTo>
                <a:cubicBezTo>
                  <a:pt x="1093" y="847"/>
                  <a:pt x="1093" y="846"/>
                  <a:pt x="1093" y="846"/>
                </a:cubicBezTo>
                <a:cubicBezTo>
                  <a:pt x="1094" y="845"/>
                  <a:pt x="1094" y="845"/>
                  <a:pt x="1093" y="845"/>
                </a:cubicBezTo>
                <a:cubicBezTo>
                  <a:pt x="1093" y="845"/>
                  <a:pt x="1093" y="844"/>
                  <a:pt x="1092" y="844"/>
                </a:cubicBezTo>
                <a:cubicBezTo>
                  <a:pt x="1092" y="844"/>
                  <a:pt x="1092" y="844"/>
                  <a:pt x="1091" y="844"/>
                </a:cubicBezTo>
                <a:cubicBezTo>
                  <a:pt x="1091" y="844"/>
                  <a:pt x="1091" y="844"/>
                  <a:pt x="1091" y="844"/>
                </a:cubicBezTo>
                <a:cubicBezTo>
                  <a:pt x="1091" y="844"/>
                  <a:pt x="1091" y="844"/>
                  <a:pt x="1091" y="844"/>
                </a:cubicBezTo>
                <a:cubicBezTo>
                  <a:pt x="1091" y="843"/>
                  <a:pt x="1091" y="843"/>
                  <a:pt x="1090" y="843"/>
                </a:cubicBezTo>
                <a:cubicBezTo>
                  <a:pt x="1090" y="843"/>
                  <a:pt x="1090" y="843"/>
                  <a:pt x="1090" y="843"/>
                </a:cubicBezTo>
                <a:cubicBezTo>
                  <a:pt x="1089" y="842"/>
                  <a:pt x="1088" y="842"/>
                  <a:pt x="1088" y="841"/>
                </a:cubicBezTo>
                <a:cubicBezTo>
                  <a:pt x="1087" y="840"/>
                  <a:pt x="1085" y="839"/>
                  <a:pt x="1084" y="838"/>
                </a:cubicBezTo>
                <a:cubicBezTo>
                  <a:pt x="1082" y="836"/>
                  <a:pt x="1079" y="834"/>
                  <a:pt x="1076" y="832"/>
                </a:cubicBezTo>
                <a:cubicBezTo>
                  <a:pt x="1075" y="831"/>
                  <a:pt x="1073" y="830"/>
                  <a:pt x="1071" y="829"/>
                </a:cubicBezTo>
                <a:cubicBezTo>
                  <a:pt x="1071" y="829"/>
                  <a:pt x="1070" y="828"/>
                  <a:pt x="1069" y="828"/>
                </a:cubicBezTo>
                <a:cubicBezTo>
                  <a:pt x="1068" y="828"/>
                  <a:pt x="1068" y="828"/>
                  <a:pt x="1067" y="827"/>
                </a:cubicBezTo>
                <a:cubicBezTo>
                  <a:pt x="1067" y="827"/>
                  <a:pt x="1067" y="827"/>
                  <a:pt x="1067" y="827"/>
                </a:cubicBezTo>
                <a:cubicBezTo>
                  <a:pt x="1066" y="826"/>
                  <a:pt x="1066" y="826"/>
                  <a:pt x="1066" y="826"/>
                </a:cubicBezTo>
                <a:cubicBezTo>
                  <a:pt x="1066" y="825"/>
                  <a:pt x="1066" y="825"/>
                  <a:pt x="1066" y="824"/>
                </a:cubicBezTo>
                <a:cubicBezTo>
                  <a:pt x="1065" y="824"/>
                  <a:pt x="1065" y="824"/>
                  <a:pt x="1065" y="823"/>
                </a:cubicBezTo>
                <a:cubicBezTo>
                  <a:pt x="1064" y="823"/>
                  <a:pt x="1064" y="824"/>
                  <a:pt x="1063" y="824"/>
                </a:cubicBezTo>
                <a:cubicBezTo>
                  <a:pt x="1063" y="824"/>
                  <a:pt x="1062" y="824"/>
                  <a:pt x="1061" y="823"/>
                </a:cubicBezTo>
                <a:cubicBezTo>
                  <a:pt x="1061" y="823"/>
                  <a:pt x="1060" y="823"/>
                  <a:pt x="1059" y="823"/>
                </a:cubicBezTo>
                <a:cubicBezTo>
                  <a:pt x="1059" y="822"/>
                  <a:pt x="1059" y="821"/>
                  <a:pt x="1058" y="821"/>
                </a:cubicBezTo>
                <a:cubicBezTo>
                  <a:pt x="1057" y="820"/>
                  <a:pt x="1056" y="821"/>
                  <a:pt x="1055" y="820"/>
                </a:cubicBezTo>
                <a:cubicBezTo>
                  <a:pt x="1054" y="820"/>
                  <a:pt x="1053" y="819"/>
                  <a:pt x="1052" y="818"/>
                </a:cubicBezTo>
                <a:cubicBezTo>
                  <a:pt x="1051" y="817"/>
                  <a:pt x="1049" y="816"/>
                  <a:pt x="1048" y="814"/>
                </a:cubicBezTo>
                <a:cubicBezTo>
                  <a:pt x="1048" y="814"/>
                  <a:pt x="1047" y="813"/>
                  <a:pt x="1046" y="812"/>
                </a:cubicBezTo>
                <a:cubicBezTo>
                  <a:pt x="1046" y="812"/>
                  <a:pt x="1046" y="811"/>
                  <a:pt x="1046" y="810"/>
                </a:cubicBezTo>
                <a:cubicBezTo>
                  <a:pt x="1045" y="809"/>
                  <a:pt x="1045" y="809"/>
                  <a:pt x="1044" y="809"/>
                </a:cubicBezTo>
                <a:cubicBezTo>
                  <a:pt x="1044" y="809"/>
                  <a:pt x="1043" y="809"/>
                  <a:pt x="1043" y="809"/>
                </a:cubicBezTo>
                <a:cubicBezTo>
                  <a:pt x="1043" y="809"/>
                  <a:pt x="1042" y="809"/>
                  <a:pt x="1043" y="809"/>
                </a:cubicBezTo>
                <a:cubicBezTo>
                  <a:pt x="1043" y="808"/>
                  <a:pt x="1043" y="808"/>
                  <a:pt x="1043" y="807"/>
                </a:cubicBezTo>
                <a:cubicBezTo>
                  <a:pt x="1043" y="807"/>
                  <a:pt x="1042" y="807"/>
                  <a:pt x="1042" y="807"/>
                </a:cubicBezTo>
                <a:cubicBezTo>
                  <a:pt x="1041" y="807"/>
                  <a:pt x="1040" y="808"/>
                  <a:pt x="1040" y="808"/>
                </a:cubicBezTo>
                <a:cubicBezTo>
                  <a:pt x="1039" y="807"/>
                  <a:pt x="1039" y="807"/>
                  <a:pt x="1038" y="806"/>
                </a:cubicBezTo>
                <a:cubicBezTo>
                  <a:pt x="1038" y="806"/>
                  <a:pt x="1038" y="806"/>
                  <a:pt x="1038" y="806"/>
                </a:cubicBezTo>
                <a:cubicBezTo>
                  <a:pt x="1038" y="805"/>
                  <a:pt x="1037" y="804"/>
                  <a:pt x="1037" y="803"/>
                </a:cubicBezTo>
                <a:cubicBezTo>
                  <a:pt x="1036" y="803"/>
                  <a:pt x="1037" y="802"/>
                  <a:pt x="1036" y="801"/>
                </a:cubicBezTo>
                <a:cubicBezTo>
                  <a:pt x="1036" y="801"/>
                  <a:pt x="1035" y="800"/>
                  <a:pt x="1034" y="800"/>
                </a:cubicBezTo>
                <a:cubicBezTo>
                  <a:pt x="1034" y="800"/>
                  <a:pt x="1034" y="800"/>
                  <a:pt x="1034" y="800"/>
                </a:cubicBezTo>
                <a:cubicBezTo>
                  <a:pt x="1033" y="799"/>
                  <a:pt x="1033" y="800"/>
                  <a:pt x="1032" y="800"/>
                </a:cubicBezTo>
                <a:cubicBezTo>
                  <a:pt x="1032" y="800"/>
                  <a:pt x="1032" y="800"/>
                  <a:pt x="1031" y="800"/>
                </a:cubicBezTo>
                <a:cubicBezTo>
                  <a:pt x="1031" y="800"/>
                  <a:pt x="1031" y="800"/>
                  <a:pt x="1031" y="800"/>
                </a:cubicBezTo>
                <a:cubicBezTo>
                  <a:pt x="1030" y="800"/>
                  <a:pt x="1030" y="800"/>
                  <a:pt x="1030" y="799"/>
                </a:cubicBezTo>
                <a:cubicBezTo>
                  <a:pt x="1029" y="799"/>
                  <a:pt x="1029" y="799"/>
                  <a:pt x="1028" y="799"/>
                </a:cubicBezTo>
                <a:cubicBezTo>
                  <a:pt x="1027" y="798"/>
                  <a:pt x="1027" y="797"/>
                  <a:pt x="1026" y="797"/>
                </a:cubicBezTo>
                <a:cubicBezTo>
                  <a:pt x="1025" y="796"/>
                  <a:pt x="1024" y="794"/>
                  <a:pt x="1022" y="793"/>
                </a:cubicBezTo>
                <a:cubicBezTo>
                  <a:pt x="1021" y="792"/>
                  <a:pt x="1018" y="790"/>
                  <a:pt x="1019" y="788"/>
                </a:cubicBezTo>
                <a:cubicBezTo>
                  <a:pt x="1019" y="788"/>
                  <a:pt x="1018" y="787"/>
                  <a:pt x="1017" y="786"/>
                </a:cubicBezTo>
                <a:cubicBezTo>
                  <a:pt x="1016" y="785"/>
                  <a:pt x="1015" y="785"/>
                  <a:pt x="1014" y="784"/>
                </a:cubicBezTo>
                <a:cubicBezTo>
                  <a:pt x="1013" y="783"/>
                  <a:pt x="1011" y="785"/>
                  <a:pt x="1010" y="785"/>
                </a:cubicBezTo>
                <a:cubicBezTo>
                  <a:pt x="1009" y="784"/>
                  <a:pt x="1009" y="783"/>
                  <a:pt x="1008" y="782"/>
                </a:cubicBezTo>
                <a:cubicBezTo>
                  <a:pt x="1008" y="781"/>
                  <a:pt x="1007" y="779"/>
                  <a:pt x="1006" y="778"/>
                </a:cubicBezTo>
                <a:cubicBezTo>
                  <a:pt x="1006" y="777"/>
                  <a:pt x="1005" y="776"/>
                  <a:pt x="1004" y="776"/>
                </a:cubicBezTo>
                <a:cubicBezTo>
                  <a:pt x="1004" y="776"/>
                  <a:pt x="1003" y="776"/>
                  <a:pt x="1003" y="777"/>
                </a:cubicBezTo>
                <a:cubicBezTo>
                  <a:pt x="1003" y="777"/>
                  <a:pt x="1002" y="777"/>
                  <a:pt x="1001" y="776"/>
                </a:cubicBezTo>
                <a:cubicBezTo>
                  <a:pt x="1001" y="776"/>
                  <a:pt x="1000" y="775"/>
                  <a:pt x="999" y="775"/>
                </a:cubicBezTo>
                <a:cubicBezTo>
                  <a:pt x="999" y="774"/>
                  <a:pt x="996" y="772"/>
                  <a:pt x="995" y="773"/>
                </a:cubicBezTo>
                <a:cubicBezTo>
                  <a:pt x="995" y="773"/>
                  <a:pt x="995" y="773"/>
                  <a:pt x="995" y="773"/>
                </a:cubicBezTo>
                <a:cubicBezTo>
                  <a:pt x="994" y="772"/>
                  <a:pt x="994" y="772"/>
                  <a:pt x="993" y="772"/>
                </a:cubicBezTo>
                <a:cubicBezTo>
                  <a:pt x="993" y="772"/>
                  <a:pt x="993" y="771"/>
                  <a:pt x="993" y="771"/>
                </a:cubicBezTo>
                <a:cubicBezTo>
                  <a:pt x="992" y="771"/>
                  <a:pt x="992" y="771"/>
                  <a:pt x="992" y="770"/>
                </a:cubicBezTo>
                <a:cubicBezTo>
                  <a:pt x="992" y="770"/>
                  <a:pt x="992" y="770"/>
                  <a:pt x="992" y="770"/>
                </a:cubicBezTo>
                <a:cubicBezTo>
                  <a:pt x="991" y="769"/>
                  <a:pt x="990" y="768"/>
                  <a:pt x="989" y="767"/>
                </a:cubicBezTo>
                <a:cubicBezTo>
                  <a:pt x="988" y="766"/>
                  <a:pt x="986" y="765"/>
                  <a:pt x="985" y="764"/>
                </a:cubicBezTo>
                <a:cubicBezTo>
                  <a:pt x="984" y="763"/>
                  <a:pt x="983" y="762"/>
                  <a:pt x="982" y="761"/>
                </a:cubicBezTo>
                <a:cubicBezTo>
                  <a:pt x="981" y="761"/>
                  <a:pt x="980" y="761"/>
                  <a:pt x="979" y="760"/>
                </a:cubicBezTo>
                <a:cubicBezTo>
                  <a:pt x="979" y="760"/>
                  <a:pt x="978" y="760"/>
                  <a:pt x="978" y="759"/>
                </a:cubicBezTo>
                <a:cubicBezTo>
                  <a:pt x="977" y="759"/>
                  <a:pt x="977" y="759"/>
                  <a:pt x="976" y="759"/>
                </a:cubicBezTo>
                <a:cubicBezTo>
                  <a:pt x="976" y="759"/>
                  <a:pt x="976" y="759"/>
                  <a:pt x="976" y="759"/>
                </a:cubicBezTo>
                <a:cubicBezTo>
                  <a:pt x="976" y="758"/>
                  <a:pt x="976" y="758"/>
                  <a:pt x="976" y="758"/>
                </a:cubicBezTo>
                <a:cubicBezTo>
                  <a:pt x="975" y="758"/>
                  <a:pt x="975" y="758"/>
                  <a:pt x="975" y="757"/>
                </a:cubicBezTo>
                <a:cubicBezTo>
                  <a:pt x="974" y="756"/>
                  <a:pt x="972" y="755"/>
                  <a:pt x="971" y="755"/>
                </a:cubicBezTo>
                <a:cubicBezTo>
                  <a:pt x="970" y="754"/>
                  <a:pt x="968" y="753"/>
                  <a:pt x="967" y="751"/>
                </a:cubicBezTo>
                <a:cubicBezTo>
                  <a:pt x="964" y="749"/>
                  <a:pt x="960" y="747"/>
                  <a:pt x="957" y="744"/>
                </a:cubicBezTo>
                <a:cubicBezTo>
                  <a:pt x="955" y="743"/>
                  <a:pt x="954" y="741"/>
                  <a:pt x="953" y="739"/>
                </a:cubicBezTo>
                <a:cubicBezTo>
                  <a:pt x="953" y="739"/>
                  <a:pt x="953" y="738"/>
                  <a:pt x="952" y="738"/>
                </a:cubicBezTo>
                <a:cubicBezTo>
                  <a:pt x="951" y="737"/>
                  <a:pt x="950" y="738"/>
                  <a:pt x="950" y="738"/>
                </a:cubicBezTo>
                <a:cubicBezTo>
                  <a:pt x="949" y="737"/>
                  <a:pt x="948" y="736"/>
                  <a:pt x="947" y="735"/>
                </a:cubicBezTo>
                <a:cubicBezTo>
                  <a:pt x="945" y="733"/>
                  <a:pt x="943" y="732"/>
                  <a:pt x="941" y="730"/>
                </a:cubicBezTo>
                <a:cubicBezTo>
                  <a:pt x="941" y="730"/>
                  <a:pt x="941" y="730"/>
                  <a:pt x="941" y="729"/>
                </a:cubicBezTo>
                <a:cubicBezTo>
                  <a:pt x="941" y="728"/>
                  <a:pt x="940" y="728"/>
                  <a:pt x="939" y="727"/>
                </a:cubicBezTo>
                <a:cubicBezTo>
                  <a:pt x="939" y="727"/>
                  <a:pt x="938" y="726"/>
                  <a:pt x="937" y="726"/>
                </a:cubicBezTo>
                <a:cubicBezTo>
                  <a:pt x="937" y="727"/>
                  <a:pt x="937" y="728"/>
                  <a:pt x="936" y="728"/>
                </a:cubicBezTo>
                <a:cubicBezTo>
                  <a:pt x="936" y="728"/>
                  <a:pt x="936" y="727"/>
                  <a:pt x="936" y="726"/>
                </a:cubicBezTo>
                <a:cubicBezTo>
                  <a:pt x="935" y="726"/>
                  <a:pt x="934" y="726"/>
                  <a:pt x="934" y="725"/>
                </a:cubicBezTo>
                <a:cubicBezTo>
                  <a:pt x="933" y="724"/>
                  <a:pt x="933" y="722"/>
                  <a:pt x="932" y="722"/>
                </a:cubicBezTo>
                <a:cubicBezTo>
                  <a:pt x="931" y="721"/>
                  <a:pt x="930" y="722"/>
                  <a:pt x="930" y="721"/>
                </a:cubicBezTo>
                <a:cubicBezTo>
                  <a:pt x="929" y="721"/>
                  <a:pt x="929" y="720"/>
                  <a:pt x="929" y="720"/>
                </a:cubicBezTo>
                <a:cubicBezTo>
                  <a:pt x="928" y="719"/>
                  <a:pt x="927" y="720"/>
                  <a:pt x="926" y="719"/>
                </a:cubicBezTo>
                <a:cubicBezTo>
                  <a:pt x="926" y="719"/>
                  <a:pt x="925" y="719"/>
                  <a:pt x="925" y="718"/>
                </a:cubicBezTo>
                <a:cubicBezTo>
                  <a:pt x="925" y="718"/>
                  <a:pt x="925" y="718"/>
                  <a:pt x="925" y="718"/>
                </a:cubicBezTo>
                <a:cubicBezTo>
                  <a:pt x="923" y="716"/>
                  <a:pt x="922" y="715"/>
                  <a:pt x="920" y="714"/>
                </a:cubicBezTo>
                <a:cubicBezTo>
                  <a:pt x="908" y="705"/>
                  <a:pt x="902" y="701"/>
                  <a:pt x="902" y="701"/>
                </a:cubicBezTo>
                <a:cubicBezTo>
                  <a:pt x="901" y="700"/>
                  <a:pt x="895" y="695"/>
                  <a:pt x="893" y="694"/>
                </a:cubicBezTo>
                <a:cubicBezTo>
                  <a:pt x="892" y="692"/>
                  <a:pt x="891" y="690"/>
                  <a:pt x="890" y="689"/>
                </a:cubicBezTo>
                <a:cubicBezTo>
                  <a:pt x="890" y="688"/>
                  <a:pt x="888" y="688"/>
                  <a:pt x="888" y="687"/>
                </a:cubicBezTo>
                <a:cubicBezTo>
                  <a:pt x="888" y="687"/>
                  <a:pt x="889" y="687"/>
                  <a:pt x="890" y="686"/>
                </a:cubicBezTo>
                <a:cubicBezTo>
                  <a:pt x="890" y="686"/>
                  <a:pt x="890" y="686"/>
                  <a:pt x="890" y="685"/>
                </a:cubicBezTo>
                <a:cubicBezTo>
                  <a:pt x="890" y="685"/>
                  <a:pt x="889" y="685"/>
                  <a:pt x="888" y="685"/>
                </a:cubicBezTo>
                <a:cubicBezTo>
                  <a:pt x="888" y="684"/>
                  <a:pt x="887" y="684"/>
                  <a:pt x="886" y="684"/>
                </a:cubicBezTo>
                <a:cubicBezTo>
                  <a:pt x="884" y="683"/>
                  <a:pt x="883" y="682"/>
                  <a:pt x="882" y="681"/>
                </a:cubicBezTo>
                <a:cubicBezTo>
                  <a:pt x="882" y="681"/>
                  <a:pt x="882" y="681"/>
                  <a:pt x="881" y="681"/>
                </a:cubicBezTo>
                <a:cubicBezTo>
                  <a:pt x="881" y="680"/>
                  <a:pt x="881" y="680"/>
                  <a:pt x="881" y="679"/>
                </a:cubicBezTo>
                <a:cubicBezTo>
                  <a:pt x="881" y="679"/>
                  <a:pt x="881" y="678"/>
                  <a:pt x="881" y="678"/>
                </a:cubicBezTo>
                <a:cubicBezTo>
                  <a:pt x="880" y="678"/>
                  <a:pt x="880" y="678"/>
                  <a:pt x="880" y="678"/>
                </a:cubicBezTo>
                <a:cubicBezTo>
                  <a:pt x="877" y="679"/>
                  <a:pt x="874" y="676"/>
                  <a:pt x="873" y="675"/>
                </a:cubicBezTo>
                <a:cubicBezTo>
                  <a:pt x="869" y="672"/>
                  <a:pt x="865" y="669"/>
                  <a:pt x="864" y="668"/>
                </a:cubicBezTo>
                <a:cubicBezTo>
                  <a:pt x="861" y="667"/>
                  <a:pt x="860" y="666"/>
                  <a:pt x="857" y="665"/>
                </a:cubicBezTo>
                <a:cubicBezTo>
                  <a:pt x="856" y="665"/>
                  <a:pt x="855" y="664"/>
                  <a:pt x="854" y="663"/>
                </a:cubicBezTo>
                <a:cubicBezTo>
                  <a:pt x="853" y="662"/>
                  <a:pt x="852" y="660"/>
                  <a:pt x="852" y="659"/>
                </a:cubicBezTo>
                <a:cubicBezTo>
                  <a:pt x="851" y="659"/>
                  <a:pt x="850" y="658"/>
                  <a:pt x="849" y="658"/>
                </a:cubicBezTo>
                <a:cubicBezTo>
                  <a:pt x="846" y="655"/>
                  <a:pt x="843" y="653"/>
                  <a:pt x="840" y="651"/>
                </a:cubicBezTo>
                <a:cubicBezTo>
                  <a:pt x="836" y="648"/>
                  <a:pt x="833" y="645"/>
                  <a:pt x="829" y="643"/>
                </a:cubicBezTo>
                <a:cubicBezTo>
                  <a:pt x="818" y="634"/>
                  <a:pt x="806" y="624"/>
                  <a:pt x="803" y="622"/>
                </a:cubicBezTo>
                <a:cubicBezTo>
                  <a:pt x="801" y="621"/>
                  <a:pt x="800" y="620"/>
                  <a:pt x="799" y="619"/>
                </a:cubicBezTo>
                <a:cubicBezTo>
                  <a:pt x="798" y="618"/>
                  <a:pt x="797" y="617"/>
                  <a:pt x="795" y="617"/>
                </a:cubicBezTo>
                <a:cubicBezTo>
                  <a:pt x="795" y="617"/>
                  <a:pt x="796" y="617"/>
                  <a:pt x="796" y="616"/>
                </a:cubicBezTo>
                <a:cubicBezTo>
                  <a:pt x="796" y="616"/>
                  <a:pt x="796" y="615"/>
                  <a:pt x="795" y="615"/>
                </a:cubicBezTo>
                <a:cubicBezTo>
                  <a:pt x="795" y="615"/>
                  <a:pt x="794" y="615"/>
                  <a:pt x="794" y="615"/>
                </a:cubicBezTo>
                <a:cubicBezTo>
                  <a:pt x="794" y="615"/>
                  <a:pt x="793" y="615"/>
                  <a:pt x="793" y="615"/>
                </a:cubicBezTo>
                <a:cubicBezTo>
                  <a:pt x="791" y="615"/>
                  <a:pt x="789" y="612"/>
                  <a:pt x="788" y="611"/>
                </a:cubicBezTo>
                <a:cubicBezTo>
                  <a:pt x="787" y="611"/>
                  <a:pt x="786" y="609"/>
                  <a:pt x="785" y="608"/>
                </a:cubicBezTo>
                <a:cubicBezTo>
                  <a:pt x="785" y="608"/>
                  <a:pt x="784" y="608"/>
                  <a:pt x="784" y="608"/>
                </a:cubicBezTo>
                <a:cubicBezTo>
                  <a:pt x="784" y="608"/>
                  <a:pt x="783" y="608"/>
                  <a:pt x="783" y="608"/>
                </a:cubicBezTo>
                <a:cubicBezTo>
                  <a:pt x="782" y="608"/>
                  <a:pt x="782" y="608"/>
                  <a:pt x="782" y="608"/>
                </a:cubicBezTo>
                <a:cubicBezTo>
                  <a:pt x="781" y="608"/>
                  <a:pt x="780" y="606"/>
                  <a:pt x="781" y="606"/>
                </a:cubicBezTo>
                <a:cubicBezTo>
                  <a:pt x="781" y="606"/>
                  <a:pt x="782" y="606"/>
                  <a:pt x="782" y="605"/>
                </a:cubicBezTo>
                <a:cubicBezTo>
                  <a:pt x="782" y="605"/>
                  <a:pt x="782" y="605"/>
                  <a:pt x="782" y="604"/>
                </a:cubicBezTo>
                <a:cubicBezTo>
                  <a:pt x="781" y="604"/>
                  <a:pt x="781" y="604"/>
                  <a:pt x="781" y="604"/>
                </a:cubicBezTo>
                <a:cubicBezTo>
                  <a:pt x="779" y="604"/>
                  <a:pt x="778" y="602"/>
                  <a:pt x="777" y="602"/>
                </a:cubicBezTo>
                <a:cubicBezTo>
                  <a:pt x="775" y="601"/>
                  <a:pt x="772" y="600"/>
                  <a:pt x="772" y="598"/>
                </a:cubicBezTo>
                <a:cubicBezTo>
                  <a:pt x="772" y="598"/>
                  <a:pt x="772" y="598"/>
                  <a:pt x="771" y="598"/>
                </a:cubicBezTo>
                <a:cubicBezTo>
                  <a:pt x="771" y="597"/>
                  <a:pt x="771" y="597"/>
                  <a:pt x="771" y="597"/>
                </a:cubicBezTo>
                <a:cubicBezTo>
                  <a:pt x="770" y="596"/>
                  <a:pt x="769" y="595"/>
                  <a:pt x="768" y="594"/>
                </a:cubicBezTo>
                <a:cubicBezTo>
                  <a:pt x="767" y="593"/>
                  <a:pt x="762" y="590"/>
                  <a:pt x="759" y="587"/>
                </a:cubicBezTo>
                <a:cubicBezTo>
                  <a:pt x="757" y="586"/>
                  <a:pt x="755" y="585"/>
                  <a:pt x="754" y="584"/>
                </a:cubicBezTo>
                <a:cubicBezTo>
                  <a:pt x="753" y="583"/>
                  <a:pt x="752" y="582"/>
                  <a:pt x="752" y="582"/>
                </a:cubicBezTo>
                <a:cubicBezTo>
                  <a:pt x="751" y="582"/>
                  <a:pt x="750" y="582"/>
                  <a:pt x="750" y="582"/>
                </a:cubicBezTo>
                <a:cubicBezTo>
                  <a:pt x="749" y="582"/>
                  <a:pt x="748" y="581"/>
                  <a:pt x="748" y="581"/>
                </a:cubicBezTo>
                <a:cubicBezTo>
                  <a:pt x="748" y="581"/>
                  <a:pt x="748" y="580"/>
                  <a:pt x="748" y="579"/>
                </a:cubicBezTo>
                <a:cubicBezTo>
                  <a:pt x="748" y="579"/>
                  <a:pt x="747" y="579"/>
                  <a:pt x="747" y="578"/>
                </a:cubicBezTo>
                <a:cubicBezTo>
                  <a:pt x="746" y="577"/>
                  <a:pt x="745" y="576"/>
                  <a:pt x="743" y="576"/>
                </a:cubicBezTo>
                <a:cubicBezTo>
                  <a:pt x="741" y="574"/>
                  <a:pt x="739" y="572"/>
                  <a:pt x="736" y="570"/>
                </a:cubicBezTo>
                <a:cubicBezTo>
                  <a:pt x="734" y="568"/>
                  <a:pt x="731" y="566"/>
                  <a:pt x="729" y="564"/>
                </a:cubicBezTo>
                <a:cubicBezTo>
                  <a:pt x="727" y="562"/>
                  <a:pt x="725" y="560"/>
                  <a:pt x="723" y="559"/>
                </a:cubicBezTo>
                <a:cubicBezTo>
                  <a:pt x="722" y="559"/>
                  <a:pt x="722" y="559"/>
                  <a:pt x="722" y="559"/>
                </a:cubicBezTo>
                <a:cubicBezTo>
                  <a:pt x="721" y="559"/>
                  <a:pt x="721" y="559"/>
                  <a:pt x="721" y="559"/>
                </a:cubicBezTo>
                <a:cubicBezTo>
                  <a:pt x="721" y="558"/>
                  <a:pt x="720" y="558"/>
                  <a:pt x="720" y="558"/>
                </a:cubicBezTo>
                <a:cubicBezTo>
                  <a:pt x="720" y="558"/>
                  <a:pt x="719" y="558"/>
                  <a:pt x="719" y="558"/>
                </a:cubicBezTo>
                <a:cubicBezTo>
                  <a:pt x="717" y="556"/>
                  <a:pt x="716" y="555"/>
                  <a:pt x="714" y="553"/>
                </a:cubicBezTo>
                <a:cubicBezTo>
                  <a:pt x="713" y="552"/>
                  <a:pt x="711" y="550"/>
                  <a:pt x="710" y="549"/>
                </a:cubicBezTo>
                <a:cubicBezTo>
                  <a:pt x="706" y="546"/>
                  <a:pt x="702" y="543"/>
                  <a:pt x="698" y="540"/>
                </a:cubicBezTo>
                <a:cubicBezTo>
                  <a:pt x="691" y="535"/>
                  <a:pt x="685" y="530"/>
                  <a:pt x="678" y="525"/>
                </a:cubicBezTo>
                <a:cubicBezTo>
                  <a:pt x="678" y="525"/>
                  <a:pt x="678" y="525"/>
                  <a:pt x="678" y="525"/>
                </a:cubicBezTo>
                <a:cubicBezTo>
                  <a:pt x="678" y="525"/>
                  <a:pt x="678" y="524"/>
                  <a:pt x="678" y="524"/>
                </a:cubicBezTo>
                <a:cubicBezTo>
                  <a:pt x="678" y="524"/>
                  <a:pt x="677" y="524"/>
                  <a:pt x="677" y="524"/>
                </a:cubicBezTo>
                <a:cubicBezTo>
                  <a:pt x="676" y="523"/>
                  <a:pt x="676" y="522"/>
                  <a:pt x="675" y="521"/>
                </a:cubicBezTo>
                <a:cubicBezTo>
                  <a:pt x="674" y="521"/>
                  <a:pt x="674" y="520"/>
                  <a:pt x="673" y="519"/>
                </a:cubicBezTo>
                <a:cubicBezTo>
                  <a:pt x="673" y="519"/>
                  <a:pt x="673" y="518"/>
                  <a:pt x="672" y="518"/>
                </a:cubicBezTo>
                <a:cubicBezTo>
                  <a:pt x="671" y="517"/>
                  <a:pt x="670" y="518"/>
                  <a:pt x="669" y="518"/>
                </a:cubicBezTo>
                <a:cubicBezTo>
                  <a:pt x="669" y="517"/>
                  <a:pt x="668" y="516"/>
                  <a:pt x="667" y="516"/>
                </a:cubicBezTo>
                <a:cubicBezTo>
                  <a:pt x="666" y="514"/>
                  <a:pt x="662" y="511"/>
                  <a:pt x="660" y="510"/>
                </a:cubicBezTo>
                <a:cubicBezTo>
                  <a:pt x="657" y="507"/>
                  <a:pt x="648" y="500"/>
                  <a:pt x="644" y="496"/>
                </a:cubicBezTo>
                <a:cubicBezTo>
                  <a:pt x="643" y="496"/>
                  <a:pt x="640" y="494"/>
                  <a:pt x="638" y="492"/>
                </a:cubicBezTo>
                <a:cubicBezTo>
                  <a:pt x="637" y="491"/>
                  <a:pt x="636" y="491"/>
                  <a:pt x="634" y="490"/>
                </a:cubicBezTo>
                <a:cubicBezTo>
                  <a:pt x="635" y="489"/>
                  <a:pt x="635" y="489"/>
                  <a:pt x="635" y="488"/>
                </a:cubicBezTo>
                <a:cubicBezTo>
                  <a:pt x="634" y="488"/>
                  <a:pt x="634" y="488"/>
                  <a:pt x="634" y="487"/>
                </a:cubicBezTo>
                <a:cubicBezTo>
                  <a:pt x="633" y="487"/>
                  <a:pt x="633" y="486"/>
                  <a:pt x="632" y="486"/>
                </a:cubicBezTo>
                <a:cubicBezTo>
                  <a:pt x="632" y="486"/>
                  <a:pt x="632" y="486"/>
                  <a:pt x="631" y="486"/>
                </a:cubicBezTo>
                <a:cubicBezTo>
                  <a:pt x="630" y="485"/>
                  <a:pt x="628" y="484"/>
                  <a:pt x="627" y="483"/>
                </a:cubicBezTo>
                <a:cubicBezTo>
                  <a:pt x="626" y="482"/>
                  <a:pt x="626" y="480"/>
                  <a:pt x="626" y="479"/>
                </a:cubicBezTo>
                <a:cubicBezTo>
                  <a:pt x="626" y="478"/>
                  <a:pt x="626" y="477"/>
                  <a:pt x="625" y="478"/>
                </a:cubicBezTo>
                <a:cubicBezTo>
                  <a:pt x="624" y="478"/>
                  <a:pt x="623" y="477"/>
                  <a:pt x="622" y="478"/>
                </a:cubicBezTo>
                <a:cubicBezTo>
                  <a:pt x="622" y="478"/>
                  <a:pt x="622" y="478"/>
                  <a:pt x="621" y="478"/>
                </a:cubicBezTo>
                <a:cubicBezTo>
                  <a:pt x="621" y="478"/>
                  <a:pt x="621" y="478"/>
                  <a:pt x="621" y="477"/>
                </a:cubicBezTo>
                <a:cubicBezTo>
                  <a:pt x="620" y="477"/>
                  <a:pt x="620" y="477"/>
                  <a:pt x="620" y="477"/>
                </a:cubicBezTo>
                <a:cubicBezTo>
                  <a:pt x="619" y="477"/>
                  <a:pt x="617" y="475"/>
                  <a:pt x="616" y="474"/>
                </a:cubicBezTo>
                <a:cubicBezTo>
                  <a:pt x="614" y="473"/>
                  <a:pt x="612" y="471"/>
                  <a:pt x="610" y="470"/>
                </a:cubicBezTo>
                <a:cubicBezTo>
                  <a:pt x="607" y="466"/>
                  <a:pt x="603" y="463"/>
                  <a:pt x="599" y="460"/>
                </a:cubicBezTo>
                <a:cubicBezTo>
                  <a:pt x="599" y="460"/>
                  <a:pt x="598" y="460"/>
                  <a:pt x="598" y="460"/>
                </a:cubicBezTo>
                <a:cubicBezTo>
                  <a:pt x="597" y="460"/>
                  <a:pt x="597" y="460"/>
                  <a:pt x="597" y="460"/>
                </a:cubicBezTo>
                <a:cubicBezTo>
                  <a:pt x="597" y="460"/>
                  <a:pt x="597" y="460"/>
                  <a:pt x="597" y="460"/>
                </a:cubicBezTo>
                <a:cubicBezTo>
                  <a:pt x="596" y="459"/>
                  <a:pt x="596" y="459"/>
                  <a:pt x="596" y="459"/>
                </a:cubicBezTo>
                <a:cubicBezTo>
                  <a:pt x="596" y="459"/>
                  <a:pt x="594" y="458"/>
                  <a:pt x="594" y="458"/>
                </a:cubicBezTo>
                <a:cubicBezTo>
                  <a:pt x="593" y="457"/>
                  <a:pt x="593" y="456"/>
                  <a:pt x="592" y="455"/>
                </a:cubicBezTo>
                <a:cubicBezTo>
                  <a:pt x="591" y="454"/>
                  <a:pt x="590" y="453"/>
                  <a:pt x="589" y="452"/>
                </a:cubicBezTo>
                <a:cubicBezTo>
                  <a:pt x="589" y="452"/>
                  <a:pt x="589" y="452"/>
                  <a:pt x="588" y="452"/>
                </a:cubicBezTo>
                <a:cubicBezTo>
                  <a:pt x="588" y="452"/>
                  <a:pt x="588" y="452"/>
                  <a:pt x="588" y="452"/>
                </a:cubicBezTo>
                <a:cubicBezTo>
                  <a:pt x="587" y="452"/>
                  <a:pt x="587" y="452"/>
                  <a:pt x="586" y="451"/>
                </a:cubicBezTo>
                <a:cubicBezTo>
                  <a:pt x="587" y="451"/>
                  <a:pt x="586" y="450"/>
                  <a:pt x="586" y="450"/>
                </a:cubicBezTo>
                <a:cubicBezTo>
                  <a:pt x="586" y="449"/>
                  <a:pt x="585" y="449"/>
                  <a:pt x="584" y="448"/>
                </a:cubicBezTo>
                <a:cubicBezTo>
                  <a:pt x="583" y="448"/>
                  <a:pt x="582" y="447"/>
                  <a:pt x="582" y="446"/>
                </a:cubicBezTo>
                <a:cubicBezTo>
                  <a:pt x="581" y="445"/>
                  <a:pt x="582" y="444"/>
                  <a:pt x="581" y="444"/>
                </a:cubicBezTo>
                <a:cubicBezTo>
                  <a:pt x="580" y="443"/>
                  <a:pt x="577" y="444"/>
                  <a:pt x="577" y="443"/>
                </a:cubicBezTo>
                <a:cubicBezTo>
                  <a:pt x="577" y="442"/>
                  <a:pt x="577" y="442"/>
                  <a:pt x="577" y="442"/>
                </a:cubicBezTo>
                <a:cubicBezTo>
                  <a:pt x="578" y="442"/>
                  <a:pt x="578" y="442"/>
                  <a:pt x="578" y="441"/>
                </a:cubicBezTo>
                <a:cubicBezTo>
                  <a:pt x="578" y="441"/>
                  <a:pt x="578" y="441"/>
                  <a:pt x="578" y="441"/>
                </a:cubicBezTo>
                <a:cubicBezTo>
                  <a:pt x="577" y="440"/>
                  <a:pt x="577" y="440"/>
                  <a:pt x="576" y="440"/>
                </a:cubicBezTo>
                <a:cubicBezTo>
                  <a:pt x="576" y="440"/>
                  <a:pt x="575" y="440"/>
                  <a:pt x="575" y="440"/>
                </a:cubicBezTo>
                <a:cubicBezTo>
                  <a:pt x="573" y="440"/>
                  <a:pt x="571" y="437"/>
                  <a:pt x="569" y="436"/>
                </a:cubicBezTo>
                <a:cubicBezTo>
                  <a:pt x="567" y="435"/>
                  <a:pt x="565" y="433"/>
                  <a:pt x="564" y="432"/>
                </a:cubicBezTo>
                <a:cubicBezTo>
                  <a:pt x="563" y="431"/>
                  <a:pt x="562" y="430"/>
                  <a:pt x="561" y="430"/>
                </a:cubicBezTo>
                <a:cubicBezTo>
                  <a:pt x="560" y="428"/>
                  <a:pt x="561" y="429"/>
                  <a:pt x="561" y="427"/>
                </a:cubicBezTo>
                <a:cubicBezTo>
                  <a:pt x="561" y="427"/>
                  <a:pt x="561" y="426"/>
                  <a:pt x="561" y="426"/>
                </a:cubicBezTo>
                <a:cubicBezTo>
                  <a:pt x="561" y="425"/>
                  <a:pt x="561" y="425"/>
                  <a:pt x="561" y="425"/>
                </a:cubicBezTo>
                <a:cubicBezTo>
                  <a:pt x="560" y="425"/>
                  <a:pt x="560" y="425"/>
                  <a:pt x="559" y="425"/>
                </a:cubicBezTo>
                <a:cubicBezTo>
                  <a:pt x="559" y="425"/>
                  <a:pt x="558" y="425"/>
                  <a:pt x="557" y="426"/>
                </a:cubicBezTo>
                <a:cubicBezTo>
                  <a:pt x="556" y="425"/>
                  <a:pt x="555" y="424"/>
                  <a:pt x="554" y="423"/>
                </a:cubicBezTo>
                <a:cubicBezTo>
                  <a:pt x="553" y="423"/>
                  <a:pt x="552" y="421"/>
                  <a:pt x="551" y="420"/>
                </a:cubicBezTo>
                <a:cubicBezTo>
                  <a:pt x="550" y="419"/>
                  <a:pt x="548" y="418"/>
                  <a:pt x="546" y="416"/>
                </a:cubicBezTo>
                <a:cubicBezTo>
                  <a:pt x="545" y="416"/>
                  <a:pt x="544" y="415"/>
                  <a:pt x="543" y="415"/>
                </a:cubicBezTo>
                <a:cubicBezTo>
                  <a:pt x="543" y="414"/>
                  <a:pt x="543" y="414"/>
                  <a:pt x="542" y="414"/>
                </a:cubicBezTo>
                <a:cubicBezTo>
                  <a:pt x="542" y="413"/>
                  <a:pt x="542" y="413"/>
                  <a:pt x="542" y="413"/>
                </a:cubicBezTo>
                <a:cubicBezTo>
                  <a:pt x="542" y="412"/>
                  <a:pt x="542" y="412"/>
                  <a:pt x="541" y="411"/>
                </a:cubicBezTo>
                <a:cubicBezTo>
                  <a:pt x="541" y="411"/>
                  <a:pt x="541" y="411"/>
                  <a:pt x="541" y="411"/>
                </a:cubicBezTo>
                <a:cubicBezTo>
                  <a:pt x="541" y="411"/>
                  <a:pt x="541" y="411"/>
                  <a:pt x="541" y="411"/>
                </a:cubicBezTo>
                <a:cubicBezTo>
                  <a:pt x="540" y="411"/>
                  <a:pt x="539" y="411"/>
                  <a:pt x="539" y="411"/>
                </a:cubicBezTo>
                <a:cubicBezTo>
                  <a:pt x="538" y="411"/>
                  <a:pt x="537" y="411"/>
                  <a:pt x="536" y="410"/>
                </a:cubicBezTo>
                <a:cubicBezTo>
                  <a:pt x="536" y="410"/>
                  <a:pt x="535" y="410"/>
                  <a:pt x="535" y="410"/>
                </a:cubicBezTo>
                <a:cubicBezTo>
                  <a:pt x="533" y="408"/>
                  <a:pt x="530" y="406"/>
                  <a:pt x="528" y="404"/>
                </a:cubicBezTo>
                <a:cubicBezTo>
                  <a:pt x="527" y="403"/>
                  <a:pt x="527" y="401"/>
                  <a:pt x="526" y="400"/>
                </a:cubicBezTo>
                <a:cubicBezTo>
                  <a:pt x="526" y="399"/>
                  <a:pt x="526" y="399"/>
                  <a:pt x="526" y="399"/>
                </a:cubicBezTo>
                <a:cubicBezTo>
                  <a:pt x="525" y="398"/>
                  <a:pt x="524" y="399"/>
                  <a:pt x="523" y="399"/>
                </a:cubicBezTo>
                <a:cubicBezTo>
                  <a:pt x="523" y="398"/>
                  <a:pt x="523" y="398"/>
                  <a:pt x="522" y="397"/>
                </a:cubicBezTo>
                <a:cubicBezTo>
                  <a:pt x="521" y="395"/>
                  <a:pt x="519" y="395"/>
                  <a:pt x="517" y="394"/>
                </a:cubicBezTo>
                <a:cubicBezTo>
                  <a:pt x="516" y="394"/>
                  <a:pt x="515" y="394"/>
                  <a:pt x="515" y="394"/>
                </a:cubicBezTo>
                <a:cubicBezTo>
                  <a:pt x="513" y="392"/>
                  <a:pt x="512" y="391"/>
                  <a:pt x="510" y="390"/>
                </a:cubicBezTo>
                <a:cubicBezTo>
                  <a:pt x="510" y="389"/>
                  <a:pt x="510" y="389"/>
                  <a:pt x="509" y="389"/>
                </a:cubicBezTo>
                <a:cubicBezTo>
                  <a:pt x="508" y="387"/>
                  <a:pt x="507" y="386"/>
                  <a:pt x="505" y="384"/>
                </a:cubicBezTo>
                <a:cubicBezTo>
                  <a:pt x="504" y="383"/>
                  <a:pt x="503" y="382"/>
                  <a:pt x="502" y="381"/>
                </a:cubicBezTo>
                <a:cubicBezTo>
                  <a:pt x="501" y="380"/>
                  <a:pt x="501" y="378"/>
                  <a:pt x="500" y="377"/>
                </a:cubicBezTo>
                <a:cubicBezTo>
                  <a:pt x="500" y="377"/>
                  <a:pt x="500" y="376"/>
                  <a:pt x="500" y="376"/>
                </a:cubicBezTo>
                <a:cubicBezTo>
                  <a:pt x="500" y="376"/>
                  <a:pt x="499" y="376"/>
                  <a:pt x="499" y="376"/>
                </a:cubicBezTo>
                <a:cubicBezTo>
                  <a:pt x="499" y="376"/>
                  <a:pt x="499" y="376"/>
                  <a:pt x="499" y="376"/>
                </a:cubicBezTo>
                <a:cubicBezTo>
                  <a:pt x="499" y="376"/>
                  <a:pt x="498" y="376"/>
                  <a:pt x="498" y="376"/>
                </a:cubicBezTo>
                <a:cubicBezTo>
                  <a:pt x="498" y="376"/>
                  <a:pt x="499" y="375"/>
                  <a:pt x="498" y="375"/>
                </a:cubicBezTo>
                <a:cubicBezTo>
                  <a:pt x="498" y="375"/>
                  <a:pt x="497" y="375"/>
                  <a:pt x="497" y="376"/>
                </a:cubicBezTo>
                <a:cubicBezTo>
                  <a:pt x="497" y="376"/>
                  <a:pt x="497" y="376"/>
                  <a:pt x="496" y="375"/>
                </a:cubicBezTo>
                <a:cubicBezTo>
                  <a:pt x="496" y="375"/>
                  <a:pt x="496" y="375"/>
                  <a:pt x="496" y="374"/>
                </a:cubicBezTo>
                <a:cubicBezTo>
                  <a:pt x="496" y="374"/>
                  <a:pt x="495" y="373"/>
                  <a:pt x="495" y="374"/>
                </a:cubicBezTo>
                <a:cubicBezTo>
                  <a:pt x="491" y="374"/>
                  <a:pt x="487" y="370"/>
                  <a:pt x="485" y="368"/>
                </a:cubicBezTo>
                <a:cubicBezTo>
                  <a:pt x="484" y="367"/>
                  <a:pt x="482" y="367"/>
                  <a:pt x="481" y="365"/>
                </a:cubicBezTo>
                <a:cubicBezTo>
                  <a:pt x="481" y="365"/>
                  <a:pt x="480" y="365"/>
                  <a:pt x="480" y="364"/>
                </a:cubicBezTo>
                <a:cubicBezTo>
                  <a:pt x="480" y="364"/>
                  <a:pt x="480" y="363"/>
                  <a:pt x="480" y="363"/>
                </a:cubicBezTo>
                <a:cubicBezTo>
                  <a:pt x="480" y="362"/>
                  <a:pt x="480" y="362"/>
                  <a:pt x="480" y="361"/>
                </a:cubicBezTo>
                <a:cubicBezTo>
                  <a:pt x="479" y="360"/>
                  <a:pt x="478" y="359"/>
                  <a:pt x="477" y="358"/>
                </a:cubicBezTo>
                <a:cubicBezTo>
                  <a:pt x="477" y="358"/>
                  <a:pt x="475" y="356"/>
                  <a:pt x="474" y="356"/>
                </a:cubicBezTo>
                <a:cubicBezTo>
                  <a:pt x="473" y="356"/>
                  <a:pt x="472" y="354"/>
                  <a:pt x="472" y="354"/>
                </a:cubicBezTo>
                <a:cubicBezTo>
                  <a:pt x="470" y="353"/>
                  <a:pt x="469" y="351"/>
                  <a:pt x="468" y="350"/>
                </a:cubicBezTo>
                <a:cubicBezTo>
                  <a:pt x="467" y="350"/>
                  <a:pt x="466" y="349"/>
                  <a:pt x="466" y="349"/>
                </a:cubicBezTo>
                <a:cubicBezTo>
                  <a:pt x="465" y="349"/>
                  <a:pt x="464" y="349"/>
                  <a:pt x="463" y="349"/>
                </a:cubicBezTo>
                <a:cubicBezTo>
                  <a:pt x="463" y="349"/>
                  <a:pt x="462" y="348"/>
                  <a:pt x="463" y="348"/>
                </a:cubicBezTo>
                <a:cubicBezTo>
                  <a:pt x="463" y="347"/>
                  <a:pt x="463" y="347"/>
                  <a:pt x="463" y="347"/>
                </a:cubicBezTo>
                <a:cubicBezTo>
                  <a:pt x="463" y="346"/>
                  <a:pt x="461" y="345"/>
                  <a:pt x="461" y="345"/>
                </a:cubicBezTo>
                <a:cubicBezTo>
                  <a:pt x="460" y="344"/>
                  <a:pt x="458" y="342"/>
                  <a:pt x="457" y="343"/>
                </a:cubicBezTo>
                <a:cubicBezTo>
                  <a:pt x="457" y="343"/>
                  <a:pt x="457" y="343"/>
                  <a:pt x="456" y="343"/>
                </a:cubicBezTo>
                <a:cubicBezTo>
                  <a:pt x="456" y="344"/>
                  <a:pt x="455" y="342"/>
                  <a:pt x="454" y="342"/>
                </a:cubicBezTo>
                <a:cubicBezTo>
                  <a:pt x="453" y="341"/>
                  <a:pt x="453" y="340"/>
                  <a:pt x="452" y="340"/>
                </a:cubicBezTo>
                <a:cubicBezTo>
                  <a:pt x="449" y="337"/>
                  <a:pt x="443" y="332"/>
                  <a:pt x="438" y="327"/>
                </a:cubicBezTo>
                <a:cubicBezTo>
                  <a:pt x="436" y="326"/>
                  <a:pt x="435" y="325"/>
                  <a:pt x="433" y="323"/>
                </a:cubicBezTo>
                <a:cubicBezTo>
                  <a:pt x="432" y="322"/>
                  <a:pt x="429" y="321"/>
                  <a:pt x="428" y="319"/>
                </a:cubicBezTo>
                <a:cubicBezTo>
                  <a:pt x="428" y="319"/>
                  <a:pt x="428" y="319"/>
                  <a:pt x="428" y="318"/>
                </a:cubicBezTo>
                <a:cubicBezTo>
                  <a:pt x="428" y="318"/>
                  <a:pt x="427" y="317"/>
                  <a:pt x="426" y="317"/>
                </a:cubicBezTo>
                <a:cubicBezTo>
                  <a:pt x="425" y="317"/>
                  <a:pt x="425" y="317"/>
                  <a:pt x="424" y="317"/>
                </a:cubicBezTo>
                <a:cubicBezTo>
                  <a:pt x="424" y="316"/>
                  <a:pt x="423" y="316"/>
                  <a:pt x="423" y="316"/>
                </a:cubicBezTo>
                <a:cubicBezTo>
                  <a:pt x="423" y="316"/>
                  <a:pt x="423" y="316"/>
                  <a:pt x="422" y="315"/>
                </a:cubicBezTo>
                <a:cubicBezTo>
                  <a:pt x="421" y="313"/>
                  <a:pt x="418" y="310"/>
                  <a:pt x="415" y="308"/>
                </a:cubicBezTo>
                <a:cubicBezTo>
                  <a:pt x="415" y="308"/>
                  <a:pt x="415" y="308"/>
                  <a:pt x="415" y="308"/>
                </a:cubicBezTo>
                <a:cubicBezTo>
                  <a:pt x="413" y="310"/>
                  <a:pt x="411" y="307"/>
                  <a:pt x="410" y="306"/>
                </a:cubicBezTo>
                <a:cubicBezTo>
                  <a:pt x="408" y="304"/>
                  <a:pt x="405" y="301"/>
                  <a:pt x="404" y="300"/>
                </a:cubicBezTo>
                <a:cubicBezTo>
                  <a:pt x="402" y="299"/>
                  <a:pt x="399" y="296"/>
                  <a:pt x="396" y="294"/>
                </a:cubicBezTo>
                <a:cubicBezTo>
                  <a:pt x="393" y="292"/>
                  <a:pt x="385" y="286"/>
                  <a:pt x="379" y="281"/>
                </a:cubicBezTo>
                <a:cubicBezTo>
                  <a:pt x="377" y="279"/>
                  <a:pt x="375" y="277"/>
                  <a:pt x="373" y="276"/>
                </a:cubicBezTo>
                <a:cubicBezTo>
                  <a:pt x="373" y="275"/>
                  <a:pt x="368" y="273"/>
                  <a:pt x="369" y="272"/>
                </a:cubicBezTo>
                <a:cubicBezTo>
                  <a:pt x="369" y="272"/>
                  <a:pt x="369" y="272"/>
                  <a:pt x="369" y="271"/>
                </a:cubicBezTo>
                <a:cubicBezTo>
                  <a:pt x="370" y="271"/>
                  <a:pt x="370" y="271"/>
                  <a:pt x="370" y="270"/>
                </a:cubicBezTo>
                <a:cubicBezTo>
                  <a:pt x="369" y="269"/>
                  <a:pt x="368" y="269"/>
                  <a:pt x="368" y="269"/>
                </a:cubicBezTo>
                <a:cubicBezTo>
                  <a:pt x="367" y="269"/>
                  <a:pt x="366" y="268"/>
                  <a:pt x="366" y="267"/>
                </a:cubicBezTo>
                <a:cubicBezTo>
                  <a:pt x="365" y="267"/>
                  <a:pt x="363" y="266"/>
                  <a:pt x="363" y="265"/>
                </a:cubicBezTo>
                <a:cubicBezTo>
                  <a:pt x="362" y="264"/>
                  <a:pt x="362" y="263"/>
                  <a:pt x="361" y="263"/>
                </a:cubicBezTo>
                <a:cubicBezTo>
                  <a:pt x="360" y="263"/>
                  <a:pt x="359" y="263"/>
                  <a:pt x="358" y="263"/>
                </a:cubicBezTo>
                <a:cubicBezTo>
                  <a:pt x="357" y="263"/>
                  <a:pt x="357" y="263"/>
                  <a:pt x="356" y="262"/>
                </a:cubicBezTo>
                <a:cubicBezTo>
                  <a:pt x="355" y="261"/>
                  <a:pt x="353" y="260"/>
                  <a:pt x="351" y="258"/>
                </a:cubicBezTo>
                <a:cubicBezTo>
                  <a:pt x="350" y="258"/>
                  <a:pt x="348" y="257"/>
                  <a:pt x="348" y="255"/>
                </a:cubicBezTo>
                <a:cubicBezTo>
                  <a:pt x="347" y="254"/>
                  <a:pt x="346" y="254"/>
                  <a:pt x="345" y="253"/>
                </a:cubicBezTo>
                <a:cubicBezTo>
                  <a:pt x="344" y="252"/>
                  <a:pt x="343" y="252"/>
                  <a:pt x="342" y="251"/>
                </a:cubicBezTo>
                <a:cubicBezTo>
                  <a:pt x="342" y="249"/>
                  <a:pt x="342" y="249"/>
                  <a:pt x="341" y="248"/>
                </a:cubicBezTo>
                <a:cubicBezTo>
                  <a:pt x="340" y="247"/>
                  <a:pt x="338" y="246"/>
                  <a:pt x="337" y="246"/>
                </a:cubicBezTo>
                <a:cubicBezTo>
                  <a:pt x="335" y="244"/>
                  <a:pt x="333" y="244"/>
                  <a:pt x="331" y="243"/>
                </a:cubicBezTo>
                <a:cubicBezTo>
                  <a:pt x="330" y="243"/>
                  <a:pt x="329" y="242"/>
                  <a:pt x="328" y="241"/>
                </a:cubicBezTo>
                <a:cubicBezTo>
                  <a:pt x="327" y="240"/>
                  <a:pt x="326" y="238"/>
                  <a:pt x="325" y="237"/>
                </a:cubicBezTo>
                <a:cubicBezTo>
                  <a:pt x="324" y="236"/>
                  <a:pt x="324" y="235"/>
                  <a:pt x="322" y="234"/>
                </a:cubicBezTo>
                <a:cubicBezTo>
                  <a:pt x="322" y="234"/>
                  <a:pt x="322" y="234"/>
                  <a:pt x="322" y="234"/>
                </a:cubicBezTo>
                <a:cubicBezTo>
                  <a:pt x="321" y="235"/>
                  <a:pt x="320" y="234"/>
                  <a:pt x="319" y="233"/>
                </a:cubicBezTo>
                <a:cubicBezTo>
                  <a:pt x="319" y="233"/>
                  <a:pt x="317" y="231"/>
                  <a:pt x="319" y="231"/>
                </a:cubicBezTo>
                <a:cubicBezTo>
                  <a:pt x="319" y="231"/>
                  <a:pt x="319" y="230"/>
                  <a:pt x="318" y="230"/>
                </a:cubicBezTo>
                <a:cubicBezTo>
                  <a:pt x="318" y="230"/>
                  <a:pt x="319" y="229"/>
                  <a:pt x="319" y="229"/>
                </a:cubicBezTo>
                <a:cubicBezTo>
                  <a:pt x="319" y="229"/>
                  <a:pt x="319" y="228"/>
                  <a:pt x="318" y="228"/>
                </a:cubicBezTo>
                <a:cubicBezTo>
                  <a:pt x="318" y="228"/>
                  <a:pt x="318" y="228"/>
                  <a:pt x="318" y="228"/>
                </a:cubicBezTo>
                <a:cubicBezTo>
                  <a:pt x="317" y="227"/>
                  <a:pt x="317" y="227"/>
                  <a:pt x="317" y="226"/>
                </a:cubicBezTo>
                <a:cubicBezTo>
                  <a:pt x="317" y="226"/>
                  <a:pt x="317" y="225"/>
                  <a:pt x="316" y="225"/>
                </a:cubicBezTo>
                <a:cubicBezTo>
                  <a:pt x="315" y="225"/>
                  <a:pt x="315" y="225"/>
                  <a:pt x="315" y="226"/>
                </a:cubicBezTo>
                <a:cubicBezTo>
                  <a:pt x="314" y="226"/>
                  <a:pt x="314" y="226"/>
                  <a:pt x="314" y="227"/>
                </a:cubicBezTo>
                <a:cubicBezTo>
                  <a:pt x="314" y="227"/>
                  <a:pt x="313" y="227"/>
                  <a:pt x="313" y="226"/>
                </a:cubicBezTo>
                <a:cubicBezTo>
                  <a:pt x="313" y="226"/>
                  <a:pt x="312" y="226"/>
                  <a:pt x="313" y="226"/>
                </a:cubicBezTo>
                <a:cubicBezTo>
                  <a:pt x="313" y="225"/>
                  <a:pt x="313" y="225"/>
                  <a:pt x="313" y="225"/>
                </a:cubicBezTo>
                <a:cubicBezTo>
                  <a:pt x="312" y="224"/>
                  <a:pt x="311" y="222"/>
                  <a:pt x="310" y="222"/>
                </a:cubicBezTo>
                <a:cubicBezTo>
                  <a:pt x="309" y="221"/>
                  <a:pt x="308" y="220"/>
                  <a:pt x="307" y="219"/>
                </a:cubicBezTo>
                <a:cubicBezTo>
                  <a:pt x="306" y="218"/>
                  <a:pt x="305" y="217"/>
                  <a:pt x="305" y="217"/>
                </a:cubicBezTo>
                <a:cubicBezTo>
                  <a:pt x="304" y="216"/>
                  <a:pt x="303" y="216"/>
                  <a:pt x="302" y="215"/>
                </a:cubicBezTo>
                <a:cubicBezTo>
                  <a:pt x="301" y="215"/>
                  <a:pt x="301" y="214"/>
                  <a:pt x="300" y="213"/>
                </a:cubicBezTo>
                <a:cubicBezTo>
                  <a:pt x="299" y="214"/>
                  <a:pt x="299" y="214"/>
                  <a:pt x="299" y="214"/>
                </a:cubicBezTo>
                <a:cubicBezTo>
                  <a:pt x="298" y="214"/>
                  <a:pt x="297" y="213"/>
                  <a:pt x="297" y="213"/>
                </a:cubicBezTo>
                <a:cubicBezTo>
                  <a:pt x="296" y="212"/>
                  <a:pt x="294" y="212"/>
                  <a:pt x="293" y="211"/>
                </a:cubicBezTo>
                <a:cubicBezTo>
                  <a:pt x="293" y="211"/>
                  <a:pt x="293" y="210"/>
                  <a:pt x="293" y="210"/>
                </a:cubicBezTo>
                <a:cubicBezTo>
                  <a:pt x="292" y="210"/>
                  <a:pt x="292" y="209"/>
                  <a:pt x="293" y="209"/>
                </a:cubicBezTo>
                <a:cubicBezTo>
                  <a:pt x="293" y="209"/>
                  <a:pt x="293" y="209"/>
                  <a:pt x="293" y="209"/>
                </a:cubicBezTo>
                <a:cubicBezTo>
                  <a:pt x="294" y="208"/>
                  <a:pt x="294" y="208"/>
                  <a:pt x="294" y="207"/>
                </a:cubicBezTo>
                <a:cubicBezTo>
                  <a:pt x="293" y="207"/>
                  <a:pt x="293" y="207"/>
                  <a:pt x="293" y="206"/>
                </a:cubicBezTo>
                <a:cubicBezTo>
                  <a:pt x="293" y="205"/>
                  <a:pt x="291" y="205"/>
                  <a:pt x="290" y="205"/>
                </a:cubicBezTo>
                <a:cubicBezTo>
                  <a:pt x="289" y="204"/>
                  <a:pt x="288" y="203"/>
                  <a:pt x="286" y="202"/>
                </a:cubicBezTo>
                <a:cubicBezTo>
                  <a:pt x="286" y="202"/>
                  <a:pt x="285" y="202"/>
                  <a:pt x="285" y="202"/>
                </a:cubicBezTo>
                <a:cubicBezTo>
                  <a:pt x="284" y="202"/>
                  <a:pt x="284" y="202"/>
                  <a:pt x="284" y="202"/>
                </a:cubicBezTo>
                <a:cubicBezTo>
                  <a:pt x="283" y="202"/>
                  <a:pt x="283" y="202"/>
                  <a:pt x="283" y="201"/>
                </a:cubicBezTo>
                <a:cubicBezTo>
                  <a:pt x="283" y="199"/>
                  <a:pt x="280" y="198"/>
                  <a:pt x="279" y="198"/>
                </a:cubicBezTo>
                <a:cubicBezTo>
                  <a:pt x="277" y="197"/>
                  <a:pt x="275" y="195"/>
                  <a:pt x="275" y="195"/>
                </a:cubicBezTo>
                <a:cubicBezTo>
                  <a:pt x="275" y="195"/>
                  <a:pt x="272" y="192"/>
                  <a:pt x="269" y="190"/>
                </a:cubicBezTo>
                <a:cubicBezTo>
                  <a:pt x="268" y="189"/>
                  <a:pt x="267" y="188"/>
                  <a:pt x="266" y="187"/>
                </a:cubicBezTo>
                <a:cubicBezTo>
                  <a:pt x="266" y="187"/>
                  <a:pt x="265" y="186"/>
                  <a:pt x="264" y="186"/>
                </a:cubicBezTo>
                <a:cubicBezTo>
                  <a:pt x="263" y="186"/>
                  <a:pt x="263" y="186"/>
                  <a:pt x="262" y="186"/>
                </a:cubicBezTo>
                <a:cubicBezTo>
                  <a:pt x="262" y="186"/>
                  <a:pt x="261" y="186"/>
                  <a:pt x="261" y="185"/>
                </a:cubicBezTo>
                <a:cubicBezTo>
                  <a:pt x="260" y="185"/>
                  <a:pt x="260" y="185"/>
                  <a:pt x="259" y="184"/>
                </a:cubicBezTo>
                <a:cubicBezTo>
                  <a:pt x="259" y="183"/>
                  <a:pt x="258" y="182"/>
                  <a:pt x="258" y="182"/>
                </a:cubicBezTo>
                <a:cubicBezTo>
                  <a:pt x="258" y="180"/>
                  <a:pt x="253" y="177"/>
                  <a:pt x="250" y="176"/>
                </a:cubicBezTo>
                <a:cubicBezTo>
                  <a:pt x="249" y="176"/>
                  <a:pt x="246" y="176"/>
                  <a:pt x="246" y="174"/>
                </a:cubicBezTo>
                <a:cubicBezTo>
                  <a:pt x="246" y="174"/>
                  <a:pt x="247" y="174"/>
                  <a:pt x="247" y="174"/>
                </a:cubicBezTo>
                <a:cubicBezTo>
                  <a:pt x="247" y="173"/>
                  <a:pt x="246" y="173"/>
                  <a:pt x="246" y="173"/>
                </a:cubicBezTo>
                <a:cubicBezTo>
                  <a:pt x="245" y="171"/>
                  <a:pt x="244" y="170"/>
                  <a:pt x="243" y="169"/>
                </a:cubicBezTo>
                <a:cubicBezTo>
                  <a:pt x="241" y="168"/>
                  <a:pt x="239" y="166"/>
                  <a:pt x="238" y="165"/>
                </a:cubicBezTo>
                <a:cubicBezTo>
                  <a:pt x="238" y="164"/>
                  <a:pt x="235" y="161"/>
                  <a:pt x="232" y="159"/>
                </a:cubicBezTo>
                <a:cubicBezTo>
                  <a:pt x="230" y="158"/>
                  <a:pt x="227" y="154"/>
                  <a:pt x="224" y="156"/>
                </a:cubicBezTo>
                <a:cubicBezTo>
                  <a:pt x="224" y="156"/>
                  <a:pt x="224" y="156"/>
                  <a:pt x="224" y="156"/>
                </a:cubicBezTo>
                <a:cubicBezTo>
                  <a:pt x="224" y="156"/>
                  <a:pt x="223" y="156"/>
                  <a:pt x="223" y="155"/>
                </a:cubicBezTo>
                <a:cubicBezTo>
                  <a:pt x="222" y="155"/>
                  <a:pt x="221" y="155"/>
                  <a:pt x="221" y="154"/>
                </a:cubicBezTo>
                <a:cubicBezTo>
                  <a:pt x="220" y="153"/>
                  <a:pt x="219" y="152"/>
                  <a:pt x="218" y="151"/>
                </a:cubicBezTo>
                <a:cubicBezTo>
                  <a:pt x="216" y="150"/>
                  <a:pt x="215" y="149"/>
                  <a:pt x="214" y="148"/>
                </a:cubicBezTo>
                <a:cubicBezTo>
                  <a:pt x="213" y="147"/>
                  <a:pt x="211" y="146"/>
                  <a:pt x="211" y="145"/>
                </a:cubicBezTo>
                <a:cubicBezTo>
                  <a:pt x="211" y="145"/>
                  <a:pt x="211" y="145"/>
                  <a:pt x="211" y="144"/>
                </a:cubicBezTo>
                <a:cubicBezTo>
                  <a:pt x="210" y="143"/>
                  <a:pt x="209" y="142"/>
                  <a:pt x="208" y="142"/>
                </a:cubicBezTo>
                <a:cubicBezTo>
                  <a:pt x="207" y="140"/>
                  <a:pt x="205" y="139"/>
                  <a:pt x="204" y="137"/>
                </a:cubicBezTo>
                <a:cubicBezTo>
                  <a:pt x="203" y="137"/>
                  <a:pt x="202" y="136"/>
                  <a:pt x="201" y="136"/>
                </a:cubicBezTo>
                <a:cubicBezTo>
                  <a:pt x="199" y="136"/>
                  <a:pt x="199" y="136"/>
                  <a:pt x="197" y="135"/>
                </a:cubicBezTo>
                <a:cubicBezTo>
                  <a:pt x="196" y="134"/>
                  <a:pt x="195" y="133"/>
                  <a:pt x="194" y="132"/>
                </a:cubicBezTo>
                <a:cubicBezTo>
                  <a:pt x="192" y="131"/>
                  <a:pt x="191" y="130"/>
                  <a:pt x="189" y="129"/>
                </a:cubicBezTo>
                <a:cubicBezTo>
                  <a:pt x="190" y="129"/>
                  <a:pt x="190" y="128"/>
                  <a:pt x="190" y="128"/>
                </a:cubicBezTo>
                <a:cubicBezTo>
                  <a:pt x="190" y="128"/>
                  <a:pt x="190" y="127"/>
                  <a:pt x="190" y="127"/>
                </a:cubicBezTo>
                <a:cubicBezTo>
                  <a:pt x="190" y="127"/>
                  <a:pt x="190" y="127"/>
                  <a:pt x="189" y="127"/>
                </a:cubicBezTo>
                <a:cubicBezTo>
                  <a:pt x="188" y="127"/>
                  <a:pt x="185" y="127"/>
                  <a:pt x="185" y="125"/>
                </a:cubicBezTo>
                <a:cubicBezTo>
                  <a:pt x="185" y="125"/>
                  <a:pt x="186" y="125"/>
                  <a:pt x="186" y="124"/>
                </a:cubicBezTo>
                <a:cubicBezTo>
                  <a:pt x="186" y="124"/>
                  <a:pt x="187" y="124"/>
                  <a:pt x="187" y="124"/>
                </a:cubicBezTo>
                <a:cubicBezTo>
                  <a:pt x="187" y="123"/>
                  <a:pt x="187" y="123"/>
                  <a:pt x="187" y="122"/>
                </a:cubicBezTo>
                <a:cubicBezTo>
                  <a:pt x="186" y="122"/>
                  <a:pt x="186" y="121"/>
                  <a:pt x="186" y="121"/>
                </a:cubicBezTo>
                <a:cubicBezTo>
                  <a:pt x="185" y="121"/>
                  <a:pt x="184" y="122"/>
                  <a:pt x="183" y="122"/>
                </a:cubicBezTo>
                <a:cubicBezTo>
                  <a:pt x="183" y="121"/>
                  <a:pt x="183" y="121"/>
                  <a:pt x="183" y="121"/>
                </a:cubicBezTo>
                <a:cubicBezTo>
                  <a:pt x="183" y="121"/>
                  <a:pt x="184" y="121"/>
                  <a:pt x="184" y="121"/>
                </a:cubicBezTo>
                <a:cubicBezTo>
                  <a:pt x="185" y="120"/>
                  <a:pt x="181" y="118"/>
                  <a:pt x="180" y="117"/>
                </a:cubicBezTo>
                <a:cubicBezTo>
                  <a:pt x="178" y="116"/>
                  <a:pt x="176" y="114"/>
                  <a:pt x="174" y="112"/>
                </a:cubicBezTo>
                <a:cubicBezTo>
                  <a:pt x="172" y="111"/>
                  <a:pt x="171" y="109"/>
                  <a:pt x="169" y="108"/>
                </a:cubicBezTo>
                <a:cubicBezTo>
                  <a:pt x="168" y="107"/>
                  <a:pt x="166" y="105"/>
                  <a:pt x="164" y="105"/>
                </a:cubicBezTo>
                <a:cubicBezTo>
                  <a:pt x="164" y="105"/>
                  <a:pt x="164" y="105"/>
                  <a:pt x="163" y="105"/>
                </a:cubicBezTo>
                <a:cubicBezTo>
                  <a:pt x="162" y="105"/>
                  <a:pt x="162" y="105"/>
                  <a:pt x="162" y="105"/>
                </a:cubicBezTo>
                <a:cubicBezTo>
                  <a:pt x="161" y="105"/>
                  <a:pt x="160" y="104"/>
                  <a:pt x="159" y="104"/>
                </a:cubicBezTo>
                <a:cubicBezTo>
                  <a:pt x="158" y="104"/>
                  <a:pt x="157" y="105"/>
                  <a:pt x="156" y="104"/>
                </a:cubicBezTo>
                <a:cubicBezTo>
                  <a:pt x="155" y="104"/>
                  <a:pt x="155" y="103"/>
                  <a:pt x="154" y="102"/>
                </a:cubicBezTo>
                <a:cubicBezTo>
                  <a:pt x="154" y="102"/>
                  <a:pt x="150" y="100"/>
                  <a:pt x="151" y="99"/>
                </a:cubicBezTo>
                <a:cubicBezTo>
                  <a:pt x="151" y="99"/>
                  <a:pt x="151" y="99"/>
                  <a:pt x="151" y="98"/>
                </a:cubicBezTo>
                <a:cubicBezTo>
                  <a:pt x="152" y="98"/>
                  <a:pt x="151" y="97"/>
                  <a:pt x="151" y="97"/>
                </a:cubicBezTo>
                <a:cubicBezTo>
                  <a:pt x="150" y="97"/>
                  <a:pt x="150" y="97"/>
                  <a:pt x="149" y="98"/>
                </a:cubicBezTo>
                <a:cubicBezTo>
                  <a:pt x="149" y="98"/>
                  <a:pt x="149" y="98"/>
                  <a:pt x="148" y="98"/>
                </a:cubicBezTo>
                <a:cubicBezTo>
                  <a:pt x="147" y="97"/>
                  <a:pt x="145" y="96"/>
                  <a:pt x="144" y="95"/>
                </a:cubicBezTo>
                <a:cubicBezTo>
                  <a:pt x="144" y="95"/>
                  <a:pt x="144" y="95"/>
                  <a:pt x="144" y="94"/>
                </a:cubicBezTo>
                <a:cubicBezTo>
                  <a:pt x="144" y="94"/>
                  <a:pt x="144" y="94"/>
                  <a:pt x="144" y="94"/>
                </a:cubicBezTo>
                <a:cubicBezTo>
                  <a:pt x="145" y="93"/>
                  <a:pt x="146" y="89"/>
                  <a:pt x="143" y="90"/>
                </a:cubicBezTo>
                <a:cubicBezTo>
                  <a:pt x="143" y="90"/>
                  <a:pt x="143" y="91"/>
                  <a:pt x="142" y="91"/>
                </a:cubicBezTo>
                <a:cubicBezTo>
                  <a:pt x="142" y="91"/>
                  <a:pt x="142" y="91"/>
                  <a:pt x="142" y="92"/>
                </a:cubicBezTo>
                <a:cubicBezTo>
                  <a:pt x="141" y="92"/>
                  <a:pt x="141" y="92"/>
                  <a:pt x="141" y="92"/>
                </a:cubicBezTo>
                <a:cubicBezTo>
                  <a:pt x="140" y="92"/>
                  <a:pt x="139" y="91"/>
                  <a:pt x="139" y="91"/>
                </a:cubicBezTo>
                <a:cubicBezTo>
                  <a:pt x="138" y="90"/>
                  <a:pt x="139" y="89"/>
                  <a:pt x="139" y="89"/>
                </a:cubicBezTo>
                <a:cubicBezTo>
                  <a:pt x="139" y="88"/>
                  <a:pt x="138" y="88"/>
                  <a:pt x="137" y="87"/>
                </a:cubicBezTo>
                <a:cubicBezTo>
                  <a:pt x="136" y="87"/>
                  <a:pt x="135" y="85"/>
                  <a:pt x="134" y="85"/>
                </a:cubicBezTo>
                <a:cubicBezTo>
                  <a:pt x="133" y="84"/>
                  <a:pt x="132" y="85"/>
                  <a:pt x="131" y="85"/>
                </a:cubicBezTo>
                <a:cubicBezTo>
                  <a:pt x="129" y="84"/>
                  <a:pt x="126" y="81"/>
                  <a:pt x="124" y="80"/>
                </a:cubicBezTo>
                <a:cubicBezTo>
                  <a:pt x="123" y="79"/>
                  <a:pt x="116" y="75"/>
                  <a:pt x="117" y="74"/>
                </a:cubicBezTo>
                <a:cubicBezTo>
                  <a:pt x="117" y="73"/>
                  <a:pt x="117" y="73"/>
                  <a:pt x="117" y="73"/>
                </a:cubicBezTo>
                <a:cubicBezTo>
                  <a:pt x="117" y="72"/>
                  <a:pt x="117" y="72"/>
                  <a:pt x="117" y="72"/>
                </a:cubicBezTo>
                <a:cubicBezTo>
                  <a:pt x="116" y="72"/>
                  <a:pt x="113" y="70"/>
                  <a:pt x="116" y="70"/>
                </a:cubicBezTo>
                <a:cubicBezTo>
                  <a:pt x="116" y="70"/>
                  <a:pt x="116" y="70"/>
                  <a:pt x="117" y="69"/>
                </a:cubicBezTo>
                <a:cubicBezTo>
                  <a:pt x="117" y="69"/>
                  <a:pt x="116" y="69"/>
                  <a:pt x="116" y="69"/>
                </a:cubicBezTo>
                <a:cubicBezTo>
                  <a:pt x="115" y="69"/>
                  <a:pt x="115" y="69"/>
                  <a:pt x="114" y="68"/>
                </a:cubicBezTo>
                <a:cubicBezTo>
                  <a:pt x="114" y="68"/>
                  <a:pt x="113" y="67"/>
                  <a:pt x="113" y="67"/>
                </a:cubicBezTo>
                <a:cubicBezTo>
                  <a:pt x="112" y="67"/>
                  <a:pt x="112" y="66"/>
                  <a:pt x="111" y="66"/>
                </a:cubicBezTo>
                <a:cubicBezTo>
                  <a:pt x="109" y="65"/>
                  <a:pt x="108" y="64"/>
                  <a:pt x="106" y="63"/>
                </a:cubicBezTo>
                <a:cubicBezTo>
                  <a:pt x="105" y="62"/>
                  <a:pt x="104" y="62"/>
                  <a:pt x="104" y="61"/>
                </a:cubicBezTo>
                <a:cubicBezTo>
                  <a:pt x="103" y="60"/>
                  <a:pt x="103" y="60"/>
                  <a:pt x="102" y="59"/>
                </a:cubicBezTo>
                <a:cubicBezTo>
                  <a:pt x="102" y="59"/>
                  <a:pt x="101" y="59"/>
                  <a:pt x="101" y="59"/>
                </a:cubicBezTo>
                <a:cubicBezTo>
                  <a:pt x="100" y="59"/>
                  <a:pt x="100" y="59"/>
                  <a:pt x="99" y="59"/>
                </a:cubicBezTo>
                <a:cubicBezTo>
                  <a:pt x="98" y="59"/>
                  <a:pt x="97" y="59"/>
                  <a:pt x="97" y="59"/>
                </a:cubicBezTo>
                <a:cubicBezTo>
                  <a:pt x="96" y="59"/>
                  <a:pt x="96" y="59"/>
                  <a:pt x="96" y="59"/>
                </a:cubicBezTo>
                <a:cubicBezTo>
                  <a:pt x="96" y="59"/>
                  <a:pt x="96" y="59"/>
                  <a:pt x="95" y="59"/>
                </a:cubicBezTo>
                <a:cubicBezTo>
                  <a:pt x="95" y="59"/>
                  <a:pt x="94" y="58"/>
                  <a:pt x="94" y="58"/>
                </a:cubicBezTo>
                <a:cubicBezTo>
                  <a:pt x="93" y="57"/>
                  <a:pt x="92" y="57"/>
                  <a:pt x="93" y="56"/>
                </a:cubicBezTo>
                <a:cubicBezTo>
                  <a:pt x="93" y="56"/>
                  <a:pt x="93" y="55"/>
                  <a:pt x="93" y="55"/>
                </a:cubicBezTo>
                <a:cubicBezTo>
                  <a:pt x="93" y="54"/>
                  <a:pt x="91" y="53"/>
                  <a:pt x="91" y="53"/>
                </a:cubicBezTo>
                <a:cubicBezTo>
                  <a:pt x="90" y="52"/>
                  <a:pt x="90" y="50"/>
                  <a:pt x="89" y="49"/>
                </a:cubicBezTo>
                <a:cubicBezTo>
                  <a:pt x="89" y="47"/>
                  <a:pt x="87" y="46"/>
                  <a:pt x="85" y="46"/>
                </a:cubicBezTo>
                <a:cubicBezTo>
                  <a:pt x="85" y="45"/>
                  <a:pt x="84" y="45"/>
                  <a:pt x="83" y="44"/>
                </a:cubicBezTo>
                <a:cubicBezTo>
                  <a:pt x="83" y="44"/>
                  <a:pt x="82" y="45"/>
                  <a:pt x="81" y="44"/>
                </a:cubicBezTo>
                <a:cubicBezTo>
                  <a:pt x="80" y="44"/>
                  <a:pt x="78" y="42"/>
                  <a:pt x="77" y="41"/>
                </a:cubicBezTo>
                <a:cubicBezTo>
                  <a:pt x="76" y="40"/>
                  <a:pt x="74" y="38"/>
                  <a:pt x="72" y="37"/>
                </a:cubicBezTo>
                <a:cubicBezTo>
                  <a:pt x="71" y="36"/>
                  <a:pt x="70" y="35"/>
                  <a:pt x="69" y="35"/>
                </a:cubicBezTo>
                <a:cubicBezTo>
                  <a:pt x="57" y="26"/>
                  <a:pt x="50" y="13"/>
                  <a:pt x="38" y="6"/>
                </a:cubicBezTo>
                <a:cubicBezTo>
                  <a:pt x="35" y="4"/>
                  <a:pt x="31" y="2"/>
                  <a:pt x="28" y="1"/>
                </a:cubicBezTo>
                <a:cubicBezTo>
                  <a:pt x="26" y="1"/>
                  <a:pt x="24" y="0"/>
                  <a:pt x="23" y="0"/>
                </a:cubicBezTo>
                <a:cubicBezTo>
                  <a:pt x="21" y="0"/>
                  <a:pt x="20" y="1"/>
                  <a:pt x="20" y="3"/>
                </a:cubicBezTo>
                <a:cubicBezTo>
                  <a:pt x="20" y="3"/>
                  <a:pt x="20" y="3"/>
                  <a:pt x="20" y="4"/>
                </a:cubicBezTo>
                <a:cubicBezTo>
                  <a:pt x="19" y="4"/>
                  <a:pt x="19" y="4"/>
                  <a:pt x="19" y="4"/>
                </a:cubicBezTo>
                <a:cubicBezTo>
                  <a:pt x="18" y="5"/>
                  <a:pt x="18" y="6"/>
                  <a:pt x="18" y="7"/>
                </a:cubicBezTo>
                <a:cubicBezTo>
                  <a:pt x="17" y="7"/>
                  <a:pt x="16" y="7"/>
                  <a:pt x="15" y="7"/>
                </a:cubicBezTo>
                <a:cubicBezTo>
                  <a:pt x="14" y="8"/>
                  <a:pt x="14" y="10"/>
                  <a:pt x="14" y="10"/>
                </a:cubicBezTo>
                <a:cubicBezTo>
                  <a:pt x="13" y="10"/>
                  <a:pt x="13" y="10"/>
                  <a:pt x="13" y="11"/>
                </a:cubicBezTo>
                <a:cubicBezTo>
                  <a:pt x="12" y="11"/>
                  <a:pt x="11" y="12"/>
                  <a:pt x="11" y="13"/>
                </a:cubicBezTo>
                <a:cubicBezTo>
                  <a:pt x="10" y="14"/>
                  <a:pt x="9" y="15"/>
                  <a:pt x="9" y="16"/>
                </a:cubicBezTo>
                <a:cubicBezTo>
                  <a:pt x="7" y="18"/>
                  <a:pt x="6" y="21"/>
                  <a:pt x="6" y="23"/>
                </a:cubicBezTo>
                <a:cubicBezTo>
                  <a:pt x="5" y="25"/>
                  <a:pt x="5" y="26"/>
                  <a:pt x="5" y="27"/>
                </a:cubicBezTo>
                <a:cubicBezTo>
                  <a:pt x="5" y="27"/>
                  <a:pt x="5" y="28"/>
                  <a:pt x="5" y="28"/>
                </a:cubicBezTo>
                <a:cubicBezTo>
                  <a:pt x="5" y="29"/>
                  <a:pt x="5" y="29"/>
                  <a:pt x="5" y="30"/>
                </a:cubicBezTo>
                <a:cubicBezTo>
                  <a:pt x="4" y="32"/>
                  <a:pt x="2" y="33"/>
                  <a:pt x="1" y="34"/>
                </a:cubicBezTo>
                <a:cubicBezTo>
                  <a:pt x="0" y="36"/>
                  <a:pt x="0" y="37"/>
                  <a:pt x="0" y="39"/>
                </a:cubicBezTo>
                <a:cubicBezTo>
                  <a:pt x="0" y="39"/>
                  <a:pt x="0" y="40"/>
                  <a:pt x="0" y="40"/>
                </a:cubicBezTo>
                <a:cubicBezTo>
                  <a:pt x="0" y="41"/>
                  <a:pt x="0" y="41"/>
                  <a:pt x="0" y="41"/>
                </a:cubicBezTo>
                <a:cubicBezTo>
                  <a:pt x="5" y="49"/>
                  <a:pt x="13" y="53"/>
                  <a:pt x="18" y="59"/>
                </a:cubicBezTo>
                <a:cubicBezTo>
                  <a:pt x="22" y="62"/>
                  <a:pt x="26" y="65"/>
                  <a:pt x="30" y="69"/>
                </a:cubicBezTo>
                <a:cubicBezTo>
                  <a:pt x="32" y="70"/>
                  <a:pt x="34" y="72"/>
                  <a:pt x="36" y="74"/>
                </a:cubicBezTo>
                <a:cubicBezTo>
                  <a:pt x="38" y="75"/>
                  <a:pt x="40" y="76"/>
                  <a:pt x="42" y="78"/>
                </a:cubicBezTo>
                <a:cubicBezTo>
                  <a:pt x="43" y="79"/>
                  <a:pt x="45" y="80"/>
                  <a:pt x="46" y="81"/>
                </a:cubicBezTo>
                <a:cubicBezTo>
                  <a:pt x="49" y="83"/>
                  <a:pt x="51" y="85"/>
                  <a:pt x="54" y="86"/>
                </a:cubicBezTo>
                <a:cubicBezTo>
                  <a:pt x="55" y="86"/>
                  <a:pt x="56" y="86"/>
                  <a:pt x="57" y="87"/>
                </a:cubicBezTo>
                <a:cubicBezTo>
                  <a:pt x="59" y="88"/>
                  <a:pt x="60" y="89"/>
                  <a:pt x="61" y="90"/>
                </a:cubicBezTo>
                <a:cubicBezTo>
                  <a:pt x="89" y="114"/>
                  <a:pt x="159" y="170"/>
                  <a:pt x="172" y="180"/>
                </a:cubicBezTo>
                <a:cubicBezTo>
                  <a:pt x="175" y="182"/>
                  <a:pt x="182" y="187"/>
                  <a:pt x="187" y="191"/>
                </a:cubicBezTo>
                <a:cubicBezTo>
                  <a:pt x="192" y="195"/>
                  <a:pt x="199" y="200"/>
                  <a:pt x="204" y="204"/>
                </a:cubicBezTo>
                <a:cubicBezTo>
                  <a:pt x="227" y="221"/>
                  <a:pt x="236" y="228"/>
                  <a:pt x="259" y="246"/>
                </a:cubicBezTo>
                <a:cubicBezTo>
                  <a:pt x="261" y="248"/>
                  <a:pt x="263" y="249"/>
                  <a:pt x="265" y="251"/>
                </a:cubicBezTo>
                <a:cubicBezTo>
                  <a:pt x="266" y="252"/>
                  <a:pt x="267" y="253"/>
                  <a:pt x="268" y="253"/>
                </a:cubicBezTo>
                <a:cubicBezTo>
                  <a:pt x="268" y="254"/>
                  <a:pt x="269" y="253"/>
                  <a:pt x="270" y="254"/>
                </a:cubicBezTo>
                <a:cubicBezTo>
                  <a:pt x="272" y="254"/>
                  <a:pt x="272" y="254"/>
                  <a:pt x="272" y="256"/>
                </a:cubicBezTo>
                <a:cubicBezTo>
                  <a:pt x="272" y="257"/>
                  <a:pt x="273" y="258"/>
                  <a:pt x="274" y="258"/>
                </a:cubicBezTo>
                <a:cubicBezTo>
                  <a:pt x="274" y="258"/>
                  <a:pt x="275" y="258"/>
                  <a:pt x="275" y="258"/>
                </a:cubicBezTo>
                <a:cubicBezTo>
                  <a:pt x="276" y="258"/>
                  <a:pt x="278" y="259"/>
                  <a:pt x="279" y="260"/>
                </a:cubicBezTo>
                <a:cubicBezTo>
                  <a:pt x="280" y="261"/>
                  <a:pt x="281" y="262"/>
                  <a:pt x="283" y="264"/>
                </a:cubicBezTo>
                <a:cubicBezTo>
                  <a:pt x="285" y="266"/>
                  <a:pt x="288" y="268"/>
                  <a:pt x="291" y="270"/>
                </a:cubicBezTo>
                <a:cubicBezTo>
                  <a:pt x="299" y="277"/>
                  <a:pt x="306" y="282"/>
                  <a:pt x="307" y="283"/>
                </a:cubicBezTo>
                <a:cubicBezTo>
                  <a:pt x="308" y="283"/>
                  <a:pt x="308" y="283"/>
                  <a:pt x="308" y="283"/>
                </a:cubicBezTo>
                <a:cubicBezTo>
                  <a:pt x="308" y="284"/>
                  <a:pt x="309" y="285"/>
                  <a:pt x="310" y="286"/>
                </a:cubicBezTo>
                <a:cubicBezTo>
                  <a:pt x="311" y="286"/>
                  <a:pt x="312" y="287"/>
                  <a:pt x="314" y="288"/>
                </a:cubicBezTo>
                <a:cubicBezTo>
                  <a:pt x="315" y="289"/>
                  <a:pt x="317" y="291"/>
                  <a:pt x="318" y="292"/>
                </a:cubicBezTo>
                <a:cubicBezTo>
                  <a:pt x="321" y="294"/>
                  <a:pt x="324" y="297"/>
                  <a:pt x="327" y="299"/>
                </a:cubicBezTo>
                <a:cubicBezTo>
                  <a:pt x="341" y="310"/>
                  <a:pt x="354" y="321"/>
                  <a:pt x="368" y="332"/>
                </a:cubicBezTo>
                <a:cubicBezTo>
                  <a:pt x="374" y="337"/>
                  <a:pt x="379" y="342"/>
                  <a:pt x="385" y="346"/>
                </a:cubicBezTo>
                <a:cubicBezTo>
                  <a:pt x="390" y="350"/>
                  <a:pt x="394" y="353"/>
                  <a:pt x="398" y="357"/>
                </a:cubicBezTo>
                <a:cubicBezTo>
                  <a:pt x="403" y="360"/>
                  <a:pt x="407" y="364"/>
                  <a:pt x="411" y="367"/>
                </a:cubicBezTo>
                <a:cubicBezTo>
                  <a:pt x="413" y="369"/>
                  <a:pt x="415" y="370"/>
                  <a:pt x="417" y="372"/>
                </a:cubicBezTo>
                <a:cubicBezTo>
                  <a:pt x="418" y="372"/>
                  <a:pt x="419" y="373"/>
                  <a:pt x="419" y="374"/>
                </a:cubicBezTo>
                <a:cubicBezTo>
                  <a:pt x="420" y="374"/>
                  <a:pt x="421" y="376"/>
                  <a:pt x="422" y="376"/>
                </a:cubicBezTo>
                <a:cubicBezTo>
                  <a:pt x="422" y="376"/>
                  <a:pt x="423" y="376"/>
                  <a:pt x="423" y="376"/>
                </a:cubicBezTo>
                <a:cubicBezTo>
                  <a:pt x="423" y="376"/>
                  <a:pt x="423" y="377"/>
                  <a:pt x="423" y="377"/>
                </a:cubicBezTo>
                <a:cubicBezTo>
                  <a:pt x="424" y="377"/>
                  <a:pt x="426" y="377"/>
                  <a:pt x="426" y="377"/>
                </a:cubicBezTo>
                <a:cubicBezTo>
                  <a:pt x="427" y="378"/>
                  <a:pt x="427" y="379"/>
                  <a:pt x="428" y="380"/>
                </a:cubicBezTo>
                <a:cubicBezTo>
                  <a:pt x="428" y="381"/>
                  <a:pt x="430" y="382"/>
                  <a:pt x="431" y="383"/>
                </a:cubicBezTo>
                <a:cubicBezTo>
                  <a:pt x="433" y="384"/>
                  <a:pt x="435" y="386"/>
                  <a:pt x="437" y="387"/>
                </a:cubicBezTo>
                <a:cubicBezTo>
                  <a:pt x="438" y="388"/>
                  <a:pt x="442" y="393"/>
                  <a:pt x="444" y="392"/>
                </a:cubicBezTo>
                <a:cubicBezTo>
                  <a:pt x="444" y="391"/>
                  <a:pt x="444" y="391"/>
                  <a:pt x="445" y="391"/>
                </a:cubicBezTo>
                <a:cubicBezTo>
                  <a:pt x="445" y="390"/>
                  <a:pt x="447" y="392"/>
                  <a:pt x="448" y="393"/>
                </a:cubicBezTo>
                <a:cubicBezTo>
                  <a:pt x="448" y="393"/>
                  <a:pt x="451" y="395"/>
                  <a:pt x="451" y="396"/>
                </a:cubicBezTo>
                <a:cubicBezTo>
                  <a:pt x="450" y="397"/>
                  <a:pt x="451" y="397"/>
                  <a:pt x="451" y="397"/>
                </a:cubicBezTo>
                <a:cubicBezTo>
                  <a:pt x="452" y="397"/>
                  <a:pt x="452" y="397"/>
                  <a:pt x="454" y="397"/>
                </a:cubicBezTo>
                <a:cubicBezTo>
                  <a:pt x="454" y="397"/>
                  <a:pt x="455" y="398"/>
                  <a:pt x="455" y="398"/>
                </a:cubicBezTo>
                <a:cubicBezTo>
                  <a:pt x="456" y="399"/>
                  <a:pt x="455" y="400"/>
                  <a:pt x="455" y="401"/>
                </a:cubicBezTo>
                <a:cubicBezTo>
                  <a:pt x="456" y="403"/>
                  <a:pt x="458" y="404"/>
                  <a:pt x="460" y="406"/>
                </a:cubicBezTo>
                <a:cubicBezTo>
                  <a:pt x="461" y="407"/>
                  <a:pt x="463" y="408"/>
                  <a:pt x="465" y="408"/>
                </a:cubicBezTo>
                <a:cubicBezTo>
                  <a:pt x="466" y="408"/>
                  <a:pt x="467" y="408"/>
                  <a:pt x="468" y="410"/>
                </a:cubicBezTo>
                <a:cubicBezTo>
                  <a:pt x="468" y="411"/>
                  <a:pt x="469" y="412"/>
                  <a:pt x="471" y="413"/>
                </a:cubicBezTo>
                <a:cubicBezTo>
                  <a:pt x="472" y="415"/>
                  <a:pt x="473" y="415"/>
                  <a:pt x="475" y="415"/>
                </a:cubicBezTo>
                <a:cubicBezTo>
                  <a:pt x="476" y="415"/>
                  <a:pt x="477" y="416"/>
                  <a:pt x="477" y="416"/>
                </a:cubicBezTo>
                <a:cubicBezTo>
                  <a:pt x="478" y="417"/>
                  <a:pt x="478" y="417"/>
                  <a:pt x="478" y="418"/>
                </a:cubicBezTo>
                <a:cubicBezTo>
                  <a:pt x="479" y="419"/>
                  <a:pt x="479" y="419"/>
                  <a:pt x="479" y="420"/>
                </a:cubicBezTo>
                <a:cubicBezTo>
                  <a:pt x="480" y="421"/>
                  <a:pt x="481" y="422"/>
                  <a:pt x="482" y="423"/>
                </a:cubicBezTo>
                <a:cubicBezTo>
                  <a:pt x="483" y="424"/>
                  <a:pt x="485" y="425"/>
                  <a:pt x="486" y="427"/>
                </a:cubicBezTo>
                <a:cubicBezTo>
                  <a:pt x="490" y="430"/>
                  <a:pt x="495" y="434"/>
                  <a:pt x="499" y="437"/>
                </a:cubicBezTo>
                <a:cubicBezTo>
                  <a:pt x="501" y="439"/>
                  <a:pt x="503" y="440"/>
                  <a:pt x="505" y="442"/>
                </a:cubicBezTo>
                <a:cubicBezTo>
                  <a:pt x="506" y="443"/>
                  <a:pt x="508" y="444"/>
                  <a:pt x="509" y="445"/>
                </a:cubicBezTo>
                <a:cubicBezTo>
                  <a:pt x="510" y="445"/>
                  <a:pt x="512" y="444"/>
                  <a:pt x="513" y="445"/>
                </a:cubicBezTo>
                <a:cubicBezTo>
                  <a:pt x="514" y="445"/>
                  <a:pt x="514" y="446"/>
                  <a:pt x="515" y="447"/>
                </a:cubicBezTo>
                <a:cubicBezTo>
                  <a:pt x="515" y="447"/>
                  <a:pt x="517" y="448"/>
                  <a:pt x="518" y="450"/>
                </a:cubicBezTo>
                <a:cubicBezTo>
                  <a:pt x="519" y="450"/>
                  <a:pt x="520" y="450"/>
                  <a:pt x="521" y="451"/>
                </a:cubicBezTo>
                <a:cubicBezTo>
                  <a:pt x="521" y="451"/>
                  <a:pt x="521" y="452"/>
                  <a:pt x="521" y="452"/>
                </a:cubicBezTo>
                <a:cubicBezTo>
                  <a:pt x="520" y="452"/>
                  <a:pt x="520" y="452"/>
                  <a:pt x="520" y="453"/>
                </a:cubicBezTo>
                <a:cubicBezTo>
                  <a:pt x="520" y="453"/>
                  <a:pt x="520" y="453"/>
                  <a:pt x="520" y="454"/>
                </a:cubicBezTo>
                <a:cubicBezTo>
                  <a:pt x="521" y="455"/>
                  <a:pt x="522" y="456"/>
                  <a:pt x="523" y="457"/>
                </a:cubicBezTo>
                <a:cubicBezTo>
                  <a:pt x="526" y="459"/>
                  <a:pt x="528" y="461"/>
                  <a:pt x="529" y="461"/>
                </a:cubicBezTo>
                <a:cubicBezTo>
                  <a:pt x="529" y="462"/>
                  <a:pt x="533" y="465"/>
                  <a:pt x="538" y="468"/>
                </a:cubicBezTo>
                <a:cubicBezTo>
                  <a:pt x="539" y="470"/>
                  <a:pt x="541" y="471"/>
                  <a:pt x="542" y="472"/>
                </a:cubicBezTo>
                <a:cubicBezTo>
                  <a:pt x="543" y="472"/>
                  <a:pt x="545" y="474"/>
                  <a:pt x="546" y="474"/>
                </a:cubicBezTo>
                <a:cubicBezTo>
                  <a:pt x="546" y="474"/>
                  <a:pt x="547" y="473"/>
                  <a:pt x="547" y="473"/>
                </a:cubicBezTo>
                <a:cubicBezTo>
                  <a:pt x="548" y="474"/>
                  <a:pt x="549" y="475"/>
                  <a:pt x="548" y="475"/>
                </a:cubicBezTo>
                <a:cubicBezTo>
                  <a:pt x="548" y="475"/>
                  <a:pt x="548" y="475"/>
                  <a:pt x="548" y="476"/>
                </a:cubicBezTo>
                <a:cubicBezTo>
                  <a:pt x="548" y="477"/>
                  <a:pt x="552" y="479"/>
                  <a:pt x="553" y="480"/>
                </a:cubicBezTo>
                <a:cubicBezTo>
                  <a:pt x="557" y="484"/>
                  <a:pt x="559" y="486"/>
                  <a:pt x="562" y="490"/>
                </a:cubicBezTo>
                <a:cubicBezTo>
                  <a:pt x="564" y="492"/>
                  <a:pt x="575" y="501"/>
                  <a:pt x="581" y="505"/>
                </a:cubicBezTo>
                <a:cubicBezTo>
                  <a:pt x="582" y="505"/>
                  <a:pt x="583" y="506"/>
                  <a:pt x="584" y="507"/>
                </a:cubicBezTo>
                <a:cubicBezTo>
                  <a:pt x="585" y="507"/>
                  <a:pt x="585" y="507"/>
                  <a:pt x="586" y="508"/>
                </a:cubicBezTo>
                <a:cubicBezTo>
                  <a:pt x="586" y="508"/>
                  <a:pt x="586" y="508"/>
                  <a:pt x="587" y="508"/>
                </a:cubicBezTo>
                <a:cubicBezTo>
                  <a:pt x="587" y="508"/>
                  <a:pt x="587" y="508"/>
                  <a:pt x="587" y="508"/>
                </a:cubicBezTo>
                <a:cubicBezTo>
                  <a:pt x="588" y="509"/>
                  <a:pt x="588" y="509"/>
                  <a:pt x="589" y="509"/>
                </a:cubicBezTo>
                <a:cubicBezTo>
                  <a:pt x="589" y="509"/>
                  <a:pt x="589" y="510"/>
                  <a:pt x="590" y="511"/>
                </a:cubicBezTo>
                <a:cubicBezTo>
                  <a:pt x="590" y="512"/>
                  <a:pt x="591" y="512"/>
                  <a:pt x="592" y="513"/>
                </a:cubicBezTo>
                <a:cubicBezTo>
                  <a:pt x="593" y="514"/>
                  <a:pt x="594" y="514"/>
                  <a:pt x="595" y="515"/>
                </a:cubicBezTo>
                <a:cubicBezTo>
                  <a:pt x="596" y="515"/>
                  <a:pt x="598" y="515"/>
                  <a:pt x="598" y="515"/>
                </a:cubicBezTo>
                <a:cubicBezTo>
                  <a:pt x="599" y="516"/>
                  <a:pt x="599" y="518"/>
                  <a:pt x="599" y="518"/>
                </a:cubicBezTo>
                <a:cubicBezTo>
                  <a:pt x="600" y="518"/>
                  <a:pt x="600" y="519"/>
                  <a:pt x="600" y="519"/>
                </a:cubicBezTo>
                <a:cubicBezTo>
                  <a:pt x="600" y="519"/>
                  <a:pt x="600" y="519"/>
                  <a:pt x="600" y="519"/>
                </a:cubicBezTo>
                <a:cubicBezTo>
                  <a:pt x="600" y="519"/>
                  <a:pt x="601" y="519"/>
                  <a:pt x="601" y="519"/>
                </a:cubicBezTo>
                <a:cubicBezTo>
                  <a:pt x="603" y="518"/>
                  <a:pt x="604" y="520"/>
                  <a:pt x="606" y="521"/>
                </a:cubicBezTo>
                <a:cubicBezTo>
                  <a:pt x="606" y="522"/>
                  <a:pt x="607" y="522"/>
                  <a:pt x="607" y="523"/>
                </a:cubicBezTo>
                <a:cubicBezTo>
                  <a:pt x="607" y="523"/>
                  <a:pt x="607" y="524"/>
                  <a:pt x="607" y="524"/>
                </a:cubicBezTo>
                <a:cubicBezTo>
                  <a:pt x="607" y="525"/>
                  <a:pt x="608" y="525"/>
                  <a:pt x="608" y="525"/>
                </a:cubicBezTo>
                <a:cubicBezTo>
                  <a:pt x="610" y="525"/>
                  <a:pt x="609" y="527"/>
                  <a:pt x="611" y="528"/>
                </a:cubicBezTo>
                <a:cubicBezTo>
                  <a:pt x="612" y="529"/>
                  <a:pt x="613" y="530"/>
                  <a:pt x="614" y="531"/>
                </a:cubicBezTo>
                <a:cubicBezTo>
                  <a:pt x="615" y="531"/>
                  <a:pt x="618" y="535"/>
                  <a:pt x="619" y="534"/>
                </a:cubicBezTo>
                <a:cubicBezTo>
                  <a:pt x="620" y="534"/>
                  <a:pt x="620" y="534"/>
                  <a:pt x="620" y="534"/>
                </a:cubicBezTo>
                <a:cubicBezTo>
                  <a:pt x="621" y="533"/>
                  <a:pt x="622" y="534"/>
                  <a:pt x="623" y="535"/>
                </a:cubicBezTo>
                <a:cubicBezTo>
                  <a:pt x="624" y="536"/>
                  <a:pt x="624" y="537"/>
                  <a:pt x="625" y="538"/>
                </a:cubicBezTo>
                <a:cubicBezTo>
                  <a:pt x="625" y="539"/>
                  <a:pt x="625" y="539"/>
                  <a:pt x="626" y="540"/>
                </a:cubicBezTo>
                <a:cubicBezTo>
                  <a:pt x="626" y="540"/>
                  <a:pt x="627" y="540"/>
                  <a:pt x="627" y="540"/>
                </a:cubicBezTo>
                <a:cubicBezTo>
                  <a:pt x="627" y="540"/>
                  <a:pt x="627" y="540"/>
                  <a:pt x="628" y="540"/>
                </a:cubicBezTo>
                <a:cubicBezTo>
                  <a:pt x="628" y="540"/>
                  <a:pt x="628" y="540"/>
                  <a:pt x="628" y="540"/>
                </a:cubicBezTo>
                <a:cubicBezTo>
                  <a:pt x="629" y="540"/>
                  <a:pt x="629" y="541"/>
                  <a:pt x="630" y="541"/>
                </a:cubicBezTo>
                <a:cubicBezTo>
                  <a:pt x="630" y="542"/>
                  <a:pt x="630" y="542"/>
                  <a:pt x="630" y="543"/>
                </a:cubicBezTo>
                <a:cubicBezTo>
                  <a:pt x="630" y="543"/>
                  <a:pt x="630" y="543"/>
                  <a:pt x="630" y="544"/>
                </a:cubicBezTo>
                <a:cubicBezTo>
                  <a:pt x="631" y="544"/>
                  <a:pt x="631" y="545"/>
                  <a:pt x="632" y="545"/>
                </a:cubicBezTo>
                <a:cubicBezTo>
                  <a:pt x="636" y="548"/>
                  <a:pt x="644" y="556"/>
                  <a:pt x="646" y="558"/>
                </a:cubicBezTo>
                <a:cubicBezTo>
                  <a:pt x="647" y="559"/>
                  <a:pt x="649" y="560"/>
                  <a:pt x="650" y="561"/>
                </a:cubicBezTo>
                <a:cubicBezTo>
                  <a:pt x="652" y="562"/>
                  <a:pt x="654" y="564"/>
                  <a:pt x="656" y="566"/>
                </a:cubicBezTo>
                <a:cubicBezTo>
                  <a:pt x="657" y="567"/>
                  <a:pt x="660" y="570"/>
                  <a:pt x="661" y="572"/>
                </a:cubicBezTo>
                <a:cubicBezTo>
                  <a:pt x="664" y="574"/>
                  <a:pt x="666" y="578"/>
                  <a:pt x="670" y="578"/>
                </a:cubicBezTo>
                <a:cubicBezTo>
                  <a:pt x="671" y="579"/>
                  <a:pt x="671" y="579"/>
                  <a:pt x="672" y="579"/>
                </a:cubicBezTo>
                <a:cubicBezTo>
                  <a:pt x="674" y="581"/>
                  <a:pt x="675" y="582"/>
                  <a:pt x="677" y="583"/>
                </a:cubicBezTo>
                <a:cubicBezTo>
                  <a:pt x="681" y="586"/>
                  <a:pt x="686" y="590"/>
                  <a:pt x="688" y="592"/>
                </a:cubicBezTo>
                <a:cubicBezTo>
                  <a:pt x="690" y="593"/>
                  <a:pt x="691" y="594"/>
                  <a:pt x="692" y="595"/>
                </a:cubicBezTo>
                <a:cubicBezTo>
                  <a:pt x="692" y="595"/>
                  <a:pt x="693" y="595"/>
                  <a:pt x="693" y="595"/>
                </a:cubicBezTo>
                <a:cubicBezTo>
                  <a:pt x="694" y="594"/>
                  <a:pt x="693" y="593"/>
                  <a:pt x="694" y="593"/>
                </a:cubicBezTo>
                <a:cubicBezTo>
                  <a:pt x="694" y="593"/>
                  <a:pt x="695" y="594"/>
                  <a:pt x="695" y="594"/>
                </a:cubicBezTo>
                <a:cubicBezTo>
                  <a:pt x="696" y="595"/>
                  <a:pt x="696" y="595"/>
                  <a:pt x="696" y="595"/>
                </a:cubicBezTo>
                <a:cubicBezTo>
                  <a:pt x="696" y="595"/>
                  <a:pt x="695" y="595"/>
                  <a:pt x="695" y="595"/>
                </a:cubicBezTo>
                <a:cubicBezTo>
                  <a:pt x="695" y="596"/>
                  <a:pt x="695" y="596"/>
                  <a:pt x="695" y="596"/>
                </a:cubicBezTo>
                <a:cubicBezTo>
                  <a:pt x="696" y="597"/>
                  <a:pt x="697" y="598"/>
                  <a:pt x="698" y="599"/>
                </a:cubicBezTo>
                <a:cubicBezTo>
                  <a:pt x="699" y="599"/>
                  <a:pt x="700" y="600"/>
                  <a:pt x="701" y="601"/>
                </a:cubicBezTo>
                <a:cubicBezTo>
                  <a:pt x="701" y="601"/>
                  <a:pt x="702" y="601"/>
                  <a:pt x="703" y="601"/>
                </a:cubicBezTo>
                <a:cubicBezTo>
                  <a:pt x="704" y="600"/>
                  <a:pt x="704" y="600"/>
                  <a:pt x="705" y="601"/>
                </a:cubicBezTo>
                <a:cubicBezTo>
                  <a:pt x="705" y="602"/>
                  <a:pt x="705" y="602"/>
                  <a:pt x="705" y="603"/>
                </a:cubicBezTo>
                <a:cubicBezTo>
                  <a:pt x="705" y="603"/>
                  <a:pt x="705" y="604"/>
                  <a:pt x="705" y="604"/>
                </a:cubicBezTo>
                <a:cubicBezTo>
                  <a:pt x="705" y="605"/>
                  <a:pt x="707" y="606"/>
                  <a:pt x="707" y="607"/>
                </a:cubicBezTo>
                <a:cubicBezTo>
                  <a:pt x="707" y="607"/>
                  <a:pt x="707" y="607"/>
                  <a:pt x="707" y="608"/>
                </a:cubicBezTo>
                <a:cubicBezTo>
                  <a:pt x="707" y="608"/>
                  <a:pt x="707" y="608"/>
                  <a:pt x="708" y="609"/>
                </a:cubicBezTo>
                <a:cubicBezTo>
                  <a:pt x="708" y="609"/>
                  <a:pt x="709" y="609"/>
                  <a:pt x="710" y="609"/>
                </a:cubicBezTo>
                <a:cubicBezTo>
                  <a:pt x="711" y="610"/>
                  <a:pt x="712" y="610"/>
                  <a:pt x="713" y="611"/>
                </a:cubicBezTo>
                <a:cubicBezTo>
                  <a:pt x="715" y="613"/>
                  <a:pt x="717" y="614"/>
                  <a:pt x="719" y="616"/>
                </a:cubicBezTo>
                <a:cubicBezTo>
                  <a:pt x="723" y="619"/>
                  <a:pt x="727" y="622"/>
                  <a:pt x="730" y="625"/>
                </a:cubicBezTo>
                <a:cubicBezTo>
                  <a:pt x="741" y="634"/>
                  <a:pt x="752" y="643"/>
                  <a:pt x="754" y="644"/>
                </a:cubicBezTo>
                <a:cubicBezTo>
                  <a:pt x="757" y="646"/>
                  <a:pt x="765" y="653"/>
                  <a:pt x="774" y="660"/>
                </a:cubicBezTo>
                <a:cubicBezTo>
                  <a:pt x="783" y="666"/>
                  <a:pt x="797" y="677"/>
                  <a:pt x="805" y="684"/>
                </a:cubicBezTo>
                <a:cubicBezTo>
                  <a:pt x="814" y="691"/>
                  <a:pt x="836" y="709"/>
                  <a:pt x="855" y="725"/>
                </a:cubicBezTo>
                <a:cubicBezTo>
                  <a:pt x="862" y="730"/>
                  <a:pt x="868" y="735"/>
                  <a:pt x="875" y="740"/>
                </a:cubicBezTo>
                <a:cubicBezTo>
                  <a:pt x="878" y="743"/>
                  <a:pt x="881" y="745"/>
                  <a:pt x="884" y="748"/>
                </a:cubicBezTo>
                <a:cubicBezTo>
                  <a:pt x="886" y="749"/>
                  <a:pt x="887" y="750"/>
                  <a:pt x="889" y="751"/>
                </a:cubicBezTo>
                <a:cubicBezTo>
                  <a:pt x="890" y="752"/>
                  <a:pt x="891" y="751"/>
                  <a:pt x="892" y="753"/>
                </a:cubicBezTo>
                <a:cubicBezTo>
                  <a:pt x="892" y="754"/>
                  <a:pt x="894" y="755"/>
                  <a:pt x="895" y="756"/>
                </a:cubicBezTo>
                <a:cubicBezTo>
                  <a:pt x="896" y="757"/>
                  <a:pt x="898" y="758"/>
                  <a:pt x="899" y="759"/>
                </a:cubicBezTo>
                <a:cubicBezTo>
                  <a:pt x="902" y="761"/>
                  <a:pt x="905" y="764"/>
                  <a:pt x="908" y="766"/>
                </a:cubicBezTo>
                <a:cubicBezTo>
                  <a:pt x="911" y="768"/>
                  <a:pt x="913" y="770"/>
                  <a:pt x="916" y="773"/>
                </a:cubicBezTo>
                <a:cubicBezTo>
                  <a:pt x="918" y="774"/>
                  <a:pt x="921" y="777"/>
                  <a:pt x="924" y="777"/>
                </a:cubicBezTo>
                <a:cubicBezTo>
                  <a:pt x="924" y="777"/>
                  <a:pt x="925" y="778"/>
                  <a:pt x="925" y="779"/>
                </a:cubicBezTo>
                <a:cubicBezTo>
                  <a:pt x="926" y="781"/>
                  <a:pt x="929" y="782"/>
                  <a:pt x="930" y="784"/>
                </a:cubicBezTo>
                <a:cubicBezTo>
                  <a:pt x="934" y="786"/>
                  <a:pt x="942" y="793"/>
                  <a:pt x="949" y="798"/>
                </a:cubicBezTo>
                <a:cubicBezTo>
                  <a:pt x="952" y="801"/>
                  <a:pt x="956" y="804"/>
                  <a:pt x="960" y="807"/>
                </a:cubicBezTo>
                <a:cubicBezTo>
                  <a:pt x="960" y="808"/>
                  <a:pt x="961" y="808"/>
                  <a:pt x="961" y="809"/>
                </a:cubicBezTo>
                <a:cubicBezTo>
                  <a:pt x="961" y="809"/>
                  <a:pt x="961" y="809"/>
                  <a:pt x="961" y="810"/>
                </a:cubicBezTo>
                <a:cubicBezTo>
                  <a:pt x="962" y="811"/>
                  <a:pt x="964" y="812"/>
                  <a:pt x="965" y="812"/>
                </a:cubicBezTo>
                <a:cubicBezTo>
                  <a:pt x="966" y="813"/>
                  <a:pt x="967" y="814"/>
                  <a:pt x="968" y="814"/>
                </a:cubicBezTo>
                <a:cubicBezTo>
                  <a:pt x="969" y="815"/>
                  <a:pt x="970" y="815"/>
                  <a:pt x="971" y="816"/>
                </a:cubicBezTo>
                <a:cubicBezTo>
                  <a:pt x="971" y="816"/>
                  <a:pt x="972" y="816"/>
                  <a:pt x="973" y="816"/>
                </a:cubicBezTo>
                <a:cubicBezTo>
                  <a:pt x="974" y="817"/>
                  <a:pt x="974" y="818"/>
                  <a:pt x="975" y="819"/>
                </a:cubicBezTo>
                <a:cubicBezTo>
                  <a:pt x="976" y="820"/>
                  <a:pt x="977" y="819"/>
                  <a:pt x="978" y="820"/>
                </a:cubicBezTo>
                <a:cubicBezTo>
                  <a:pt x="978" y="821"/>
                  <a:pt x="978" y="821"/>
                  <a:pt x="978" y="821"/>
                </a:cubicBezTo>
                <a:cubicBezTo>
                  <a:pt x="979" y="823"/>
                  <a:pt x="982" y="825"/>
                  <a:pt x="984" y="826"/>
                </a:cubicBezTo>
                <a:cubicBezTo>
                  <a:pt x="985" y="827"/>
                  <a:pt x="987" y="829"/>
                  <a:pt x="989" y="830"/>
                </a:cubicBezTo>
                <a:cubicBezTo>
                  <a:pt x="989" y="831"/>
                  <a:pt x="992" y="832"/>
                  <a:pt x="992" y="833"/>
                </a:cubicBezTo>
                <a:cubicBezTo>
                  <a:pt x="992" y="834"/>
                  <a:pt x="991" y="834"/>
                  <a:pt x="991" y="835"/>
                </a:cubicBezTo>
                <a:cubicBezTo>
                  <a:pt x="991" y="835"/>
                  <a:pt x="991" y="836"/>
                  <a:pt x="991" y="836"/>
                </a:cubicBezTo>
                <a:cubicBezTo>
                  <a:pt x="992" y="837"/>
                  <a:pt x="992" y="838"/>
                  <a:pt x="993" y="838"/>
                </a:cubicBezTo>
                <a:cubicBezTo>
                  <a:pt x="994" y="839"/>
                  <a:pt x="994" y="839"/>
                  <a:pt x="994" y="839"/>
                </a:cubicBezTo>
                <a:cubicBezTo>
                  <a:pt x="995" y="838"/>
                  <a:pt x="995" y="838"/>
                  <a:pt x="995" y="837"/>
                </a:cubicBezTo>
                <a:cubicBezTo>
                  <a:pt x="995" y="837"/>
                  <a:pt x="996" y="837"/>
                  <a:pt x="997" y="837"/>
                </a:cubicBezTo>
                <a:cubicBezTo>
                  <a:pt x="998" y="837"/>
                  <a:pt x="1000" y="838"/>
                  <a:pt x="1001" y="840"/>
                </a:cubicBezTo>
                <a:cubicBezTo>
                  <a:pt x="1003" y="841"/>
                  <a:pt x="1004" y="843"/>
                  <a:pt x="1005" y="845"/>
                </a:cubicBezTo>
                <a:cubicBezTo>
                  <a:pt x="1007" y="847"/>
                  <a:pt x="1008" y="850"/>
                  <a:pt x="1011" y="851"/>
                </a:cubicBezTo>
                <a:cubicBezTo>
                  <a:pt x="1012" y="851"/>
                  <a:pt x="1014" y="851"/>
                  <a:pt x="1015" y="853"/>
                </a:cubicBezTo>
                <a:cubicBezTo>
                  <a:pt x="1016" y="854"/>
                  <a:pt x="1017" y="854"/>
                  <a:pt x="1018" y="855"/>
                </a:cubicBezTo>
                <a:cubicBezTo>
                  <a:pt x="1019" y="856"/>
                  <a:pt x="1019" y="857"/>
                  <a:pt x="1019" y="858"/>
                </a:cubicBezTo>
                <a:cubicBezTo>
                  <a:pt x="1020" y="859"/>
                  <a:pt x="1021" y="860"/>
                  <a:pt x="1022" y="861"/>
                </a:cubicBezTo>
                <a:cubicBezTo>
                  <a:pt x="1023" y="862"/>
                  <a:pt x="1025" y="863"/>
                  <a:pt x="1026" y="864"/>
                </a:cubicBezTo>
                <a:cubicBezTo>
                  <a:pt x="1028" y="865"/>
                  <a:pt x="1030" y="868"/>
                  <a:pt x="1032" y="868"/>
                </a:cubicBezTo>
                <a:cubicBezTo>
                  <a:pt x="1033" y="868"/>
                  <a:pt x="1033" y="866"/>
                  <a:pt x="1035" y="867"/>
                </a:cubicBezTo>
                <a:cubicBezTo>
                  <a:pt x="1036" y="867"/>
                  <a:pt x="1038" y="868"/>
                  <a:pt x="1039" y="869"/>
                </a:cubicBezTo>
                <a:cubicBezTo>
                  <a:pt x="1040" y="870"/>
                  <a:pt x="1045" y="877"/>
                  <a:pt x="1047" y="875"/>
                </a:cubicBezTo>
                <a:cubicBezTo>
                  <a:pt x="1047" y="875"/>
                  <a:pt x="1047" y="875"/>
                  <a:pt x="1047" y="875"/>
                </a:cubicBezTo>
                <a:cubicBezTo>
                  <a:pt x="1049" y="876"/>
                  <a:pt x="1050" y="878"/>
                  <a:pt x="1052" y="879"/>
                </a:cubicBezTo>
                <a:cubicBezTo>
                  <a:pt x="1058" y="886"/>
                  <a:pt x="1063" y="890"/>
                  <a:pt x="1071" y="897"/>
                </a:cubicBezTo>
                <a:cubicBezTo>
                  <a:pt x="1074" y="899"/>
                  <a:pt x="1077" y="900"/>
                  <a:pt x="1080" y="903"/>
                </a:cubicBezTo>
                <a:cubicBezTo>
                  <a:pt x="1080" y="903"/>
                  <a:pt x="1080" y="903"/>
                  <a:pt x="1080" y="904"/>
                </a:cubicBezTo>
                <a:cubicBezTo>
                  <a:pt x="1080" y="904"/>
                  <a:pt x="1080" y="904"/>
                  <a:pt x="1080" y="904"/>
                </a:cubicBezTo>
                <a:cubicBezTo>
                  <a:pt x="1080" y="905"/>
                  <a:pt x="1081" y="905"/>
                  <a:pt x="1081" y="905"/>
                </a:cubicBezTo>
                <a:cubicBezTo>
                  <a:pt x="1083" y="905"/>
                  <a:pt x="1083" y="907"/>
                  <a:pt x="1083" y="908"/>
                </a:cubicBezTo>
                <a:cubicBezTo>
                  <a:pt x="1084" y="910"/>
                  <a:pt x="1085" y="911"/>
                  <a:pt x="1087" y="910"/>
                </a:cubicBezTo>
                <a:cubicBezTo>
                  <a:pt x="1087" y="910"/>
                  <a:pt x="1087" y="910"/>
                  <a:pt x="1088" y="910"/>
                </a:cubicBezTo>
                <a:cubicBezTo>
                  <a:pt x="1089" y="910"/>
                  <a:pt x="1091" y="912"/>
                  <a:pt x="1091" y="912"/>
                </a:cubicBezTo>
                <a:cubicBezTo>
                  <a:pt x="1093" y="913"/>
                  <a:pt x="1094" y="914"/>
                  <a:pt x="1095" y="915"/>
                </a:cubicBezTo>
                <a:cubicBezTo>
                  <a:pt x="1099" y="918"/>
                  <a:pt x="1104" y="922"/>
                  <a:pt x="1104" y="922"/>
                </a:cubicBezTo>
                <a:cubicBezTo>
                  <a:pt x="1106" y="924"/>
                  <a:pt x="1107" y="925"/>
                  <a:pt x="1109" y="927"/>
                </a:cubicBezTo>
                <a:cubicBezTo>
                  <a:pt x="1109" y="927"/>
                  <a:pt x="1109" y="927"/>
                  <a:pt x="1109" y="927"/>
                </a:cubicBezTo>
                <a:cubicBezTo>
                  <a:pt x="1109" y="928"/>
                  <a:pt x="1109" y="929"/>
                  <a:pt x="1110" y="929"/>
                </a:cubicBezTo>
                <a:cubicBezTo>
                  <a:pt x="1111" y="930"/>
                  <a:pt x="1112" y="931"/>
                  <a:pt x="1113" y="932"/>
                </a:cubicBezTo>
                <a:cubicBezTo>
                  <a:pt x="1113" y="932"/>
                  <a:pt x="1113" y="932"/>
                  <a:pt x="1114" y="932"/>
                </a:cubicBezTo>
                <a:cubicBezTo>
                  <a:pt x="1114" y="932"/>
                  <a:pt x="1114" y="932"/>
                  <a:pt x="1115" y="932"/>
                </a:cubicBezTo>
                <a:cubicBezTo>
                  <a:pt x="1116" y="931"/>
                  <a:pt x="1117" y="933"/>
                  <a:pt x="1118" y="934"/>
                </a:cubicBezTo>
                <a:cubicBezTo>
                  <a:pt x="1119" y="935"/>
                  <a:pt x="1121" y="936"/>
                  <a:pt x="1123" y="938"/>
                </a:cubicBezTo>
                <a:cubicBezTo>
                  <a:pt x="1124" y="939"/>
                  <a:pt x="1125" y="940"/>
                  <a:pt x="1127" y="941"/>
                </a:cubicBezTo>
                <a:cubicBezTo>
                  <a:pt x="1129" y="941"/>
                  <a:pt x="1130" y="941"/>
                  <a:pt x="1131" y="941"/>
                </a:cubicBezTo>
                <a:cubicBezTo>
                  <a:pt x="1132" y="942"/>
                  <a:pt x="1133" y="944"/>
                  <a:pt x="1133" y="945"/>
                </a:cubicBezTo>
                <a:cubicBezTo>
                  <a:pt x="1136" y="948"/>
                  <a:pt x="1140" y="950"/>
                  <a:pt x="1144" y="952"/>
                </a:cubicBezTo>
                <a:cubicBezTo>
                  <a:pt x="1149" y="956"/>
                  <a:pt x="1155" y="960"/>
                  <a:pt x="1157" y="962"/>
                </a:cubicBezTo>
                <a:cubicBezTo>
                  <a:pt x="1158" y="962"/>
                  <a:pt x="1160" y="964"/>
                  <a:pt x="1161" y="964"/>
                </a:cubicBezTo>
                <a:cubicBezTo>
                  <a:pt x="1161" y="964"/>
                  <a:pt x="1162" y="964"/>
                  <a:pt x="1162" y="964"/>
                </a:cubicBezTo>
                <a:cubicBezTo>
                  <a:pt x="1162" y="964"/>
                  <a:pt x="1162" y="964"/>
                  <a:pt x="1162" y="964"/>
                </a:cubicBezTo>
                <a:cubicBezTo>
                  <a:pt x="1162" y="964"/>
                  <a:pt x="1163" y="965"/>
                  <a:pt x="1163" y="965"/>
                </a:cubicBezTo>
                <a:cubicBezTo>
                  <a:pt x="1163" y="965"/>
                  <a:pt x="1163" y="966"/>
                  <a:pt x="1163" y="966"/>
                </a:cubicBezTo>
                <a:cubicBezTo>
                  <a:pt x="1164" y="969"/>
                  <a:pt x="1167" y="971"/>
                  <a:pt x="1169" y="972"/>
                </a:cubicBezTo>
                <a:cubicBezTo>
                  <a:pt x="1172" y="974"/>
                  <a:pt x="1174" y="976"/>
                  <a:pt x="1176" y="977"/>
                </a:cubicBezTo>
                <a:cubicBezTo>
                  <a:pt x="1179" y="980"/>
                  <a:pt x="1182" y="982"/>
                  <a:pt x="1184" y="984"/>
                </a:cubicBezTo>
                <a:cubicBezTo>
                  <a:pt x="1185" y="985"/>
                  <a:pt x="1187" y="987"/>
                  <a:pt x="1188" y="988"/>
                </a:cubicBezTo>
                <a:cubicBezTo>
                  <a:pt x="1189" y="988"/>
                  <a:pt x="1190" y="988"/>
                  <a:pt x="1191" y="989"/>
                </a:cubicBezTo>
                <a:cubicBezTo>
                  <a:pt x="1191" y="989"/>
                  <a:pt x="1191" y="989"/>
                  <a:pt x="1192" y="989"/>
                </a:cubicBezTo>
                <a:cubicBezTo>
                  <a:pt x="1192" y="989"/>
                  <a:pt x="1193" y="989"/>
                  <a:pt x="1193" y="990"/>
                </a:cubicBezTo>
                <a:cubicBezTo>
                  <a:pt x="1195" y="991"/>
                  <a:pt x="1195" y="993"/>
                  <a:pt x="1197" y="995"/>
                </a:cubicBezTo>
                <a:cubicBezTo>
                  <a:pt x="1198" y="996"/>
                  <a:pt x="1200" y="997"/>
                  <a:pt x="1202" y="999"/>
                </a:cubicBezTo>
                <a:cubicBezTo>
                  <a:pt x="1204" y="1000"/>
                  <a:pt x="1205" y="1001"/>
                  <a:pt x="1207" y="1002"/>
                </a:cubicBezTo>
                <a:cubicBezTo>
                  <a:pt x="1208" y="1003"/>
                  <a:pt x="1209" y="1003"/>
                  <a:pt x="1211" y="1003"/>
                </a:cubicBezTo>
                <a:cubicBezTo>
                  <a:pt x="1212" y="1003"/>
                  <a:pt x="1212" y="1004"/>
                  <a:pt x="1213" y="1004"/>
                </a:cubicBezTo>
                <a:cubicBezTo>
                  <a:pt x="1214" y="1005"/>
                  <a:pt x="1215" y="1006"/>
                  <a:pt x="1216" y="1007"/>
                </a:cubicBezTo>
                <a:cubicBezTo>
                  <a:pt x="1218" y="1008"/>
                  <a:pt x="1219" y="1009"/>
                  <a:pt x="1220" y="1010"/>
                </a:cubicBezTo>
                <a:cubicBezTo>
                  <a:pt x="1221" y="1010"/>
                  <a:pt x="1221" y="1010"/>
                  <a:pt x="1222" y="1010"/>
                </a:cubicBezTo>
                <a:cubicBezTo>
                  <a:pt x="1222" y="1010"/>
                  <a:pt x="1222" y="1010"/>
                  <a:pt x="1222" y="1010"/>
                </a:cubicBezTo>
                <a:cubicBezTo>
                  <a:pt x="1223" y="1010"/>
                  <a:pt x="1223" y="1010"/>
                  <a:pt x="1223" y="1010"/>
                </a:cubicBezTo>
                <a:cubicBezTo>
                  <a:pt x="1223" y="1010"/>
                  <a:pt x="1224" y="1011"/>
                  <a:pt x="1224" y="1012"/>
                </a:cubicBezTo>
                <a:cubicBezTo>
                  <a:pt x="1224" y="1013"/>
                  <a:pt x="1225" y="1014"/>
                  <a:pt x="1226" y="1015"/>
                </a:cubicBezTo>
                <a:cubicBezTo>
                  <a:pt x="1227" y="1016"/>
                  <a:pt x="1228" y="1017"/>
                  <a:pt x="1229" y="1017"/>
                </a:cubicBezTo>
                <a:cubicBezTo>
                  <a:pt x="1229" y="1018"/>
                  <a:pt x="1229" y="1018"/>
                  <a:pt x="1230" y="1018"/>
                </a:cubicBezTo>
                <a:cubicBezTo>
                  <a:pt x="1231" y="1019"/>
                  <a:pt x="1233" y="1021"/>
                  <a:pt x="1235" y="1022"/>
                </a:cubicBezTo>
                <a:cubicBezTo>
                  <a:pt x="1236" y="1023"/>
                  <a:pt x="1237" y="1023"/>
                  <a:pt x="1237" y="1024"/>
                </a:cubicBezTo>
                <a:cubicBezTo>
                  <a:pt x="1238" y="1025"/>
                  <a:pt x="1239" y="1026"/>
                  <a:pt x="1240" y="1027"/>
                </a:cubicBezTo>
                <a:cubicBezTo>
                  <a:pt x="1240" y="1028"/>
                  <a:pt x="1240" y="1029"/>
                  <a:pt x="1241" y="1029"/>
                </a:cubicBezTo>
                <a:cubicBezTo>
                  <a:pt x="1242" y="1031"/>
                  <a:pt x="1244" y="1032"/>
                  <a:pt x="1245" y="1033"/>
                </a:cubicBezTo>
                <a:cubicBezTo>
                  <a:pt x="1249" y="1036"/>
                  <a:pt x="1253" y="1039"/>
                  <a:pt x="1257" y="1042"/>
                </a:cubicBezTo>
                <a:cubicBezTo>
                  <a:pt x="1258" y="1042"/>
                  <a:pt x="1258" y="1042"/>
                  <a:pt x="1258" y="1043"/>
                </a:cubicBezTo>
                <a:cubicBezTo>
                  <a:pt x="1258" y="1043"/>
                  <a:pt x="1259" y="1043"/>
                  <a:pt x="1259" y="1044"/>
                </a:cubicBezTo>
                <a:cubicBezTo>
                  <a:pt x="1259" y="1044"/>
                  <a:pt x="1260" y="1045"/>
                  <a:pt x="1260" y="1046"/>
                </a:cubicBezTo>
                <a:cubicBezTo>
                  <a:pt x="1261" y="1047"/>
                  <a:pt x="1261" y="1047"/>
                  <a:pt x="1262" y="1048"/>
                </a:cubicBezTo>
                <a:cubicBezTo>
                  <a:pt x="1263" y="1049"/>
                  <a:pt x="1265" y="1050"/>
                  <a:pt x="1266" y="1051"/>
                </a:cubicBezTo>
                <a:cubicBezTo>
                  <a:pt x="1267" y="1052"/>
                  <a:pt x="1269" y="1053"/>
                  <a:pt x="1270" y="1054"/>
                </a:cubicBezTo>
                <a:cubicBezTo>
                  <a:pt x="1270" y="1055"/>
                  <a:pt x="1271" y="1055"/>
                  <a:pt x="1271" y="1056"/>
                </a:cubicBezTo>
                <a:cubicBezTo>
                  <a:pt x="1272" y="1056"/>
                  <a:pt x="1272" y="1057"/>
                  <a:pt x="1273" y="1057"/>
                </a:cubicBezTo>
                <a:cubicBezTo>
                  <a:pt x="1274" y="1057"/>
                  <a:pt x="1277" y="1056"/>
                  <a:pt x="1278" y="1057"/>
                </a:cubicBezTo>
                <a:cubicBezTo>
                  <a:pt x="1278" y="1059"/>
                  <a:pt x="1276" y="1059"/>
                  <a:pt x="1276" y="1060"/>
                </a:cubicBezTo>
                <a:cubicBezTo>
                  <a:pt x="1276" y="1060"/>
                  <a:pt x="1277" y="1062"/>
                  <a:pt x="1278" y="1062"/>
                </a:cubicBezTo>
                <a:cubicBezTo>
                  <a:pt x="1279" y="1062"/>
                  <a:pt x="1279" y="1062"/>
                  <a:pt x="1278" y="1061"/>
                </a:cubicBezTo>
                <a:cubicBezTo>
                  <a:pt x="1278" y="1061"/>
                  <a:pt x="1278" y="1061"/>
                  <a:pt x="1278" y="1060"/>
                </a:cubicBezTo>
                <a:cubicBezTo>
                  <a:pt x="1278" y="1060"/>
                  <a:pt x="1278" y="1060"/>
                  <a:pt x="1278" y="1060"/>
                </a:cubicBezTo>
                <a:cubicBezTo>
                  <a:pt x="1279" y="1060"/>
                  <a:pt x="1280" y="1061"/>
                  <a:pt x="1281" y="1062"/>
                </a:cubicBezTo>
                <a:cubicBezTo>
                  <a:pt x="1282" y="1062"/>
                  <a:pt x="1282" y="1063"/>
                  <a:pt x="1283" y="1063"/>
                </a:cubicBezTo>
                <a:cubicBezTo>
                  <a:pt x="1283" y="1064"/>
                  <a:pt x="1283" y="1064"/>
                  <a:pt x="1284" y="1064"/>
                </a:cubicBezTo>
                <a:cubicBezTo>
                  <a:pt x="1284" y="1065"/>
                  <a:pt x="1284" y="1065"/>
                  <a:pt x="1284" y="1065"/>
                </a:cubicBezTo>
                <a:cubicBezTo>
                  <a:pt x="1284" y="1065"/>
                  <a:pt x="1285" y="1065"/>
                  <a:pt x="1285" y="1065"/>
                </a:cubicBezTo>
                <a:cubicBezTo>
                  <a:pt x="1285" y="1065"/>
                  <a:pt x="1285" y="1065"/>
                  <a:pt x="1285" y="1065"/>
                </a:cubicBezTo>
                <a:cubicBezTo>
                  <a:pt x="1286" y="1063"/>
                  <a:pt x="1288" y="1065"/>
                  <a:pt x="1288" y="1066"/>
                </a:cubicBezTo>
                <a:cubicBezTo>
                  <a:pt x="1290" y="1067"/>
                  <a:pt x="1291" y="1070"/>
                  <a:pt x="1291" y="1071"/>
                </a:cubicBezTo>
                <a:cubicBezTo>
                  <a:pt x="1292" y="1073"/>
                  <a:pt x="1293" y="1074"/>
                  <a:pt x="1295" y="1075"/>
                </a:cubicBezTo>
                <a:cubicBezTo>
                  <a:pt x="1296" y="1076"/>
                  <a:pt x="1297" y="1077"/>
                  <a:pt x="1298" y="1078"/>
                </a:cubicBezTo>
                <a:cubicBezTo>
                  <a:pt x="1300" y="1079"/>
                  <a:pt x="1301" y="1080"/>
                  <a:pt x="1302" y="1081"/>
                </a:cubicBezTo>
                <a:cubicBezTo>
                  <a:pt x="1302" y="1081"/>
                  <a:pt x="1304" y="1083"/>
                  <a:pt x="1304" y="1082"/>
                </a:cubicBezTo>
                <a:cubicBezTo>
                  <a:pt x="1305" y="1082"/>
                  <a:pt x="1305" y="1083"/>
                  <a:pt x="1305" y="1083"/>
                </a:cubicBezTo>
                <a:cubicBezTo>
                  <a:pt x="1305" y="1083"/>
                  <a:pt x="1305" y="1083"/>
                  <a:pt x="1305" y="1082"/>
                </a:cubicBezTo>
                <a:cubicBezTo>
                  <a:pt x="1306" y="1082"/>
                  <a:pt x="1306" y="1082"/>
                  <a:pt x="1306" y="1082"/>
                </a:cubicBezTo>
                <a:cubicBezTo>
                  <a:pt x="1306" y="1081"/>
                  <a:pt x="1308" y="1083"/>
                  <a:pt x="1308" y="1083"/>
                </a:cubicBezTo>
                <a:cubicBezTo>
                  <a:pt x="1307" y="1083"/>
                  <a:pt x="1307" y="1083"/>
                  <a:pt x="1307" y="1083"/>
                </a:cubicBezTo>
                <a:cubicBezTo>
                  <a:pt x="1306" y="1084"/>
                  <a:pt x="1309" y="1086"/>
                  <a:pt x="1309" y="1086"/>
                </a:cubicBezTo>
                <a:cubicBezTo>
                  <a:pt x="1310" y="1087"/>
                  <a:pt x="1310" y="1088"/>
                  <a:pt x="1311" y="1088"/>
                </a:cubicBezTo>
                <a:cubicBezTo>
                  <a:pt x="1311" y="1089"/>
                  <a:pt x="1311" y="1089"/>
                  <a:pt x="1312" y="1089"/>
                </a:cubicBezTo>
                <a:cubicBezTo>
                  <a:pt x="1312" y="1089"/>
                  <a:pt x="1312" y="1089"/>
                  <a:pt x="1313" y="1089"/>
                </a:cubicBezTo>
                <a:cubicBezTo>
                  <a:pt x="1313" y="1090"/>
                  <a:pt x="1313" y="1090"/>
                  <a:pt x="1314" y="1090"/>
                </a:cubicBezTo>
                <a:cubicBezTo>
                  <a:pt x="1314" y="1090"/>
                  <a:pt x="1314" y="1090"/>
                  <a:pt x="1314" y="1090"/>
                </a:cubicBezTo>
                <a:cubicBezTo>
                  <a:pt x="1316" y="1090"/>
                  <a:pt x="1313" y="1088"/>
                  <a:pt x="1313" y="1088"/>
                </a:cubicBezTo>
                <a:cubicBezTo>
                  <a:pt x="1313" y="1087"/>
                  <a:pt x="1311" y="1087"/>
                  <a:pt x="1312" y="1087"/>
                </a:cubicBezTo>
                <a:cubicBezTo>
                  <a:pt x="1312" y="1086"/>
                  <a:pt x="1313" y="1086"/>
                  <a:pt x="1314" y="1086"/>
                </a:cubicBezTo>
                <a:cubicBezTo>
                  <a:pt x="1315" y="1087"/>
                  <a:pt x="1316" y="1088"/>
                  <a:pt x="1317" y="1089"/>
                </a:cubicBezTo>
                <a:cubicBezTo>
                  <a:pt x="1318" y="1090"/>
                  <a:pt x="1320" y="1092"/>
                  <a:pt x="1322" y="1093"/>
                </a:cubicBezTo>
                <a:cubicBezTo>
                  <a:pt x="1324" y="1095"/>
                  <a:pt x="1326" y="1097"/>
                  <a:pt x="1328" y="1099"/>
                </a:cubicBezTo>
                <a:cubicBezTo>
                  <a:pt x="1329" y="1099"/>
                  <a:pt x="1330" y="1100"/>
                  <a:pt x="1331" y="1101"/>
                </a:cubicBezTo>
                <a:cubicBezTo>
                  <a:pt x="1331" y="1101"/>
                  <a:pt x="1332" y="1102"/>
                  <a:pt x="1333" y="1102"/>
                </a:cubicBezTo>
                <a:cubicBezTo>
                  <a:pt x="1333" y="1102"/>
                  <a:pt x="1332" y="1102"/>
                  <a:pt x="1332" y="1102"/>
                </a:cubicBezTo>
                <a:cubicBezTo>
                  <a:pt x="1333" y="1103"/>
                  <a:pt x="1333" y="1103"/>
                  <a:pt x="1333" y="1104"/>
                </a:cubicBezTo>
                <a:cubicBezTo>
                  <a:pt x="1333" y="1104"/>
                  <a:pt x="1331" y="1103"/>
                  <a:pt x="1331" y="1104"/>
                </a:cubicBezTo>
                <a:cubicBezTo>
                  <a:pt x="1330" y="1104"/>
                  <a:pt x="1330" y="1105"/>
                  <a:pt x="1331" y="1105"/>
                </a:cubicBezTo>
                <a:cubicBezTo>
                  <a:pt x="1332" y="1105"/>
                  <a:pt x="1333" y="1104"/>
                  <a:pt x="1333" y="1105"/>
                </a:cubicBezTo>
                <a:cubicBezTo>
                  <a:pt x="1334" y="1105"/>
                  <a:pt x="1334" y="1106"/>
                  <a:pt x="1334" y="1106"/>
                </a:cubicBezTo>
                <a:cubicBezTo>
                  <a:pt x="1334" y="1107"/>
                  <a:pt x="1335" y="1108"/>
                  <a:pt x="1335" y="1108"/>
                </a:cubicBezTo>
                <a:cubicBezTo>
                  <a:pt x="1336" y="1109"/>
                  <a:pt x="1338" y="1110"/>
                  <a:pt x="1339" y="1111"/>
                </a:cubicBezTo>
                <a:cubicBezTo>
                  <a:pt x="1341" y="1114"/>
                  <a:pt x="1344" y="1115"/>
                  <a:pt x="1344" y="1115"/>
                </a:cubicBezTo>
                <a:cubicBezTo>
                  <a:pt x="1346" y="1116"/>
                  <a:pt x="1347" y="1118"/>
                  <a:pt x="1348" y="1119"/>
                </a:cubicBezTo>
                <a:cubicBezTo>
                  <a:pt x="1348" y="1120"/>
                  <a:pt x="1348" y="1120"/>
                  <a:pt x="1349" y="1120"/>
                </a:cubicBezTo>
                <a:cubicBezTo>
                  <a:pt x="1349" y="1119"/>
                  <a:pt x="1350" y="1119"/>
                  <a:pt x="1350" y="1119"/>
                </a:cubicBezTo>
                <a:cubicBezTo>
                  <a:pt x="1350" y="1118"/>
                  <a:pt x="1350" y="1118"/>
                  <a:pt x="1351" y="1118"/>
                </a:cubicBezTo>
                <a:cubicBezTo>
                  <a:pt x="1351" y="1119"/>
                  <a:pt x="1351" y="1120"/>
                  <a:pt x="1352" y="1121"/>
                </a:cubicBezTo>
                <a:cubicBezTo>
                  <a:pt x="1352" y="1122"/>
                  <a:pt x="1353" y="1122"/>
                  <a:pt x="1353" y="1123"/>
                </a:cubicBezTo>
                <a:cubicBezTo>
                  <a:pt x="1354" y="1124"/>
                  <a:pt x="1356" y="1124"/>
                  <a:pt x="1357" y="1126"/>
                </a:cubicBezTo>
                <a:cubicBezTo>
                  <a:pt x="1358" y="1126"/>
                  <a:pt x="1358" y="1126"/>
                  <a:pt x="1359" y="1126"/>
                </a:cubicBezTo>
                <a:cubicBezTo>
                  <a:pt x="1359" y="1126"/>
                  <a:pt x="1359" y="1126"/>
                  <a:pt x="1360" y="1126"/>
                </a:cubicBezTo>
                <a:cubicBezTo>
                  <a:pt x="1362" y="1128"/>
                  <a:pt x="1364" y="1130"/>
                  <a:pt x="1367" y="1133"/>
                </a:cubicBezTo>
                <a:cubicBezTo>
                  <a:pt x="1368" y="1134"/>
                  <a:pt x="1369" y="1135"/>
                  <a:pt x="1371" y="1136"/>
                </a:cubicBezTo>
                <a:cubicBezTo>
                  <a:pt x="1372" y="1136"/>
                  <a:pt x="1372" y="1136"/>
                  <a:pt x="1373" y="1137"/>
                </a:cubicBezTo>
                <a:cubicBezTo>
                  <a:pt x="1373" y="1137"/>
                  <a:pt x="1375" y="1138"/>
                  <a:pt x="1374" y="1138"/>
                </a:cubicBezTo>
                <a:cubicBezTo>
                  <a:pt x="1373" y="1139"/>
                  <a:pt x="1371" y="1138"/>
                  <a:pt x="1371" y="1139"/>
                </a:cubicBezTo>
                <a:cubicBezTo>
                  <a:pt x="1371" y="1139"/>
                  <a:pt x="1372" y="1139"/>
                  <a:pt x="1373" y="1139"/>
                </a:cubicBezTo>
                <a:cubicBezTo>
                  <a:pt x="1373" y="1139"/>
                  <a:pt x="1375" y="1139"/>
                  <a:pt x="1375" y="1140"/>
                </a:cubicBezTo>
                <a:cubicBezTo>
                  <a:pt x="1376" y="1140"/>
                  <a:pt x="1376" y="1140"/>
                  <a:pt x="1376" y="1141"/>
                </a:cubicBezTo>
                <a:cubicBezTo>
                  <a:pt x="1376" y="1141"/>
                  <a:pt x="1376" y="1141"/>
                  <a:pt x="1376" y="1141"/>
                </a:cubicBezTo>
                <a:cubicBezTo>
                  <a:pt x="1377" y="1143"/>
                  <a:pt x="1378" y="1144"/>
                  <a:pt x="1380" y="1146"/>
                </a:cubicBezTo>
                <a:cubicBezTo>
                  <a:pt x="1383" y="1148"/>
                  <a:pt x="1386" y="1150"/>
                  <a:pt x="1389" y="1152"/>
                </a:cubicBezTo>
                <a:cubicBezTo>
                  <a:pt x="1391" y="1153"/>
                  <a:pt x="1392" y="1154"/>
                  <a:pt x="1394" y="1155"/>
                </a:cubicBezTo>
                <a:cubicBezTo>
                  <a:pt x="1395" y="1156"/>
                  <a:pt x="1397" y="1156"/>
                  <a:pt x="1398" y="1157"/>
                </a:cubicBezTo>
                <a:cubicBezTo>
                  <a:pt x="1398" y="1158"/>
                  <a:pt x="1399" y="1158"/>
                  <a:pt x="1399" y="1158"/>
                </a:cubicBezTo>
                <a:cubicBezTo>
                  <a:pt x="1399" y="1158"/>
                  <a:pt x="1399" y="1158"/>
                  <a:pt x="1399" y="1158"/>
                </a:cubicBezTo>
                <a:cubicBezTo>
                  <a:pt x="1399" y="1159"/>
                  <a:pt x="1400" y="1160"/>
                  <a:pt x="1400" y="1160"/>
                </a:cubicBezTo>
                <a:cubicBezTo>
                  <a:pt x="1401" y="1160"/>
                  <a:pt x="1401" y="1160"/>
                  <a:pt x="1402" y="1160"/>
                </a:cubicBezTo>
                <a:cubicBezTo>
                  <a:pt x="1402" y="1160"/>
                  <a:pt x="1402" y="1159"/>
                  <a:pt x="1403" y="1159"/>
                </a:cubicBezTo>
                <a:cubicBezTo>
                  <a:pt x="1404" y="1160"/>
                  <a:pt x="1404" y="1161"/>
                  <a:pt x="1405" y="1161"/>
                </a:cubicBezTo>
                <a:cubicBezTo>
                  <a:pt x="1405" y="1162"/>
                  <a:pt x="1406" y="1163"/>
                  <a:pt x="1407" y="1163"/>
                </a:cubicBezTo>
                <a:cubicBezTo>
                  <a:pt x="1408" y="1163"/>
                  <a:pt x="1409" y="1163"/>
                  <a:pt x="1410" y="1164"/>
                </a:cubicBezTo>
                <a:cubicBezTo>
                  <a:pt x="1411" y="1164"/>
                  <a:pt x="1411" y="1165"/>
                  <a:pt x="1412" y="1166"/>
                </a:cubicBezTo>
                <a:cubicBezTo>
                  <a:pt x="1414" y="1167"/>
                  <a:pt x="1417" y="1170"/>
                  <a:pt x="1418" y="1172"/>
                </a:cubicBezTo>
                <a:cubicBezTo>
                  <a:pt x="1418" y="1172"/>
                  <a:pt x="1419" y="1173"/>
                  <a:pt x="1419" y="1174"/>
                </a:cubicBezTo>
                <a:cubicBezTo>
                  <a:pt x="1420" y="1174"/>
                  <a:pt x="1420" y="1175"/>
                  <a:pt x="1421" y="1175"/>
                </a:cubicBezTo>
                <a:cubicBezTo>
                  <a:pt x="1422" y="1175"/>
                  <a:pt x="1422" y="1175"/>
                  <a:pt x="1422" y="1176"/>
                </a:cubicBezTo>
                <a:cubicBezTo>
                  <a:pt x="1422" y="1177"/>
                  <a:pt x="1424" y="1176"/>
                  <a:pt x="1426" y="1176"/>
                </a:cubicBezTo>
                <a:cubicBezTo>
                  <a:pt x="1426" y="1176"/>
                  <a:pt x="1427" y="1177"/>
                  <a:pt x="1427" y="1178"/>
                </a:cubicBezTo>
                <a:cubicBezTo>
                  <a:pt x="1427" y="1178"/>
                  <a:pt x="1427" y="1179"/>
                  <a:pt x="1427" y="1179"/>
                </a:cubicBezTo>
                <a:cubicBezTo>
                  <a:pt x="1427" y="1180"/>
                  <a:pt x="1428" y="1181"/>
                  <a:pt x="1429" y="1181"/>
                </a:cubicBezTo>
                <a:cubicBezTo>
                  <a:pt x="1429" y="1182"/>
                  <a:pt x="1429" y="1182"/>
                  <a:pt x="1429" y="1182"/>
                </a:cubicBezTo>
                <a:cubicBezTo>
                  <a:pt x="1430" y="1183"/>
                  <a:pt x="1430" y="1183"/>
                  <a:pt x="1430" y="1183"/>
                </a:cubicBezTo>
                <a:cubicBezTo>
                  <a:pt x="1430" y="1183"/>
                  <a:pt x="1431" y="1183"/>
                  <a:pt x="1431" y="1183"/>
                </a:cubicBezTo>
                <a:cubicBezTo>
                  <a:pt x="1431" y="1183"/>
                  <a:pt x="1431" y="1184"/>
                  <a:pt x="1431" y="1184"/>
                </a:cubicBezTo>
                <a:cubicBezTo>
                  <a:pt x="1431" y="1184"/>
                  <a:pt x="1432" y="1184"/>
                  <a:pt x="1433" y="1184"/>
                </a:cubicBezTo>
                <a:cubicBezTo>
                  <a:pt x="1433" y="1184"/>
                  <a:pt x="1433" y="1183"/>
                  <a:pt x="1433" y="1183"/>
                </a:cubicBezTo>
                <a:cubicBezTo>
                  <a:pt x="1434" y="1183"/>
                  <a:pt x="1434" y="1183"/>
                  <a:pt x="1435" y="1184"/>
                </a:cubicBezTo>
                <a:cubicBezTo>
                  <a:pt x="1435" y="1184"/>
                  <a:pt x="1436" y="1185"/>
                  <a:pt x="1436" y="1185"/>
                </a:cubicBezTo>
                <a:cubicBezTo>
                  <a:pt x="1438" y="1187"/>
                  <a:pt x="1440" y="1189"/>
                  <a:pt x="1442" y="1191"/>
                </a:cubicBezTo>
                <a:cubicBezTo>
                  <a:pt x="1443" y="1192"/>
                  <a:pt x="1443" y="1192"/>
                  <a:pt x="1444" y="1193"/>
                </a:cubicBezTo>
                <a:cubicBezTo>
                  <a:pt x="1445" y="1194"/>
                  <a:pt x="1445" y="1195"/>
                  <a:pt x="1446" y="1195"/>
                </a:cubicBezTo>
                <a:cubicBezTo>
                  <a:pt x="1446" y="1197"/>
                  <a:pt x="1446" y="1197"/>
                  <a:pt x="1447" y="1198"/>
                </a:cubicBezTo>
                <a:cubicBezTo>
                  <a:pt x="1448" y="1198"/>
                  <a:pt x="1449" y="1200"/>
                  <a:pt x="1450" y="1200"/>
                </a:cubicBezTo>
                <a:cubicBezTo>
                  <a:pt x="1451" y="1200"/>
                  <a:pt x="1451" y="1199"/>
                  <a:pt x="1452" y="1199"/>
                </a:cubicBezTo>
                <a:cubicBezTo>
                  <a:pt x="1452" y="1199"/>
                  <a:pt x="1452" y="1199"/>
                  <a:pt x="1453" y="1199"/>
                </a:cubicBezTo>
                <a:cubicBezTo>
                  <a:pt x="1453" y="1199"/>
                  <a:pt x="1454" y="1199"/>
                  <a:pt x="1454" y="1200"/>
                </a:cubicBezTo>
                <a:cubicBezTo>
                  <a:pt x="1456" y="1202"/>
                  <a:pt x="1457" y="1206"/>
                  <a:pt x="1460" y="1207"/>
                </a:cubicBezTo>
                <a:cubicBezTo>
                  <a:pt x="1460" y="1207"/>
                  <a:pt x="1460" y="1207"/>
                  <a:pt x="1461" y="1207"/>
                </a:cubicBezTo>
                <a:cubicBezTo>
                  <a:pt x="1463" y="1207"/>
                  <a:pt x="1463" y="1208"/>
                  <a:pt x="1465" y="1209"/>
                </a:cubicBezTo>
                <a:cubicBezTo>
                  <a:pt x="1465" y="1209"/>
                  <a:pt x="1466" y="1210"/>
                  <a:pt x="1467" y="1210"/>
                </a:cubicBezTo>
                <a:cubicBezTo>
                  <a:pt x="1468" y="1211"/>
                  <a:pt x="1468" y="1211"/>
                  <a:pt x="1469" y="1211"/>
                </a:cubicBezTo>
                <a:cubicBezTo>
                  <a:pt x="1469" y="1211"/>
                  <a:pt x="1469" y="1211"/>
                  <a:pt x="1470" y="1211"/>
                </a:cubicBezTo>
                <a:cubicBezTo>
                  <a:pt x="1471" y="1212"/>
                  <a:pt x="1472" y="1212"/>
                  <a:pt x="1473" y="1213"/>
                </a:cubicBezTo>
                <a:cubicBezTo>
                  <a:pt x="1473" y="1214"/>
                  <a:pt x="1473" y="1214"/>
                  <a:pt x="1473" y="1215"/>
                </a:cubicBezTo>
                <a:cubicBezTo>
                  <a:pt x="1474" y="1216"/>
                  <a:pt x="1475" y="1217"/>
                  <a:pt x="1476" y="1217"/>
                </a:cubicBezTo>
                <a:cubicBezTo>
                  <a:pt x="1477" y="1218"/>
                  <a:pt x="1478" y="1219"/>
                  <a:pt x="1479" y="1220"/>
                </a:cubicBezTo>
                <a:cubicBezTo>
                  <a:pt x="1480" y="1221"/>
                  <a:pt x="1481" y="1221"/>
                  <a:pt x="1482" y="1222"/>
                </a:cubicBezTo>
                <a:cubicBezTo>
                  <a:pt x="1483" y="1223"/>
                  <a:pt x="1483" y="1224"/>
                  <a:pt x="1484" y="1224"/>
                </a:cubicBezTo>
                <a:cubicBezTo>
                  <a:pt x="1485" y="1224"/>
                  <a:pt x="1486" y="1222"/>
                  <a:pt x="1487" y="1223"/>
                </a:cubicBezTo>
                <a:cubicBezTo>
                  <a:pt x="1488" y="1224"/>
                  <a:pt x="1489" y="1225"/>
                  <a:pt x="1490" y="1226"/>
                </a:cubicBezTo>
                <a:cubicBezTo>
                  <a:pt x="1491" y="1227"/>
                  <a:pt x="1492" y="1228"/>
                  <a:pt x="1493" y="1229"/>
                </a:cubicBezTo>
                <a:cubicBezTo>
                  <a:pt x="1494" y="1230"/>
                  <a:pt x="1496" y="1231"/>
                  <a:pt x="1497" y="1232"/>
                </a:cubicBezTo>
                <a:cubicBezTo>
                  <a:pt x="1501" y="1235"/>
                  <a:pt x="1504" y="1237"/>
                  <a:pt x="1507" y="1240"/>
                </a:cubicBezTo>
                <a:cubicBezTo>
                  <a:pt x="1508" y="1241"/>
                  <a:pt x="1509" y="1242"/>
                  <a:pt x="1510" y="1243"/>
                </a:cubicBezTo>
                <a:cubicBezTo>
                  <a:pt x="1511" y="1243"/>
                  <a:pt x="1511" y="1244"/>
                  <a:pt x="1512" y="1245"/>
                </a:cubicBezTo>
                <a:cubicBezTo>
                  <a:pt x="1512" y="1245"/>
                  <a:pt x="1512" y="1246"/>
                  <a:pt x="1512" y="1246"/>
                </a:cubicBezTo>
                <a:cubicBezTo>
                  <a:pt x="1512" y="1246"/>
                  <a:pt x="1513" y="1245"/>
                  <a:pt x="1513" y="1245"/>
                </a:cubicBezTo>
                <a:cubicBezTo>
                  <a:pt x="1514" y="1245"/>
                  <a:pt x="1514" y="1246"/>
                  <a:pt x="1515" y="1247"/>
                </a:cubicBezTo>
                <a:cubicBezTo>
                  <a:pt x="1516" y="1247"/>
                  <a:pt x="1516" y="1248"/>
                  <a:pt x="1517" y="1249"/>
                </a:cubicBezTo>
                <a:cubicBezTo>
                  <a:pt x="1518" y="1250"/>
                  <a:pt x="1520" y="1251"/>
                  <a:pt x="1521" y="1252"/>
                </a:cubicBezTo>
                <a:cubicBezTo>
                  <a:pt x="1522" y="1252"/>
                  <a:pt x="1524" y="1253"/>
                  <a:pt x="1524" y="1253"/>
                </a:cubicBezTo>
                <a:cubicBezTo>
                  <a:pt x="1524" y="1254"/>
                  <a:pt x="1523" y="1255"/>
                  <a:pt x="1524" y="1255"/>
                </a:cubicBezTo>
                <a:cubicBezTo>
                  <a:pt x="1524" y="1255"/>
                  <a:pt x="1524" y="1255"/>
                  <a:pt x="1525" y="1255"/>
                </a:cubicBezTo>
                <a:cubicBezTo>
                  <a:pt x="1525" y="1255"/>
                  <a:pt x="1525" y="1255"/>
                  <a:pt x="1525" y="1255"/>
                </a:cubicBezTo>
                <a:cubicBezTo>
                  <a:pt x="1525" y="1253"/>
                  <a:pt x="1528" y="1253"/>
                  <a:pt x="1529" y="1255"/>
                </a:cubicBezTo>
                <a:cubicBezTo>
                  <a:pt x="1529" y="1255"/>
                  <a:pt x="1528" y="1256"/>
                  <a:pt x="1528" y="1257"/>
                </a:cubicBezTo>
                <a:cubicBezTo>
                  <a:pt x="1529" y="1257"/>
                  <a:pt x="1529" y="1257"/>
                  <a:pt x="1530" y="1258"/>
                </a:cubicBezTo>
                <a:cubicBezTo>
                  <a:pt x="1530" y="1258"/>
                  <a:pt x="1531" y="1259"/>
                  <a:pt x="1531" y="1260"/>
                </a:cubicBezTo>
                <a:cubicBezTo>
                  <a:pt x="1532" y="1260"/>
                  <a:pt x="1532" y="1262"/>
                  <a:pt x="1533" y="1262"/>
                </a:cubicBezTo>
                <a:cubicBezTo>
                  <a:pt x="1534" y="1262"/>
                  <a:pt x="1534" y="1262"/>
                  <a:pt x="1534" y="1262"/>
                </a:cubicBezTo>
                <a:cubicBezTo>
                  <a:pt x="1535" y="1262"/>
                  <a:pt x="1535" y="1263"/>
                  <a:pt x="1536" y="1263"/>
                </a:cubicBezTo>
                <a:cubicBezTo>
                  <a:pt x="1536" y="1264"/>
                  <a:pt x="1537" y="1264"/>
                  <a:pt x="1538" y="1264"/>
                </a:cubicBezTo>
                <a:cubicBezTo>
                  <a:pt x="1539" y="1264"/>
                  <a:pt x="1539" y="1264"/>
                  <a:pt x="1540" y="1265"/>
                </a:cubicBezTo>
                <a:cubicBezTo>
                  <a:pt x="1540" y="1265"/>
                  <a:pt x="1540" y="1265"/>
                  <a:pt x="1540" y="1265"/>
                </a:cubicBezTo>
                <a:cubicBezTo>
                  <a:pt x="1541" y="1265"/>
                  <a:pt x="1541" y="1266"/>
                  <a:pt x="1541" y="1266"/>
                </a:cubicBezTo>
                <a:cubicBezTo>
                  <a:pt x="1541" y="1268"/>
                  <a:pt x="1543" y="1268"/>
                  <a:pt x="1544" y="1269"/>
                </a:cubicBezTo>
                <a:cubicBezTo>
                  <a:pt x="1556" y="1279"/>
                  <a:pt x="1562" y="1283"/>
                  <a:pt x="1562" y="1283"/>
                </a:cubicBezTo>
                <a:cubicBezTo>
                  <a:pt x="1563" y="1283"/>
                  <a:pt x="1570" y="1288"/>
                  <a:pt x="1571" y="1290"/>
                </a:cubicBezTo>
                <a:cubicBezTo>
                  <a:pt x="1571" y="1291"/>
                  <a:pt x="1572" y="1292"/>
                  <a:pt x="1572" y="1293"/>
                </a:cubicBezTo>
                <a:cubicBezTo>
                  <a:pt x="1573" y="1293"/>
                  <a:pt x="1573" y="1294"/>
                  <a:pt x="1574" y="1295"/>
                </a:cubicBezTo>
                <a:cubicBezTo>
                  <a:pt x="1574" y="1295"/>
                  <a:pt x="1575" y="1295"/>
                  <a:pt x="1575" y="1296"/>
                </a:cubicBezTo>
                <a:cubicBezTo>
                  <a:pt x="1575" y="1296"/>
                  <a:pt x="1576" y="1296"/>
                  <a:pt x="1576" y="1297"/>
                </a:cubicBezTo>
                <a:cubicBezTo>
                  <a:pt x="1576" y="1297"/>
                  <a:pt x="1575" y="1297"/>
                  <a:pt x="1575" y="1298"/>
                </a:cubicBezTo>
                <a:cubicBezTo>
                  <a:pt x="1575" y="1298"/>
                  <a:pt x="1576" y="1299"/>
                  <a:pt x="1577" y="1299"/>
                </a:cubicBezTo>
                <a:cubicBezTo>
                  <a:pt x="1577" y="1300"/>
                  <a:pt x="1579" y="1300"/>
                  <a:pt x="1580" y="1301"/>
                </a:cubicBezTo>
                <a:cubicBezTo>
                  <a:pt x="1581" y="1301"/>
                  <a:pt x="1583" y="1301"/>
                  <a:pt x="1583" y="1303"/>
                </a:cubicBezTo>
                <a:cubicBezTo>
                  <a:pt x="1583" y="1304"/>
                  <a:pt x="1583" y="1304"/>
                  <a:pt x="1583" y="1304"/>
                </a:cubicBezTo>
                <a:cubicBezTo>
                  <a:pt x="1584" y="1305"/>
                  <a:pt x="1585" y="1305"/>
                  <a:pt x="1585" y="1305"/>
                </a:cubicBezTo>
                <a:cubicBezTo>
                  <a:pt x="1586" y="1304"/>
                  <a:pt x="1587" y="1305"/>
                  <a:pt x="1588" y="1306"/>
                </a:cubicBezTo>
                <a:cubicBezTo>
                  <a:pt x="1589" y="1307"/>
                  <a:pt x="1590" y="1308"/>
                  <a:pt x="1592" y="1309"/>
                </a:cubicBezTo>
                <a:cubicBezTo>
                  <a:pt x="1595" y="1311"/>
                  <a:pt x="1599" y="1314"/>
                  <a:pt x="1600" y="1315"/>
                </a:cubicBezTo>
                <a:cubicBezTo>
                  <a:pt x="1601" y="1316"/>
                  <a:pt x="1603" y="1317"/>
                  <a:pt x="1604" y="1318"/>
                </a:cubicBezTo>
                <a:cubicBezTo>
                  <a:pt x="1605" y="1318"/>
                  <a:pt x="1605" y="1318"/>
                  <a:pt x="1606" y="1319"/>
                </a:cubicBezTo>
                <a:cubicBezTo>
                  <a:pt x="1607" y="1319"/>
                  <a:pt x="1607" y="1318"/>
                  <a:pt x="1608" y="1319"/>
                </a:cubicBezTo>
                <a:cubicBezTo>
                  <a:pt x="1609" y="1319"/>
                  <a:pt x="1610" y="1320"/>
                  <a:pt x="1611" y="1322"/>
                </a:cubicBezTo>
                <a:cubicBezTo>
                  <a:pt x="1611" y="1322"/>
                  <a:pt x="1612" y="1323"/>
                  <a:pt x="1613" y="1324"/>
                </a:cubicBezTo>
                <a:cubicBezTo>
                  <a:pt x="1613" y="1325"/>
                  <a:pt x="1614" y="1325"/>
                  <a:pt x="1615" y="1325"/>
                </a:cubicBezTo>
                <a:cubicBezTo>
                  <a:pt x="1616" y="1327"/>
                  <a:pt x="1618" y="1328"/>
                  <a:pt x="1620" y="1329"/>
                </a:cubicBezTo>
                <a:cubicBezTo>
                  <a:pt x="1624" y="1332"/>
                  <a:pt x="1629" y="1336"/>
                  <a:pt x="1635" y="1341"/>
                </a:cubicBezTo>
                <a:cubicBezTo>
                  <a:pt x="1646" y="1350"/>
                  <a:pt x="1658" y="1359"/>
                  <a:pt x="1662" y="1362"/>
                </a:cubicBezTo>
                <a:cubicBezTo>
                  <a:pt x="1663" y="1363"/>
                  <a:pt x="1664" y="1364"/>
                  <a:pt x="1665" y="1365"/>
                </a:cubicBezTo>
                <a:cubicBezTo>
                  <a:pt x="1666" y="1365"/>
                  <a:pt x="1667" y="1366"/>
                  <a:pt x="1668" y="1366"/>
                </a:cubicBezTo>
                <a:cubicBezTo>
                  <a:pt x="1669" y="1366"/>
                  <a:pt x="1669" y="1366"/>
                  <a:pt x="1670" y="1366"/>
                </a:cubicBezTo>
                <a:cubicBezTo>
                  <a:pt x="1670" y="1367"/>
                  <a:pt x="1670" y="1367"/>
                  <a:pt x="1670" y="1367"/>
                </a:cubicBezTo>
                <a:cubicBezTo>
                  <a:pt x="1670" y="1368"/>
                  <a:pt x="1670" y="1368"/>
                  <a:pt x="1670" y="1368"/>
                </a:cubicBezTo>
                <a:cubicBezTo>
                  <a:pt x="1671" y="1368"/>
                  <a:pt x="1672" y="1369"/>
                  <a:pt x="1673" y="1370"/>
                </a:cubicBezTo>
                <a:cubicBezTo>
                  <a:pt x="1674" y="1371"/>
                  <a:pt x="1675" y="1372"/>
                  <a:pt x="1676" y="1372"/>
                </a:cubicBezTo>
                <a:cubicBezTo>
                  <a:pt x="1677" y="1373"/>
                  <a:pt x="1678" y="1374"/>
                  <a:pt x="1679" y="1375"/>
                </a:cubicBezTo>
                <a:cubicBezTo>
                  <a:pt x="1679" y="1375"/>
                  <a:pt x="1679" y="1375"/>
                  <a:pt x="1680" y="1375"/>
                </a:cubicBezTo>
                <a:cubicBezTo>
                  <a:pt x="1682" y="1375"/>
                  <a:pt x="1683" y="1376"/>
                  <a:pt x="1684" y="1377"/>
                </a:cubicBezTo>
                <a:cubicBezTo>
                  <a:pt x="1684" y="1378"/>
                  <a:pt x="1684" y="1378"/>
                  <a:pt x="1684" y="1378"/>
                </a:cubicBezTo>
                <a:cubicBezTo>
                  <a:pt x="1684" y="1378"/>
                  <a:pt x="1684" y="1379"/>
                  <a:pt x="1684" y="1379"/>
                </a:cubicBezTo>
                <a:cubicBezTo>
                  <a:pt x="1684" y="1380"/>
                  <a:pt x="1686" y="1381"/>
                  <a:pt x="1687" y="1382"/>
                </a:cubicBezTo>
                <a:cubicBezTo>
                  <a:pt x="1689" y="1383"/>
                  <a:pt x="1691" y="1384"/>
                  <a:pt x="1692" y="1385"/>
                </a:cubicBezTo>
                <a:cubicBezTo>
                  <a:pt x="1694" y="1387"/>
                  <a:pt x="1695" y="1389"/>
                  <a:pt x="1696" y="1390"/>
                </a:cubicBezTo>
                <a:cubicBezTo>
                  <a:pt x="1698" y="1390"/>
                  <a:pt x="1702" y="1393"/>
                  <a:pt x="1706" y="1396"/>
                </a:cubicBezTo>
                <a:cubicBezTo>
                  <a:pt x="1707" y="1397"/>
                  <a:pt x="1708" y="1398"/>
                  <a:pt x="1710" y="1399"/>
                </a:cubicBezTo>
                <a:cubicBezTo>
                  <a:pt x="1711" y="1400"/>
                  <a:pt x="1712" y="1401"/>
                  <a:pt x="1713" y="1402"/>
                </a:cubicBezTo>
                <a:cubicBezTo>
                  <a:pt x="1714" y="1402"/>
                  <a:pt x="1714" y="1402"/>
                  <a:pt x="1715" y="1402"/>
                </a:cubicBezTo>
                <a:cubicBezTo>
                  <a:pt x="1716" y="1402"/>
                  <a:pt x="1716" y="1403"/>
                  <a:pt x="1716" y="1404"/>
                </a:cubicBezTo>
                <a:cubicBezTo>
                  <a:pt x="1718" y="1406"/>
                  <a:pt x="1720" y="1408"/>
                  <a:pt x="1722" y="1409"/>
                </a:cubicBezTo>
                <a:cubicBezTo>
                  <a:pt x="1724" y="1411"/>
                  <a:pt x="1726" y="1412"/>
                  <a:pt x="1728" y="1414"/>
                </a:cubicBezTo>
                <a:cubicBezTo>
                  <a:pt x="1730" y="1416"/>
                  <a:pt x="1733" y="1418"/>
                  <a:pt x="1735" y="1420"/>
                </a:cubicBezTo>
                <a:cubicBezTo>
                  <a:pt x="1736" y="1421"/>
                  <a:pt x="1737" y="1421"/>
                  <a:pt x="1738" y="1422"/>
                </a:cubicBezTo>
                <a:cubicBezTo>
                  <a:pt x="1739" y="1423"/>
                  <a:pt x="1740" y="1423"/>
                  <a:pt x="1741" y="1424"/>
                </a:cubicBezTo>
                <a:cubicBezTo>
                  <a:pt x="1743" y="1425"/>
                  <a:pt x="1744" y="1425"/>
                  <a:pt x="1745" y="1426"/>
                </a:cubicBezTo>
                <a:cubicBezTo>
                  <a:pt x="1747" y="1427"/>
                  <a:pt x="1748" y="1429"/>
                  <a:pt x="1750" y="1430"/>
                </a:cubicBezTo>
                <a:cubicBezTo>
                  <a:pt x="1751" y="1432"/>
                  <a:pt x="1753" y="1433"/>
                  <a:pt x="1754" y="1435"/>
                </a:cubicBezTo>
                <a:cubicBezTo>
                  <a:pt x="1758" y="1438"/>
                  <a:pt x="1762" y="1441"/>
                  <a:pt x="1766" y="1444"/>
                </a:cubicBezTo>
                <a:cubicBezTo>
                  <a:pt x="1769" y="1446"/>
                  <a:pt x="1772" y="1448"/>
                  <a:pt x="1774" y="1450"/>
                </a:cubicBezTo>
                <a:cubicBezTo>
                  <a:pt x="1777" y="1452"/>
                  <a:pt x="1779" y="1454"/>
                  <a:pt x="1782" y="1455"/>
                </a:cubicBezTo>
                <a:cubicBezTo>
                  <a:pt x="1782" y="1456"/>
                  <a:pt x="1783" y="1456"/>
                  <a:pt x="1784" y="1457"/>
                </a:cubicBezTo>
                <a:cubicBezTo>
                  <a:pt x="1784" y="1457"/>
                  <a:pt x="1784" y="1457"/>
                  <a:pt x="1785" y="1457"/>
                </a:cubicBezTo>
                <a:cubicBezTo>
                  <a:pt x="1785" y="1458"/>
                  <a:pt x="1786" y="1458"/>
                  <a:pt x="1787" y="1458"/>
                </a:cubicBezTo>
                <a:cubicBezTo>
                  <a:pt x="1787" y="1458"/>
                  <a:pt x="1787" y="1458"/>
                  <a:pt x="1787" y="1459"/>
                </a:cubicBezTo>
                <a:cubicBezTo>
                  <a:pt x="1786" y="1460"/>
                  <a:pt x="1789" y="1462"/>
                  <a:pt x="1789" y="1463"/>
                </a:cubicBezTo>
                <a:cubicBezTo>
                  <a:pt x="1790" y="1463"/>
                  <a:pt x="1791" y="1466"/>
                  <a:pt x="1793" y="1465"/>
                </a:cubicBezTo>
                <a:cubicBezTo>
                  <a:pt x="1793" y="1465"/>
                  <a:pt x="1793" y="1465"/>
                  <a:pt x="1793" y="1465"/>
                </a:cubicBezTo>
                <a:cubicBezTo>
                  <a:pt x="1793" y="1465"/>
                  <a:pt x="1793" y="1465"/>
                  <a:pt x="1794" y="1465"/>
                </a:cubicBezTo>
                <a:cubicBezTo>
                  <a:pt x="1795" y="1466"/>
                  <a:pt x="1796" y="1467"/>
                  <a:pt x="1797" y="1468"/>
                </a:cubicBezTo>
                <a:cubicBezTo>
                  <a:pt x="1799" y="1470"/>
                  <a:pt x="1802" y="1472"/>
                  <a:pt x="1804" y="1474"/>
                </a:cubicBezTo>
                <a:cubicBezTo>
                  <a:pt x="1807" y="1476"/>
                  <a:pt x="1816" y="1483"/>
                  <a:pt x="1820" y="1487"/>
                </a:cubicBezTo>
                <a:cubicBezTo>
                  <a:pt x="1821" y="1488"/>
                  <a:pt x="1824" y="1490"/>
                  <a:pt x="1826" y="1491"/>
                </a:cubicBezTo>
                <a:cubicBezTo>
                  <a:pt x="1827" y="1492"/>
                  <a:pt x="1829" y="1493"/>
                  <a:pt x="1830" y="1495"/>
                </a:cubicBezTo>
                <a:cubicBezTo>
                  <a:pt x="1831" y="1496"/>
                  <a:pt x="1831" y="1496"/>
                  <a:pt x="1831" y="1497"/>
                </a:cubicBezTo>
                <a:cubicBezTo>
                  <a:pt x="1832" y="1497"/>
                  <a:pt x="1833" y="1498"/>
                  <a:pt x="1834" y="1498"/>
                </a:cubicBezTo>
                <a:cubicBezTo>
                  <a:pt x="1835" y="1499"/>
                  <a:pt x="1838" y="1501"/>
                  <a:pt x="1839" y="1502"/>
                </a:cubicBezTo>
                <a:cubicBezTo>
                  <a:pt x="1839" y="1503"/>
                  <a:pt x="1840" y="1504"/>
                  <a:pt x="1840" y="1504"/>
                </a:cubicBezTo>
                <a:cubicBezTo>
                  <a:pt x="1840" y="1505"/>
                  <a:pt x="1841" y="1505"/>
                  <a:pt x="1841" y="1505"/>
                </a:cubicBezTo>
                <a:cubicBezTo>
                  <a:pt x="1841" y="1505"/>
                  <a:pt x="1842" y="1505"/>
                  <a:pt x="1842" y="1505"/>
                </a:cubicBezTo>
                <a:cubicBezTo>
                  <a:pt x="1843" y="1505"/>
                  <a:pt x="1843" y="1506"/>
                  <a:pt x="1844" y="1507"/>
                </a:cubicBezTo>
                <a:cubicBezTo>
                  <a:pt x="1845" y="1507"/>
                  <a:pt x="1846" y="1508"/>
                  <a:pt x="1847" y="1509"/>
                </a:cubicBezTo>
                <a:cubicBezTo>
                  <a:pt x="1849" y="1511"/>
                  <a:pt x="1852" y="1512"/>
                  <a:pt x="1854" y="1514"/>
                </a:cubicBezTo>
                <a:cubicBezTo>
                  <a:pt x="1857" y="1517"/>
                  <a:pt x="1861" y="1520"/>
                  <a:pt x="1865" y="1523"/>
                </a:cubicBezTo>
                <a:cubicBezTo>
                  <a:pt x="1865" y="1523"/>
                  <a:pt x="1866" y="1523"/>
                  <a:pt x="1867" y="1523"/>
                </a:cubicBezTo>
                <a:cubicBezTo>
                  <a:pt x="1868" y="1524"/>
                  <a:pt x="1868" y="1523"/>
                  <a:pt x="1869" y="1524"/>
                </a:cubicBezTo>
                <a:cubicBezTo>
                  <a:pt x="1869" y="1524"/>
                  <a:pt x="1869" y="1524"/>
                  <a:pt x="1869" y="1524"/>
                </a:cubicBezTo>
                <a:cubicBezTo>
                  <a:pt x="1870" y="1525"/>
                  <a:pt x="1870" y="1525"/>
                  <a:pt x="1870" y="1526"/>
                </a:cubicBezTo>
                <a:cubicBezTo>
                  <a:pt x="1871" y="1527"/>
                  <a:pt x="1872" y="1528"/>
                  <a:pt x="1872" y="1529"/>
                </a:cubicBezTo>
                <a:cubicBezTo>
                  <a:pt x="1873" y="1529"/>
                  <a:pt x="1875" y="1531"/>
                  <a:pt x="1876" y="1531"/>
                </a:cubicBezTo>
                <a:cubicBezTo>
                  <a:pt x="1876" y="1531"/>
                  <a:pt x="1876" y="1531"/>
                  <a:pt x="1877" y="1531"/>
                </a:cubicBezTo>
                <a:cubicBezTo>
                  <a:pt x="1877" y="1531"/>
                  <a:pt x="1877" y="1531"/>
                  <a:pt x="1878" y="1531"/>
                </a:cubicBezTo>
                <a:cubicBezTo>
                  <a:pt x="1878" y="1531"/>
                  <a:pt x="1878" y="1531"/>
                  <a:pt x="1878" y="1532"/>
                </a:cubicBezTo>
                <a:cubicBezTo>
                  <a:pt x="1878" y="1534"/>
                  <a:pt x="1879" y="1535"/>
                  <a:pt x="1880" y="1535"/>
                </a:cubicBezTo>
                <a:cubicBezTo>
                  <a:pt x="1881" y="1536"/>
                  <a:pt x="1882" y="1538"/>
                  <a:pt x="1883" y="1539"/>
                </a:cubicBezTo>
                <a:cubicBezTo>
                  <a:pt x="1883" y="1539"/>
                  <a:pt x="1883" y="1539"/>
                  <a:pt x="1883" y="1540"/>
                </a:cubicBezTo>
                <a:cubicBezTo>
                  <a:pt x="1884" y="1540"/>
                  <a:pt x="1884" y="1540"/>
                  <a:pt x="1885" y="1540"/>
                </a:cubicBezTo>
                <a:cubicBezTo>
                  <a:pt x="1885" y="1540"/>
                  <a:pt x="1886" y="1540"/>
                  <a:pt x="1886" y="1540"/>
                </a:cubicBezTo>
                <a:cubicBezTo>
                  <a:pt x="1886" y="1540"/>
                  <a:pt x="1887" y="1540"/>
                  <a:pt x="1887" y="1540"/>
                </a:cubicBezTo>
                <a:cubicBezTo>
                  <a:pt x="1887" y="1541"/>
                  <a:pt x="1887" y="1541"/>
                  <a:pt x="1887" y="1541"/>
                </a:cubicBezTo>
                <a:cubicBezTo>
                  <a:pt x="1887" y="1542"/>
                  <a:pt x="1887" y="1542"/>
                  <a:pt x="1887" y="1543"/>
                </a:cubicBezTo>
                <a:cubicBezTo>
                  <a:pt x="1887" y="1543"/>
                  <a:pt x="1887" y="1543"/>
                  <a:pt x="1887" y="1543"/>
                </a:cubicBezTo>
                <a:cubicBezTo>
                  <a:pt x="1888" y="1544"/>
                  <a:pt x="1890" y="1543"/>
                  <a:pt x="1891" y="1544"/>
                </a:cubicBezTo>
                <a:cubicBezTo>
                  <a:pt x="1891" y="1544"/>
                  <a:pt x="1892" y="1545"/>
                  <a:pt x="1892" y="1545"/>
                </a:cubicBezTo>
                <a:cubicBezTo>
                  <a:pt x="1893" y="1546"/>
                  <a:pt x="1894" y="1547"/>
                  <a:pt x="1895" y="1548"/>
                </a:cubicBezTo>
                <a:cubicBezTo>
                  <a:pt x="1898" y="1550"/>
                  <a:pt x="1902" y="1553"/>
                  <a:pt x="1903" y="1554"/>
                </a:cubicBezTo>
                <a:cubicBezTo>
                  <a:pt x="1904" y="1555"/>
                  <a:pt x="1904" y="1556"/>
                  <a:pt x="1905" y="1557"/>
                </a:cubicBezTo>
                <a:cubicBezTo>
                  <a:pt x="1905" y="1557"/>
                  <a:pt x="1905" y="1557"/>
                  <a:pt x="1905" y="1557"/>
                </a:cubicBezTo>
                <a:cubicBezTo>
                  <a:pt x="1904" y="1558"/>
                  <a:pt x="1905" y="1559"/>
                  <a:pt x="1906" y="1559"/>
                </a:cubicBezTo>
                <a:cubicBezTo>
                  <a:pt x="1906" y="1558"/>
                  <a:pt x="1906" y="1557"/>
                  <a:pt x="1907" y="1558"/>
                </a:cubicBezTo>
                <a:cubicBezTo>
                  <a:pt x="1909" y="1558"/>
                  <a:pt x="1910" y="1559"/>
                  <a:pt x="1910" y="1560"/>
                </a:cubicBezTo>
                <a:cubicBezTo>
                  <a:pt x="1913" y="1563"/>
                  <a:pt x="1915" y="1565"/>
                  <a:pt x="1918" y="1567"/>
                </a:cubicBezTo>
                <a:cubicBezTo>
                  <a:pt x="1919" y="1568"/>
                  <a:pt x="1920" y="1569"/>
                  <a:pt x="1921" y="1570"/>
                </a:cubicBezTo>
                <a:cubicBezTo>
                  <a:pt x="1922" y="1570"/>
                  <a:pt x="1922" y="1570"/>
                  <a:pt x="1923" y="1571"/>
                </a:cubicBezTo>
                <a:cubicBezTo>
                  <a:pt x="1923" y="1571"/>
                  <a:pt x="1923" y="1572"/>
                  <a:pt x="1923" y="1572"/>
                </a:cubicBezTo>
                <a:cubicBezTo>
                  <a:pt x="1923" y="1572"/>
                  <a:pt x="1924" y="1572"/>
                  <a:pt x="1924" y="1573"/>
                </a:cubicBezTo>
                <a:cubicBezTo>
                  <a:pt x="1924" y="1573"/>
                  <a:pt x="1924" y="1573"/>
                  <a:pt x="1925" y="1573"/>
                </a:cubicBezTo>
                <a:cubicBezTo>
                  <a:pt x="1925" y="1574"/>
                  <a:pt x="1926" y="1573"/>
                  <a:pt x="1926" y="1573"/>
                </a:cubicBezTo>
                <a:cubicBezTo>
                  <a:pt x="1927" y="1573"/>
                  <a:pt x="1927" y="1573"/>
                  <a:pt x="1928" y="1573"/>
                </a:cubicBezTo>
                <a:cubicBezTo>
                  <a:pt x="1930" y="1574"/>
                  <a:pt x="1931" y="1575"/>
                  <a:pt x="1933" y="1576"/>
                </a:cubicBezTo>
                <a:cubicBezTo>
                  <a:pt x="1934" y="1577"/>
                  <a:pt x="1935" y="1578"/>
                  <a:pt x="1936" y="1579"/>
                </a:cubicBezTo>
                <a:cubicBezTo>
                  <a:pt x="1936" y="1580"/>
                  <a:pt x="1937" y="1581"/>
                  <a:pt x="1937" y="1582"/>
                </a:cubicBezTo>
                <a:cubicBezTo>
                  <a:pt x="1938" y="1582"/>
                  <a:pt x="1938" y="1583"/>
                  <a:pt x="1938" y="1583"/>
                </a:cubicBezTo>
                <a:cubicBezTo>
                  <a:pt x="1938" y="1583"/>
                  <a:pt x="1938" y="1584"/>
                  <a:pt x="1938" y="1584"/>
                </a:cubicBezTo>
                <a:cubicBezTo>
                  <a:pt x="1938" y="1584"/>
                  <a:pt x="1939" y="1584"/>
                  <a:pt x="1939" y="1584"/>
                </a:cubicBezTo>
                <a:cubicBezTo>
                  <a:pt x="1939" y="1584"/>
                  <a:pt x="1939" y="1584"/>
                  <a:pt x="1940" y="1584"/>
                </a:cubicBezTo>
                <a:cubicBezTo>
                  <a:pt x="1940" y="1584"/>
                  <a:pt x="1940" y="1584"/>
                  <a:pt x="1940" y="1584"/>
                </a:cubicBezTo>
                <a:cubicBezTo>
                  <a:pt x="1942" y="1585"/>
                  <a:pt x="1942" y="1587"/>
                  <a:pt x="1943" y="1588"/>
                </a:cubicBezTo>
                <a:cubicBezTo>
                  <a:pt x="1943" y="1588"/>
                  <a:pt x="1944" y="1588"/>
                  <a:pt x="1944" y="1588"/>
                </a:cubicBezTo>
                <a:cubicBezTo>
                  <a:pt x="1944" y="1589"/>
                  <a:pt x="1946" y="1589"/>
                  <a:pt x="1947" y="1590"/>
                </a:cubicBezTo>
                <a:cubicBezTo>
                  <a:pt x="1948" y="1590"/>
                  <a:pt x="1948" y="1590"/>
                  <a:pt x="1949" y="1590"/>
                </a:cubicBezTo>
                <a:cubicBezTo>
                  <a:pt x="1950" y="1590"/>
                  <a:pt x="1951" y="1590"/>
                  <a:pt x="1952" y="1590"/>
                </a:cubicBezTo>
                <a:cubicBezTo>
                  <a:pt x="1953" y="1590"/>
                  <a:pt x="1953" y="1592"/>
                  <a:pt x="1953" y="1592"/>
                </a:cubicBezTo>
                <a:cubicBezTo>
                  <a:pt x="1954" y="1593"/>
                  <a:pt x="1954" y="1594"/>
                  <a:pt x="1955" y="1595"/>
                </a:cubicBezTo>
                <a:cubicBezTo>
                  <a:pt x="1956" y="1597"/>
                  <a:pt x="1957" y="1598"/>
                  <a:pt x="1959" y="1599"/>
                </a:cubicBezTo>
                <a:cubicBezTo>
                  <a:pt x="1960" y="1600"/>
                  <a:pt x="1961" y="1601"/>
                  <a:pt x="1962" y="1603"/>
                </a:cubicBezTo>
                <a:cubicBezTo>
                  <a:pt x="1963" y="1603"/>
                  <a:pt x="1964" y="1604"/>
                  <a:pt x="1964" y="1605"/>
                </a:cubicBezTo>
                <a:cubicBezTo>
                  <a:pt x="1964" y="1606"/>
                  <a:pt x="1964" y="1606"/>
                  <a:pt x="1964" y="1606"/>
                </a:cubicBezTo>
                <a:cubicBezTo>
                  <a:pt x="1965" y="1606"/>
                  <a:pt x="1965" y="1606"/>
                  <a:pt x="1965" y="1606"/>
                </a:cubicBezTo>
                <a:cubicBezTo>
                  <a:pt x="1965" y="1606"/>
                  <a:pt x="1966" y="1606"/>
                  <a:pt x="1966" y="1606"/>
                </a:cubicBezTo>
                <a:cubicBezTo>
                  <a:pt x="1966" y="1606"/>
                  <a:pt x="1966" y="1607"/>
                  <a:pt x="1966" y="1607"/>
                </a:cubicBezTo>
                <a:cubicBezTo>
                  <a:pt x="1966" y="1607"/>
                  <a:pt x="1966" y="1607"/>
                  <a:pt x="1967" y="1607"/>
                </a:cubicBezTo>
                <a:cubicBezTo>
                  <a:pt x="1967" y="1607"/>
                  <a:pt x="1967" y="1607"/>
                  <a:pt x="1967" y="1607"/>
                </a:cubicBezTo>
                <a:cubicBezTo>
                  <a:pt x="1968" y="1607"/>
                  <a:pt x="1968" y="1608"/>
                  <a:pt x="1968" y="1608"/>
                </a:cubicBezTo>
                <a:cubicBezTo>
                  <a:pt x="1968" y="1608"/>
                  <a:pt x="1968" y="1609"/>
                  <a:pt x="1969" y="1609"/>
                </a:cubicBezTo>
                <a:cubicBezTo>
                  <a:pt x="1972" y="1611"/>
                  <a:pt x="1976" y="1613"/>
                  <a:pt x="1979" y="1615"/>
                </a:cubicBezTo>
                <a:cubicBezTo>
                  <a:pt x="1980" y="1616"/>
                  <a:pt x="1982" y="1617"/>
                  <a:pt x="1983" y="1618"/>
                </a:cubicBezTo>
                <a:cubicBezTo>
                  <a:pt x="1984" y="1619"/>
                  <a:pt x="1984" y="1620"/>
                  <a:pt x="1984" y="1621"/>
                </a:cubicBezTo>
                <a:cubicBezTo>
                  <a:pt x="1984" y="1622"/>
                  <a:pt x="1985" y="1622"/>
                  <a:pt x="1985" y="1623"/>
                </a:cubicBezTo>
                <a:cubicBezTo>
                  <a:pt x="1985" y="1624"/>
                  <a:pt x="1986" y="1625"/>
                  <a:pt x="1987" y="1625"/>
                </a:cubicBezTo>
                <a:cubicBezTo>
                  <a:pt x="1987" y="1626"/>
                  <a:pt x="1988" y="1627"/>
                  <a:pt x="1989" y="1627"/>
                </a:cubicBezTo>
                <a:cubicBezTo>
                  <a:pt x="1990" y="1626"/>
                  <a:pt x="1991" y="1628"/>
                  <a:pt x="1992" y="1629"/>
                </a:cubicBezTo>
                <a:cubicBezTo>
                  <a:pt x="1993" y="1630"/>
                  <a:pt x="1994" y="1632"/>
                  <a:pt x="1996" y="1633"/>
                </a:cubicBezTo>
                <a:cubicBezTo>
                  <a:pt x="1996" y="1633"/>
                  <a:pt x="1997" y="1634"/>
                  <a:pt x="1998" y="1634"/>
                </a:cubicBezTo>
                <a:cubicBezTo>
                  <a:pt x="1998" y="1634"/>
                  <a:pt x="1999" y="1634"/>
                  <a:pt x="2000" y="1634"/>
                </a:cubicBezTo>
                <a:cubicBezTo>
                  <a:pt x="2000" y="1635"/>
                  <a:pt x="2001" y="1635"/>
                  <a:pt x="2001" y="1636"/>
                </a:cubicBezTo>
                <a:cubicBezTo>
                  <a:pt x="2001" y="1636"/>
                  <a:pt x="2002" y="1636"/>
                  <a:pt x="2002" y="1636"/>
                </a:cubicBezTo>
                <a:cubicBezTo>
                  <a:pt x="2001" y="1637"/>
                  <a:pt x="2002" y="1638"/>
                  <a:pt x="2002" y="1638"/>
                </a:cubicBezTo>
                <a:cubicBezTo>
                  <a:pt x="2002" y="1638"/>
                  <a:pt x="2003" y="1639"/>
                  <a:pt x="2003" y="1639"/>
                </a:cubicBezTo>
                <a:cubicBezTo>
                  <a:pt x="2004" y="1639"/>
                  <a:pt x="2005" y="1640"/>
                  <a:pt x="2006" y="1640"/>
                </a:cubicBezTo>
                <a:cubicBezTo>
                  <a:pt x="2006" y="1640"/>
                  <a:pt x="2006" y="1640"/>
                  <a:pt x="2006" y="1640"/>
                </a:cubicBezTo>
                <a:cubicBezTo>
                  <a:pt x="2006" y="1639"/>
                  <a:pt x="2007" y="1639"/>
                  <a:pt x="2007" y="1639"/>
                </a:cubicBezTo>
                <a:cubicBezTo>
                  <a:pt x="2008" y="1640"/>
                  <a:pt x="2009" y="1640"/>
                  <a:pt x="2009" y="1641"/>
                </a:cubicBezTo>
                <a:cubicBezTo>
                  <a:pt x="2010" y="1642"/>
                  <a:pt x="2011" y="1643"/>
                  <a:pt x="2012" y="1644"/>
                </a:cubicBezTo>
                <a:cubicBezTo>
                  <a:pt x="2015" y="1647"/>
                  <a:pt x="2021" y="1652"/>
                  <a:pt x="2026" y="1656"/>
                </a:cubicBezTo>
                <a:cubicBezTo>
                  <a:pt x="2028" y="1658"/>
                  <a:pt x="2029" y="1659"/>
                  <a:pt x="2031" y="1660"/>
                </a:cubicBezTo>
                <a:cubicBezTo>
                  <a:pt x="2033" y="1662"/>
                  <a:pt x="2034" y="1663"/>
                  <a:pt x="2035" y="1664"/>
                </a:cubicBezTo>
                <a:cubicBezTo>
                  <a:pt x="2036" y="1665"/>
                  <a:pt x="2036" y="1665"/>
                  <a:pt x="2037" y="1666"/>
                </a:cubicBezTo>
                <a:cubicBezTo>
                  <a:pt x="2037" y="1666"/>
                  <a:pt x="2037" y="1666"/>
                  <a:pt x="2037" y="1667"/>
                </a:cubicBezTo>
                <a:cubicBezTo>
                  <a:pt x="2037" y="1667"/>
                  <a:pt x="2038" y="1667"/>
                  <a:pt x="2038" y="1667"/>
                </a:cubicBezTo>
                <a:cubicBezTo>
                  <a:pt x="2038" y="1667"/>
                  <a:pt x="2039" y="1667"/>
                  <a:pt x="2039" y="1666"/>
                </a:cubicBezTo>
                <a:cubicBezTo>
                  <a:pt x="2039" y="1666"/>
                  <a:pt x="2039" y="1666"/>
                  <a:pt x="2040" y="1666"/>
                </a:cubicBezTo>
                <a:cubicBezTo>
                  <a:pt x="2041" y="1667"/>
                  <a:pt x="2041" y="1668"/>
                  <a:pt x="2042" y="1668"/>
                </a:cubicBezTo>
                <a:cubicBezTo>
                  <a:pt x="2042" y="1669"/>
                  <a:pt x="2044" y="1671"/>
                  <a:pt x="2046" y="1673"/>
                </a:cubicBezTo>
                <a:cubicBezTo>
                  <a:pt x="2046" y="1673"/>
                  <a:pt x="2047" y="1674"/>
                  <a:pt x="2047" y="1675"/>
                </a:cubicBezTo>
                <a:cubicBezTo>
                  <a:pt x="2048" y="1675"/>
                  <a:pt x="2048" y="1675"/>
                  <a:pt x="2048" y="1676"/>
                </a:cubicBezTo>
                <a:cubicBezTo>
                  <a:pt x="2049" y="1676"/>
                  <a:pt x="2049" y="1676"/>
                  <a:pt x="2049" y="1676"/>
                </a:cubicBezTo>
                <a:cubicBezTo>
                  <a:pt x="2049" y="1676"/>
                  <a:pt x="2049" y="1676"/>
                  <a:pt x="2049" y="1675"/>
                </a:cubicBezTo>
                <a:cubicBezTo>
                  <a:pt x="2049" y="1675"/>
                  <a:pt x="2050" y="1675"/>
                  <a:pt x="2050" y="1675"/>
                </a:cubicBezTo>
                <a:cubicBezTo>
                  <a:pt x="2050" y="1675"/>
                  <a:pt x="2051" y="1675"/>
                  <a:pt x="2051" y="1675"/>
                </a:cubicBezTo>
                <a:cubicBezTo>
                  <a:pt x="2052" y="1676"/>
                  <a:pt x="2053" y="1677"/>
                  <a:pt x="2054" y="1678"/>
                </a:cubicBezTo>
                <a:cubicBezTo>
                  <a:pt x="2056" y="1680"/>
                  <a:pt x="2059" y="1682"/>
                  <a:pt x="2060" y="1683"/>
                </a:cubicBezTo>
                <a:cubicBezTo>
                  <a:pt x="2062" y="1684"/>
                  <a:pt x="2065" y="1687"/>
                  <a:pt x="2068" y="1690"/>
                </a:cubicBezTo>
                <a:cubicBezTo>
                  <a:pt x="2071" y="1692"/>
                  <a:pt x="2079" y="1698"/>
                  <a:pt x="2085" y="1703"/>
                </a:cubicBezTo>
                <a:cubicBezTo>
                  <a:pt x="2087" y="1705"/>
                  <a:pt x="2089" y="1706"/>
                  <a:pt x="2091" y="1708"/>
                </a:cubicBezTo>
                <a:cubicBezTo>
                  <a:pt x="2092" y="1709"/>
                  <a:pt x="2093" y="1710"/>
                  <a:pt x="2094" y="1710"/>
                </a:cubicBezTo>
                <a:cubicBezTo>
                  <a:pt x="2095" y="1711"/>
                  <a:pt x="2096" y="1712"/>
                  <a:pt x="2096" y="1713"/>
                </a:cubicBezTo>
                <a:cubicBezTo>
                  <a:pt x="2096" y="1713"/>
                  <a:pt x="2096" y="1713"/>
                  <a:pt x="2096" y="1714"/>
                </a:cubicBezTo>
                <a:cubicBezTo>
                  <a:pt x="2096" y="1715"/>
                  <a:pt x="2098" y="1716"/>
                  <a:pt x="2098" y="1716"/>
                </a:cubicBezTo>
                <a:cubicBezTo>
                  <a:pt x="2099" y="1717"/>
                  <a:pt x="2100" y="1718"/>
                  <a:pt x="2101" y="1718"/>
                </a:cubicBezTo>
                <a:cubicBezTo>
                  <a:pt x="2101" y="1719"/>
                  <a:pt x="2102" y="1719"/>
                  <a:pt x="2102" y="1719"/>
                </a:cubicBezTo>
                <a:cubicBezTo>
                  <a:pt x="2102" y="1720"/>
                  <a:pt x="2102" y="1720"/>
                  <a:pt x="2102" y="1720"/>
                </a:cubicBezTo>
                <a:cubicBezTo>
                  <a:pt x="2102" y="1720"/>
                  <a:pt x="2102" y="1720"/>
                  <a:pt x="2103" y="1720"/>
                </a:cubicBezTo>
                <a:cubicBezTo>
                  <a:pt x="2103" y="1721"/>
                  <a:pt x="2103" y="1721"/>
                  <a:pt x="2104" y="1721"/>
                </a:cubicBezTo>
                <a:cubicBezTo>
                  <a:pt x="2105" y="1719"/>
                  <a:pt x="2107" y="1721"/>
                  <a:pt x="2108" y="1722"/>
                </a:cubicBezTo>
                <a:cubicBezTo>
                  <a:pt x="2109" y="1722"/>
                  <a:pt x="2111" y="1724"/>
                  <a:pt x="2113" y="1725"/>
                </a:cubicBezTo>
                <a:cubicBezTo>
                  <a:pt x="2114" y="1726"/>
                  <a:pt x="2114" y="1726"/>
                  <a:pt x="2115" y="1726"/>
                </a:cubicBezTo>
                <a:cubicBezTo>
                  <a:pt x="2115" y="1727"/>
                  <a:pt x="2116" y="1727"/>
                  <a:pt x="2116" y="1727"/>
                </a:cubicBezTo>
                <a:cubicBezTo>
                  <a:pt x="2116" y="1728"/>
                  <a:pt x="2116" y="1728"/>
                  <a:pt x="2116" y="1729"/>
                </a:cubicBezTo>
                <a:cubicBezTo>
                  <a:pt x="2117" y="1730"/>
                  <a:pt x="2118" y="1730"/>
                  <a:pt x="2119" y="1731"/>
                </a:cubicBezTo>
                <a:cubicBezTo>
                  <a:pt x="2120" y="1731"/>
                  <a:pt x="2121" y="1732"/>
                  <a:pt x="2121" y="1732"/>
                </a:cubicBezTo>
                <a:cubicBezTo>
                  <a:pt x="2122" y="1733"/>
                  <a:pt x="2122" y="1734"/>
                  <a:pt x="2122" y="1735"/>
                </a:cubicBezTo>
                <a:cubicBezTo>
                  <a:pt x="2123" y="1735"/>
                  <a:pt x="2123" y="1736"/>
                  <a:pt x="2123" y="1736"/>
                </a:cubicBezTo>
                <a:cubicBezTo>
                  <a:pt x="2124" y="1737"/>
                  <a:pt x="2124" y="1737"/>
                  <a:pt x="2125" y="1737"/>
                </a:cubicBezTo>
                <a:cubicBezTo>
                  <a:pt x="2126" y="1737"/>
                  <a:pt x="2126" y="1737"/>
                  <a:pt x="2127" y="1738"/>
                </a:cubicBezTo>
                <a:cubicBezTo>
                  <a:pt x="2128" y="1739"/>
                  <a:pt x="2130" y="1740"/>
                  <a:pt x="2131" y="1740"/>
                </a:cubicBezTo>
                <a:cubicBezTo>
                  <a:pt x="2133" y="1740"/>
                  <a:pt x="2134" y="1742"/>
                  <a:pt x="2136" y="1743"/>
                </a:cubicBezTo>
                <a:cubicBezTo>
                  <a:pt x="2137" y="1744"/>
                  <a:pt x="2139" y="1746"/>
                  <a:pt x="2140" y="1747"/>
                </a:cubicBezTo>
                <a:cubicBezTo>
                  <a:pt x="2140" y="1748"/>
                  <a:pt x="2141" y="1749"/>
                  <a:pt x="2141" y="1750"/>
                </a:cubicBezTo>
                <a:cubicBezTo>
                  <a:pt x="2141" y="1750"/>
                  <a:pt x="2142" y="1750"/>
                  <a:pt x="2142" y="1750"/>
                </a:cubicBezTo>
                <a:cubicBezTo>
                  <a:pt x="2143" y="1750"/>
                  <a:pt x="2143" y="1749"/>
                  <a:pt x="2144" y="1749"/>
                </a:cubicBezTo>
                <a:cubicBezTo>
                  <a:pt x="2144" y="1749"/>
                  <a:pt x="2144" y="1750"/>
                  <a:pt x="2144" y="1750"/>
                </a:cubicBezTo>
                <a:cubicBezTo>
                  <a:pt x="2145" y="1750"/>
                  <a:pt x="2146" y="1751"/>
                  <a:pt x="2146" y="1751"/>
                </a:cubicBezTo>
                <a:cubicBezTo>
                  <a:pt x="2146" y="1752"/>
                  <a:pt x="2146" y="1752"/>
                  <a:pt x="2146" y="1753"/>
                </a:cubicBezTo>
                <a:cubicBezTo>
                  <a:pt x="2146" y="1753"/>
                  <a:pt x="2146" y="1754"/>
                  <a:pt x="2146" y="1754"/>
                </a:cubicBezTo>
                <a:cubicBezTo>
                  <a:pt x="2146" y="1755"/>
                  <a:pt x="2146" y="1756"/>
                  <a:pt x="2146" y="1756"/>
                </a:cubicBezTo>
                <a:cubicBezTo>
                  <a:pt x="2147" y="1757"/>
                  <a:pt x="2147" y="1756"/>
                  <a:pt x="2148" y="1756"/>
                </a:cubicBezTo>
                <a:cubicBezTo>
                  <a:pt x="2148" y="1756"/>
                  <a:pt x="2148" y="1756"/>
                  <a:pt x="2148" y="1757"/>
                </a:cubicBezTo>
                <a:cubicBezTo>
                  <a:pt x="2148" y="1757"/>
                  <a:pt x="2148" y="1757"/>
                  <a:pt x="2147" y="1757"/>
                </a:cubicBezTo>
                <a:cubicBezTo>
                  <a:pt x="2147" y="1758"/>
                  <a:pt x="2147" y="1758"/>
                  <a:pt x="2147" y="1758"/>
                </a:cubicBezTo>
                <a:cubicBezTo>
                  <a:pt x="2148" y="1758"/>
                  <a:pt x="2148" y="1758"/>
                  <a:pt x="2149" y="1758"/>
                </a:cubicBezTo>
                <a:cubicBezTo>
                  <a:pt x="2149" y="1758"/>
                  <a:pt x="2149" y="1758"/>
                  <a:pt x="2149" y="1758"/>
                </a:cubicBezTo>
                <a:cubicBezTo>
                  <a:pt x="2149" y="1758"/>
                  <a:pt x="2149" y="1758"/>
                  <a:pt x="2150" y="1757"/>
                </a:cubicBezTo>
                <a:cubicBezTo>
                  <a:pt x="2150" y="1757"/>
                  <a:pt x="2150" y="1757"/>
                  <a:pt x="2150" y="1756"/>
                </a:cubicBezTo>
                <a:cubicBezTo>
                  <a:pt x="2150" y="1755"/>
                  <a:pt x="2151" y="1756"/>
                  <a:pt x="2151" y="1756"/>
                </a:cubicBezTo>
                <a:cubicBezTo>
                  <a:pt x="2151" y="1756"/>
                  <a:pt x="2152" y="1756"/>
                  <a:pt x="2152" y="1756"/>
                </a:cubicBezTo>
                <a:cubicBezTo>
                  <a:pt x="2152" y="1756"/>
                  <a:pt x="2152" y="1757"/>
                  <a:pt x="2152" y="1758"/>
                </a:cubicBezTo>
                <a:cubicBezTo>
                  <a:pt x="2152" y="1758"/>
                  <a:pt x="2152" y="1759"/>
                  <a:pt x="2152" y="1760"/>
                </a:cubicBezTo>
                <a:cubicBezTo>
                  <a:pt x="2153" y="1760"/>
                  <a:pt x="2153" y="1761"/>
                  <a:pt x="2154" y="1761"/>
                </a:cubicBezTo>
                <a:cubicBezTo>
                  <a:pt x="2155" y="1762"/>
                  <a:pt x="2157" y="1765"/>
                  <a:pt x="2159" y="1767"/>
                </a:cubicBezTo>
                <a:cubicBezTo>
                  <a:pt x="2160" y="1767"/>
                  <a:pt x="2161" y="1768"/>
                  <a:pt x="2161" y="1768"/>
                </a:cubicBezTo>
                <a:cubicBezTo>
                  <a:pt x="2162" y="1769"/>
                  <a:pt x="2163" y="1770"/>
                  <a:pt x="2163" y="1770"/>
                </a:cubicBezTo>
                <a:cubicBezTo>
                  <a:pt x="2164" y="1770"/>
                  <a:pt x="2164" y="1769"/>
                  <a:pt x="2164" y="1769"/>
                </a:cubicBezTo>
                <a:cubicBezTo>
                  <a:pt x="2165" y="1769"/>
                  <a:pt x="2165" y="1770"/>
                  <a:pt x="2166" y="1770"/>
                </a:cubicBezTo>
                <a:cubicBezTo>
                  <a:pt x="2167" y="1771"/>
                  <a:pt x="2168" y="1771"/>
                  <a:pt x="2169" y="1772"/>
                </a:cubicBezTo>
                <a:cubicBezTo>
                  <a:pt x="2170" y="1772"/>
                  <a:pt x="2172" y="1773"/>
                  <a:pt x="2172" y="1774"/>
                </a:cubicBezTo>
                <a:cubicBezTo>
                  <a:pt x="2172" y="1775"/>
                  <a:pt x="2172" y="1775"/>
                  <a:pt x="2172" y="1776"/>
                </a:cubicBezTo>
                <a:cubicBezTo>
                  <a:pt x="2172" y="1776"/>
                  <a:pt x="2172" y="1776"/>
                  <a:pt x="2172" y="1777"/>
                </a:cubicBezTo>
                <a:cubicBezTo>
                  <a:pt x="2172" y="1777"/>
                  <a:pt x="2172" y="1777"/>
                  <a:pt x="2171" y="1778"/>
                </a:cubicBezTo>
                <a:cubicBezTo>
                  <a:pt x="2172" y="1778"/>
                  <a:pt x="2173" y="1779"/>
                  <a:pt x="2174" y="1779"/>
                </a:cubicBezTo>
                <a:cubicBezTo>
                  <a:pt x="2175" y="1780"/>
                  <a:pt x="2175" y="1780"/>
                  <a:pt x="2176" y="1780"/>
                </a:cubicBezTo>
                <a:cubicBezTo>
                  <a:pt x="2176" y="1781"/>
                  <a:pt x="2177" y="1781"/>
                  <a:pt x="2177" y="1781"/>
                </a:cubicBezTo>
                <a:cubicBezTo>
                  <a:pt x="2177" y="1781"/>
                  <a:pt x="2177" y="1781"/>
                  <a:pt x="2178" y="1781"/>
                </a:cubicBezTo>
                <a:cubicBezTo>
                  <a:pt x="2179" y="1781"/>
                  <a:pt x="2179" y="1781"/>
                  <a:pt x="2180" y="1781"/>
                </a:cubicBezTo>
                <a:cubicBezTo>
                  <a:pt x="2181" y="1781"/>
                  <a:pt x="2181" y="1781"/>
                  <a:pt x="2181" y="1781"/>
                </a:cubicBezTo>
                <a:cubicBezTo>
                  <a:pt x="2181" y="1781"/>
                  <a:pt x="2182" y="1782"/>
                  <a:pt x="2182" y="1782"/>
                </a:cubicBezTo>
                <a:cubicBezTo>
                  <a:pt x="2182" y="1782"/>
                  <a:pt x="2182" y="1782"/>
                  <a:pt x="2182" y="1783"/>
                </a:cubicBezTo>
                <a:cubicBezTo>
                  <a:pt x="2182" y="1783"/>
                  <a:pt x="2182" y="1784"/>
                  <a:pt x="2182" y="1784"/>
                </a:cubicBezTo>
                <a:cubicBezTo>
                  <a:pt x="2184" y="1785"/>
                  <a:pt x="2185" y="1786"/>
                  <a:pt x="2187" y="1787"/>
                </a:cubicBezTo>
                <a:cubicBezTo>
                  <a:pt x="2187" y="1787"/>
                  <a:pt x="2189" y="1788"/>
                  <a:pt x="2189" y="1789"/>
                </a:cubicBezTo>
                <a:cubicBezTo>
                  <a:pt x="2189" y="1789"/>
                  <a:pt x="2192" y="1791"/>
                  <a:pt x="2195" y="1794"/>
                </a:cubicBezTo>
                <a:cubicBezTo>
                  <a:pt x="2196" y="1795"/>
                  <a:pt x="2197" y="1795"/>
                  <a:pt x="2198" y="1796"/>
                </a:cubicBezTo>
                <a:cubicBezTo>
                  <a:pt x="2199" y="1797"/>
                  <a:pt x="2199" y="1798"/>
                  <a:pt x="2200" y="1798"/>
                </a:cubicBezTo>
                <a:cubicBezTo>
                  <a:pt x="2201" y="1798"/>
                  <a:pt x="2201" y="1798"/>
                  <a:pt x="2202" y="1798"/>
                </a:cubicBezTo>
                <a:cubicBezTo>
                  <a:pt x="2203" y="1798"/>
                  <a:pt x="2204" y="1798"/>
                  <a:pt x="2204" y="1799"/>
                </a:cubicBezTo>
                <a:cubicBezTo>
                  <a:pt x="2205" y="1799"/>
                  <a:pt x="2205" y="1800"/>
                  <a:pt x="2205" y="1800"/>
                </a:cubicBezTo>
                <a:cubicBezTo>
                  <a:pt x="2205" y="1801"/>
                  <a:pt x="2205" y="1801"/>
                  <a:pt x="2206" y="1802"/>
                </a:cubicBezTo>
                <a:cubicBezTo>
                  <a:pt x="2206" y="1802"/>
                  <a:pt x="2206" y="1803"/>
                  <a:pt x="2207" y="1803"/>
                </a:cubicBezTo>
                <a:cubicBezTo>
                  <a:pt x="2207" y="1804"/>
                  <a:pt x="2208" y="1805"/>
                  <a:pt x="2209" y="1805"/>
                </a:cubicBezTo>
                <a:cubicBezTo>
                  <a:pt x="2210" y="1806"/>
                  <a:pt x="2212" y="1807"/>
                  <a:pt x="2214" y="1807"/>
                </a:cubicBezTo>
                <a:cubicBezTo>
                  <a:pt x="2215" y="1807"/>
                  <a:pt x="2217" y="1808"/>
                  <a:pt x="2217" y="1808"/>
                </a:cubicBezTo>
                <a:cubicBezTo>
                  <a:pt x="2218" y="1809"/>
                  <a:pt x="2218" y="1810"/>
                  <a:pt x="2218" y="1811"/>
                </a:cubicBezTo>
                <a:cubicBezTo>
                  <a:pt x="2218" y="1811"/>
                  <a:pt x="2218" y="1812"/>
                  <a:pt x="2219" y="1812"/>
                </a:cubicBezTo>
                <a:cubicBezTo>
                  <a:pt x="2219" y="1813"/>
                  <a:pt x="2220" y="1814"/>
                  <a:pt x="2221" y="1815"/>
                </a:cubicBezTo>
                <a:cubicBezTo>
                  <a:pt x="2223" y="1816"/>
                  <a:pt x="2225" y="1818"/>
                  <a:pt x="2226" y="1819"/>
                </a:cubicBezTo>
                <a:cubicBezTo>
                  <a:pt x="2226" y="1820"/>
                  <a:pt x="2229" y="1822"/>
                  <a:pt x="2232" y="1825"/>
                </a:cubicBezTo>
                <a:cubicBezTo>
                  <a:pt x="2234" y="1826"/>
                  <a:pt x="2235" y="1827"/>
                  <a:pt x="2237" y="1828"/>
                </a:cubicBezTo>
                <a:cubicBezTo>
                  <a:pt x="2237" y="1828"/>
                  <a:pt x="2237" y="1828"/>
                  <a:pt x="2237" y="1828"/>
                </a:cubicBezTo>
                <a:cubicBezTo>
                  <a:pt x="2237" y="1828"/>
                  <a:pt x="2237" y="1828"/>
                  <a:pt x="2237" y="1828"/>
                </a:cubicBezTo>
                <a:cubicBezTo>
                  <a:pt x="2238" y="1828"/>
                  <a:pt x="2238" y="1827"/>
                  <a:pt x="2238" y="1828"/>
                </a:cubicBezTo>
                <a:cubicBezTo>
                  <a:pt x="2238" y="1828"/>
                  <a:pt x="2239" y="1828"/>
                  <a:pt x="2239" y="1828"/>
                </a:cubicBezTo>
                <a:cubicBezTo>
                  <a:pt x="2240" y="1829"/>
                  <a:pt x="2241" y="1828"/>
                  <a:pt x="2242" y="1828"/>
                </a:cubicBezTo>
                <a:cubicBezTo>
                  <a:pt x="2243" y="1829"/>
                  <a:pt x="2243" y="1829"/>
                  <a:pt x="2243" y="1830"/>
                </a:cubicBezTo>
                <a:cubicBezTo>
                  <a:pt x="2244" y="1831"/>
                  <a:pt x="2245" y="1831"/>
                  <a:pt x="2246" y="1832"/>
                </a:cubicBezTo>
                <a:cubicBezTo>
                  <a:pt x="2248" y="1834"/>
                  <a:pt x="2249" y="1835"/>
                  <a:pt x="2251" y="1836"/>
                </a:cubicBezTo>
                <a:cubicBezTo>
                  <a:pt x="2251" y="1837"/>
                  <a:pt x="2252" y="1838"/>
                  <a:pt x="2253" y="1838"/>
                </a:cubicBezTo>
                <a:cubicBezTo>
                  <a:pt x="2253" y="1838"/>
                  <a:pt x="2254" y="1838"/>
                  <a:pt x="2254" y="1839"/>
                </a:cubicBezTo>
                <a:cubicBezTo>
                  <a:pt x="2254" y="1839"/>
                  <a:pt x="2254" y="1839"/>
                  <a:pt x="2254" y="1840"/>
                </a:cubicBezTo>
                <a:cubicBezTo>
                  <a:pt x="2254" y="1840"/>
                  <a:pt x="2254" y="1840"/>
                  <a:pt x="2254" y="1841"/>
                </a:cubicBezTo>
                <a:cubicBezTo>
                  <a:pt x="2255" y="1841"/>
                  <a:pt x="2255" y="1842"/>
                  <a:pt x="2256" y="1842"/>
                </a:cubicBezTo>
                <a:cubicBezTo>
                  <a:pt x="2257" y="1843"/>
                  <a:pt x="2259" y="1845"/>
                  <a:pt x="2260" y="1846"/>
                </a:cubicBezTo>
                <a:cubicBezTo>
                  <a:pt x="2261" y="1847"/>
                  <a:pt x="2262" y="1848"/>
                  <a:pt x="2263" y="1848"/>
                </a:cubicBezTo>
                <a:cubicBezTo>
                  <a:pt x="2264" y="1848"/>
                  <a:pt x="2264" y="1848"/>
                  <a:pt x="2264" y="1848"/>
                </a:cubicBezTo>
                <a:cubicBezTo>
                  <a:pt x="2264" y="1848"/>
                  <a:pt x="2264" y="1847"/>
                  <a:pt x="2265" y="1847"/>
                </a:cubicBezTo>
                <a:cubicBezTo>
                  <a:pt x="2265" y="1847"/>
                  <a:pt x="2265" y="1847"/>
                  <a:pt x="2265" y="1848"/>
                </a:cubicBezTo>
                <a:cubicBezTo>
                  <a:pt x="2267" y="1849"/>
                  <a:pt x="2269" y="1850"/>
                  <a:pt x="2270" y="1851"/>
                </a:cubicBezTo>
                <a:cubicBezTo>
                  <a:pt x="2272" y="1852"/>
                  <a:pt x="2273" y="1854"/>
                  <a:pt x="2274" y="1854"/>
                </a:cubicBezTo>
                <a:cubicBezTo>
                  <a:pt x="2275" y="1855"/>
                  <a:pt x="2275" y="1855"/>
                  <a:pt x="2275" y="1855"/>
                </a:cubicBezTo>
                <a:cubicBezTo>
                  <a:pt x="2275" y="1855"/>
                  <a:pt x="2275" y="1856"/>
                  <a:pt x="2275" y="1856"/>
                </a:cubicBezTo>
                <a:cubicBezTo>
                  <a:pt x="2275" y="1856"/>
                  <a:pt x="2275" y="1856"/>
                  <a:pt x="2275" y="1857"/>
                </a:cubicBezTo>
                <a:cubicBezTo>
                  <a:pt x="2276" y="1857"/>
                  <a:pt x="2279" y="1857"/>
                  <a:pt x="2279" y="1858"/>
                </a:cubicBezTo>
                <a:cubicBezTo>
                  <a:pt x="2279" y="1858"/>
                  <a:pt x="2279" y="1859"/>
                  <a:pt x="2279" y="1859"/>
                </a:cubicBezTo>
                <a:cubicBezTo>
                  <a:pt x="2278" y="1859"/>
                  <a:pt x="2278" y="1859"/>
                  <a:pt x="2278" y="1859"/>
                </a:cubicBezTo>
                <a:cubicBezTo>
                  <a:pt x="2278" y="1860"/>
                  <a:pt x="2278" y="1860"/>
                  <a:pt x="2278" y="1861"/>
                </a:cubicBezTo>
                <a:cubicBezTo>
                  <a:pt x="2278" y="1861"/>
                  <a:pt x="2278" y="1861"/>
                  <a:pt x="2279" y="1862"/>
                </a:cubicBezTo>
                <a:cubicBezTo>
                  <a:pt x="2279" y="1862"/>
                  <a:pt x="2279" y="1862"/>
                  <a:pt x="2279" y="1862"/>
                </a:cubicBezTo>
                <a:cubicBezTo>
                  <a:pt x="2280" y="1862"/>
                  <a:pt x="2280" y="1862"/>
                  <a:pt x="2280" y="1862"/>
                </a:cubicBezTo>
                <a:cubicBezTo>
                  <a:pt x="2281" y="1862"/>
                  <a:pt x="2280" y="1864"/>
                  <a:pt x="2280" y="1864"/>
                </a:cubicBezTo>
                <a:cubicBezTo>
                  <a:pt x="2281" y="1865"/>
                  <a:pt x="2282" y="1866"/>
                  <a:pt x="2283" y="1866"/>
                </a:cubicBezTo>
                <a:cubicBezTo>
                  <a:pt x="2285" y="1868"/>
                  <a:pt x="2288" y="1870"/>
                  <a:pt x="2290" y="1871"/>
                </a:cubicBezTo>
                <a:cubicBezTo>
                  <a:pt x="2292" y="1873"/>
                  <a:pt x="2293" y="1874"/>
                  <a:pt x="2295" y="1876"/>
                </a:cubicBezTo>
                <a:cubicBezTo>
                  <a:pt x="2296" y="1876"/>
                  <a:pt x="2297" y="1877"/>
                  <a:pt x="2298" y="1878"/>
                </a:cubicBezTo>
                <a:cubicBezTo>
                  <a:pt x="2299" y="1878"/>
                  <a:pt x="2300" y="1879"/>
                  <a:pt x="2300" y="1878"/>
                </a:cubicBezTo>
                <a:cubicBezTo>
                  <a:pt x="2301" y="1878"/>
                  <a:pt x="2301" y="1878"/>
                  <a:pt x="2302" y="1879"/>
                </a:cubicBezTo>
                <a:cubicBezTo>
                  <a:pt x="2302" y="1879"/>
                  <a:pt x="2304" y="1879"/>
                  <a:pt x="2305" y="1879"/>
                </a:cubicBezTo>
                <a:cubicBezTo>
                  <a:pt x="2306" y="1878"/>
                  <a:pt x="2306" y="1878"/>
                  <a:pt x="2307" y="1879"/>
                </a:cubicBezTo>
                <a:cubicBezTo>
                  <a:pt x="2308" y="1880"/>
                  <a:pt x="2309" y="1881"/>
                  <a:pt x="2310" y="1881"/>
                </a:cubicBezTo>
                <a:cubicBezTo>
                  <a:pt x="2311" y="1882"/>
                  <a:pt x="2312" y="1884"/>
                  <a:pt x="2314" y="1884"/>
                </a:cubicBezTo>
                <a:cubicBezTo>
                  <a:pt x="2314" y="1885"/>
                  <a:pt x="2314" y="1885"/>
                  <a:pt x="2314" y="1885"/>
                </a:cubicBezTo>
                <a:cubicBezTo>
                  <a:pt x="2314" y="1885"/>
                  <a:pt x="2315" y="1885"/>
                  <a:pt x="2315" y="1885"/>
                </a:cubicBezTo>
                <a:cubicBezTo>
                  <a:pt x="2315" y="1885"/>
                  <a:pt x="2316" y="1886"/>
                  <a:pt x="2316" y="1886"/>
                </a:cubicBezTo>
                <a:cubicBezTo>
                  <a:pt x="2316" y="1886"/>
                  <a:pt x="2317" y="1887"/>
                  <a:pt x="2318" y="1887"/>
                </a:cubicBezTo>
                <a:cubicBezTo>
                  <a:pt x="2318" y="1888"/>
                  <a:pt x="2319" y="1888"/>
                  <a:pt x="2320" y="1889"/>
                </a:cubicBezTo>
                <a:cubicBezTo>
                  <a:pt x="2320" y="1889"/>
                  <a:pt x="2320" y="1889"/>
                  <a:pt x="2320" y="1890"/>
                </a:cubicBezTo>
                <a:cubicBezTo>
                  <a:pt x="2320" y="1890"/>
                  <a:pt x="2319" y="1890"/>
                  <a:pt x="2320" y="1891"/>
                </a:cubicBezTo>
                <a:cubicBezTo>
                  <a:pt x="2320" y="1891"/>
                  <a:pt x="2320" y="1892"/>
                  <a:pt x="2320" y="1892"/>
                </a:cubicBezTo>
                <a:cubicBezTo>
                  <a:pt x="2321" y="1892"/>
                  <a:pt x="2321" y="1892"/>
                  <a:pt x="2321" y="1893"/>
                </a:cubicBezTo>
                <a:cubicBezTo>
                  <a:pt x="2321" y="1893"/>
                  <a:pt x="2322" y="1893"/>
                  <a:pt x="2322" y="1893"/>
                </a:cubicBezTo>
                <a:cubicBezTo>
                  <a:pt x="2322" y="1893"/>
                  <a:pt x="2322" y="1892"/>
                  <a:pt x="2322" y="1892"/>
                </a:cubicBezTo>
                <a:cubicBezTo>
                  <a:pt x="2322" y="1890"/>
                  <a:pt x="2323" y="1891"/>
                  <a:pt x="2324" y="1892"/>
                </a:cubicBezTo>
                <a:cubicBezTo>
                  <a:pt x="2325" y="1893"/>
                  <a:pt x="2325" y="1894"/>
                  <a:pt x="2326" y="1895"/>
                </a:cubicBezTo>
                <a:cubicBezTo>
                  <a:pt x="2326" y="1896"/>
                  <a:pt x="2327" y="1896"/>
                  <a:pt x="2328" y="1897"/>
                </a:cubicBezTo>
                <a:cubicBezTo>
                  <a:pt x="2328" y="1897"/>
                  <a:pt x="2329" y="1897"/>
                  <a:pt x="2329" y="1898"/>
                </a:cubicBezTo>
                <a:cubicBezTo>
                  <a:pt x="2329" y="1898"/>
                  <a:pt x="2329" y="1898"/>
                  <a:pt x="2330" y="1898"/>
                </a:cubicBezTo>
                <a:cubicBezTo>
                  <a:pt x="2330" y="1898"/>
                  <a:pt x="2330" y="1898"/>
                  <a:pt x="2330" y="1897"/>
                </a:cubicBezTo>
                <a:cubicBezTo>
                  <a:pt x="2330" y="1897"/>
                  <a:pt x="2331" y="1897"/>
                  <a:pt x="2331" y="1897"/>
                </a:cubicBezTo>
                <a:cubicBezTo>
                  <a:pt x="2332" y="1898"/>
                  <a:pt x="2334" y="1900"/>
                  <a:pt x="2335" y="1901"/>
                </a:cubicBezTo>
                <a:cubicBezTo>
                  <a:pt x="2337" y="1902"/>
                  <a:pt x="2338" y="1903"/>
                  <a:pt x="2340" y="1904"/>
                </a:cubicBezTo>
                <a:cubicBezTo>
                  <a:pt x="2342" y="1905"/>
                  <a:pt x="2344" y="1907"/>
                  <a:pt x="2346" y="1908"/>
                </a:cubicBezTo>
                <a:cubicBezTo>
                  <a:pt x="2346" y="1909"/>
                  <a:pt x="2347" y="1909"/>
                  <a:pt x="2348" y="1910"/>
                </a:cubicBezTo>
                <a:cubicBezTo>
                  <a:pt x="2348" y="1911"/>
                  <a:pt x="2349" y="1911"/>
                  <a:pt x="2349" y="1911"/>
                </a:cubicBezTo>
                <a:cubicBezTo>
                  <a:pt x="2348" y="1911"/>
                  <a:pt x="2348" y="1912"/>
                  <a:pt x="2348" y="1912"/>
                </a:cubicBezTo>
                <a:cubicBezTo>
                  <a:pt x="2348" y="1913"/>
                  <a:pt x="2351" y="1914"/>
                  <a:pt x="2351" y="1915"/>
                </a:cubicBezTo>
                <a:cubicBezTo>
                  <a:pt x="2351" y="1915"/>
                  <a:pt x="2351" y="1915"/>
                  <a:pt x="2351" y="1915"/>
                </a:cubicBezTo>
                <a:cubicBezTo>
                  <a:pt x="2350" y="1915"/>
                  <a:pt x="2350" y="1916"/>
                  <a:pt x="2350" y="1916"/>
                </a:cubicBezTo>
                <a:cubicBezTo>
                  <a:pt x="2351" y="1916"/>
                  <a:pt x="2351" y="1916"/>
                  <a:pt x="2351" y="1916"/>
                </a:cubicBezTo>
                <a:cubicBezTo>
                  <a:pt x="2354" y="1919"/>
                  <a:pt x="2357" y="1921"/>
                  <a:pt x="2360" y="1923"/>
                </a:cubicBezTo>
                <a:cubicBezTo>
                  <a:pt x="2361" y="1923"/>
                  <a:pt x="2362" y="1924"/>
                  <a:pt x="2363" y="1924"/>
                </a:cubicBezTo>
                <a:cubicBezTo>
                  <a:pt x="2364" y="1925"/>
                  <a:pt x="2364" y="1925"/>
                  <a:pt x="2365" y="1924"/>
                </a:cubicBezTo>
                <a:cubicBezTo>
                  <a:pt x="2366" y="1924"/>
                  <a:pt x="2367" y="1924"/>
                  <a:pt x="2368" y="1924"/>
                </a:cubicBezTo>
                <a:cubicBezTo>
                  <a:pt x="2369" y="1925"/>
                  <a:pt x="2370" y="1925"/>
                  <a:pt x="2370" y="1926"/>
                </a:cubicBezTo>
                <a:cubicBezTo>
                  <a:pt x="2371" y="1926"/>
                  <a:pt x="2372" y="1927"/>
                  <a:pt x="2372" y="1927"/>
                </a:cubicBezTo>
                <a:cubicBezTo>
                  <a:pt x="2372" y="1928"/>
                  <a:pt x="2372" y="1928"/>
                  <a:pt x="2372" y="1928"/>
                </a:cubicBezTo>
                <a:cubicBezTo>
                  <a:pt x="2372" y="1928"/>
                  <a:pt x="2372" y="1929"/>
                  <a:pt x="2372" y="1929"/>
                </a:cubicBezTo>
                <a:cubicBezTo>
                  <a:pt x="2372" y="1930"/>
                  <a:pt x="2373" y="1930"/>
                  <a:pt x="2374" y="1931"/>
                </a:cubicBezTo>
                <a:cubicBezTo>
                  <a:pt x="2375" y="1931"/>
                  <a:pt x="2374" y="1932"/>
                  <a:pt x="2375" y="1933"/>
                </a:cubicBezTo>
                <a:cubicBezTo>
                  <a:pt x="2375" y="1934"/>
                  <a:pt x="2375" y="1935"/>
                  <a:pt x="2376" y="1935"/>
                </a:cubicBezTo>
                <a:cubicBezTo>
                  <a:pt x="2376" y="1936"/>
                  <a:pt x="2377" y="1937"/>
                  <a:pt x="2378" y="1937"/>
                </a:cubicBezTo>
                <a:cubicBezTo>
                  <a:pt x="2379" y="1938"/>
                  <a:pt x="2380" y="1939"/>
                  <a:pt x="2381" y="1939"/>
                </a:cubicBezTo>
                <a:cubicBezTo>
                  <a:pt x="2381" y="1939"/>
                  <a:pt x="2382" y="1939"/>
                  <a:pt x="2383" y="1939"/>
                </a:cubicBezTo>
                <a:cubicBezTo>
                  <a:pt x="2384" y="1939"/>
                  <a:pt x="2384" y="1940"/>
                  <a:pt x="2384" y="1940"/>
                </a:cubicBezTo>
                <a:cubicBezTo>
                  <a:pt x="2385" y="1941"/>
                  <a:pt x="2388" y="1944"/>
                  <a:pt x="2392" y="1947"/>
                </a:cubicBezTo>
                <a:cubicBezTo>
                  <a:pt x="2393" y="1947"/>
                  <a:pt x="2394" y="1948"/>
                  <a:pt x="2395" y="1949"/>
                </a:cubicBezTo>
                <a:cubicBezTo>
                  <a:pt x="2405" y="1956"/>
                  <a:pt x="2412" y="1965"/>
                  <a:pt x="2424" y="1974"/>
                </a:cubicBezTo>
                <a:cubicBezTo>
                  <a:pt x="2431" y="1978"/>
                  <a:pt x="2438" y="1989"/>
                  <a:pt x="2447" y="1986"/>
                </a:cubicBezTo>
                <a:cubicBezTo>
                  <a:pt x="2453" y="1984"/>
                  <a:pt x="2456" y="1976"/>
                  <a:pt x="2460" y="1972"/>
                </a:cubicBezTo>
                <a:cubicBezTo>
                  <a:pt x="2463" y="1968"/>
                  <a:pt x="2463" y="1965"/>
                  <a:pt x="2464" y="1961"/>
                </a:cubicBezTo>
                <a:cubicBezTo>
                  <a:pt x="2465" y="1960"/>
                  <a:pt x="2468" y="1957"/>
                  <a:pt x="2468" y="1956"/>
                </a:cubicBezTo>
                <a:cubicBezTo>
                  <a:pt x="2468" y="1954"/>
                  <a:pt x="2467" y="1953"/>
                  <a:pt x="2467" y="1951"/>
                </a:cubicBezTo>
                <a:cubicBezTo>
                  <a:pt x="2465" y="1946"/>
                  <a:pt x="2464" y="1945"/>
                  <a:pt x="2460" y="1940"/>
                </a:cubicBezTo>
                <a:cubicBezTo>
                  <a:pt x="2457" y="1937"/>
                  <a:pt x="2454" y="1933"/>
                  <a:pt x="2450" y="1930"/>
                </a:cubicBezTo>
                <a:cubicBezTo>
                  <a:pt x="2447" y="1927"/>
                  <a:pt x="2443" y="1924"/>
                  <a:pt x="2440" y="1921"/>
                </a:cubicBezTo>
                <a:cubicBezTo>
                  <a:pt x="2439" y="1920"/>
                  <a:pt x="2437" y="1919"/>
                  <a:pt x="2436" y="1918"/>
                </a:cubicBezTo>
                <a:cubicBezTo>
                  <a:pt x="2435" y="1918"/>
                  <a:pt x="2434" y="1918"/>
                  <a:pt x="2433" y="1917"/>
                </a:cubicBezTo>
                <a:cubicBezTo>
                  <a:pt x="2432" y="1916"/>
                  <a:pt x="2432" y="1915"/>
                  <a:pt x="2431" y="1913"/>
                </a:cubicBezTo>
                <a:cubicBezTo>
                  <a:pt x="2430" y="1912"/>
                  <a:pt x="2428" y="1912"/>
                  <a:pt x="2427" y="1911"/>
                </a:cubicBezTo>
                <a:cubicBezTo>
                  <a:pt x="2426" y="1910"/>
                  <a:pt x="2425" y="1908"/>
                  <a:pt x="2423" y="1907"/>
                </a:cubicBezTo>
                <a:cubicBezTo>
                  <a:pt x="2421" y="1905"/>
                  <a:pt x="2419" y="1904"/>
                  <a:pt x="2418" y="1903"/>
                </a:cubicBezTo>
                <a:cubicBezTo>
                  <a:pt x="2416" y="1901"/>
                  <a:pt x="2414" y="1900"/>
                  <a:pt x="2412" y="1899"/>
                </a:cubicBezTo>
                <a:cubicBezTo>
                  <a:pt x="2411" y="1897"/>
                  <a:pt x="2409" y="1898"/>
                  <a:pt x="2408" y="1897"/>
                </a:cubicBezTo>
                <a:cubicBezTo>
                  <a:pt x="2406" y="1897"/>
                  <a:pt x="2405" y="1895"/>
                  <a:pt x="2403" y="1894"/>
                </a:cubicBezTo>
                <a:cubicBezTo>
                  <a:pt x="2375" y="1870"/>
                  <a:pt x="2305" y="1814"/>
                  <a:pt x="2292" y="1804"/>
                </a:cubicBezTo>
                <a:cubicBezTo>
                  <a:pt x="2289" y="1801"/>
                  <a:pt x="2282" y="1796"/>
                  <a:pt x="2277" y="1793"/>
                </a:cubicBezTo>
                <a:cubicBezTo>
                  <a:pt x="2272" y="1789"/>
                  <a:pt x="2265" y="1783"/>
                  <a:pt x="2260" y="1780"/>
                </a:cubicBezTo>
                <a:cubicBezTo>
                  <a:pt x="2237" y="1763"/>
                  <a:pt x="2228" y="1756"/>
                  <a:pt x="2205" y="1737"/>
                </a:cubicBezTo>
                <a:cubicBezTo>
                  <a:pt x="2203" y="1736"/>
                  <a:pt x="2201" y="1735"/>
                  <a:pt x="2199" y="1733"/>
                </a:cubicBezTo>
                <a:cubicBezTo>
                  <a:pt x="2198" y="1732"/>
                  <a:pt x="2196" y="1730"/>
                  <a:pt x="2194" y="1729"/>
                </a:cubicBezTo>
                <a:cubicBezTo>
                  <a:pt x="2194" y="1729"/>
                  <a:pt x="2193" y="1729"/>
                  <a:pt x="2193" y="1729"/>
                </a:cubicBezTo>
                <a:cubicBezTo>
                  <a:pt x="2193" y="1729"/>
                  <a:pt x="2192" y="1728"/>
                  <a:pt x="2192" y="1727"/>
                </a:cubicBezTo>
                <a:cubicBezTo>
                  <a:pt x="2192" y="1727"/>
                  <a:pt x="2192" y="1726"/>
                  <a:pt x="2191" y="1725"/>
                </a:cubicBezTo>
                <a:cubicBezTo>
                  <a:pt x="2190" y="1725"/>
                  <a:pt x="2190" y="1725"/>
                  <a:pt x="2190" y="1725"/>
                </a:cubicBezTo>
                <a:cubicBezTo>
                  <a:pt x="2189" y="1726"/>
                  <a:pt x="2188" y="1725"/>
                  <a:pt x="2187" y="1724"/>
                </a:cubicBezTo>
                <a:cubicBezTo>
                  <a:pt x="2185" y="1723"/>
                  <a:pt x="2184" y="1722"/>
                  <a:pt x="2182" y="1721"/>
                </a:cubicBezTo>
                <a:cubicBezTo>
                  <a:pt x="2179" y="1718"/>
                  <a:pt x="2176" y="1716"/>
                  <a:pt x="2173" y="1714"/>
                </a:cubicBezTo>
                <a:cubicBezTo>
                  <a:pt x="2170" y="1711"/>
                  <a:pt x="2167" y="1709"/>
                  <a:pt x="2164" y="1706"/>
                </a:cubicBezTo>
                <a:cubicBezTo>
                  <a:pt x="2163" y="1706"/>
                  <a:pt x="2162" y="1705"/>
                  <a:pt x="2161" y="1704"/>
                </a:cubicBezTo>
                <a:cubicBezTo>
                  <a:pt x="2160" y="1703"/>
                  <a:pt x="2158" y="1702"/>
                  <a:pt x="2157" y="1700"/>
                </a:cubicBezTo>
                <a:cubicBezTo>
                  <a:pt x="2157" y="1699"/>
                  <a:pt x="2157" y="1697"/>
                  <a:pt x="2155" y="1698"/>
                </a:cubicBezTo>
                <a:cubicBezTo>
                  <a:pt x="2155" y="1698"/>
                  <a:pt x="2154" y="1698"/>
                  <a:pt x="2154" y="1698"/>
                </a:cubicBezTo>
                <a:cubicBezTo>
                  <a:pt x="2154" y="1698"/>
                  <a:pt x="2154" y="1697"/>
                  <a:pt x="2153" y="1697"/>
                </a:cubicBezTo>
                <a:cubicBezTo>
                  <a:pt x="2150" y="1696"/>
                  <a:pt x="2147" y="1692"/>
                  <a:pt x="2144" y="1690"/>
                </a:cubicBezTo>
                <a:cubicBezTo>
                  <a:pt x="2140" y="1687"/>
                  <a:pt x="2137" y="1685"/>
                  <a:pt x="2134" y="1682"/>
                </a:cubicBezTo>
                <a:cubicBezTo>
                  <a:pt x="2127" y="1676"/>
                  <a:pt x="2120" y="1671"/>
                  <a:pt x="2113" y="1665"/>
                </a:cubicBezTo>
                <a:cubicBezTo>
                  <a:pt x="2108" y="1661"/>
                  <a:pt x="2102" y="1656"/>
                  <a:pt x="2096" y="1652"/>
                </a:cubicBezTo>
                <a:cubicBezTo>
                  <a:pt x="2083" y="1641"/>
                  <a:pt x="2070" y="1630"/>
                  <a:pt x="2056" y="1619"/>
                </a:cubicBezTo>
                <a:cubicBezTo>
                  <a:pt x="2053" y="1617"/>
                  <a:pt x="2050" y="1614"/>
                  <a:pt x="2047" y="1612"/>
                </a:cubicBezTo>
                <a:cubicBezTo>
                  <a:pt x="2046" y="1611"/>
                  <a:pt x="2044" y="1610"/>
                  <a:pt x="2043" y="1608"/>
                </a:cubicBezTo>
                <a:cubicBezTo>
                  <a:pt x="2042" y="1607"/>
                  <a:pt x="2040" y="1606"/>
                  <a:pt x="2039" y="1606"/>
                </a:cubicBezTo>
                <a:cubicBezTo>
                  <a:pt x="2037" y="1606"/>
                  <a:pt x="2038" y="1605"/>
                  <a:pt x="2037" y="1604"/>
                </a:cubicBezTo>
                <a:cubicBezTo>
                  <a:pt x="2037" y="1604"/>
                  <a:pt x="2036" y="1602"/>
                  <a:pt x="2035" y="1602"/>
                </a:cubicBezTo>
                <a:cubicBezTo>
                  <a:pt x="2035" y="1602"/>
                  <a:pt x="2034" y="1601"/>
                  <a:pt x="2034" y="1601"/>
                </a:cubicBezTo>
                <a:cubicBezTo>
                  <a:pt x="2032" y="1600"/>
                  <a:pt x="2031" y="1599"/>
                  <a:pt x="2030" y="1598"/>
                </a:cubicBezTo>
                <a:cubicBezTo>
                  <a:pt x="2027" y="1596"/>
                  <a:pt x="2024" y="1593"/>
                  <a:pt x="2021" y="1591"/>
                </a:cubicBezTo>
                <a:cubicBezTo>
                  <a:pt x="2021" y="1591"/>
                  <a:pt x="2020" y="1591"/>
                  <a:pt x="2020" y="1591"/>
                </a:cubicBezTo>
                <a:cubicBezTo>
                  <a:pt x="2020" y="1591"/>
                  <a:pt x="2019" y="1591"/>
                  <a:pt x="2019" y="1591"/>
                </a:cubicBezTo>
                <a:cubicBezTo>
                  <a:pt x="2018" y="1591"/>
                  <a:pt x="2016" y="1590"/>
                  <a:pt x="2015" y="1589"/>
                </a:cubicBezTo>
                <a:cubicBezTo>
                  <a:pt x="2014" y="1589"/>
                  <a:pt x="2013" y="1588"/>
                  <a:pt x="2013" y="1588"/>
                </a:cubicBezTo>
                <a:cubicBezTo>
                  <a:pt x="2014" y="1587"/>
                  <a:pt x="2016" y="1587"/>
                  <a:pt x="2014" y="1586"/>
                </a:cubicBezTo>
                <a:cubicBezTo>
                  <a:pt x="2014" y="1586"/>
                  <a:pt x="2013" y="1586"/>
                  <a:pt x="2013" y="1586"/>
                </a:cubicBezTo>
                <a:cubicBezTo>
                  <a:pt x="2012" y="1586"/>
                  <a:pt x="2011" y="1585"/>
                  <a:pt x="2012" y="1584"/>
                </a:cubicBezTo>
                <a:cubicBezTo>
                  <a:pt x="2012" y="1584"/>
                  <a:pt x="2012" y="1584"/>
                  <a:pt x="2011" y="1584"/>
                </a:cubicBezTo>
                <a:cubicBezTo>
                  <a:pt x="2010" y="1582"/>
                  <a:pt x="2008" y="1581"/>
                  <a:pt x="2006" y="1580"/>
                </a:cubicBezTo>
                <a:cubicBezTo>
                  <a:pt x="2004" y="1578"/>
                  <a:pt x="2002" y="1576"/>
                  <a:pt x="2000" y="1576"/>
                </a:cubicBezTo>
                <a:cubicBezTo>
                  <a:pt x="2000" y="1575"/>
                  <a:pt x="1999" y="1575"/>
                  <a:pt x="1999" y="1575"/>
                </a:cubicBezTo>
                <a:cubicBezTo>
                  <a:pt x="1998" y="1575"/>
                  <a:pt x="1997" y="1574"/>
                  <a:pt x="1996" y="1574"/>
                </a:cubicBezTo>
                <a:cubicBezTo>
                  <a:pt x="1995" y="1573"/>
                  <a:pt x="1994" y="1571"/>
                  <a:pt x="1993" y="1570"/>
                </a:cubicBezTo>
                <a:cubicBezTo>
                  <a:pt x="1992" y="1569"/>
                  <a:pt x="1991" y="1567"/>
                  <a:pt x="1990" y="1567"/>
                </a:cubicBezTo>
                <a:cubicBezTo>
                  <a:pt x="1989" y="1567"/>
                  <a:pt x="1989" y="1567"/>
                  <a:pt x="1989" y="1567"/>
                </a:cubicBezTo>
                <a:cubicBezTo>
                  <a:pt x="1989" y="1567"/>
                  <a:pt x="1989" y="1567"/>
                  <a:pt x="1989" y="1567"/>
                </a:cubicBezTo>
                <a:cubicBezTo>
                  <a:pt x="1988" y="1567"/>
                  <a:pt x="1988" y="1566"/>
                  <a:pt x="1987" y="1565"/>
                </a:cubicBezTo>
                <a:cubicBezTo>
                  <a:pt x="1987" y="1565"/>
                  <a:pt x="1984" y="1562"/>
                  <a:pt x="1983" y="1562"/>
                </a:cubicBezTo>
                <a:lnTo>
                  <a:pt x="1978" y="1557"/>
                </a:lnTo>
                <a:cubicBezTo>
                  <a:pt x="1974" y="1553"/>
                  <a:pt x="1969" y="1549"/>
                  <a:pt x="1964" y="1546"/>
                </a:cubicBezTo>
                <a:cubicBezTo>
                  <a:pt x="1962" y="1544"/>
                  <a:pt x="1961" y="1543"/>
                  <a:pt x="1959" y="1541"/>
                </a:cubicBezTo>
                <a:cubicBezTo>
                  <a:pt x="1958" y="1541"/>
                  <a:pt x="1957" y="1540"/>
                  <a:pt x="1956" y="1539"/>
                </a:cubicBezTo>
                <a:cubicBezTo>
                  <a:pt x="1955" y="1539"/>
                  <a:pt x="1954" y="1538"/>
                  <a:pt x="1953" y="1538"/>
                </a:cubicBezTo>
                <a:cubicBezTo>
                  <a:pt x="1952" y="1537"/>
                  <a:pt x="1951" y="1537"/>
                  <a:pt x="1950" y="1536"/>
                </a:cubicBezTo>
                <a:cubicBezTo>
                  <a:pt x="1950" y="1535"/>
                  <a:pt x="1950" y="1535"/>
                  <a:pt x="1949" y="1535"/>
                </a:cubicBezTo>
                <a:cubicBezTo>
                  <a:pt x="1949" y="1535"/>
                  <a:pt x="1948" y="1534"/>
                  <a:pt x="1948" y="1534"/>
                </a:cubicBezTo>
                <a:cubicBezTo>
                  <a:pt x="1947" y="1533"/>
                  <a:pt x="1947" y="1532"/>
                  <a:pt x="1946" y="1532"/>
                </a:cubicBezTo>
                <a:cubicBezTo>
                  <a:pt x="1945" y="1530"/>
                  <a:pt x="1943" y="1529"/>
                  <a:pt x="1941" y="1527"/>
                </a:cubicBezTo>
                <a:cubicBezTo>
                  <a:pt x="1938" y="1525"/>
                  <a:pt x="1936" y="1523"/>
                  <a:pt x="1935" y="1522"/>
                </a:cubicBezTo>
                <a:cubicBezTo>
                  <a:pt x="1935" y="1522"/>
                  <a:pt x="1931" y="1519"/>
                  <a:pt x="1926" y="1515"/>
                </a:cubicBezTo>
                <a:cubicBezTo>
                  <a:pt x="1925" y="1514"/>
                  <a:pt x="1923" y="1513"/>
                  <a:pt x="1922" y="1512"/>
                </a:cubicBezTo>
                <a:cubicBezTo>
                  <a:pt x="1921" y="1511"/>
                  <a:pt x="1920" y="1511"/>
                  <a:pt x="1920" y="1510"/>
                </a:cubicBezTo>
                <a:cubicBezTo>
                  <a:pt x="1919" y="1509"/>
                  <a:pt x="1919" y="1509"/>
                  <a:pt x="1918" y="1509"/>
                </a:cubicBezTo>
                <a:cubicBezTo>
                  <a:pt x="1918" y="1509"/>
                  <a:pt x="1917" y="1509"/>
                  <a:pt x="1917" y="1509"/>
                </a:cubicBezTo>
                <a:cubicBezTo>
                  <a:pt x="1917" y="1508"/>
                  <a:pt x="1917" y="1508"/>
                  <a:pt x="1917" y="1508"/>
                </a:cubicBezTo>
                <a:cubicBezTo>
                  <a:pt x="1917" y="1507"/>
                  <a:pt x="1916" y="1507"/>
                  <a:pt x="1915" y="1507"/>
                </a:cubicBezTo>
                <a:cubicBezTo>
                  <a:pt x="1914" y="1506"/>
                  <a:pt x="1913" y="1505"/>
                  <a:pt x="1912" y="1504"/>
                </a:cubicBezTo>
                <a:cubicBezTo>
                  <a:pt x="1907" y="1500"/>
                  <a:pt x="1905" y="1498"/>
                  <a:pt x="1902" y="1494"/>
                </a:cubicBezTo>
                <a:cubicBezTo>
                  <a:pt x="1900" y="1491"/>
                  <a:pt x="1889" y="1483"/>
                  <a:pt x="1883" y="1479"/>
                </a:cubicBezTo>
                <a:cubicBezTo>
                  <a:pt x="1881" y="1478"/>
                  <a:pt x="1878" y="1475"/>
                  <a:pt x="1876" y="1475"/>
                </a:cubicBezTo>
                <a:cubicBezTo>
                  <a:pt x="1875" y="1475"/>
                  <a:pt x="1875" y="1475"/>
                  <a:pt x="1875" y="1475"/>
                </a:cubicBezTo>
                <a:cubicBezTo>
                  <a:pt x="1874" y="1474"/>
                  <a:pt x="1875" y="1473"/>
                  <a:pt x="1875" y="1473"/>
                </a:cubicBezTo>
                <a:cubicBezTo>
                  <a:pt x="1874" y="1472"/>
                  <a:pt x="1873" y="1471"/>
                  <a:pt x="1872" y="1471"/>
                </a:cubicBezTo>
                <a:cubicBezTo>
                  <a:pt x="1871" y="1470"/>
                  <a:pt x="1870" y="1468"/>
                  <a:pt x="1869" y="1469"/>
                </a:cubicBezTo>
                <a:cubicBezTo>
                  <a:pt x="1868" y="1469"/>
                  <a:pt x="1868" y="1469"/>
                  <a:pt x="1868" y="1469"/>
                </a:cubicBezTo>
                <a:cubicBezTo>
                  <a:pt x="1867" y="1469"/>
                  <a:pt x="1867" y="1469"/>
                  <a:pt x="1867" y="1469"/>
                </a:cubicBezTo>
                <a:cubicBezTo>
                  <a:pt x="1866" y="1469"/>
                  <a:pt x="1866" y="1468"/>
                  <a:pt x="1865" y="1468"/>
                </a:cubicBezTo>
                <a:cubicBezTo>
                  <a:pt x="1865" y="1467"/>
                  <a:pt x="1865" y="1467"/>
                  <a:pt x="1865" y="1467"/>
                </a:cubicBezTo>
                <a:cubicBezTo>
                  <a:pt x="1866" y="1467"/>
                  <a:pt x="1866" y="1467"/>
                  <a:pt x="1866" y="1467"/>
                </a:cubicBezTo>
                <a:cubicBezTo>
                  <a:pt x="1867" y="1466"/>
                  <a:pt x="1866" y="1466"/>
                  <a:pt x="1866" y="1466"/>
                </a:cubicBezTo>
                <a:cubicBezTo>
                  <a:pt x="1865" y="1465"/>
                  <a:pt x="1865" y="1465"/>
                  <a:pt x="1865" y="1465"/>
                </a:cubicBezTo>
                <a:cubicBezTo>
                  <a:pt x="1863" y="1465"/>
                  <a:pt x="1862" y="1465"/>
                  <a:pt x="1861" y="1464"/>
                </a:cubicBezTo>
                <a:cubicBezTo>
                  <a:pt x="1860" y="1464"/>
                  <a:pt x="1859" y="1463"/>
                  <a:pt x="1858" y="1462"/>
                </a:cubicBezTo>
                <a:cubicBezTo>
                  <a:pt x="1857" y="1462"/>
                  <a:pt x="1856" y="1461"/>
                  <a:pt x="1856" y="1460"/>
                </a:cubicBezTo>
                <a:cubicBezTo>
                  <a:pt x="1857" y="1458"/>
                  <a:pt x="1857" y="1458"/>
                  <a:pt x="1856" y="1458"/>
                </a:cubicBezTo>
                <a:cubicBezTo>
                  <a:pt x="1855" y="1457"/>
                  <a:pt x="1855" y="1458"/>
                  <a:pt x="1854" y="1457"/>
                </a:cubicBezTo>
                <a:cubicBezTo>
                  <a:pt x="1853" y="1456"/>
                  <a:pt x="1852" y="1454"/>
                  <a:pt x="1850" y="1453"/>
                </a:cubicBezTo>
                <a:cubicBezTo>
                  <a:pt x="1849" y="1452"/>
                  <a:pt x="1847" y="1450"/>
                  <a:pt x="1845" y="1450"/>
                </a:cubicBezTo>
                <a:cubicBezTo>
                  <a:pt x="1844" y="1450"/>
                  <a:pt x="1844" y="1450"/>
                  <a:pt x="1843" y="1450"/>
                </a:cubicBezTo>
                <a:cubicBezTo>
                  <a:pt x="1842" y="1450"/>
                  <a:pt x="1839" y="1448"/>
                  <a:pt x="1840" y="1446"/>
                </a:cubicBezTo>
                <a:cubicBezTo>
                  <a:pt x="1840" y="1446"/>
                  <a:pt x="1840" y="1446"/>
                  <a:pt x="1840" y="1446"/>
                </a:cubicBezTo>
                <a:cubicBezTo>
                  <a:pt x="1840" y="1445"/>
                  <a:pt x="1840" y="1444"/>
                  <a:pt x="1839" y="1443"/>
                </a:cubicBezTo>
                <a:cubicBezTo>
                  <a:pt x="1839" y="1443"/>
                  <a:pt x="1839" y="1443"/>
                  <a:pt x="1839" y="1443"/>
                </a:cubicBezTo>
                <a:cubicBezTo>
                  <a:pt x="1838" y="1444"/>
                  <a:pt x="1838" y="1444"/>
                  <a:pt x="1837" y="1443"/>
                </a:cubicBezTo>
                <a:cubicBezTo>
                  <a:pt x="1837" y="1443"/>
                  <a:pt x="1837" y="1442"/>
                  <a:pt x="1837" y="1442"/>
                </a:cubicBezTo>
                <a:cubicBezTo>
                  <a:pt x="1837" y="1442"/>
                  <a:pt x="1837" y="1442"/>
                  <a:pt x="1837" y="1442"/>
                </a:cubicBezTo>
                <a:cubicBezTo>
                  <a:pt x="1830" y="1436"/>
                  <a:pt x="1823" y="1431"/>
                  <a:pt x="1818" y="1426"/>
                </a:cubicBezTo>
                <a:cubicBezTo>
                  <a:pt x="1817" y="1425"/>
                  <a:pt x="1815" y="1424"/>
                  <a:pt x="1814" y="1423"/>
                </a:cubicBezTo>
                <a:cubicBezTo>
                  <a:pt x="1812" y="1422"/>
                  <a:pt x="1810" y="1419"/>
                  <a:pt x="1808" y="1418"/>
                </a:cubicBezTo>
                <a:cubicBezTo>
                  <a:pt x="1807" y="1416"/>
                  <a:pt x="1804" y="1414"/>
                  <a:pt x="1803" y="1412"/>
                </a:cubicBezTo>
                <a:cubicBezTo>
                  <a:pt x="1801" y="1411"/>
                  <a:pt x="1800" y="1410"/>
                  <a:pt x="1799" y="1409"/>
                </a:cubicBezTo>
                <a:cubicBezTo>
                  <a:pt x="1798" y="1408"/>
                  <a:pt x="1798" y="1406"/>
                  <a:pt x="1796" y="1406"/>
                </a:cubicBezTo>
                <a:cubicBezTo>
                  <a:pt x="1795" y="1405"/>
                  <a:pt x="1794" y="1405"/>
                  <a:pt x="1792" y="1404"/>
                </a:cubicBezTo>
                <a:cubicBezTo>
                  <a:pt x="1790" y="1403"/>
                  <a:pt x="1789" y="1402"/>
                  <a:pt x="1787" y="1400"/>
                </a:cubicBezTo>
                <a:cubicBezTo>
                  <a:pt x="1784" y="1398"/>
                  <a:pt x="1782" y="1396"/>
                  <a:pt x="1779" y="1394"/>
                </a:cubicBezTo>
                <a:cubicBezTo>
                  <a:pt x="1777" y="1393"/>
                  <a:pt x="1775" y="1390"/>
                  <a:pt x="1772" y="1389"/>
                </a:cubicBezTo>
                <a:cubicBezTo>
                  <a:pt x="1772" y="1389"/>
                  <a:pt x="1771" y="1389"/>
                  <a:pt x="1770" y="1389"/>
                </a:cubicBezTo>
                <a:cubicBezTo>
                  <a:pt x="1770" y="1389"/>
                  <a:pt x="1769" y="1389"/>
                  <a:pt x="1769" y="1388"/>
                </a:cubicBezTo>
                <a:cubicBezTo>
                  <a:pt x="1770" y="1387"/>
                  <a:pt x="1767" y="1386"/>
                  <a:pt x="1766" y="1385"/>
                </a:cubicBezTo>
                <a:cubicBezTo>
                  <a:pt x="1765" y="1384"/>
                  <a:pt x="1764" y="1383"/>
                  <a:pt x="1763" y="1382"/>
                </a:cubicBezTo>
                <a:cubicBezTo>
                  <a:pt x="1762" y="1382"/>
                  <a:pt x="1760" y="1383"/>
                  <a:pt x="1761" y="1382"/>
                </a:cubicBezTo>
                <a:cubicBezTo>
                  <a:pt x="1761" y="1382"/>
                  <a:pt x="1761" y="1381"/>
                  <a:pt x="1761" y="1381"/>
                </a:cubicBezTo>
                <a:cubicBezTo>
                  <a:pt x="1761" y="1380"/>
                  <a:pt x="1761" y="1380"/>
                  <a:pt x="1760" y="1380"/>
                </a:cubicBezTo>
                <a:cubicBezTo>
                  <a:pt x="1759" y="1379"/>
                  <a:pt x="1758" y="1378"/>
                  <a:pt x="1757" y="1377"/>
                </a:cubicBezTo>
                <a:cubicBezTo>
                  <a:pt x="1757" y="1376"/>
                  <a:pt x="1759" y="1374"/>
                  <a:pt x="1757" y="1374"/>
                </a:cubicBezTo>
                <a:cubicBezTo>
                  <a:pt x="1756" y="1374"/>
                  <a:pt x="1755" y="1374"/>
                  <a:pt x="1755" y="1374"/>
                </a:cubicBezTo>
                <a:cubicBezTo>
                  <a:pt x="1753" y="1375"/>
                  <a:pt x="1752" y="1373"/>
                  <a:pt x="1750" y="1372"/>
                </a:cubicBezTo>
                <a:cubicBezTo>
                  <a:pt x="1749" y="1371"/>
                  <a:pt x="1747" y="1369"/>
                  <a:pt x="1745" y="1368"/>
                </a:cubicBezTo>
                <a:cubicBezTo>
                  <a:pt x="1741" y="1365"/>
                  <a:pt x="1737" y="1362"/>
                  <a:pt x="1734" y="1359"/>
                </a:cubicBezTo>
                <a:cubicBezTo>
                  <a:pt x="1723" y="1350"/>
                  <a:pt x="1712" y="1341"/>
                  <a:pt x="1710" y="1339"/>
                </a:cubicBezTo>
                <a:cubicBezTo>
                  <a:pt x="1707" y="1338"/>
                  <a:pt x="1699" y="1331"/>
                  <a:pt x="1690" y="1324"/>
                </a:cubicBezTo>
                <a:cubicBezTo>
                  <a:pt x="1681" y="1318"/>
                  <a:pt x="1667" y="1306"/>
                  <a:pt x="1659" y="1299"/>
                </a:cubicBezTo>
                <a:cubicBezTo>
                  <a:pt x="1650" y="1292"/>
                  <a:pt x="1628" y="1274"/>
                  <a:pt x="1609" y="1259"/>
                </a:cubicBezTo>
                <a:cubicBezTo>
                  <a:pt x="1603" y="1254"/>
                  <a:pt x="1597" y="1250"/>
                  <a:pt x="1591" y="1245"/>
                </a:cubicBezTo>
                <a:cubicBezTo>
                  <a:pt x="1588" y="1243"/>
                  <a:pt x="1585" y="1240"/>
                  <a:pt x="1582" y="1238"/>
                </a:cubicBezTo>
                <a:cubicBezTo>
                  <a:pt x="1580" y="1236"/>
                  <a:pt x="1577" y="1233"/>
                  <a:pt x="1574" y="1232"/>
                </a:cubicBezTo>
                <a:cubicBezTo>
                  <a:pt x="1574" y="1231"/>
                  <a:pt x="1574" y="1231"/>
                  <a:pt x="1573" y="1231"/>
                </a:cubicBezTo>
                <a:cubicBezTo>
                  <a:pt x="1572" y="1231"/>
                  <a:pt x="1572" y="1229"/>
                  <a:pt x="1570" y="1229"/>
                </a:cubicBezTo>
                <a:cubicBezTo>
                  <a:pt x="1569" y="1228"/>
                  <a:pt x="1567" y="1226"/>
                  <a:pt x="1566" y="1225"/>
                </a:cubicBezTo>
                <a:cubicBezTo>
                  <a:pt x="1563" y="1223"/>
                  <a:pt x="1560" y="1220"/>
                  <a:pt x="1556" y="1218"/>
                </a:cubicBezTo>
                <a:cubicBezTo>
                  <a:pt x="1554" y="1216"/>
                  <a:pt x="1551" y="1214"/>
                  <a:pt x="1548" y="1212"/>
                </a:cubicBezTo>
                <a:cubicBezTo>
                  <a:pt x="1547" y="1211"/>
                  <a:pt x="1546" y="1210"/>
                  <a:pt x="1544" y="1208"/>
                </a:cubicBezTo>
                <a:cubicBezTo>
                  <a:pt x="1543" y="1208"/>
                  <a:pt x="1542" y="1206"/>
                  <a:pt x="1540" y="1206"/>
                </a:cubicBezTo>
                <a:cubicBezTo>
                  <a:pt x="1540" y="1205"/>
                  <a:pt x="1540" y="1205"/>
                  <a:pt x="1540" y="1204"/>
                </a:cubicBezTo>
                <a:cubicBezTo>
                  <a:pt x="1539" y="1204"/>
                  <a:pt x="1538" y="1203"/>
                  <a:pt x="1537" y="1203"/>
                </a:cubicBezTo>
                <a:cubicBezTo>
                  <a:pt x="1536" y="1202"/>
                  <a:pt x="1535" y="1201"/>
                  <a:pt x="1534" y="1200"/>
                </a:cubicBezTo>
                <a:cubicBezTo>
                  <a:pt x="1530" y="1198"/>
                  <a:pt x="1522" y="1191"/>
                  <a:pt x="1515" y="1186"/>
                </a:cubicBezTo>
                <a:cubicBezTo>
                  <a:pt x="1513" y="1184"/>
                  <a:pt x="1511" y="1182"/>
                  <a:pt x="1509" y="1181"/>
                </a:cubicBezTo>
                <a:cubicBezTo>
                  <a:pt x="1508" y="1180"/>
                  <a:pt x="1505" y="1178"/>
                  <a:pt x="1504" y="1177"/>
                </a:cubicBezTo>
                <a:cubicBezTo>
                  <a:pt x="1504" y="1176"/>
                  <a:pt x="1504" y="1176"/>
                  <a:pt x="1504" y="1176"/>
                </a:cubicBezTo>
                <a:cubicBezTo>
                  <a:pt x="1504" y="1176"/>
                  <a:pt x="1504" y="1176"/>
                  <a:pt x="1504" y="1176"/>
                </a:cubicBezTo>
                <a:cubicBezTo>
                  <a:pt x="1504" y="1175"/>
                  <a:pt x="1504" y="1174"/>
                  <a:pt x="1504" y="1174"/>
                </a:cubicBezTo>
                <a:cubicBezTo>
                  <a:pt x="1503" y="1173"/>
                  <a:pt x="1503" y="1173"/>
                  <a:pt x="1502" y="1173"/>
                </a:cubicBezTo>
                <a:cubicBezTo>
                  <a:pt x="1501" y="1172"/>
                  <a:pt x="1500" y="1172"/>
                  <a:pt x="1498" y="1171"/>
                </a:cubicBezTo>
                <a:cubicBezTo>
                  <a:pt x="1498" y="1170"/>
                  <a:pt x="1497" y="1170"/>
                  <a:pt x="1497" y="1170"/>
                </a:cubicBezTo>
                <a:cubicBezTo>
                  <a:pt x="1496" y="1170"/>
                  <a:pt x="1496" y="1170"/>
                  <a:pt x="1496" y="1169"/>
                </a:cubicBezTo>
                <a:cubicBezTo>
                  <a:pt x="1495" y="1169"/>
                  <a:pt x="1495" y="1169"/>
                  <a:pt x="1495" y="1169"/>
                </a:cubicBezTo>
                <a:cubicBezTo>
                  <a:pt x="1495" y="1169"/>
                  <a:pt x="1495" y="1169"/>
                  <a:pt x="1494" y="1169"/>
                </a:cubicBezTo>
                <a:cubicBezTo>
                  <a:pt x="1493" y="1169"/>
                  <a:pt x="1491" y="1167"/>
                  <a:pt x="1491" y="1166"/>
                </a:cubicBezTo>
                <a:cubicBezTo>
                  <a:pt x="1490" y="1165"/>
                  <a:pt x="1490" y="1164"/>
                  <a:pt x="1488" y="1163"/>
                </a:cubicBezTo>
                <a:cubicBezTo>
                  <a:pt x="1488" y="1162"/>
                  <a:pt x="1485" y="1161"/>
                  <a:pt x="1485" y="1161"/>
                </a:cubicBezTo>
                <a:cubicBezTo>
                  <a:pt x="1483" y="1160"/>
                  <a:pt x="1482" y="1159"/>
                  <a:pt x="1480" y="1158"/>
                </a:cubicBezTo>
                <a:cubicBezTo>
                  <a:pt x="1479" y="1157"/>
                  <a:pt x="1477" y="1155"/>
                  <a:pt x="1476" y="1154"/>
                </a:cubicBezTo>
                <a:cubicBezTo>
                  <a:pt x="1475" y="1153"/>
                  <a:pt x="1473" y="1152"/>
                  <a:pt x="1473" y="1151"/>
                </a:cubicBezTo>
                <a:cubicBezTo>
                  <a:pt x="1473" y="1150"/>
                  <a:pt x="1473" y="1150"/>
                  <a:pt x="1473" y="1150"/>
                </a:cubicBezTo>
                <a:cubicBezTo>
                  <a:pt x="1473" y="1149"/>
                  <a:pt x="1472" y="1149"/>
                  <a:pt x="1472" y="1149"/>
                </a:cubicBezTo>
                <a:cubicBezTo>
                  <a:pt x="1471" y="1148"/>
                  <a:pt x="1471" y="1148"/>
                  <a:pt x="1470" y="1148"/>
                </a:cubicBezTo>
                <a:cubicBezTo>
                  <a:pt x="1468" y="1148"/>
                  <a:pt x="1467" y="1147"/>
                  <a:pt x="1465" y="1146"/>
                </a:cubicBez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35" name="Freeform 10">
            <a:extLst>
              <a:ext uri="{FF2B5EF4-FFF2-40B4-BE49-F238E27FC236}">
                <a16:creationId xmlns:a16="http://schemas.microsoft.com/office/drawing/2014/main" id="{8F814BD4-3CC5-E9FA-E05B-44709767F85B}"/>
              </a:ext>
            </a:extLst>
          </p:cNvPr>
          <p:cNvSpPr>
            <a:spLocks noChangeAspect="1"/>
          </p:cNvSpPr>
          <p:nvPr userDrawn="1"/>
        </p:nvSpPr>
        <p:spPr bwMode="auto">
          <a:xfrm>
            <a:off x="8933347" y="3175012"/>
            <a:ext cx="2621155" cy="1491071"/>
          </a:xfrm>
          <a:custGeom>
            <a:avLst/>
            <a:gdLst>
              <a:gd name="T0" fmla="*/ 1573 w 2751"/>
              <a:gd name="T1" fmla="*/ 862 h 1564"/>
              <a:gd name="T2" fmla="*/ 1478 w 2751"/>
              <a:gd name="T3" fmla="*/ 809 h 1564"/>
              <a:gd name="T4" fmla="*/ 1349 w 2751"/>
              <a:gd name="T5" fmla="*/ 739 h 1564"/>
              <a:gd name="T6" fmla="*/ 1270 w 2751"/>
              <a:gd name="T7" fmla="*/ 696 h 1564"/>
              <a:gd name="T8" fmla="*/ 1212 w 2751"/>
              <a:gd name="T9" fmla="*/ 658 h 1564"/>
              <a:gd name="T10" fmla="*/ 1161 w 2751"/>
              <a:gd name="T11" fmla="*/ 633 h 1564"/>
              <a:gd name="T12" fmla="*/ 1120 w 2751"/>
              <a:gd name="T13" fmla="*/ 612 h 1564"/>
              <a:gd name="T14" fmla="*/ 1061 w 2751"/>
              <a:gd name="T15" fmla="*/ 581 h 1564"/>
              <a:gd name="T16" fmla="*/ 986 w 2751"/>
              <a:gd name="T17" fmla="*/ 534 h 1564"/>
              <a:gd name="T18" fmla="*/ 869 w 2751"/>
              <a:gd name="T19" fmla="*/ 475 h 1564"/>
              <a:gd name="T20" fmla="*/ 799 w 2751"/>
              <a:gd name="T21" fmla="*/ 437 h 1564"/>
              <a:gd name="T22" fmla="*/ 693 w 2751"/>
              <a:gd name="T23" fmla="*/ 378 h 1564"/>
              <a:gd name="T24" fmla="*/ 636 w 2751"/>
              <a:gd name="T25" fmla="*/ 346 h 1564"/>
              <a:gd name="T26" fmla="*/ 591 w 2751"/>
              <a:gd name="T27" fmla="*/ 321 h 1564"/>
              <a:gd name="T28" fmla="*/ 529 w 2751"/>
              <a:gd name="T29" fmla="*/ 286 h 1564"/>
              <a:gd name="T30" fmla="*/ 463 w 2751"/>
              <a:gd name="T31" fmla="*/ 246 h 1564"/>
              <a:gd name="T32" fmla="*/ 358 w 2751"/>
              <a:gd name="T33" fmla="*/ 188 h 1564"/>
              <a:gd name="T34" fmla="*/ 319 w 2751"/>
              <a:gd name="T35" fmla="*/ 164 h 1564"/>
              <a:gd name="T36" fmla="*/ 262 w 2751"/>
              <a:gd name="T37" fmla="*/ 131 h 1564"/>
              <a:gd name="T38" fmla="*/ 197 w 2751"/>
              <a:gd name="T39" fmla="*/ 94 h 1564"/>
              <a:gd name="T40" fmla="*/ 148 w 2751"/>
              <a:gd name="T41" fmla="*/ 72 h 1564"/>
              <a:gd name="T42" fmla="*/ 96 w 2751"/>
              <a:gd name="T43" fmla="*/ 46 h 1564"/>
              <a:gd name="T44" fmla="*/ 4 w 2751"/>
              <a:gd name="T45" fmla="*/ 30 h 1564"/>
              <a:gd name="T46" fmla="*/ 308 w 2751"/>
              <a:gd name="T47" fmla="*/ 214 h 1564"/>
              <a:gd name="T48" fmla="*/ 497 w 2751"/>
              <a:gd name="T49" fmla="*/ 317 h 1564"/>
              <a:gd name="T50" fmla="*/ 582 w 2751"/>
              <a:gd name="T51" fmla="*/ 365 h 1564"/>
              <a:gd name="T52" fmla="*/ 672 w 2751"/>
              <a:gd name="T53" fmla="*/ 417 h 1564"/>
              <a:gd name="T54" fmla="*/ 741 w 2751"/>
              <a:gd name="T55" fmla="*/ 459 h 1564"/>
              <a:gd name="T56" fmla="*/ 818 w 2751"/>
              <a:gd name="T57" fmla="*/ 501 h 1564"/>
              <a:gd name="T58" fmla="*/ 1091 w 2751"/>
              <a:gd name="T59" fmla="*/ 652 h 1564"/>
              <a:gd name="T60" fmla="*/ 1172 w 2751"/>
              <a:gd name="T61" fmla="*/ 695 h 1564"/>
              <a:gd name="T62" fmla="*/ 1280 w 2751"/>
              <a:gd name="T63" fmla="*/ 755 h 1564"/>
              <a:gd name="T64" fmla="*/ 1368 w 2751"/>
              <a:gd name="T65" fmla="*/ 801 h 1564"/>
              <a:gd name="T66" fmla="*/ 1433 w 2751"/>
              <a:gd name="T67" fmla="*/ 841 h 1564"/>
              <a:gd name="T68" fmla="*/ 1468 w 2751"/>
              <a:gd name="T69" fmla="*/ 860 h 1564"/>
              <a:gd name="T70" fmla="*/ 1521 w 2751"/>
              <a:gd name="T71" fmla="*/ 890 h 1564"/>
              <a:gd name="T72" fmla="*/ 1588 w 2751"/>
              <a:gd name="T73" fmla="*/ 928 h 1564"/>
              <a:gd name="T74" fmla="*/ 1635 w 2751"/>
              <a:gd name="T75" fmla="*/ 954 h 1564"/>
              <a:gd name="T76" fmla="*/ 1704 w 2751"/>
              <a:gd name="T77" fmla="*/ 991 h 1564"/>
              <a:gd name="T78" fmla="*/ 1771 w 2751"/>
              <a:gd name="T79" fmla="*/ 1029 h 1564"/>
              <a:gd name="T80" fmla="*/ 1883 w 2751"/>
              <a:gd name="T81" fmla="*/ 1085 h 1564"/>
              <a:gd name="T82" fmla="*/ 1997 w 2751"/>
              <a:gd name="T83" fmla="*/ 1148 h 1564"/>
              <a:gd name="T84" fmla="*/ 2091 w 2751"/>
              <a:gd name="T85" fmla="*/ 1201 h 1564"/>
              <a:gd name="T86" fmla="*/ 2145 w 2751"/>
              <a:gd name="T87" fmla="*/ 1234 h 1564"/>
              <a:gd name="T88" fmla="*/ 2194 w 2751"/>
              <a:gd name="T89" fmla="*/ 1262 h 1564"/>
              <a:gd name="T90" fmla="*/ 2243 w 2751"/>
              <a:gd name="T91" fmla="*/ 1291 h 1564"/>
              <a:gd name="T92" fmla="*/ 2332 w 2751"/>
              <a:gd name="T93" fmla="*/ 1340 h 1564"/>
              <a:gd name="T94" fmla="*/ 2393 w 2751"/>
              <a:gd name="T95" fmla="*/ 1375 h 1564"/>
              <a:gd name="T96" fmla="*/ 2420 w 2751"/>
              <a:gd name="T97" fmla="*/ 1393 h 1564"/>
              <a:gd name="T98" fmla="*/ 2467 w 2751"/>
              <a:gd name="T99" fmla="*/ 1416 h 1564"/>
              <a:gd name="T100" fmla="*/ 2523 w 2751"/>
              <a:gd name="T101" fmla="*/ 1449 h 1564"/>
              <a:gd name="T102" fmla="*/ 2575 w 2751"/>
              <a:gd name="T103" fmla="*/ 1478 h 1564"/>
              <a:gd name="T104" fmla="*/ 2616 w 2751"/>
              <a:gd name="T105" fmla="*/ 1496 h 1564"/>
              <a:gd name="T106" fmla="*/ 2675 w 2751"/>
              <a:gd name="T107" fmla="*/ 1530 h 1564"/>
              <a:gd name="T108" fmla="*/ 2449 w 2751"/>
              <a:gd name="T109" fmla="*/ 1351 h 1564"/>
              <a:gd name="T110" fmla="*/ 2266 w 2751"/>
              <a:gd name="T111" fmla="*/ 1249 h 1564"/>
              <a:gd name="T112" fmla="*/ 2181 w 2751"/>
              <a:gd name="T113" fmla="*/ 1202 h 1564"/>
              <a:gd name="T114" fmla="*/ 2079 w 2751"/>
              <a:gd name="T115" fmla="*/ 1146 h 1564"/>
              <a:gd name="T116" fmla="*/ 2012 w 2751"/>
              <a:gd name="T117" fmla="*/ 1105 h 1564"/>
              <a:gd name="T118" fmla="*/ 1789 w 2751"/>
              <a:gd name="T119" fmla="*/ 981 h 1564"/>
              <a:gd name="T120" fmla="*/ 1662 w 2751"/>
              <a:gd name="T121" fmla="*/ 911 h 1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751" h="1564">
                <a:moveTo>
                  <a:pt x="1629" y="893"/>
                </a:moveTo>
                <a:lnTo>
                  <a:pt x="1629" y="893"/>
                </a:lnTo>
                <a:cubicBezTo>
                  <a:pt x="1628" y="893"/>
                  <a:pt x="1627" y="893"/>
                  <a:pt x="1627" y="892"/>
                </a:cubicBezTo>
                <a:cubicBezTo>
                  <a:pt x="1625" y="890"/>
                  <a:pt x="1623" y="889"/>
                  <a:pt x="1621" y="887"/>
                </a:cubicBezTo>
                <a:cubicBezTo>
                  <a:pt x="1620" y="886"/>
                  <a:pt x="1619" y="885"/>
                  <a:pt x="1618" y="884"/>
                </a:cubicBezTo>
                <a:cubicBezTo>
                  <a:pt x="1617" y="883"/>
                  <a:pt x="1617" y="883"/>
                  <a:pt x="1616" y="882"/>
                </a:cubicBezTo>
                <a:cubicBezTo>
                  <a:pt x="1615" y="882"/>
                  <a:pt x="1614" y="882"/>
                  <a:pt x="1613" y="882"/>
                </a:cubicBezTo>
                <a:cubicBezTo>
                  <a:pt x="1612" y="882"/>
                  <a:pt x="1611" y="882"/>
                  <a:pt x="1610" y="882"/>
                </a:cubicBezTo>
                <a:cubicBezTo>
                  <a:pt x="1609" y="881"/>
                  <a:pt x="1610" y="880"/>
                  <a:pt x="1609" y="879"/>
                </a:cubicBezTo>
                <a:cubicBezTo>
                  <a:pt x="1609" y="878"/>
                  <a:pt x="1607" y="879"/>
                  <a:pt x="1606" y="879"/>
                </a:cubicBezTo>
                <a:cubicBezTo>
                  <a:pt x="1606" y="878"/>
                  <a:pt x="1606" y="878"/>
                  <a:pt x="1606" y="878"/>
                </a:cubicBezTo>
                <a:cubicBezTo>
                  <a:pt x="1606" y="877"/>
                  <a:pt x="1606" y="877"/>
                  <a:pt x="1605" y="876"/>
                </a:cubicBezTo>
                <a:cubicBezTo>
                  <a:pt x="1605" y="876"/>
                  <a:pt x="1605" y="876"/>
                  <a:pt x="1605" y="876"/>
                </a:cubicBezTo>
                <a:cubicBezTo>
                  <a:pt x="1605" y="876"/>
                  <a:pt x="1605" y="876"/>
                  <a:pt x="1605" y="875"/>
                </a:cubicBezTo>
                <a:cubicBezTo>
                  <a:pt x="1604" y="875"/>
                  <a:pt x="1604" y="875"/>
                  <a:pt x="1603" y="875"/>
                </a:cubicBezTo>
                <a:cubicBezTo>
                  <a:pt x="1603" y="874"/>
                  <a:pt x="1601" y="874"/>
                  <a:pt x="1601" y="873"/>
                </a:cubicBezTo>
                <a:cubicBezTo>
                  <a:pt x="1600" y="873"/>
                  <a:pt x="1599" y="872"/>
                  <a:pt x="1597" y="872"/>
                </a:cubicBezTo>
                <a:cubicBezTo>
                  <a:pt x="1595" y="871"/>
                  <a:pt x="1593" y="869"/>
                  <a:pt x="1590" y="868"/>
                </a:cubicBezTo>
                <a:cubicBezTo>
                  <a:pt x="1589" y="868"/>
                  <a:pt x="1589" y="870"/>
                  <a:pt x="1589" y="871"/>
                </a:cubicBezTo>
                <a:cubicBezTo>
                  <a:pt x="1588" y="871"/>
                  <a:pt x="1588" y="871"/>
                  <a:pt x="1588" y="871"/>
                </a:cubicBezTo>
                <a:cubicBezTo>
                  <a:pt x="1587" y="871"/>
                  <a:pt x="1587" y="870"/>
                  <a:pt x="1586" y="870"/>
                </a:cubicBezTo>
                <a:cubicBezTo>
                  <a:pt x="1586" y="869"/>
                  <a:pt x="1585" y="869"/>
                  <a:pt x="1584" y="869"/>
                </a:cubicBezTo>
                <a:cubicBezTo>
                  <a:pt x="1582" y="868"/>
                  <a:pt x="1581" y="866"/>
                  <a:pt x="1579" y="865"/>
                </a:cubicBezTo>
                <a:cubicBezTo>
                  <a:pt x="1578" y="864"/>
                  <a:pt x="1575" y="860"/>
                  <a:pt x="1573" y="862"/>
                </a:cubicBezTo>
                <a:cubicBezTo>
                  <a:pt x="1573" y="862"/>
                  <a:pt x="1573" y="863"/>
                  <a:pt x="1573" y="863"/>
                </a:cubicBezTo>
                <a:cubicBezTo>
                  <a:pt x="1572" y="864"/>
                  <a:pt x="1570" y="862"/>
                  <a:pt x="1570" y="861"/>
                </a:cubicBezTo>
                <a:cubicBezTo>
                  <a:pt x="1562" y="855"/>
                  <a:pt x="1557" y="852"/>
                  <a:pt x="1548" y="847"/>
                </a:cubicBezTo>
                <a:cubicBezTo>
                  <a:pt x="1546" y="846"/>
                  <a:pt x="1543" y="846"/>
                  <a:pt x="1541" y="844"/>
                </a:cubicBezTo>
                <a:cubicBezTo>
                  <a:pt x="1540" y="843"/>
                  <a:pt x="1540" y="843"/>
                  <a:pt x="1540" y="842"/>
                </a:cubicBezTo>
                <a:cubicBezTo>
                  <a:pt x="1539" y="841"/>
                  <a:pt x="1539" y="840"/>
                  <a:pt x="1538" y="840"/>
                </a:cubicBezTo>
                <a:cubicBezTo>
                  <a:pt x="1536" y="839"/>
                  <a:pt x="1535" y="839"/>
                  <a:pt x="1534" y="838"/>
                </a:cubicBezTo>
                <a:cubicBezTo>
                  <a:pt x="1534" y="838"/>
                  <a:pt x="1533" y="836"/>
                  <a:pt x="1533" y="836"/>
                </a:cubicBezTo>
                <a:cubicBezTo>
                  <a:pt x="1532" y="835"/>
                  <a:pt x="1530" y="835"/>
                  <a:pt x="1529" y="836"/>
                </a:cubicBezTo>
                <a:cubicBezTo>
                  <a:pt x="1528" y="836"/>
                  <a:pt x="1527" y="836"/>
                  <a:pt x="1526" y="835"/>
                </a:cubicBezTo>
                <a:cubicBezTo>
                  <a:pt x="1524" y="834"/>
                  <a:pt x="1522" y="833"/>
                  <a:pt x="1521" y="833"/>
                </a:cubicBezTo>
                <a:cubicBezTo>
                  <a:pt x="1516" y="830"/>
                  <a:pt x="1512" y="828"/>
                  <a:pt x="1511" y="827"/>
                </a:cubicBezTo>
                <a:cubicBezTo>
                  <a:pt x="1510" y="827"/>
                  <a:pt x="1509" y="826"/>
                  <a:pt x="1508" y="826"/>
                </a:cubicBezTo>
                <a:cubicBezTo>
                  <a:pt x="1508" y="825"/>
                  <a:pt x="1508" y="824"/>
                  <a:pt x="1508" y="824"/>
                </a:cubicBezTo>
                <a:cubicBezTo>
                  <a:pt x="1507" y="823"/>
                  <a:pt x="1507" y="822"/>
                  <a:pt x="1506" y="822"/>
                </a:cubicBezTo>
                <a:cubicBezTo>
                  <a:pt x="1505" y="821"/>
                  <a:pt x="1503" y="820"/>
                  <a:pt x="1502" y="819"/>
                </a:cubicBezTo>
                <a:cubicBezTo>
                  <a:pt x="1502" y="819"/>
                  <a:pt x="1501" y="819"/>
                  <a:pt x="1501" y="819"/>
                </a:cubicBezTo>
                <a:cubicBezTo>
                  <a:pt x="1500" y="819"/>
                  <a:pt x="1500" y="819"/>
                  <a:pt x="1499" y="819"/>
                </a:cubicBezTo>
                <a:cubicBezTo>
                  <a:pt x="1497" y="819"/>
                  <a:pt x="1494" y="818"/>
                  <a:pt x="1492" y="816"/>
                </a:cubicBezTo>
                <a:cubicBezTo>
                  <a:pt x="1490" y="814"/>
                  <a:pt x="1489" y="813"/>
                  <a:pt x="1487" y="812"/>
                </a:cubicBezTo>
                <a:cubicBezTo>
                  <a:pt x="1486" y="812"/>
                  <a:pt x="1486" y="812"/>
                  <a:pt x="1485" y="812"/>
                </a:cubicBezTo>
                <a:cubicBezTo>
                  <a:pt x="1485" y="812"/>
                  <a:pt x="1484" y="812"/>
                  <a:pt x="1484" y="812"/>
                </a:cubicBezTo>
                <a:cubicBezTo>
                  <a:pt x="1483" y="813"/>
                  <a:pt x="1481" y="812"/>
                  <a:pt x="1480" y="812"/>
                </a:cubicBezTo>
                <a:cubicBezTo>
                  <a:pt x="1479" y="811"/>
                  <a:pt x="1479" y="810"/>
                  <a:pt x="1478" y="809"/>
                </a:cubicBezTo>
                <a:cubicBezTo>
                  <a:pt x="1476" y="808"/>
                  <a:pt x="1474" y="808"/>
                  <a:pt x="1473" y="807"/>
                </a:cubicBezTo>
                <a:cubicBezTo>
                  <a:pt x="1471" y="806"/>
                  <a:pt x="1469" y="805"/>
                  <a:pt x="1467" y="804"/>
                </a:cubicBezTo>
                <a:cubicBezTo>
                  <a:pt x="1461" y="801"/>
                  <a:pt x="1455" y="798"/>
                  <a:pt x="1453" y="797"/>
                </a:cubicBezTo>
                <a:cubicBezTo>
                  <a:pt x="1451" y="796"/>
                  <a:pt x="1449" y="795"/>
                  <a:pt x="1448" y="795"/>
                </a:cubicBezTo>
                <a:cubicBezTo>
                  <a:pt x="1447" y="795"/>
                  <a:pt x="1447" y="795"/>
                  <a:pt x="1447" y="795"/>
                </a:cubicBezTo>
                <a:cubicBezTo>
                  <a:pt x="1445" y="795"/>
                  <a:pt x="1444" y="793"/>
                  <a:pt x="1444" y="792"/>
                </a:cubicBezTo>
                <a:cubicBezTo>
                  <a:pt x="1443" y="791"/>
                  <a:pt x="1441" y="790"/>
                  <a:pt x="1440" y="790"/>
                </a:cubicBezTo>
                <a:cubicBezTo>
                  <a:pt x="1437" y="788"/>
                  <a:pt x="1434" y="786"/>
                  <a:pt x="1430" y="785"/>
                </a:cubicBezTo>
                <a:cubicBezTo>
                  <a:pt x="1428" y="783"/>
                  <a:pt x="1425" y="782"/>
                  <a:pt x="1423" y="780"/>
                </a:cubicBezTo>
                <a:cubicBezTo>
                  <a:pt x="1421" y="779"/>
                  <a:pt x="1417" y="776"/>
                  <a:pt x="1415" y="776"/>
                </a:cubicBezTo>
                <a:cubicBezTo>
                  <a:pt x="1414" y="776"/>
                  <a:pt x="1414" y="776"/>
                  <a:pt x="1414" y="776"/>
                </a:cubicBezTo>
                <a:cubicBezTo>
                  <a:pt x="1413" y="776"/>
                  <a:pt x="1413" y="776"/>
                  <a:pt x="1413" y="776"/>
                </a:cubicBezTo>
                <a:cubicBezTo>
                  <a:pt x="1412" y="775"/>
                  <a:pt x="1411" y="775"/>
                  <a:pt x="1411" y="773"/>
                </a:cubicBezTo>
                <a:cubicBezTo>
                  <a:pt x="1410" y="772"/>
                  <a:pt x="1409" y="772"/>
                  <a:pt x="1408" y="771"/>
                </a:cubicBezTo>
                <a:cubicBezTo>
                  <a:pt x="1406" y="770"/>
                  <a:pt x="1404" y="769"/>
                  <a:pt x="1401" y="768"/>
                </a:cubicBezTo>
                <a:cubicBezTo>
                  <a:pt x="1400" y="767"/>
                  <a:pt x="1398" y="766"/>
                  <a:pt x="1396" y="765"/>
                </a:cubicBezTo>
                <a:cubicBezTo>
                  <a:pt x="1395" y="765"/>
                  <a:pt x="1394" y="765"/>
                  <a:pt x="1394" y="764"/>
                </a:cubicBezTo>
                <a:cubicBezTo>
                  <a:pt x="1393" y="764"/>
                  <a:pt x="1392" y="765"/>
                  <a:pt x="1391" y="765"/>
                </a:cubicBezTo>
                <a:cubicBezTo>
                  <a:pt x="1391" y="765"/>
                  <a:pt x="1390" y="765"/>
                  <a:pt x="1389" y="764"/>
                </a:cubicBezTo>
                <a:cubicBezTo>
                  <a:pt x="1386" y="763"/>
                  <a:pt x="1384" y="761"/>
                  <a:pt x="1380" y="760"/>
                </a:cubicBezTo>
                <a:cubicBezTo>
                  <a:pt x="1378" y="758"/>
                  <a:pt x="1375" y="756"/>
                  <a:pt x="1373" y="754"/>
                </a:cubicBezTo>
                <a:cubicBezTo>
                  <a:pt x="1370" y="753"/>
                  <a:pt x="1366" y="751"/>
                  <a:pt x="1363" y="749"/>
                </a:cubicBezTo>
                <a:cubicBezTo>
                  <a:pt x="1360" y="748"/>
                  <a:pt x="1359" y="745"/>
                  <a:pt x="1356" y="743"/>
                </a:cubicBezTo>
                <a:cubicBezTo>
                  <a:pt x="1354" y="741"/>
                  <a:pt x="1351" y="740"/>
                  <a:pt x="1349" y="739"/>
                </a:cubicBezTo>
                <a:cubicBezTo>
                  <a:pt x="1347" y="738"/>
                  <a:pt x="1346" y="737"/>
                  <a:pt x="1345" y="737"/>
                </a:cubicBezTo>
                <a:cubicBezTo>
                  <a:pt x="1344" y="736"/>
                  <a:pt x="1343" y="736"/>
                  <a:pt x="1342" y="735"/>
                </a:cubicBezTo>
                <a:cubicBezTo>
                  <a:pt x="1341" y="735"/>
                  <a:pt x="1341" y="735"/>
                  <a:pt x="1340" y="734"/>
                </a:cubicBezTo>
                <a:cubicBezTo>
                  <a:pt x="1339" y="733"/>
                  <a:pt x="1337" y="731"/>
                  <a:pt x="1335" y="730"/>
                </a:cubicBezTo>
                <a:cubicBezTo>
                  <a:pt x="1333" y="728"/>
                  <a:pt x="1330" y="727"/>
                  <a:pt x="1328" y="725"/>
                </a:cubicBezTo>
                <a:cubicBezTo>
                  <a:pt x="1326" y="724"/>
                  <a:pt x="1325" y="723"/>
                  <a:pt x="1323" y="723"/>
                </a:cubicBezTo>
                <a:cubicBezTo>
                  <a:pt x="1321" y="723"/>
                  <a:pt x="1320" y="723"/>
                  <a:pt x="1318" y="722"/>
                </a:cubicBezTo>
                <a:cubicBezTo>
                  <a:pt x="1318" y="721"/>
                  <a:pt x="1318" y="721"/>
                  <a:pt x="1317" y="721"/>
                </a:cubicBezTo>
                <a:cubicBezTo>
                  <a:pt x="1317" y="721"/>
                  <a:pt x="1317" y="720"/>
                  <a:pt x="1316" y="720"/>
                </a:cubicBezTo>
                <a:cubicBezTo>
                  <a:pt x="1314" y="719"/>
                  <a:pt x="1313" y="719"/>
                  <a:pt x="1311" y="718"/>
                </a:cubicBezTo>
                <a:cubicBezTo>
                  <a:pt x="1311" y="718"/>
                  <a:pt x="1310" y="718"/>
                  <a:pt x="1310" y="718"/>
                </a:cubicBezTo>
                <a:cubicBezTo>
                  <a:pt x="1309" y="718"/>
                  <a:pt x="1309" y="718"/>
                  <a:pt x="1309" y="718"/>
                </a:cubicBezTo>
                <a:cubicBezTo>
                  <a:pt x="1307" y="717"/>
                  <a:pt x="1305" y="716"/>
                  <a:pt x="1304" y="715"/>
                </a:cubicBezTo>
                <a:cubicBezTo>
                  <a:pt x="1302" y="713"/>
                  <a:pt x="1300" y="711"/>
                  <a:pt x="1298" y="710"/>
                </a:cubicBezTo>
                <a:cubicBezTo>
                  <a:pt x="1296" y="708"/>
                  <a:pt x="1295" y="707"/>
                  <a:pt x="1293" y="705"/>
                </a:cubicBezTo>
                <a:cubicBezTo>
                  <a:pt x="1291" y="704"/>
                  <a:pt x="1289" y="703"/>
                  <a:pt x="1287" y="702"/>
                </a:cubicBezTo>
                <a:cubicBezTo>
                  <a:pt x="1286" y="702"/>
                  <a:pt x="1286" y="702"/>
                  <a:pt x="1286" y="702"/>
                </a:cubicBezTo>
                <a:cubicBezTo>
                  <a:pt x="1286" y="702"/>
                  <a:pt x="1286" y="702"/>
                  <a:pt x="1285" y="701"/>
                </a:cubicBezTo>
                <a:cubicBezTo>
                  <a:pt x="1285" y="701"/>
                  <a:pt x="1285" y="701"/>
                  <a:pt x="1284" y="701"/>
                </a:cubicBezTo>
                <a:cubicBezTo>
                  <a:pt x="1283" y="700"/>
                  <a:pt x="1282" y="699"/>
                  <a:pt x="1280" y="698"/>
                </a:cubicBezTo>
                <a:cubicBezTo>
                  <a:pt x="1279" y="697"/>
                  <a:pt x="1278" y="697"/>
                  <a:pt x="1278" y="696"/>
                </a:cubicBezTo>
                <a:cubicBezTo>
                  <a:pt x="1277" y="695"/>
                  <a:pt x="1276" y="694"/>
                  <a:pt x="1275" y="695"/>
                </a:cubicBezTo>
                <a:cubicBezTo>
                  <a:pt x="1273" y="695"/>
                  <a:pt x="1275" y="696"/>
                  <a:pt x="1274" y="697"/>
                </a:cubicBezTo>
                <a:cubicBezTo>
                  <a:pt x="1273" y="698"/>
                  <a:pt x="1271" y="697"/>
                  <a:pt x="1270" y="696"/>
                </a:cubicBezTo>
                <a:cubicBezTo>
                  <a:pt x="1268" y="695"/>
                  <a:pt x="1267" y="694"/>
                  <a:pt x="1265" y="693"/>
                </a:cubicBezTo>
                <a:cubicBezTo>
                  <a:pt x="1264" y="692"/>
                  <a:pt x="1262" y="691"/>
                  <a:pt x="1260" y="690"/>
                </a:cubicBezTo>
                <a:cubicBezTo>
                  <a:pt x="1259" y="689"/>
                  <a:pt x="1257" y="689"/>
                  <a:pt x="1258" y="687"/>
                </a:cubicBezTo>
                <a:cubicBezTo>
                  <a:pt x="1259" y="686"/>
                  <a:pt x="1258" y="685"/>
                  <a:pt x="1257" y="685"/>
                </a:cubicBezTo>
                <a:cubicBezTo>
                  <a:pt x="1257" y="685"/>
                  <a:pt x="1257" y="685"/>
                  <a:pt x="1257" y="685"/>
                </a:cubicBezTo>
                <a:cubicBezTo>
                  <a:pt x="1256" y="684"/>
                  <a:pt x="1256" y="684"/>
                  <a:pt x="1256" y="684"/>
                </a:cubicBezTo>
                <a:cubicBezTo>
                  <a:pt x="1256" y="684"/>
                  <a:pt x="1256" y="683"/>
                  <a:pt x="1256" y="683"/>
                </a:cubicBezTo>
                <a:cubicBezTo>
                  <a:pt x="1255" y="683"/>
                  <a:pt x="1254" y="682"/>
                  <a:pt x="1253" y="682"/>
                </a:cubicBezTo>
                <a:cubicBezTo>
                  <a:pt x="1253" y="682"/>
                  <a:pt x="1253" y="682"/>
                  <a:pt x="1252" y="682"/>
                </a:cubicBezTo>
                <a:cubicBezTo>
                  <a:pt x="1252" y="681"/>
                  <a:pt x="1252" y="681"/>
                  <a:pt x="1252" y="681"/>
                </a:cubicBezTo>
                <a:cubicBezTo>
                  <a:pt x="1251" y="680"/>
                  <a:pt x="1250" y="680"/>
                  <a:pt x="1249" y="679"/>
                </a:cubicBezTo>
                <a:cubicBezTo>
                  <a:pt x="1247" y="678"/>
                  <a:pt x="1246" y="678"/>
                  <a:pt x="1244" y="677"/>
                </a:cubicBezTo>
                <a:cubicBezTo>
                  <a:pt x="1242" y="676"/>
                  <a:pt x="1241" y="675"/>
                  <a:pt x="1240" y="674"/>
                </a:cubicBezTo>
                <a:cubicBezTo>
                  <a:pt x="1239" y="673"/>
                  <a:pt x="1238" y="673"/>
                  <a:pt x="1238" y="672"/>
                </a:cubicBezTo>
                <a:cubicBezTo>
                  <a:pt x="1237" y="672"/>
                  <a:pt x="1236" y="672"/>
                  <a:pt x="1236" y="672"/>
                </a:cubicBezTo>
                <a:cubicBezTo>
                  <a:pt x="1234" y="671"/>
                  <a:pt x="1232" y="671"/>
                  <a:pt x="1230" y="670"/>
                </a:cubicBezTo>
                <a:cubicBezTo>
                  <a:pt x="1229" y="669"/>
                  <a:pt x="1227" y="668"/>
                  <a:pt x="1226" y="668"/>
                </a:cubicBezTo>
                <a:cubicBezTo>
                  <a:pt x="1224" y="667"/>
                  <a:pt x="1223" y="667"/>
                  <a:pt x="1221" y="666"/>
                </a:cubicBezTo>
                <a:cubicBezTo>
                  <a:pt x="1220" y="665"/>
                  <a:pt x="1218" y="664"/>
                  <a:pt x="1217" y="663"/>
                </a:cubicBezTo>
                <a:cubicBezTo>
                  <a:pt x="1216" y="662"/>
                  <a:pt x="1215" y="662"/>
                  <a:pt x="1214" y="661"/>
                </a:cubicBezTo>
                <a:cubicBezTo>
                  <a:pt x="1214" y="661"/>
                  <a:pt x="1212" y="661"/>
                  <a:pt x="1212" y="660"/>
                </a:cubicBezTo>
                <a:cubicBezTo>
                  <a:pt x="1212" y="659"/>
                  <a:pt x="1212" y="659"/>
                  <a:pt x="1212" y="659"/>
                </a:cubicBezTo>
                <a:cubicBezTo>
                  <a:pt x="1212" y="659"/>
                  <a:pt x="1212" y="659"/>
                  <a:pt x="1212" y="658"/>
                </a:cubicBezTo>
                <a:cubicBezTo>
                  <a:pt x="1212" y="658"/>
                  <a:pt x="1212" y="658"/>
                  <a:pt x="1212" y="658"/>
                </a:cubicBezTo>
                <a:cubicBezTo>
                  <a:pt x="1212" y="657"/>
                  <a:pt x="1212" y="657"/>
                  <a:pt x="1211" y="657"/>
                </a:cubicBezTo>
                <a:cubicBezTo>
                  <a:pt x="1211" y="657"/>
                  <a:pt x="1210" y="657"/>
                  <a:pt x="1210" y="657"/>
                </a:cubicBezTo>
                <a:cubicBezTo>
                  <a:pt x="1210" y="657"/>
                  <a:pt x="1210" y="657"/>
                  <a:pt x="1210" y="657"/>
                </a:cubicBezTo>
                <a:cubicBezTo>
                  <a:pt x="1210" y="657"/>
                  <a:pt x="1209" y="657"/>
                  <a:pt x="1209" y="657"/>
                </a:cubicBezTo>
                <a:cubicBezTo>
                  <a:pt x="1209" y="657"/>
                  <a:pt x="1209" y="656"/>
                  <a:pt x="1209" y="656"/>
                </a:cubicBezTo>
                <a:cubicBezTo>
                  <a:pt x="1209" y="656"/>
                  <a:pt x="1208" y="656"/>
                  <a:pt x="1208" y="656"/>
                </a:cubicBezTo>
                <a:cubicBezTo>
                  <a:pt x="1208" y="656"/>
                  <a:pt x="1207" y="655"/>
                  <a:pt x="1206" y="655"/>
                </a:cubicBezTo>
                <a:cubicBezTo>
                  <a:pt x="1205" y="654"/>
                  <a:pt x="1203" y="653"/>
                  <a:pt x="1202" y="652"/>
                </a:cubicBezTo>
                <a:cubicBezTo>
                  <a:pt x="1199" y="651"/>
                  <a:pt x="1196" y="649"/>
                  <a:pt x="1193" y="648"/>
                </a:cubicBezTo>
                <a:cubicBezTo>
                  <a:pt x="1191" y="647"/>
                  <a:pt x="1190" y="646"/>
                  <a:pt x="1188" y="646"/>
                </a:cubicBezTo>
                <a:cubicBezTo>
                  <a:pt x="1187" y="645"/>
                  <a:pt x="1187" y="645"/>
                  <a:pt x="1186" y="645"/>
                </a:cubicBezTo>
                <a:cubicBezTo>
                  <a:pt x="1185" y="645"/>
                  <a:pt x="1184" y="645"/>
                  <a:pt x="1183" y="644"/>
                </a:cubicBezTo>
                <a:cubicBezTo>
                  <a:pt x="1183" y="644"/>
                  <a:pt x="1183" y="644"/>
                  <a:pt x="1183" y="644"/>
                </a:cubicBezTo>
                <a:cubicBezTo>
                  <a:pt x="1183" y="644"/>
                  <a:pt x="1183" y="644"/>
                  <a:pt x="1183" y="644"/>
                </a:cubicBezTo>
                <a:cubicBezTo>
                  <a:pt x="1182" y="643"/>
                  <a:pt x="1182" y="642"/>
                  <a:pt x="1181" y="642"/>
                </a:cubicBezTo>
                <a:cubicBezTo>
                  <a:pt x="1181" y="641"/>
                  <a:pt x="1181" y="641"/>
                  <a:pt x="1181" y="641"/>
                </a:cubicBezTo>
                <a:cubicBezTo>
                  <a:pt x="1180" y="641"/>
                  <a:pt x="1180" y="642"/>
                  <a:pt x="1179" y="642"/>
                </a:cubicBezTo>
                <a:cubicBezTo>
                  <a:pt x="1178" y="642"/>
                  <a:pt x="1178" y="642"/>
                  <a:pt x="1177" y="642"/>
                </a:cubicBezTo>
                <a:cubicBezTo>
                  <a:pt x="1176" y="642"/>
                  <a:pt x="1176" y="642"/>
                  <a:pt x="1175" y="641"/>
                </a:cubicBezTo>
                <a:cubicBezTo>
                  <a:pt x="1174" y="641"/>
                  <a:pt x="1174" y="640"/>
                  <a:pt x="1173" y="640"/>
                </a:cubicBezTo>
                <a:cubicBezTo>
                  <a:pt x="1172" y="639"/>
                  <a:pt x="1172" y="640"/>
                  <a:pt x="1171" y="640"/>
                </a:cubicBezTo>
                <a:cubicBezTo>
                  <a:pt x="1169" y="640"/>
                  <a:pt x="1168" y="638"/>
                  <a:pt x="1167" y="638"/>
                </a:cubicBezTo>
                <a:cubicBezTo>
                  <a:pt x="1165" y="637"/>
                  <a:pt x="1164" y="636"/>
                  <a:pt x="1162" y="635"/>
                </a:cubicBezTo>
                <a:cubicBezTo>
                  <a:pt x="1162" y="634"/>
                  <a:pt x="1161" y="634"/>
                  <a:pt x="1161" y="633"/>
                </a:cubicBezTo>
                <a:cubicBezTo>
                  <a:pt x="1160" y="633"/>
                  <a:pt x="1160" y="632"/>
                  <a:pt x="1160" y="631"/>
                </a:cubicBezTo>
                <a:cubicBezTo>
                  <a:pt x="1159" y="631"/>
                  <a:pt x="1158" y="630"/>
                  <a:pt x="1158" y="630"/>
                </a:cubicBezTo>
                <a:cubicBezTo>
                  <a:pt x="1157" y="631"/>
                  <a:pt x="1157" y="631"/>
                  <a:pt x="1157" y="631"/>
                </a:cubicBezTo>
                <a:cubicBezTo>
                  <a:pt x="1156" y="631"/>
                  <a:pt x="1156" y="631"/>
                  <a:pt x="1156" y="630"/>
                </a:cubicBezTo>
                <a:cubicBezTo>
                  <a:pt x="1156" y="630"/>
                  <a:pt x="1156" y="629"/>
                  <a:pt x="1156" y="629"/>
                </a:cubicBezTo>
                <a:cubicBezTo>
                  <a:pt x="1156" y="629"/>
                  <a:pt x="1155" y="629"/>
                  <a:pt x="1155" y="629"/>
                </a:cubicBezTo>
                <a:cubicBezTo>
                  <a:pt x="1154" y="629"/>
                  <a:pt x="1154" y="630"/>
                  <a:pt x="1153" y="630"/>
                </a:cubicBezTo>
                <a:cubicBezTo>
                  <a:pt x="1152" y="630"/>
                  <a:pt x="1152" y="629"/>
                  <a:pt x="1151" y="629"/>
                </a:cubicBezTo>
                <a:cubicBezTo>
                  <a:pt x="1151" y="629"/>
                  <a:pt x="1151" y="628"/>
                  <a:pt x="1151" y="628"/>
                </a:cubicBezTo>
                <a:cubicBezTo>
                  <a:pt x="1151" y="627"/>
                  <a:pt x="1150" y="627"/>
                  <a:pt x="1149" y="626"/>
                </a:cubicBezTo>
                <a:cubicBezTo>
                  <a:pt x="1149" y="625"/>
                  <a:pt x="1149" y="625"/>
                  <a:pt x="1148" y="624"/>
                </a:cubicBezTo>
                <a:cubicBezTo>
                  <a:pt x="1148" y="624"/>
                  <a:pt x="1147" y="623"/>
                  <a:pt x="1147" y="623"/>
                </a:cubicBezTo>
                <a:cubicBezTo>
                  <a:pt x="1146" y="623"/>
                  <a:pt x="1146" y="623"/>
                  <a:pt x="1146" y="623"/>
                </a:cubicBezTo>
                <a:cubicBezTo>
                  <a:pt x="1145" y="623"/>
                  <a:pt x="1145" y="623"/>
                  <a:pt x="1144" y="623"/>
                </a:cubicBezTo>
                <a:cubicBezTo>
                  <a:pt x="1144" y="623"/>
                  <a:pt x="1144" y="623"/>
                  <a:pt x="1144" y="623"/>
                </a:cubicBezTo>
                <a:cubicBezTo>
                  <a:pt x="1143" y="623"/>
                  <a:pt x="1143" y="624"/>
                  <a:pt x="1143" y="624"/>
                </a:cubicBezTo>
                <a:cubicBezTo>
                  <a:pt x="1143" y="624"/>
                  <a:pt x="1142" y="624"/>
                  <a:pt x="1142" y="623"/>
                </a:cubicBezTo>
                <a:cubicBezTo>
                  <a:pt x="1141" y="623"/>
                  <a:pt x="1141" y="623"/>
                  <a:pt x="1140" y="623"/>
                </a:cubicBezTo>
                <a:cubicBezTo>
                  <a:pt x="1139" y="623"/>
                  <a:pt x="1139" y="622"/>
                  <a:pt x="1138" y="621"/>
                </a:cubicBezTo>
                <a:cubicBezTo>
                  <a:pt x="1136" y="620"/>
                  <a:pt x="1135" y="619"/>
                  <a:pt x="1134" y="618"/>
                </a:cubicBezTo>
                <a:cubicBezTo>
                  <a:pt x="1133" y="617"/>
                  <a:pt x="1129" y="615"/>
                  <a:pt x="1129" y="614"/>
                </a:cubicBezTo>
                <a:cubicBezTo>
                  <a:pt x="1129" y="614"/>
                  <a:pt x="1128" y="613"/>
                  <a:pt x="1127" y="612"/>
                </a:cubicBezTo>
                <a:cubicBezTo>
                  <a:pt x="1126" y="612"/>
                  <a:pt x="1125" y="611"/>
                  <a:pt x="1124" y="611"/>
                </a:cubicBezTo>
                <a:cubicBezTo>
                  <a:pt x="1123" y="610"/>
                  <a:pt x="1121" y="613"/>
                  <a:pt x="1120" y="612"/>
                </a:cubicBezTo>
                <a:cubicBezTo>
                  <a:pt x="1119" y="611"/>
                  <a:pt x="1119" y="610"/>
                  <a:pt x="1118" y="610"/>
                </a:cubicBezTo>
                <a:cubicBezTo>
                  <a:pt x="1117" y="608"/>
                  <a:pt x="1116" y="607"/>
                  <a:pt x="1115" y="606"/>
                </a:cubicBezTo>
                <a:cubicBezTo>
                  <a:pt x="1115" y="605"/>
                  <a:pt x="1114" y="604"/>
                  <a:pt x="1113" y="604"/>
                </a:cubicBezTo>
                <a:cubicBezTo>
                  <a:pt x="1112" y="605"/>
                  <a:pt x="1112" y="605"/>
                  <a:pt x="1112" y="605"/>
                </a:cubicBezTo>
                <a:cubicBezTo>
                  <a:pt x="1111" y="606"/>
                  <a:pt x="1111" y="605"/>
                  <a:pt x="1110" y="605"/>
                </a:cubicBezTo>
                <a:cubicBezTo>
                  <a:pt x="1109" y="605"/>
                  <a:pt x="1109" y="604"/>
                  <a:pt x="1108" y="604"/>
                </a:cubicBezTo>
                <a:cubicBezTo>
                  <a:pt x="1107" y="604"/>
                  <a:pt x="1105" y="602"/>
                  <a:pt x="1103" y="603"/>
                </a:cubicBezTo>
                <a:cubicBezTo>
                  <a:pt x="1103" y="603"/>
                  <a:pt x="1103" y="603"/>
                  <a:pt x="1103" y="603"/>
                </a:cubicBezTo>
                <a:cubicBezTo>
                  <a:pt x="1102" y="603"/>
                  <a:pt x="1102" y="602"/>
                  <a:pt x="1101" y="602"/>
                </a:cubicBezTo>
                <a:cubicBezTo>
                  <a:pt x="1101" y="602"/>
                  <a:pt x="1101" y="602"/>
                  <a:pt x="1101" y="602"/>
                </a:cubicBezTo>
                <a:cubicBezTo>
                  <a:pt x="1100" y="601"/>
                  <a:pt x="1100" y="601"/>
                  <a:pt x="1100" y="601"/>
                </a:cubicBezTo>
                <a:cubicBezTo>
                  <a:pt x="1100" y="601"/>
                  <a:pt x="1100" y="600"/>
                  <a:pt x="1099" y="600"/>
                </a:cubicBezTo>
                <a:cubicBezTo>
                  <a:pt x="1099" y="599"/>
                  <a:pt x="1097" y="599"/>
                  <a:pt x="1096" y="598"/>
                </a:cubicBezTo>
                <a:cubicBezTo>
                  <a:pt x="1095" y="597"/>
                  <a:pt x="1094" y="596"/>
                  <a:pt x="1092" y="596"/>
                </a:cubicBezTo>
                <a:cubicBezTo>
                  <a:pt x="1091" y="595"/>
                  <a:pt x="1090" y="594"/>
                  <a:pt x="1088" y="594"/>
                </a:cubicBezTo>
                <a:cubicBezTo>
                  <a:pt x="1087" y="593"/>
                  <a:pt x="1087" y="593"/>
                  <a:pt x="1086" y="593"/>
                </a:cubicBezTo>
                <a:cubicBezTo>
                  <a:pt x="1085" y="593"/>
                  <a:pt x="1085" y="593"/>
                  <a:pt x="1084" y="592"/>
                </a:cubicBezTo>
                <a:cubicBezTo>
                  <a:pt x="1084" y="592"/>
                  <a:pt x="1083" y="593"/>
                  <a:pt x="1082" y="592"/>
                </a:cubicBezTo>
                <a:cubicBezTo>
                  <a:pt x="1082" y="592"/>
                  <a:pt x="1082" y="592"/>
                  <a:pt x="1082" y="592"/>
                </a:cubicBezTo>
                <a:cubicBezTo>
                  <a:pt x="1082" y="592"/>
                  <a:pt x="1082" y="592"/>
                  <a:pt x="1082" y="592"/>
                </a:cubicBezTo>
                <a:cubicBezTo>
                  <a:pt x="1081" y="592"/>
                  <a:pt x="1081" y="591"/>
                  <a:pt x="1081" y="591"/>
                </a:cubicBezTo>
                <a:cubicBezTo>
                  <a:pt x="1080" y="590"/>
                  <a:pt x="1078" y="589"/>
                  <a:pt x="1077" y="589"/>
                </a:cubicBezTo>
                <a:cubicBezTo>
                  <a:pt x="1075" y="588"/>
                  <a:pt x="1074" y="587"/>
                  <a:pt x="1072" y="586"/>
                </a:cubicBezTo>
                <a:cubicBezTo>
                  <a:pt x="1068" y="585"/>
                  <a:pt x="1065" y="583"/>
                  <a:pt x="1061" y="581"/>
                </a:cubicBezTo>
                <a:cubicBezTo>
                  <a:pt x="1059" y="579"/>
                  <a:pt x="1058" y="578"/>
                  <a:pt x="1056" y="577"/>
                </a:cubicBezTo>
                <a:cubicBezTo>
                  <a:pt x="1056" y="576"/>
                  <a:pt x="1056" y="575"/>
                  <a:pt x="1055" y="575"/>
                </a:cubicBezTo>
                <a:cubicBezTo>
                  <a:pt x="1054" y="575"/>
                  <a:pt x="1054" y="576"/>
                  <a:pt x="1053" y="575"/>
                </a:cubicBezTo>
                <a:cubicBezTo>
                  <a:pt x="1052" y="575"/>
                  <a:pt x="1051" y="574"/>
                  <a:pt x="1050" y="573"/>
                </a:cubicBezTo>
                <a:cubicBezTo>
                  <a:pt x="1047" y="572"/>
                  <a:pt x="1045" y="571"/>
                  <a:pt x="1043" y="570"/>
                </a:cubicBezTo>
                <a:cubicBezTo>
                  <a:pt x="1043" y="569"/>
                  <a:pt x="1043" y="569"/>
                  <a:pt x="1043" y="569"/>
                </a:cubicBezTo>
                <a:cubicBezTo>
                  <a:pt x="1043" y="568"/>
                  <a:pt x="1042" y="567"/>
                  <a:pt x="1041" y="567"/>
                </a:cubicBezTo>
                <a:cubicBezTo>
                  <a:pt x="1040" y="567"/>
                  <a:pt x="1039" y="566"/>
                  <a:pt x="1039" y="566"/>
                </a:cubicBezTo>
                <a:cubicBezTo>
                  <a:pt x="1038" y="567"/>
                  <a:pt x="1039" y="568"/>
                  <a:pt x="1038" y="568"/>
                </a:cubicBezTo>
                <a:cubicBezTo>
                  <a:pt x="1037" y="568"/>
                  <a:pt x="1037" y="567"/>
                  <a:pt x="1037" y="567"/>
                </a:cubicBezTo>
                <a:cubicBezTo>
                  <a:pt x="1036" y="566"/>
                  <a:pt x="1036" y="567"/>
                  <a:pt x="1035" y="566"/>
                </a:cubicBezTo>
                <a:cubicBezTo>
                  <a:pt x="1034" y="565"/>
                  <a:pt x="1034" y="563"/>
                  <a:pt x="1033" y="563"/>
                </a:cubicBezTo>
                <a:cubicBezTo>
                  <a:pt x="1032" y="562"/>
                  <a:pt x="1031" y="563"/>
                  <a:pt x="1030" y="563"/>
                </a:cubicBezTo>
                <a:cubicBezTo>
                  <a:pt x="1030" y="562"/>
                  <a:pt x="1030" y="562"/>
                  <a:pt x="1029" y="561"/>
                </a:cubicBezTo>
                <a:cubicBezTo>
                  <a:pt x="1028" y="561"/>
                  <a:pt x="1027" y="562"/>
                  <a:pt x="1027" y="562"/>
                </a:cubicBezTo>
                <a:cubicBezTo>
                  <a:pt x="1026" y="562"/>
                  <a:pt x="1026" y="561"/>
                  <a:pt x="1025" y="561"/>
                </a:cubicBezTo>
                <a:cubicBezTo>
                  <a:pt x="1025" y="560"/>
                  <a:pt x="1025" y="560"/>
                  <a:pt x="1025" y="560"/>
                </a:cubicBezTo>
                <a:cubicBezTo>
                  <a:pt x="1023" y="559"/>
                  <a:pt x="1022" y="558"/>
                  <a:pt x="1020" y="558"/>
                </a:cubicBezTo>
                <a:cubicBezTo>
                  <a:pt x="1006" y="550"/>
                  <a:pt x="1000" y="547"/>
                  <a:pt x="999" y="547"/>
                </a:cubicBezTo>
                <a:cubicBezTo>
                  <a:pt x="999" y="547"/>
                  <a:pt x="991" y="543"/>
                  <a:pt x="990" y="542"/>
                </a:cubicBezTo>
                <a:cubicBezTo>
                  <a:pt x="989" y="540"/>
                  <a:pt x="988" y="538"/>
                  <a:pt x="986" y="537"/>
                </a:cubicBezTo>
                <a:cubicBezTo>
                  <a:pt x="986" y="537"/>
                  <a:pt x="984" y="537"/>
                  <a:pt x="984" y="536"/>
                </a:cubicBezTo>
                <a:cubicBezTo>
                  <a:pt x="983" y="535"/>
                  <a:pt x="985" y="535"/>
                  <a:pt x="985" y="535"/>
                </a:cubicBezTo>
                <a:cubicBezTo>
                  <a:pt x="986" y="535"/>
                  <a:pt x="986" y="534"/>
                  <a:pt x="986" y="534"/>
                </a:cubicBezTo>
                <a:cubicBezTo>
                  <a:pt x="985" y="533"/>
                  <a:pt x="984" y="534"/>
                  <a:pt x="984" y="533"/>
                </a:cubicBezTo>
                <a:cubicBezTo>
                  <a:pt x="983" y="533"/>
                  <a:pt x="982" y="533"/>
                  <a:pt x="981" y="533"/>
                </a:cubicBezTo>
                <a:cubicBezTo>
                  <a:pt x="979" y="533"/>
                  <a:pt x="978" y="532"/>
                  <a:pt x="977" y="531"/>
                </a:cubicBezTo>
                <a:cubicBezTo>
                  <a:pt x="977" y="531"/>
                  <a:pt x="976" y="531"/>
                  <a:pt x="976" y="531"/>
                </a:cubicBezTo>
                <a:cubicBezTo>
                  <a:pt x="976" y="530"/>
                  <a:pt x="976" y="530"/>
                  <a:pt x="976" y="529"/>
                </a:cubicBezTo>
                <a:cubicBezTo>
                  <a:pt x="976" y="529"/>
                  <a:pt x="975" y="528"/>
                  <a:pt x="975" y="528"/>
                </a:cubicBezTo>
                <a:cubicBezTo>
                  <a:pt x="975" y="528"/>
                  <a:pt x="974" y="528"/>
                  <a:pt x="974" y="529"/>
                </a:cubicBezTo>
                <a:cubicBezTo>
                  <a:pt x="972" y="530"/>
                  <a:pt x="968" y="527"/>
                  <a:pt x="966" y="526"/>
                </a:cubicBezTo>
                <a:cubicBezTo>
                  <a:pt x="962" y="524"/>
                  <a:pt x="958" y="522"/>
                  <a:pt x="957" y="521"/>
                </a:cubicBezTo>
                <a:cubicBezTo>
                  <a:pt x="954" y="520"/>
                  <a:pt x="952" y="519"/>
                  <a:pt x="949" y="519"/>
                </a:cubicBezTo>
                <a:cubicBezTo>
                  <a:pt x="948" y="519"/>
                  <a:pt x="947" y="518"/>
                  <a:pt x="946" y="517"/>
                </a:cubicBezTo>
                <a:cubicBezTo>
                  <a:pt x="945" y="516"/>
                  <a:pt x="944" y="515"/>
                  <a:pt x="943" y="515"/>
                </a:cubicBezTo>
                <a:cubicBezTo>
                  <a:pt x="942" y="514"/>
                  <a:pt x="942" y="514"/>
                  <a:pt x="941" y="513"/>
                </a:cubicBezTo>
                <a:cubicBezTo>
                  <a:pt x="937" y="511"/>
                  <a:pt x="933" y="510"/>
                  <a:pt x="930" y="508"/>
                </a:cubicBezTo>
                <a:cubicBezTo>
                  <a:pt x="926" y="506"/>
                  <a:pt x="922" y="504"/>
                  <a:pt x="918" y="502"/>
                </a:cubicBezTo>
                <a:cubicBezTo>
                  <a:pt x="906" y="495"/>
                  <a:pt x="892" y="488"/>
                  <a:pt x="889" y="486"/>
                </a:cubicBezTo>
                <a:cubicBezTo>
                  <a:pt x="887" y="485"/>
                  <a:pt x="886" y="484"/>
                  <a:pt x="884" y="484"/>
                </a:cubicBezTo>
                <a:cubicBezTo>
                  <a:pt x="883" y="483"/>
                  <a:pt x="882" y="482"/>
                  <a:pt x="881" y="482"/>
                </a:cubicBezTo>
                <a:cubicBezTo>
                  <a:pt x="881" y="482"/>
                  <a:pt x="881" y="482"/>
                  <a:pt x="881" y="481"/>
                </a:cubicBezTo>
                <a:cubicBezTo>
                  <a:pt x="881" y="481"/>
                  <a:pt x="881" y="480"/>
                  <a:pt x="880" y="480"/>
                </a:cubicBezTo>
                <a:cubicBezTo>
                  <a:pt x="880" y="480"/>
                  <a:pt x="879" y="480"/>
                  <a:pt x="879" y="481"/>
                </a:cubicBezTo>
                <a:cubicBezTo>
                  <a:pt x="879" y="481"/>
                  <a:pt x="878" y="481"/>
                  <a:pt x="878" y="481"/>
                </a:cubicBezTo>
                <a:cubicBezTo>
                  <a:pt x="876" y="481"/>
                  <a:pt x="874" y="479"/>
                  <a:pt x="873" y="478"/>
                </a:cubicBezTo>
                <a:cubicBezTo>
                  <a:pt x="872" y="477"/>
                  <a:pt x="870" y="475"/>
                  <a:pt x="869" y="475"/>
                </a:cubicBezTo>
                <a:cubicBezTo>
                  <a:pt x="869" y="475"/>
                  <a:pt x="868" y="475"/>
                  <a:pt x="868" y="475"/>
                </a:cubicBezTo>
                <a:cubicBezTo>
                  <a:pt x="868" y="475"/>
                  <a:pt x="867" y="475"/>
                  <a:pt x="867" y="475"/>
                </a:cubicBezTo>
                <a:cubicBezTo>
                  <a:pt x="866" y="475"/>
                  <a:pt x="866" y="476"/>
                  <a:pt x="866" y="475"/>
                </a:cubicBezTo>
                <a:cubicBezTo>
                  <a:pt x="865" y="475"/>
                  <a:pt x="864" y="474"/>
                  <a:pt x="865" y="473"/>
                </a:cubicBezTo>
                <a:cubicBezTo>
                  <a:pt x="865" y="473"/>
                  <a:pt x="866" y="473"/>
                  <a:pt x="866" y="473"/>
                </a:cubicBezTo>
                <a:cubicBezTo>
                  <a:pt x="866" y="472"/>
                  <a:pt x="866" y="472"/>
                  <a:pt x="865" y="472"/>
                </a:cubicBezTo>
                <a:cubicBezTo>
                  <a:pt x="865" y="472"/>
                  <a:pt x="865" y="472"/>
                  <a:pt x="864" y="472"/>
                </a:cubicBezTo>
                <a:cubicBezTo>
                  <a:pt x="863" y="472"/>
                  <a:pt x="861" y="471"/>
                  <a:pt x="860" y="470"/>
                </a:cubicBezTo>
                <a:cubicBezTo>
                  <a:pt x="858" y="469"/>
                  <a:pt x="855" y="469"/>
                  <a:pt x="854" y="468"/>
                </a:cubicBezTo>
                <a:cubicBezTo>
                  <a:pt x="854" y="467"/>
                  <a:pt x="854" y="467"/>
                  <a:pt x="854" y="467"/>
                </a:cubicBezTo>
                <a:cubicBezTo>
                  <a:pt x="854" y="467"/>
                  <a:pt x="853" y="466"/>
                  <a:pt x="853" y="466"/>
                </a:cubicBezTo>
                <a:cubicBezTo>
                  <a:pt x="852" y="465"/>
                  <a:pt x="851" y="464"/>
                  <a:pt x="850" y="464"/>
                </a:cubicBezTo>
                <a:cubicBezTo>
                  <a:pt x="848" y="463"/>
                  <a:pt x="844" y="461"/>
                  <a:pt x="839" y="459"/>
                </a:cubicBezTo>
                <a:cubicBezTo>
                  <a:pt x="838" y="458"/>
                  <a:pt x="836" y="457"/>
                  <a:pt x="834" y="456"/>
                </a:cubicBezTo>
                <a:cubicBezTo>
                  <a:pt x="833" y="456"/>
                  <a:pt x="833" y="455"/>
                  <a:pt x="832" y="455"/>
                </a:cubicBezTo>
                <a:cubicBezTo>
                  <a:pt x="831" y="455"/>
                  <a:pt x="830" y="455"/>
                  <a:pt x="830" y="455"/>
                </a:cubicBezTo>
                <a:cubicBezTo>
                  <a:pt x="829" y="455"/>
                  <a:pt x="828" y="455"/>
                  <a:pt x="828" y="454"/>
                </a:cubicBezTo>
                <a:cubicBezTo>
                  <a:pt x="828" y="454"/>
                  <a:pt x="828" y="453"/>
                  <a:pt x="828" y="453"/>
                </a:cubicBezTo>
                <a:cubicBezTo>
                  <a:pt x="827" y="452"/>
                  <a:pt x="827" y="452"/>
                  <a:pt x="826" y="452"/>
                </a:cubicBezTo>
                <a:cubicBezTo>
                  <a:pt x="825" y="451"/>
                  <a:pt x="824" y="450"/>
                  <a:pt x="823" y="450"/>
                </a:cubicBezTo>
                <a:cubicBezTo>
                  <a:pt x="820" y="448"/>
                  <a:pt x="817" y="447"/>
                  <a:pt x="814" y="445"/>
                </a:cubicBezTo>
                <a:cubicBezTo>
                  <a:pt x="812" y="444"/>
                  <a:pt x="809" y="442"/>
                  <a:pt x="807" y="441"/>
                </a:cubicBezTo>
                <a:cubicBezTo>
                  <a:pt x="804" y="439"/>
                  <a:pt x="802" y="437"/>
                  <a:pt x="799" y="437"/>
                </a:cubicBezTo>
                <a:cubicBezTo>
                  <a:pt x="799" y="437"/>
                  <a:pt x="799" y="437"/>
                  <a:pt x="799" y="437"/>
                </a:cubicBezTo>
                <a:cubicBezTo>
                  <a:pt x="798" y="437"/>
                  <a:pt x="798" y="437"/>
                  <a:pt x="798" y="437"/>
                </a:cubicBezTo>
                <a:cubicBezTo>
                  <a:pt x="797" y="437"/>
                  <a:pt x="797" y="437"/>
                  <a:pt x="797" y="437"/>
                </a:cubicBezTo>
                <a:cubicBezTo>
                  <a:pt x="796" y="437"/>
                  <a:pt x="796" y="436"/>
                  <a:pt x="796" y="436"/>
                </a:cubicBezTo>
                <a:cubicBezTo>
                  <a:pt x="794" y="435"/>
                  <a:pt x="792" y="434"/>
                  <a:pt x="790" y="433"/>
                </a:cubicBezTo>
                <a:cubicBezTo>
                  <a:pt x="788" y="431"/>
                  <a:pt x="787" y="430"/>
                  <a:pt x="785" y="429"/>
                </a:cubicBezTo>
                <a:cubicBezTo>
                  <a:pt x="781" y="427"/>
                  <a:pt x="776" y="424"/>
                  <a:pt x="772" y="422"/>
                </a:cubicBezTo>
                <a:cubicBezTo>
                  <a:pt x="765" y="418"/>
                  <a:pt x="757" y="414"/>
                  <a:pt x="749" y="411"/>
                </a:cubicBezTo>
                <a:cubicBezTo>
                  <a:pt x="749" y="411"/>
                  <a:pt x="749" y="411"/>
                  <a:pt x="750" y="410"/>
                </a:cubicBezTo>
                <a:cubicBezTo>
                  <a:pt x="750" y="410"/>
                  <a:pt x="750" y="410"/>
                  <a:pt x="749" y="410"/>
                </a:cubicBezTo>
                <a:cubicBezTo>
                  <a:pt x="749" y="410"/>
                  <a:pt x="749" y="410"/>
                  <a:pt x="749" y="409"/>
                </a:cubicBezTo>
                <a:cubicBezTo>
                  <a:pt x="748" y="409"/>
                  <a:pt x="747" y="408"/>
                  <a:pt x="746" y="408"/>
                </a:cubicBezTo>
                <a:cubicBezTo>
                  <a:pt x="746" y="407"/>
                  <a:pt x="745" y="407"/>
                  <a:pt x="744" y="406"/>
                </a:cubicBezTo>
                <a:cubicBezTo>
                  <a:pt x="743" y="405"/>
                  <a:pt x="743" y="405"/>
                  <a:pt x="743" y="404"/>
                </a:cubicBezTo>
                <a:cubicBezTo>
                  <a:pt x="742" y="404"/>
                  <a:pt x="741" y="405"/>
                  <a:pt x="740" y="405"/>
                </a:cubicBezTo>
                <a:cubicBezTo>
                  <a:pt x="739" y="405"/>
                  <a:pt x="738" y="404"/>
                  <a:pt x="738" y="403"/>
                </a:cubicBezTo>
                <a:cubicBezTo>
                  <a:pt x="736" y="402"/>
                  <a:pt x="732" y="400"/>
                  <a:pt x="730" y="399"/>
                </a:cubicBezTo>
                <a:cubicBezTo>
                  <a:pt x="726" y="397"/>
                  <a:pt x="717" y="391"/>
                  <a:pt x="711" y="388"/>
                </a:cubicBezTo>
                <a:cubicBezTo>
                  <a:pt x="710" y="388"/>
                  <a:pt x="707" y="386"/>
                  <a:pt x="705" y="385"/>
                </a:cubicBezTo>
                <a:cubicBezTo>
                  <a:pt x="704" y="384"/>
                  <a:pt x="702" y="384"/>
                  <a:pt x="701" y="383"/>
                </a:cubicBezTo>
                <a:cubicBezTo>
                  <a:pt x="701" y="383"/>
                  <a:pt x="701" y="382"/>
                  <a:pt x="701" y="382"/>
                </a:cubicBezTo>
                <a:cubicBezTo>
                  <a:pt x="701" y="381"/>
                  <a:pt x="700" y="381"/>
                  <a:pt x="700" y="381"/>
                </a:cubicBezTo>
                <a:cubicBezTo>
                  <a:pt x="699" y="380"/>
                  <a:pt x="699" y="380"/>
                  <a:pt x="698" y="380"/>
                </a:cubicBezTo>
                <a:cubicBezTo>
                  <a:pt x="698" y="380"/>
                  <a:pt x="697" y="380"/>
                  <a:pt x="697" y="380"/>
                </a:cubicBezTo>
                <a:cubicBezTo>
                  <a:pt x="696" y="379"/>
                  <a:pt x="694" y="379"/>
                  <a:pt x="693" y="378"/>
                </a:cubicBezTo>
                <a:cubicBezTo>
                  <a:pt x="691" y="377"/>
                  <a:pt x="691" y="375"/>
                  <a:pt x="691" y="374"/>
                </a:cubicBezTo>
                <a:cubicBezTo>
                  <a:pt x="691" y="373"/>
                  <a:pt x="691" y="372"/>
                  <a:pt x="690" y="373"/>
                </a:cubicBezTo>
                <a:cubicBezTo>
                  <a:pt x="689" y="373"/>
                  <a:pt x="688" y="373"/>
                  <a:pt x="687" y="373"/>
                </a:cubicBezTo>
                <a:cubicBezTo>
                  <a:pt x="687" y="373"/>
                  <a:pt x="686" y="374"/>
                  <a:pt x="686" y="374"/>
                </a:cubicBezTo>
                <a:cubicBezTo>
                  <a:pt x="686" y="374"/>
                  <a:pt x="686" y="373"/>
                  <a:pt x="685" y="373"/>
                </a:cubicBezTo>
                <a:cubicBezTo>
                  <a:pt x="685" y="373"/>
                  <a:pt x="685" y="373"/>
                  <a:pt x="685" y="373"/>
                </a:cubicBezTo>
                <a:cubicBezTo>
                  <a:pt x="683" y="373"/>
                  <a:pt x="681" y="371"/>
                  <a:pt x="680" y="371"/>
                </a:cubicBezTo>
                <a:cubicBezTo>
                  <a:pt x="678" y="370"/>
                  <a:pt x="676" y="368"/>
                  <a:pt x="674" y="367"/>
                </a:cubicBezTo>
                <a:cubicBezTo>
                  <a:pt x="670" y="365"/>
                  <a:pt x="666" y="362"/>
                  <a:pt x="661" y="360"/>
                </a:cubicBezTo>
                <a:cubicBezTo>
                  <a:pt x="661" y="360"/>
                  <a:pt x="660" y="359"/>
                  <a:pt x="660" y="360"/>
                </a:cubicBezTo>
                <a:cubicBezTo>
                  <a:pt x="660" y="360"/>
                  <a:pt x="659" y="360"/>
                  <a:pt x="659" y="360"/>
                </a:cubicBezTo>
                <a:cubicBezTo>
                  <a:pt x="659" y="360"/>
                  <a:pt x="659" y="360"/>
                  <a:pt x="659" y="360"/>
                </a:cubicBezTo>
                <a:cubicBezTo>
                  <a:pt x="658" y="360"/>
                  <a:pt x="658" y="360"/>
                  <a:pt x="658" y="360"/>
                </a:cubicBezTo>
                <a:cubicBezTo>
                  <a:pt x="658" y="360"/>
                  <a:pt x="656" y="359"/>
                  <a:pt x="655" y="358"/>
                </a:cubicBezTo>
                <a:cubicBezTo>
                  <a:pt x="655" y="357"/>
                  <a:pt x="654" y="357"/>
                  <a:pt x="653" y="356"/>
                </a:cubicBezTo>
                <a:cubicBezTo>
                  <a:pt x="652" y="355"/>
                  <a:pt x="651" y="354"/>
                  <a:pt x="650" y="354"/>
                </a:cubicBezTo>
                <a:cubicBezTo>
                  <a:pt x="650" y="354"/>
                  <a:pt x="650" y="353"/>
                  <a:pt x="649" y="353"/>
                </a:cubicBezTo>
                <a:cubicBezTo>
                  <a:pt x="649" y="353"/>
                  <a:pt x="649" y="353"/>
                  <a:pt x="649" y="354"/>
                </a:cubicBezTo>
                <a:cubicBezTo>
                  <a:pt x="648" y="354"/>
                  <a:pt x="648" y="353"/>
                  <a:pt x="647" y="353"/>
                </a:cubicBezTo>
                <a:cubicBezTo>
                  <a:pt x="647" y="353"/>
                  <a:pt x="647" y="352"/>
                  <a:pt x="647" y="352"/>
                </a:cubicBezTo>
                <a:cubicBezTo>
                  <a:pt x="646" y="351"/>
                  <a:pt x="645" y="351"/>
                  <a:pt x="644" y="351"/>
                </a:cubicBezTo>
                <a:cubicBezTo>
                  <a:pt x="643" y="350"/>
                  <a:pt x="642" y="349"/>
                  <a:pt x="642" y="348"/>
                </a:cubicBezTo>
                <a:cubicBezTo>
                  <a:pt x="641" y="348"/>
                  <a:pt x="641" y="347"/>
                  <a:pt x="641" y="346"/>
                </a:cubicBezTo>
                <a:cubicBezTo>
                  <a:pt x="640" y="346"/>
                  <a:pt x="637" y="348"/>
                  <a:pt x="636" y="346"/>
                </a:cubicBezTo>
                <a:cubicBezTo>
                  <a:pt x="636" y="346"/>
                  <a:pt x="637" y="345"/>
                  <a:pt x="637" y="345"/>
                </a:cubicBezTo>
                <a:cubicBezTo>
                  <a:pt x="637" y="345"/>
                  <a:pt x="637" y="345"/>
                  <a:pt x="637" y="345"/>
                </a:cubicBezTo>
                <a:cubicBezTo>
                  <a:pt x="637" y="345"/>
                  <a:pt x="637" y="344"/>
                  <a:pt x="637" y="344"/>
                </a:cubicBezTo>
                <a:cubicBezTo>
                  <a:pt x="636" y="344"/>
                  <a:pt x="636" y="344"/>
                  <a:pt x="635" y="344"/>
                </a:cubicBezTo>
                <a:cubicBezTo>
                  <a:pt x="635" y="344"/>
                  <a:pt x="635" y="344"/>
                  <a:pt x="634" y="344"/>
                </a:cubicBezTo>
                <a:cubicBezTo>
                  <a:pt x="632" y="344"/>
                  <a:pt x="629" y="342"/>
                  <a:pt x="627" y="341"/>
                </a:cubicBezTo>
                <a:cubicBezTo>
                  <a:pt x="625" y="340"/>
                  <a:pt x="623" y="339"/>
                  <a:pt x="622" y="338"/>
                </a:cubicBezTo>
                <a:cubicBezTo>
                  <a:pt x="621" y="337"/>
                  <a:pt x="620" y="337"/>
                  <a:pt x="619" y="336"/>
                </a:cubicBezTo>
                <a:cubicBezTo>
                  <a:pt x="618" y="335"/>
                  <a:pt x="618" y="335"/>
                  <a:pt x="618" y="334"/>
                </a:cubicBezTo>
                <a:cubicBezTo>
                  <a:pt x="618" y="333"/>
                  <a:pt x="618" y="333"/>
                  <a:pt x="618" y="332"/>
                </a:cubicBezTo>
                <a:cubicBezTo>
                  <a:pt x="618" y="332"/>
                  <a:pt x="618" y="331"/>
                  <a:pt x="617" y="331"/>
                </a:cubicBezTo>
                <a:cubicBezTo>
                  <a:pt x="617" y="331"/>
                  <a:pt x="616" y="331"/>
                  <a:pt x="616" y="332"/>
                </a:cubicBezTo>
                <a:cubicBezTo>
                  <a:pt x="616" y="332"/>
                  <a:pt x="615" y="332"/>
                  <a:pt x="614" y="332"/>
                </a:cubicBezTo>
                <a:cubicBezTo>
                  <a:pt x="613" y="332"/>
                  <a:pt x="612" y="332"/>
                  <a:pt x="611" y="331"/>
                </a:cubicBezTo>
                <a:cubicBezTo>
                  <a:pt x="610" y="330"/>
                  <a:pt x="609" y="329"/>
                  <a:pt x="607" y="328"/>
                </a:cubicBezTo>
                <a:cubicBezTo>
                  <a:pt x="606" y="327"/>
                  <a:pt x="604" y="326"/>
                  <a:pt x="602" y="325"/>
                </a:cubicBezTo>
                <a:cubicBezTo>
                  <a:pt x="601" y="325"/>
                  <a:pt x="600" y="324"/>
                  <a:pt x="599" y="324"/>
                </a:cubicBezTo>
                <a:cubicBezTo>
                  <a:pt x="598" y="324"/>
                  <a:pt x="598" y="324"/>
                  <a:pt x="598" y="323"/>
                </a:cubicBezTo>
                <a:cubicBezTo>
                  <a:pt x="597" y="323"/>
                  <a:pt x="597" y="323"/>
                  <a:pt x="597" y="322"/>
                </a:cubicBezTo>
                <a:cubicBezTo>
                  <a:pt x="597" y="322"/>
                  <a:pt x="597" y="321"/>
                  <a:pt x="596" y="321"/>
                </a:cubicBezTo>
                <a:cubicBezTo>
                  <a:pt x="596" y="321"/>
                  <a:pt x="596" y="321"/>
                  <a:pt x="596" y="321"/>
                </a:cubicBezTo>
                <a:cubicBezTo>
                  <a:pt x="596" y="321"/>
                  <a:pt x="596" y="321"/>
                  <a:pt x="596" y="321"/>
                </a:cubicBezTo>
                <a:cubicBezTo>
                  <a:pt x="595" y="321"/>
                  <a:pt x="594" y="321"/>
                  <a:pt x="593" y="321"/>
                </a:cubicBezTo>
                <a:cubicBezTo>
                  <a:pt x="593" y="321"/>
                  <a:pt x="592" y="321"/>
                  <a:pt x="591" y="321"/>
                </a:cubicBezTo>
                <a:cubicBezTo>
                  <a:pt x="590" y="321"/>
                  <a:pt x="590" y="321"/>
                  <a:pt x="589" y="321"/>
                </a:cubicBezTo>
                <a:cubicBezTo>
                  <a:pt x="587" y="319"/>
                  <a:pt x="585" y="318"/>
                  <a:pt x="582" y="317"/>
                </a:cubicBezTo>
                <a:cubicBezTo>
                  <a:pt x="581" y="315"/>
                  <a:pt x="580" y="314"/>
                  <a:pt x="579" y="312"/>
                </a:cubicBezTo>
                <a:cubicBezTo>
                  <a:pt x="579" y="312"/>
                  <a:pt x="579" y="312"/>
                  <a:pt x="579" y="311"/>
                </a:cubicBezTo>
                <a:cubicBezTo>
                  <a:pt x="578" y="311"/>
                  <a:pt x="577" y="312"/>
                  <a:pt x="576" y="312"/>
                </a:cubicBezTo>
                <a:cubicBezTo>
                  <a:pt x="576" y="311"/>
                  <a:pt x="575" y="311"/>
                  <a:pt x="575" y="310"/>
                </a:cubicBezTo>
                <a:cubicBezTo>
                  <a:pt x="574" y="309"/>
                  <a:pt x="572" y="308"/>
                  <a:pt x="570" y="308"/>
                </a:cubicBezTo>
                <a:cubicBezTo>
                  <a:pt x="569" y="308"/>
                  <a:pt x="568" y="308"/>
                  <a:pt x="567" y="308"/>
                </a:cubicBezTo>
                <a:cubicBezTo>
                  <a:pt x="565" y="307"/>
                  <a:pt x="563" y="306"/>
                  <a:pt x="562" y="305"/>
                </a:cubicBezTo>
                <a:cubicBezTo>
                  <a:pt x="562" y="305"/>
                  <a:pt x="561" y="304"/>
                  <a:pt x="561" y="304"/>
                </a:cubicBezTo>
                <a:cubicBezTo>
                  <a:pt x="559" y="303"/>
                  <a:pt x="558" y="302"/>
                  <a:pt x="556" y="301"/>
                </a:cubicBezTo>
                <a:cubicBezTo>
                  <a:pt x="555" y="300"/>
                  <a:pt x="554" y="299"/>
                  <a:pt x="553" y="298"/>
                </a:cubicBezTo>
                <a:cubicBezTo>
                  <a:pt x="551" y="297"/>
                  <a:pt x="551" y="295"/>
                  <a:pt x="550" y="294"/>
                </a:cubicBezTo>
                <a:cubicBezTo>
                  <a:pt x="550" y="294"/>
                  <a:pt x="550" y="294"/>
                  <a:pt x="550" y="293"/>
                </a:cubicBezTo>
                <a:cubicBezTo>
                  <a:pt x="549" y="293"/>
                  <a:pt x="549" y="293"/>
                  <a:pt x="549" y="293"/>
                </a:cubicBezTo>
                <a:cubicBezTo>
                  <a:pt x="549" y="293"/>
                  <a:pt x="548" y="294"/>
                  <a:pt x="548" y="294"/>
                </a:cubicBezTo>
                <a:cubicBezTo>
                  <a:pt x="548" y="294"/>
                  <a:pt x="548" y="294"/>
                  <a:pt x="548" y="294"/>
                </a:cubicBezTo>
                <a:cubicBezTo>
                  <a:pt x="548" y="293"/>
                  <a:pt x="548" y="293"/>
                  <a:pt x="548" y="293"/>
                </a:cubicBezTo>
                <a:cubicBezTo>
                  <a:pt x="547" y="293"/>
                  <a:pt x="547" y="293"/>
                  <a:pt x="546" y="293"/>
                </a:cubicBezTo>
                <a:cubicBezTo>
                  <a:pt x="546" y="293"/>
                  <a:pt x="546" y="293"/>
                  <a:pt x="546" y="293"/>
                </a:cubicBezTo>
                <a:cubicBezTo>
                  <a:pt x="546" y="293"/>
                  <a:pt x="546" y="292"/>
                  <a:pt x="546" y="292"/>
                </a:cubicBezTo>
                <a:cubicBezTo>
                  <a:pt x="545" y="291"/>
                  <a:pt x="544" y="291"/>
                  <a:pt x="544" y="292"/>
                </a:cubicBezTo>
                <a:cubicBezTo>
                  <a:pt x="541" y="293"/>
                  <a:pt x="536" y="290"/>
                  <a:pt x="534" y="288"/>
                </a:cubicBezTo>
                <a:cubicBezTo>
                  <a:pt x="532" y="287"/>
                  <a:pt x="530" y="287"/>
                  <a:pt x="529" y="286"/>
                </a:cubicBezTo>
                <a:cubicBezTo>
                  <a:pt x="529" y="285"/>
                  <a:pt x="528" y="285"/>
                  <a:pt x="528" y="285"/>
                </a:cubicBezTo>
                <a:cubicBezTo>
                  <a:pt x="528" y="284"/>
                  <a:pt x="528" y="284"/>
                  <a:pt x="527" y="283"/>
                </a:cubicBezTo>
                <a:cubicBezTo>
                  <a:pt x="527" y="283"/>
                  <a:pt x="527" y="282"/>
                  <a:pt x="527" y="282"/>
                </a:cubicBezTo>
                <a:cubicBezTo>
                  <a:pt x="527" y="281"/>
                  <a:pt x="525" y="280"/>
                  <a:pt x="524" y="279"/>
                </a:cubicBezTo>
                <a:cubicBezTo>
                  <a:pt x="523" y="279"/>
                  <a:pt x="522" y="277"/>
                  <a:pt x="521" y="277"/>
                </a:cubicBezTo>
                <a:cubicBezTo>
                  <a:pt x="520" y="278"/>
                  <a:pt x="519" y="276"/>
                  <a:pt x="518" y="276"/>
                </a:cubicBezTo>
                <a:cubicBezTo>
                  <a:pt x="517" y="275"/>
                  <a:pt x="515" y="274"/>
                  <a:pt x="514" y="273"/>
                </a:cubicBezTo>
                <a:cubicBezTo>
                  <a:pt x="513" y="273"/>
                  <a:pt x="512" y="272"/>
                  <a:pt x="511" y="272"/>
                </a:cubicBezTo>
                <a:cubicBezTo>
                  <a:pt x="511" y="272"/>
                  <a:pt x="510" y="273"/>
                  <a:pt x="509" y="273"/>
                </a:cubicBezTo>
                <a:cubicBezTo>
                  <a:pt x="508" y="272"/>
                  <a:pt x="508" y="272"/>
                  <a:pt x="508" y="271"/>
                </a:cubicBezTo>
                <a:cubicBezTo>
                  <a:pt x="508" y="271"/>
                  <a:pt x="509" y="271"/>
                  <a:pt x="509" y="270"/>
                </a:cubicBezTo>
                <a:cubicBezTo>
                  <a:pt x="509" y="270"/>
                  <a:pt x="506" y="269"/>
                  <a:pt x="506" y="269"/>
                </a:cubicBezTo>
                <a:cubicBezTo>
                  <a:pt x="505" y="268"/>
                  <a:pt x="502" y="267"/>
                  <a:pt x="502" y="267"/>
                </a:cubicBezTo>
                <a:cubicBezTo>
                  <a:pt x="501" y="268"/>
                  <a:pt x="501" y="268"/>
                  <a:pt x="501" y="268"/>
                </a:cubicBezTo>
                <a:cubicBezTo>
                  <a:pt x="501" y="268"/>
                  <a:pt x="499" y="267"/>
                  <a:pt x="499" y="267"/>
                </a:cubicBezTo>
                <a:cubicBezTo>
                  <a:pt x="498" y="267"/>
                  <a:pt x="497" y="266"/>
                  <a:pt x="496" y="265"/>
                </a:cubicBezTo>
                <a:cubicBezTo>
                  <a:pt x="493" y="263"/>
                  <a:pt x="486" y="259"/>
                  <a:pt x="480" y="255"/>
                </a:cubicBezTo>
                <a:cubicBezTo>
                  <a:pt x="479" y="254"/>
                  <a:pt x="477" y="253"/>
                  <a:pt x="475" y="252"/>
                </a:cubicBezTo>
                <a:cubicBezTo>
                  <a:pt x="473" y="251"/>
                  <a:pt x="470" y="250"/>
                  <a:pt x="469" y="249"/>
                </a:cubicBezTo>
                <a:cubicBezTo>
                  <a:pt x="469" y="249"/>
                  <a:pt x="469" y="249"/>
                  <a:pt x="469" y="248"/>
                </a:cubicBezTo>
                <a:cubicBezTo>
                  <a:pt x="469" y="248"/>
                  <a:pt x="468" y="247"/>
                  <a:pt x="467" y="247"/>
                </a:cubicBezTo>
                <a:cubicBezTo>
                  <a:pt x="466" y="247"/>
                  <a:pt x="466" y="247"/>
                  <a:pt x="465" y="247"/>
                </a:cubicBezTo>
                <a:cubicBezTo>
                  <a:pt x="465" y="247"/>
                  <a:pt x="464" y="247"/>
                  <a:pt x="464" y="247"/>
                </a:cubicBezTo>
                <a:cubicBezTo>
                  <a:pt x="464" y="247"/>
                  <a:pt x="463" y="246"/>
                  <a:pt x="463" y="246"/>
                </a:cubicBezTo>
                <a:cubicBezTo>
                  <a:pt x="461" y="244"/>
                  <a:pt x="458" y="241"/>
                  <a:pt x="455" y="240"/>
                </a:cubicBezTo>
                <a:cubicBezTo>
                  <a:pt x="455" y="240"/>
                  <a:pt x="455" y="240"/>
                  <a:pt x="454" y="241"/>
                </a:cubicBezTo>
                <a:cubicBezTo>
                  <a:pt x="453" y="242"/>
                  <a:pt x="451" y="239"/>
                  <a:pt x="450" y="239"/>
                </a:cubicBezTo>
                <a:cubicBezTo>
                  <a:pt x="447" y="237"/>
                  <a:pt x="444" y="235"/>
                  <a:pt x="442" y="234"/>
                </a:cubicBezTo>
                <a:cubicBezTo>
                  <a:pt x="441" y="234"/>
                  <a:pt x="436" y="231"/>
                  <a:pt x="433" y="230"/>
                </a:cubicBezTo>
                <a:cubicBezTo>
                  <a:pt x="430" y="228"/>
                  <a:pt x="422" y="223"/>
                  <a:pt x="415" y="219"/>
                </a:cubicBezTo>
                <a:cubicBezTo>
                  <a:pt x="413" y="218"/>
                  <a:pt x="410" y="217"/>
                  <a:pt x="408" y="215"/>
                </a:cubicBezTo>
                <a:cubicBezTo>
                  <a:pt x="407" y="215"/>
                  <a:pt x="403" y="213"/>
                  <a:pt x="403" y="212"/>
                </a:cubicBezTo>
                <a:cubicBezTo>
                  <a:pt x="403" y="212"/>
                  <a:pt x="403" y="212"/>
                  <a:pt x="403" y="212"/>
                </a:cubicBezTo>
                <a:cubicBezTo>
                  <a:pt x="404" y="211"/>
                  <a:pt x="404" y="211"/>
                  <a:pt x="403" y="210"/>
                </a:cubicBezTo>
                <a:cubicBezTo>
                  <a:pt x="403" y="210"/>
                  <a:pt x="402" y="210"/>
                  <a:pt x="402" y="209"/>
                </a:cubicBezTo>
                <a:cubicBezTo>
                  <a:pt x="401" y="209"/>
                  <a:pt x="400" y="209"/>
                  <a:pt x="399" y="208"/>
                </a:cubicBezTo>
                <a:cubicBezTo>
                  <a:pt x="398" y="208"/>
                  <a:pt x="397" y="207"/>
                  <a:pt x="396" y="206"/>
                </a:cubicBezTo>
                <a:cubicBezTo>
                  <a:pt x="395" y="206"/>
                  <a:pt x="395" y="205"/>
                  <a:pt x="394" y="205"/>
                </a:cubicBezTo>
                <a:cubicBezTo>
                  <a:pt x="393" y="204"/>
                  <a:pt x="392" y="205"/>
                  <a:pt x="391" y="205"/>
                </a:cubicBezTo>
                <a:cubicBezTo>
                  <a:pt x="390" y="205"/>
                  <a:pt x="390" y="205"/>
                  <a:pt x="389" y="204"/>
                </a:cubicBezTo>
                <a:cubicBezTo>
                  <a:pt x="388" y="204"/>
                  <a:pt x="385" y="202"/>
                  <a:pt x="383" y="202"/>
                </a:cubicBezTo>
                <a:cubicBezTo>
                  <a:pt x="382" y="201"/>
                  <a:pt x="380" y="201"/>
                  <a:pt x="380" y="199"/>
                </a:cubicBezTo>
                <a:cubicBezTo>
                  <a:pt x="379" y="198"/>
                  <a:pt x="378" y="198"/>
                  <a:pt x="377" y="197"/>
                </a:cubicBezTo>
                <a:cubicBezTo>
                  <a:pt x="375" y="197"/>
                  <a:pt x="374" y="196"/>
                  <a:pt x="373" y="195"/>
                </a:cubicBezTo>
                <a:cubicBezTo>
                  <a:pt x="373" y="194"/>
                  <a:pt x="372" y="194"/>
                  <a:pt x="372" y="193"/>
                </a:cubicBezTo>
                <a:cubicBezTo>
                  <a:pt x="371" y="192"/>
                  <a:pt x="368" y="192"/>
                  <a:pt x="367" y="191"/>
                </a:cubicBezTo>
                <a:cubicBezTo>
                  <a:pt x="365" y="190"/>
                  <a:pt x="363" y="190"/>
                  <a:pt x="361" y="190"/>
                </a:cubicBezTo>
                <a:cubicBezTo>
                  <a:pt x="360" y="190"/>
                  <a:pt x="359" y="189"/>
                  <a:pt x="358" y="188"/>
                </a:cubicBezTo>
                <a:cubicBezTo>
                  <a:pt x="357" y="187"/>
                  <a:pt x="355" y="186"/>
                  <a:pt x="354" y="185"/>
                </a:cubicBezTo>
                <a:cubicBezTo>
                  <a:pt x="353" y="184"/>
                  <a:pt x="352" y="183"/>
                  <a:pt x="351" y="182"/>
                </a:cubicBezTo>
                <a:cubicBezTo>
                  <a:pt x="351" y="182"/>
                  <a:pt x="350" y="183"/>
                  <a:pt x="350" y="183"/>
                </a:cubicBezTo>
                <a:cubicBezTo>
                  <a:pt x="349" y="183"/>
                  <a:pt x="348" y="183"/>
                  <a:pt x="348" y="182"/>
                </a:cubicBezTo>
                <a:cubicBezTo>
                  <a:pt x="347" y="182"/>
                  <a:pt x="345" y="181"/>
                  <a:pt x="347" y="180"/>
                </a:cubicBezTo>
                <a:cubicBezTo>
                  <a:pt x="347" y="180"/>
                  <a:pt x="347" y="179"/>
                  <a:pt x="346" y="179"/>
                </a:cubicBezTo>
                <a:cubicBezTo>
                  <a:pt x="346" y="179"/>
                  <a:pt x="346" y="178"/>
                  <a:pt x="347" y="178"/>
                </a:cubicBezTo>
                <a:cubicBezTo>
                  <a:pt x="347" y="178"/>
                  <a:pt x="346" y="177"/>
                  <a:pt x="346" y="177"/>
                </a:cubicBezTo>
                <a:cubicBezTo>
                  <a:pt x="346" y="177"/>
                  <a:pt x="345" y="177"/>
                  <a:pt x="345" y="177"/>
                </a:cubicBezTo>
                <a:cubicBezTo>
                  <a:pt x="345" y="177"/>
                  <a:pt x="345" y="176"/>
                  <a:pt x="344" y="176"/>
                </a:cubicBezTo>
                <a:cubicBezTo>
                  <a:pt x="344" y="175"/>
                  <a:pt x="344" y="174"/>
                  <a:pt x="343" y="174"/>
                </a:cubicBezTo>
                <a:cubicBezTo>
                  <a:pt x="343" y="175"/>
                  <a:pt x="342" y="175"/>
                  <a:pt x="342" y="176"/>
                </a:cubicBezTo>
                <a:cubicBezTo>
                  <a:pt x="342" y="176"/>
                  <a:pt x="342" y="176"/>
                  <a:pt x="342" y="176"/>
                </a:cubicBezTo>
                <a:cubicBezTo>
                  <a:pt x="342" y="177"/>
                  <a:pt x="341" y="177"/>
                  <a:pt x="340" y="176"/>
                </a:cubicBezTo>
                <a:cubicBezTo>
                  <a:pt x="340" y="176"/>
                  <a:pt x="340" y="176"/>
                  <a:pt x="340" y="176"/>
                </a:cubicBezTo>
                <a:cubicBezTo>
                  <a:pt x="340" y="175"/>
                  <a:pt x="340" y="175"/>
                  <a:pt x="340" y="175"/>
                </a:cubicBezTo>
                <a:cubicBezTo>
                  <a:pt x="339" y="174"/>
                  <a:pt x="338" y="173"/>
                  <a:pt x="337" y="172"/>
                </a:cubicBezTo>
                <a:cubicBezTo>
                  <a:pt x="335" y="171"/>
                  <a:pt x="334" y="171"/>
                  <a:pt x="333" y="170"/>
                </a:cubicBezTo>
                <a:cubicBezTo>
                  <a:pt x="332" y="169"/>
                  <a:pt x="331" y="169"/>
                  <a:pt x="331" y="168"/>
                </a:cubicBezTo>
                <a:cubicBezTo>
                  <a:pt x="330" y="168"/>
                  <a:pt x="329" y="168"/>
                  <a:pt x="328" y="167"/>
                </a:cubicBezTo>
                <a:cubicBezTo>
                  <a:pt x="327" y="167"/>
                  <a:pt x="326" y="166"/>
                  <a:pt x="325" y="166"/>
                </a:cubicBezTo>
                <a:cubicBezTo>
                  <a:pt x="325" y="166"/>
                  <a:pt x="325" y="166"/>
                  <a:pt x="324" y="166"/>
                </a:cubicBezTo>
                <a:cubicBezTo>
                  <a:pt x="324" y="166"/>
                  <a:pt x="323" y="166"/>
                  <a:pt x="322" y="166"/>
                </a:cubicBezTo>
                <a:cubicBezTo>
                  <a:pt x="321" y="165"/>
                  <a:pt x="320" y="165"/>
                  <a:pt x="319" y="164"/>
                </a:cubicBezTo>
                <a:cubicBezTo>
                  <a:pt x="318" y="164"/>
                  <a:pt x="318" y="164"/>
                  <a:pt x="318" y="164"/>
                </a:cubicBezTo>
                <a:cubicBezTo>
                  <a:pt x="318" y="163"/>
                  <a:pt x="317" y="163"/>
                  <a:pt x="318" y="163"/>
                </a:cubicBezTo>
                <a:cubicBezTo>
                  <a:pt x="318" y="163"/>
                  <a:pt x="318" y="162"/>
                  <a:pt x="318" y="162"/>
                </a:cubicBezTo>
                <a:cubicBezTo>
                  <a:pt x="319" y="162"/>
                  <a:pt x="319" y="161"/>
                  <a:pt x="318" y="161"/>
                </a:cubicBezTo>
                <a:cubicBezTo>
                  <a:pt x="318" y="160"/>
                  <a:pt x="317" y="160"/>
                  <a:pt x="317" y="160"/>
                </a:cubicBezTo>
                <a:cubicBezTo>
                  <a:pt x="317" y="159"/>
                  <a:pt x="315" y="159"/>
                  <a:pt x="314" y="159"/>
                </a:cubicBezTo>
                <a:cubicBezTo>
                  <a:pt x="313" y="158"/>
                  <a:pt x="311" y="158"/>
                  <a:pt x="310" y="157"/>
                </a:cubicBezTo>
                <a:cubicBezTo>
                  <a:pt x="310" y="157"/>
                  <a:pt x="309" y="157"/>
                  <a:pt x="309" y="157"/>
                </a:cubicBezTo>
                <a:cubicBezTo>
                  <a:pt x="308" y="157"/>
                  <a:pt x="308" y="157"/>
                  <a:pt x="307" y="157"/>
                </a:cubicBezTo>
                <a:cubicBezTo>
                  <a:pt x="307" y="157"/>
                  <a:pt x="307" y="157"/>
                  <a:pt x="306" y="157"/>
                </a:cubicBezTo>
                <a:cubicBezTo>
                  <a:pt x="306" y="155"/>
                  <a:pt x="303" y="154"/>
                  <a:pt x="302" y="154"/>
                </a:cubicBezTo>
                <a:cubicBezTo>
                  <a:pt x="300" y="153"/>
                  <a:pt x="298" y="152"/>
                  <a:pt x="298" y="152"/>
                </a:cubicBezTo>
                <a:cubicBezTo>
                  <a:pt x="297" y="151"/>
                  <a:pt x="295" y="150"/>
                  <a:pt x="291" y="148"/>
                </a:cubicBezTo>
                <a:cubicBezTo>
                  <a:pt x="290" y="147"/>
                  <a:pt x="289" y="146"/>
                  <a:pt x="288" y="146"/>
                </a:cubicBezTo>
                <a:cubicBezTo>
                  <a:pt x="287" y="145"/>
                  <a:pt x="286" y="144"/>
                  <a:pt x="285" y="144"/>
                </a:cubicBezTo>
                <a:cubicBezTo>
                  <a:pt x="285" y="144"/>
                  <a:pt x="284" y="145"/>
                  <a:pt x="284" y="145"/>
                </a:cubicBezTo>
                <a:cubicBezTo>
                  <a:pt x="283" y="145"/>
                  <a:pt x="283" y="145"/>
                  <a:pt x="282" y="145"/>
                </a:cubicBezTo>
                <a:cubicBezTo>
                  <a:pt x="282" y="145"/>
                  <a:pt x="281" y="144"/>
                  <a:pt x="281" y="144"/>
                </a:cubicBezTo>
                <a:cubicBezTo>
                  <a:pt x="280" y="143"/>
                  <a:pt x="279" y="142"/>
                  <a:pt x="279" y="141"/>
                </a:cubicBezTo>
                <a:cubicBezTo>
                  <a:pt x="279" y="140"/>
                  <a:pt x="273" y="137"/>
                  <a:pt x="270" y="137"/>
                </a:cubicBezTo>
                <a:cubicBezTo>
                  <a:pt x="269" y="138"/>
                  <a:pt x="266" y="137"/>
                  <a:pt x="266" y="136"/>
                </a:cubicBezTo>
                <a:cubicBezTo>
                  <a:pt x="266" y="136"/>
                  <a:pt x="266" y="135"/>
                  <a:pt x="266" y="135"/>
                </a:cubicBezTo>
                <a:cubicBezTo>
                  <a:pt x="266" y="135"/>
                  <a:pt x="266" y="135"/>
                  <a:pt x="266" y="134"/>
                </a:cubicBezTo>
                <a:cubicBezTo>
                  <a:pt x="264" y="133"/>
                  <a:pt x="263" y="132"/>
                  <a:pt x="262" y="131"/>
                </a:cubicBezTo>
                <a:cubicBezTo>
                  <a:pt x="260" y="130"/>
                  <a:pt x="258" y="129"/>
                  <a:pt x="257" y="128"/>
                </a:cubicBezTo>
                <a:cubicBezTo>
                  <a:pt x="256" y="127"/>
                  <a:pt x="253" y="125"/>
                  <a:pt x="249" y="123"/>
                </a:cubicBezTo>
                <a:cubicBezTo>
                  <a:pt x="247" y="122"/>
                  <a:pt x="244" y="119"/>
                  <a:pt x="241" y="121"/>
                </a:cubicBezTo>
                <a:cubicBezTo>
                  <a:pt x="241" y="121"/>
                  <a:pt x="241" y="122"/>
                  <a:pt x="241" y="122"/>
                </a:cubicBezTo>
                <a:cubicBezTo>
                  <a:pt x="241" y="122"/>
                  <a:pt x="240" y="121"/>
                  <a:pt x="240" y="121"/>
                </a:cubicBezTo>
                <a:cubicBezTo>
                  <a:pt x="239" y="121"/>
                  <a:pt x="238" y="121"/>
                  <a:pt x="237" y="120"/>
                </a:cubicBezTo>
                <a:cubicBezTo>
                  <a:pt x="236" y="120"/>
                  <a:pt x="235" y="119"/>
                  <a:pt x="234" y="118"/>
                </a:cubicBezTo>
                <a:cubicBezTo>
                  <a:pt x="233" y="117"/>
                  <a:pt x="231" y="116"/>
                  <a:pt x="230" y="115"/>
                </a:cubicBezTo>
                <a:cubicBezTo>
                  <a:pt x="229" y="115"/>
                  <a:pt x="226" y="114"/>
                  <a:pt x="226" y="113"/>
                </a:cubicBezTo>
                <a:cubicBezTo>
                  <a:pt x="226" y="113"/>
                  <a:pt x="226" y="113"/>
                  <a:pt x="226" y="112"/>
                </a:cubicBezTo>
                <a:cubicBezTo>
                  <a:pt x="226" y="111"/>
                  <a:pt x="224" y="111"/>
                  <a:pt x="223" y="110"/>
                </a:cubicBezTo>
                <a:cubicBezTo>
                  <a:pt x="222" y="109"/>
                  <a:pt x="219" y="108"/>
                  <a:pt x="218" y="107"/>
                </a:cubicBezTo>
                <a:cubicBezTo>
                  <a:pt x="217" y="106"/>
                  <a:pt x="216" y="105"/>
                  <a:pt x="215" y="106"/>
                </a:cubicBezTo>
                <a:cubicBezTo>
                  <a:pt x="213" y="106"/>
                  <a:pt x="213" y="106"/>
                  <a:pt x="211" y="105"/>
                </a:cubicBezTo>
                <a:cubicBezTo>
                  <a:pt x="210" y="105"/>
                  <a:pt x="209" y="104"/>
                  <a:pt x="207" y="103"/>
                </a:cubicBezTo>
                <a:cubicBezTo>
                  <a:pt x="206" y="102"/>
                  <a:pt x="204" y="102"/>
                  <a:pt x="202" y="101"/>
                </a:cubicBezTo>
                <a:cubicBezTo>
                  <a:pt x="203" y="100"/>
                  <a:pt x="203" y="100"/>
                  <a:pt x="203" y="100"/>
                </a:cubicBezTo>
                <a:cubicBezTo>
                  <a:pt x="203" y="99"/>
                  <a:pt x="203" y="99"/>
                  <a:pt x="203" y="99"/>
                </a:cubicBezTo>
                <a:cubicBezTo>
                  <a:pt x="203" y="99"/>
                  <a:pt x="202" y="99"/>
                  <a:pt x="202" y="99"/>
                </a:cubicBezTo>
                <a:cubicBezTo>
                  <a:pt x="201" y="99"/>
                  <a:pt x="198" y="100"/>
                  <a:pt x="198" y="98"/>
                </a:cubicBezTo>
                <a:cubicBezTo>
                  <a:pt x="198" y="97"/>
                  <a:pt x="198" y="97"/>
                  <a:pt x="198" y="97"/>
                </a:cubicBezTo>
                <a:cubicBezTo>
                  <a:pt x="199" y="96"/>
                  <a:pt x="199" y="96"/>
                  <a:pt x="199" y="96"/>
                </a:cubicBezTo>
                <a:cubicBezTo>
                  <a:pt x="199" y="96"/>
                  <a:pt x="199" y="95"/>
                  <a:pt x="199" y="95"/>
                </a:cubicBezTo>
                <a:cubicBezTo>
                  <a:pt x="198" y="94"/>
                  <a:pt x="198" y="94"/>
                  <a:pt x="197" y="94"/>
                </a:cubicBezTo>
                <a:cubicBezTo>
                  <a:pt x="197" y="94"/>
                  <a:pt x="196" y="95"/>
                  <a:pt x="195" y="94"/>
                </a:cubicBezTo>
                <a:cubicBezTo>
                  <a:pt x="195" y="94"/>
                  <a:pt x="195" y="94"/>
                  <a:pt x="195" y="94"/>
                </a:cubicBezTo>
                <a:cubicBezTo>
                  <a:pt x="195" y="94"/>
                  <a:pt x="195" y="94"/>
                  <a:pt x="196" y="93"/>
                </a:cubicBezTo>
                <a:cubicBezTo>
                  <a:pt x="196" y="92"/>
                  <a:pt x="192" y="91"/>
                  <a:pt x="192" y="91"/>
                </a:cubicBezTo>
                <a:cubicBezTo>
                  <a:pt x="189" y="89"/>
                  <a:pt x="187" y="88"/>
                  <a:pt x="185" y="87"/>
                </a:cubicBezTo>
                <a:cubicBezTo>
                  <a:pt x="183" y="86"/>
                  <a:pt x="181" y="85"/>
                  <a:pt x="179" y="84"/>
                </a:cubicBezTo>
                <a:cubicBezTo>
                  <a:pt x="177" y="83"/>
                  <a:pt x="175" y="81"/>
                  <a:pt x="174" y="81"/>
                </a:cubicBezTo>
                <a:cubicBezTo>
                  <a:pt x="173" y="81"/>
                  <a:pt x="173" y="82"/>
                  <a:pt x="173" y="82"/>
                </a:cubicBezTo>
                <a:cubicBezTo>
                  <a:pt x="172" y="82"/>
                  <a:pt x="172" y="82"/>
                  <a:pt x="171" y="82"/>
                </a:cubicBezTo>
                <a:cubicBezTo>
                  <a:pt x="170" y="82"/>
                  <a:pt x="169" y="81"/>
                  <a:pt x="168" y="82"/>
                </a:cubicBezTo>
                <a:cubicBezTo>
                  <a:pt x="167" y="82"/>
                  <a:pt x="167" y="82"/>
                  <a:pt x="166" y="82"/>
                </a:cubicBezTo>
                <a:cubicBezTo>
                  <a:pt x="165" y="81"/>
                  <a:pt x="164" y="81"/>
                  <a:pt x="163" y="80"/>
                </a:cubicBezTo>
                <a:cubicBezTo>
                  <a:pt x="163" y="80"/>
                  <a:pt x="159" y="79"/>
                  <a:pt x="159" y="78"/>
                </a:cubicBezTo>
                <a:cubicBezTo>
                  <a:pt x="159" y="77"/>
                  <a:pt x="160" y="77"/>
                  <a:pt x="160" y="77"/>
                </a:cubicBezTo>
                <a:cubicBezTo>
                  <a:pt x="160" y="76"/>
                  <a:pt x="160" y="76"/>
                  <a:pt x="159" y="75"/>
                </a:cubicBezTo>
                <a:cubicBezTo>
                  <a:pt x="159" y="76"/>
                  <a:pt x="158" y="76"/>
                  <a:pt x="158" y="76"/>
                </a:cubicBezTo>
                <a:cubicBezTo>
                  <a:pt x="158" y="77"/>
                  <a:pt x="158" y="77"/>
                  <a:pt x="157" y="77"/>
                </a:cubicBezTo>
                <a:cubicBezTo>
                  <a:pt x="155" y="77"/>
                  <a:pt x="154" y="75"/>
                  <a:pt x="152" y="74"/>
                </a:cubicBezTo>
                <a:cubicBezTo>
                  <a:pt x="152" y="74"/>
                  <a:pt x="152" y="74"/>
                  <a:pt x="152" y="74"/>
                </a:cubicBezTo>
                <a:cubicBezTo>
                  <a:pt x="152" y="74"/>
                  <a:pt x="152" y="74"/>
                  <a:pt x="152" y="73"/>
                </a:cubicBezTo>
                <a:cubicBezTo>
                  <a:pt x="153" y="72"/>
                  <a:pt x="153" y="69"/>
                  <a:pt x="151" y="70"/>
                </a:cubicBezTo>
                <a:cubicBezTo>
                  <a:pt x="150" y="70"/>
                  <a:pt x="150" y="71"/>
                  <a:pt x="150" y="71"/>
                </a:cubicBezTo>
                <a:cubicBezTo>
                  <a:pt x="150" y="71"/>
                  <a:pt x="149" y="71"/>
                  <a:pt x="149" y="72"/>
                </a:cubicBezTo>
                <a:cubicBezTo>
                  <a:pt x="149" y="72"/>
                  <a:pt x="149" y="72"/>
                  <a:pt x="148" y="72"/>
                </a:cubicBezTo>
                <a:cubicBezTo>
                  <a:pt x="148" y="73"/>
                  <a:pt x="147" y="72"/>
                  <a:pt x="146" y="71"/>
                </a:cubicBezTo>
                <a:cubicBezTo>
                  <a:pt x="146" y="70"/>
                  <a:pt x="146" y="70"/>
                  <a:pt x="146" y="69"/>
                </a:cubicBezTo>
                <a:cubicBezTo>
                  <a:pt x="146" y="69"/>
                  <a:pt x="145" y="68"/>
                  <a:pt x="144" y="68"/>
                </a:cubicBezTo>
                <a:cubicBezTo>
                  <a:pt x="143" y="68"/>
                  <a:pt x="142" y="67"/>
                  <a:pt x="141" y="66"/>
                </a:cubicBezTo>
                <a:cubicBezTo>
                  <a:pt x="140" y="66"/>
                  <a:pt x="139" y="67"/>
                  <a:pt x="138" y="67"/>
                </a:cubicBezTo>
                <a:cubicBezTo>
                  <a:pt x="135" y="66"/>
                  <a:pt x="132" y="64"/>
                  <a:pt x="130" y="63"/>
                </a:cubicBezTo>
                <a:cubicBezTo>
                  <a:pt x="129" y="62"/>
                  <a:pt x="121" y="59"/>
                  <a:pt x="122" y="58"/>
                </a:cubicBezTo>
                <a:cubicBezTo>
                  <a:pt x="122" y="58"/>
                  <a:pt x="122" y="57"/>
                  <a:pt x="122" y="57"/>
                </a:cubicBezTo>
                <a:cubicBezTo>
                  <a:pt x="122" y="57"/>
                  <a:pt x="122" y="57"/>
                  <a:pt x="122" y="57"/>
                </a:cubicBezTo>
                <a:cubicBezTo>
                  <a:pt x="121" y="56"/>
                  <a:pt x="118" y="55"/>
                  <a:pt x="120" y="55"/>
                </a:cubicBezTo>
                <a:cubicBezTo>
                  <a:pt x="120" y="55"/>
                  <a:pt x="121" y="54"/>
                  <a:pt x="121" y="54"/>
                </a:cubicBezTo>
                <a:cubicBezTo>
                  <a:pt x="121" y="54"/>
                  <a:pt x="120" y="53"/>
                  <a:pt x="120" y="53"/>
                </a:cubicBezTo>
                <a:cubicBezTo>
                  <a:pt x="119" y="53"/>
                  <a:pt x="119" y="54"/>
                  <a:pt x="118" y="53"/>
                </a:cubicBezTo>
                <a:cubicBezTo>
                  <a:pt x="118" y="53"/>
                  <a:pt x="117" y="53"/>
                  <a:pt x="117" y="52"/>
                </a:cubicBezTo>
                <a:cubicBezTo>
                  <a:pt x="116" y="52"/>
                  <a:pt x="116" y="52"/>
                  <a:pt x="115" y="52"/>
                </a:cubicBezTo>
                <a:cubicBezTo>
                  <a:pt x="113" y="51"/>
                  <a:pt x="111" y="50"/>
                  <a:pt x="109" y="49"/>
                </a:cubicBezTo>
                <a:cubicBezTo>
                  <a:pt x="108" y="49"/>
                  <a:pt x="108" y="48"/>
                  <a:pt x="107" y="48"/>
                </a:cubicBezTo>
                <a:cubicBezTo>
                  <a:pt x="106" y="47"/>
                  <a:pt x="106" y="47"/>
                  <a:pt x="105" y="47"/>
                </a:cubicBezTo>
                <a:cubicBezTo>
                  <a:pt x="105" y="46"/>
                  <a:pt x="104" y="46"/>
                  <a:pt x="103" y="46"/>
                </a:cubicBezTo>
                <a:cubicBezTo>
                  <a:pt x="103" y="46"/>
                  <a:pt x="102" y="47"/>
                  <a:pt x="102" y="47"/>
                </a:cubicBezTo>
                <a:cubicBezTo>
                  <a:pt x="101" y="47"/>
                  <a:pt x="100" y="46"/>
                  <a:pt x="99" y="47"/>
                </a:cubicBezTo>
                <a:cubicBezTo>
                  <a:pt x="99" y="47"/>
                  <a:pt x="99" y="47"/>
                  <a:pt x="99" y="47"/>
                </a:cubicBezTo>
                <a:cubicBezTo>
                  <a:pt x="99" y="48"/>
                  <a:pt x="98" y="48"/>
                  <a:pt x="98" y="47"/>
                </a:cubicBezTo>
                <a:cubicBezTo>
                  <a:pt x="97" y="47"/>
                  <a:pt x="97" y="47"/>
                  <a:pt x="96" y="46"/>
                </a:cubicBezTo>
                <a:cubicBezTo>
                  <a:pt x="96" y="46"/>
                  <a:pt x="95" y="46"/>
                  <a:pt x="95" y="45"/>
                </a:cubicBezTo>
                <a:cubicBezTo>
                  <a:pt x="95" y="44"/>
                  <a:pt x="95" y="44"/>
                  <a:pt x="95" y="43"/>
                </a:cubicBezTo>
                <a:cubicBezTo>
                  <a:pt x="95" y="42"/>
                  <a:pt x="93" y="42"/>
                  <a:pt x="92" y="42"/>
                </a:cubicBezTo>
                <a:cubicBezTo>
                  <a:pt x="91" y="41"/>
                  <a:pt x="91" y="39"/>
                  <a:pt x="91" y="38"/>
                </a:cubicBezTo>
                <a:cubicBezTo>
                  <a:pt x="90" y="37"/>
                  <a:pt x="88" y="36"/>
                  <a:pt x="86" y="36"/>
                </a:cubicBezTo>
                <a:cubicBezTo>
                  <a:pt x="86" y="35"/>
                  <a:pt x="85" y="35"/>
                  <a:pt x="84" y="35"/>
                </a:cubicBezTo>
                <a:cubicBezTo>
                  <a:pt x="83" y="35"/>
                  <a:pt x="83" y="35"/>
                  <a:pt x="82" y="35"/>
                </a:cubicBezTo>
                <a:cubicBezTo>
                  <a:pt x="80" y="35"/>
                  <a:pt x="79" y="33"/>
                  <a:pt x="77" y="32"/>
                </a:cubicBezTo>
                <a:cubicBezTo>
                  <a:pt x="76" y="31"/>
                  <a:pt x="74" y="30"/>
                  <a:pt x="72" y="29"/>
                </a:cubicBezTo>
                <a:cubicBezTo>
                  <a:pt x="71" y="29"/>
                  <a:pt x="69" y="28"/>
                  <a:pt x="68" y="28"/>
                </a:cubicBezTo>
                <a:cubicBezTo>
                  <a:pt x="55" y="21"/>
                  <a:pt x="46" y="10"/>
                  <a:pt x="33" y="4"/>
                </a:cubicBezTo>
                <a:cubicBezTo>
                  <a:pt x="30" y="3"/>
                  <a:pt x="26" y="2"/>
                  <a:pt x="22" y="1"/>
                </a:cubicBezTo>
                <a:cubicBezTo>
                  <a:pt x="20" y="1"/>
                  <a:pt x="18" y="0"/>
                  <a:pt x="17" y="1"/>
                </a:cubicBezTo>
                <a:cubicBezTo>
                  <a:pt x="15" y="2"/>
                  <a:pt x="14" y="3"/>
                  <a:pt x="15" y="4"/>
                </a:cubicBezTo>
                <a:cubicBezTo>
                  <a:pt x="15" y="4"/>
                  <a:pt x="15" y="5"/>
                  <a:pt x="14" y="5"/>
                </a:cubicBezTo>
                <a:cubicBezTo>
                  <a:pt x="14" y="6"/>
                  <a:pt x="14" y="6"/>
                  <a:pt x="13" y="6"/>
                </a:cubicBezTo>
                <a:cubicBezTo>
                  <a:pt x="13" y="6"/>
                  <a:pt x="14" y="8"/>
                  <a:pt x="13" y="8"/>
                </a:cubicBezTo>
                <a:cubicBezTo>
                  <a:pt x="13" y="9"/>
                  <a:pt x="11" y="9"/>
                  <a:pt x="11" y="9"/>
                </a:cubicBezTo>
                <a:cubicBezTo>
                  <a:pt x="10" y="10"/>
                  <a:pt x="10" y="12"/>
                  <a:pt x="10" y="12"/>
                </a:cubicBezTo>
                <a:cubicBezTo>
                  <a:pt x="9" y="13"/>
                  <a:pt x="9" y="13"/>
                  <a:pt x="9" y="13"/>
                </a:cubicBezTo>
                <a:cubicBezTo>
                  <a:pt x="8" y="14"/>
                  <a:pt x="8" y="15"/>
                  <a:pt x="7" y="16"/>
                </a:cubicBezTo>
                <a:cubicBezTo>
                  <a:pt x="7" y="17"/>
                  <a:pt x="6" y="18"/>
                  <a:pt x="6" y="19"/>
                </a:cubicBezTo>
                <a:cubicBezTo>
                  <a:pt x="5" y="22"/>
                  <a:pt x="4" y="24"/>
                  <a:pt x="4" y="27"/>
                </a:cubicBezTo>
                <a:cubicBezTo>
                  <a:pt x="4" y="28"/>
                  <a:pt x="4" y="29"/>
                  <a:pt x="4" y="30"/>
                </a:cubicBezTo>
                <a:cubicBezTo>
                  <a:pt x="4" y="31"/>
                  <a:pt x="3" y="31"/>
                  <a:pt x="4" y="32"/>
                </a:cubicBezTo>
                <a:cubicBezTo>
                  <a:pt x="4" y="33"/>
                  <a:pt x="4" y="33"/>
                  <a:pt x="4" y="34"/>
                </a:cubicBezTo>
                <a:cubicBezTo>
                  <a:pt x="3" y="35"/>
                  <a:pt x="2" y="37"/>
                  <a:pt x="1" y="38"/>
                </a:cubicBezTo>
                <a:cubicBezTo>
                  <a:pt x="1" y="40"/>
                  <a:pt x="0" y="42"/>
                  <a:pt x="1" y="44"/>
                </a:cubicBezTo>
                <a:cubicBezTo>
                  <a:pt x="1" y="44"/>
                  <a:pt x="1" y="44"/>
                  <a:pt x="1" y="44"/>
                </a:cubicBezTo>
                <a:cubicBezTo>
                  <a:pt x="1" y="45"/>
                  <a:pt x="1" y="45"/>
                  <a:pt x="2" y="45"/>
                </a:cubicBezTo>
                <a:cubicBezTo>
                  <a:pt x="7" y="52"/>
                  <a:pt x="15" y="55"/>
                  <a:pt x="22" y="60"/>
                </a:cubicBezTo>
                <a:cubicBezTo>
                  <a:pt x="26" y="62"/>
                  <a:pt x="31" y="65"/>
                  <a:pt x="35" y="68"/>
                </a:cubicBezTo>
                <a:cubicBezTo>
                  <a:pt x="37" y="69"/>
                  <a:pt x="40" y="70"/>
                  <a:pt x="42" y="71"/>
                </a:cubicBezTo>
                <a:cubicBezTo>
                  <a:pt x="44" y="73"/>
                  <a:pt x="46" y="73"/>
                  <a:pt x="48" y="74"/>
                </a:cubicBezTo>
                <a:cubicBezTo>
                  <a:pt x="50" y="75"/>
                  <a:pt x="52" y="76"/>
                  <a:pt x="53" y="77"/>
                </a:cubicBezTo>
                <a:cubicBezTo>
                  <a:pt x="56" y="78"/>
                  <a:pt x="59" y="80"/>
                  <a:pt x="62" y="81"/>
                </a:cubicBezTo>
                <a:cubicBezTo>
                  <a:pt x="63" y="81"/>
                  <a:pt x="64" y="81"/>
                  <a:pt x="65" y="81"/>
                </a:cubicBezTo>
                <a:cubicBezTo>
                  <a:pt x="67" y="82"/>
                  <a:pt x="68" y="83"/>
                  <a:pt x="69" y="83"/>
                </a:cubicBezTo>
                <a:cubicBezTo>
                  <a:pt x="101" y="102"/>
                  <a:pt x="179" y="146"/>
                  <a:pt x="194" y="154"/>
                </a:cubicBezTo>
                <a:cubicBezTo>
                  <a:pt x="198" y="156"/>
                  <a:pt x="205" y="159"/>
                  <a:pt x="210" y="162"/>
                </a:cubicBezTo>
                <a:cubicBezTo>
                  <a:pt x="216" y="165"/>
                  <a:pt x="224" y="169"/>
                  <a:pt x="229" y="172"/>
                </a:cubicBezTo>
                <a:cubicBezTo>
                  <a:pt x="255" y="185"/>
                  <a:pt x="265" y="191"/>
                  <a:pt x="291" y="205"/>
                </a:cubicBezTo>
                <a:cubicBezTo>
                  <a:pt x="293" y="206"/>
                  <a:pt x="295" y="207"/>
                  <a:pt x="298" y="209"/>
                </a:cubicBezTo>
                <a:cubicBezTo>
                  <a:pt x="298" y="209"/>
                  <a:pt x="299" y="210"/>
                  <a:pt x="300" y="210"/>
                </a:cubicBezTo>
                <a:cubicBezTo>
                  <a:pt x="301" y="211"/>
                  <a:pt x="302" y="210"/>
                  <a:pt x="303" y="210"/>
                </a:cubicBezTo>
                <a:cubicBezTo>
                  <a:pt x="304" y="210"/>
                  <a:pt x="304" y="211"/>
                  <a:pt x="305" y="212"/>
                </a:cubicBezTo>
                <a:cubicBezTo>
                  <a:pt x="305" y="213"/>
                  <a:pt x="306" y="214"/>
                  <a:pt x="307" y="214"/>
                </a:cubicBezTo>
                <a:cubicBezTo>
                  <a:pt x="307" y="214"/>
                  <a:pt x="308" y="214"/>
                  <a:pt x="308" y="214"/>
                </a:cubicBezTo>
                <a:cubicBezTo>
                  <a:pt x="309" y="213"/>
                  <a:pt x="311" y="215"/>
                  <a:pt x="312" y="215"/>
                </a:cubicBezTo>
                <a:cubicBezTo>
                  <a:pt x="314" y="216"/>
                  <a:pt x="315" y="217"/>
                  <a:pt x="317" y="218"/>
                </a:cubicBezTo>
                <a:cubicBezTo>
                  <a:pt x="320" y="220"/>
                  <a:pt x="323" y="221"/>
                  <a:pt x="326" y="223"/>
                </a:cubicBezTo>
                <a:cubicBezTo>
                  <a:pt x="335" y="228"/>
                  <a:pt x="343" y="233"/>
                  <a:pt x="344" y="233"/>
                </a:cubicBezTo>
                <a:cubicBezTo>
                  <a:pt x="344" y="233"/>
                  <a:pt x="345" y="233"/>
                  <a:pt x="345" y="233"/>
                </a:cubicBezTo>
                <a:cubicBezTo>
                  <a:pt x="345" y="234"/>
                  <a:pt x="346" y="235"/>
                  <a:pt x="347" y="235"/>
                </a:cubicBezTo>
                <a:cubicBezTo>
                  <a:pt x="349" y="236"/>
                  <a:pt x="350" y="236"/>
                  <a:pt x="351" y="237"/>
                </a:cubicBezTo>
                <a:cubicBezTo>
                  <a:pt x="353" y="238"/>
                  <a:pt x="355" y="239"/>
                  <a:pt x="356" y="240"/>
                </a:cubicBezTo>
                <a:cubicBezTo>
                  <a:pt x="360" y="242"/>
                  <a:pt x="363" y="244"/>
                  <a:pt x="366" y="246"/>
                </a:cubicBezTo>
                <a:cubicBezTo>
                  <a:pt x="382" y="254"/>
                  <a:pt x="397" y="263"/>
                  <a:pt x="412" y="272"/>
                </a:cubicBezTo>
                <a:cubicBezTo>
                  <a:pt x="418" y="275"/>
                  <a:pt x="425" y="279"/>
                  <a:pt x="432" y="283"/>
                </a:cubicBezTo>
                <a:cubicBezTo>
                  <a:pt x="437" y="286"/>
                  <a:pt x="441" y="288"/>
                  <a:pt x="446" y="291"/>
                </a:cubicBezTo>
                <a:cubicBezTo>
                  <a:pt x="451" y="294"/>
                  <a:pt x="456" y="296"/>
                  <a:pt x="461" y="299"/>
                </a:cubicBezTo>
                <a:cubicBezTo>
                  <a:pt x="463" y="300"/>
                  <a:pt x="465" y="302"/>
                  <a:pt x="467" y="303"/>
                </a:cubicBezTo>
                <a:cubicBezTo>
                  <a:pt x="468" y="303"/>
                  <a:pt x="469" y="304"/>
                  <a:pt x="470" y="304"/>
                </a:cubicBezTo>
                <a:cubicBezTo>
                  <a:pt x="471" y="305"/>
                  <a:pt x="472" y="306"/>
                  <a:pt x="473" y="306"/>
                </a:cubicBezTo>
                <a:cubicBezTo>
                  <a:pt x="473" y="306"/>
                  <a:pt x="473" y="306"/>
                  <a:pt x="474" y="306"/>
                </a:cubicBezTo>
                <a:cubicBezTo>
                  <a:pt x="474" y="306"/>
                  <a:pt x="474" y="306"/>
                  <a:pt x="474" y="306"/>
                </a:cubicBezTo>
                <a:cubicBezTo>
                  <a:pt x="475" y="307"/>
                  <a:pt x="476" y="306"/>
                  <a:pt x="477" y="306"/>
                </a:cubicBezTo>
                <a:cubicBezTo>
                  <a:pt x="478" y="307"/>
                  <a:pt x="478" y="308"/>
                  <a:pt x="479" y="309"/>
                </a:cubicBezTo>
                <a:cubicBezTo>
                  <a:pt x="480" y="310"/>
                  <a:pt x="482" y="311"/>
                  <a:pt x="483" y="311"/>
                </a:cubicBezTo>
                <a:cubicBezTo>
                  <a:pt x="485" y="312"/>
                  <a:pt x="487" y="313"/>
                  <a:pt x="489" y="314"/>
                </a:cubicBezTo>
                <a:cubicBezTo>
                  <a:pt x="490" y="315"/>
                  <a:pt x="496" y="319"/>
                  <a:pt x="497" y="318"/>
                </a:cubicBezTo>
                <a:cubicBezTo>
                  <a:pt x="497" y="317"/>
                  <a:pt x="497" y="317"/>
                  <a:pt x="497" y="317"/>
                </a:cubicBezTo>
                <a:cubicBezTo>
                  <a:pt x="498" y="316"/>
                  <a:pt x="500" y="318"/>
                  <a:pt x="501" y="318"/>
                </a:cubicBezTo>
                <a:cubicBezTo>
                  <a:pt x="501" y="319"/>
                  <a:pt x="505" y="320"/>
                  <a:pt x="504" y="321"/>
                </a:cubicBezTo>
                <a:cubicBezTo>
                  <a:pt x="504" y="322"/>
                  <a:pt x="505" y="322"/>
                  <a:pt x="505" y="322"/>
                </a:cubicBezTo>
                <a:cubicBezTo>
                  <a:pt x="506" y="322"/>
                  <a:pt x="506" y="321"/>
                  <a:pt x="507" y="322"/>
                </a:cubicBezTo>
                <a:cubicBezTo>
                  <a:pt x="508" y="322"/>
                  <a:pt x="509" y="322"/>
                  <a:pt x="509" y="323"/>
                </a:cubicBezTo>
                <a:cubicBezTo>
                  <a:pt x="510" y="323"/>
                  <a:pt x="509" y="324"/>
                  <a:pt x="509" y="325"/>
                </a:cubicBezTo>
                <a:cubicBezTo>
                  <a:pt x="511" y="327"/>
                  <a:pt x="513" y="328"/>
                  <a:pt x="515" y="329"/>
                </a:cubicBezTo>
                <a:cubicBezTo>
                  <a:pt x="516" y="330"/>
                  <a:pt x="518" y="331"/>
                  <a:pt x="520" y="330"/>
                </a:cubicBezTo>
                <a:cubicBezTo>
                  <a:pt x="522" y="330"/>
                  <a:pt x="522" y="330"/>
                  <a:pt x="523" y="332"/>
                </a:cubicBezTo>
                <a:cubicBezTo>
                  <a:pt x="524" y="333"/>
                  <a:pt x="525" y="334"/>
                  <a:pt x="527" y="335"/>
                </a:cubicBezTo>
                <a:cubicBezTo>
                  <a:pt x="528" y="336"/>
                  <a:pt x="530" y="336"/>
                  <a:pt x="531" y="336"/>
                </a:cubicBezTo>
                <a:cubicBezTo>
                  <a:pt x="532" y="336"/>
                  <a:pt x="533" y="336"/>
                  <a:pt x="534" y="336"/>
                </a:cubicBezTo>
                <a:cubicBezTo>
                  <a:pt x="534" y="337"/>
                  <a:pt x="535" y="338"/>
                  <a:pt x="535" y="338"/>
                </a:cubicBezTo>
                <a:cubicBezTo>
                  <a:pt x="536" y="339"/>
                  <a:pt x="536" y="339"/>
                  <a:pt x="536" y="340"/>
                </a:cubicBezTo>
                <a:cubicBezTo>
                  <a:pt x="537" y="341"/>
                  <a:pt x="538" y="342"/>
                  <a:pt x="540" y="342"/>
                </a:cubicBezTo>
                <a:cubicBezTo>
                  <a:pt x="541" y="343"/>
                  <a:pt x="543" y="344"/>
                  <a:pt x="544" y="345"/>
                </a:cubicBezTo>
                <a:cubicBezTo>
                  <a:pt x="549" y="348"/>
                  <a:pt x="554" y="351"/>
                  <a:pt x="559" y="354"/>
                </a:cubicBezTo>
                <a:cubicBezTo>
                  <a:pt x="561" y="355"/>
                  <a:pt x="563" y="356"/>
                  <a:pt x="565" y="357"/>
                </a:cubicBezTo>
                <a:cubicBezTo>
                  <a:pt x="567" y="358"/>
                  <a:pt x="568" y="359"/>
                  <a:pt x="570" y="359"/>
                </a:cubicBezTo>
                <a:cubicBezTo>
                  <a:pt x="571" y="359"/>
                  <a:pt x="573" y="359"/>
                  <a:pt x="574" y="359"/>
                </a:cubicBezTo>
                <a:cubicBezTo>
                  <a:pt x="575" y="359"/>
                  <a:pt x="575" y="360"/>
                  <a:pt x="576" y="360"/>
                </a:cubicBezTo>
                <a:cubicBezTo>
                  <a:pt x="576" y="361"/>
                  <a:pt x="578" y="362"/>
                  <a:pt x="580" y="363"/>
                </a:cubicBezTo>
                <a:cubicBezTo>
                  <a:pt x="581" y="363"/>
                  <a:pt x="582" y="363"/>
                  <a:pt x="582" y="364"/>
                </a:cubicBezTo>
                <a:cubicBezTo>
                  <a:pt x="583" y="364"/>
                  <a:pt x="583" y="365"/>
                  <a:pt x="582" y="365"/>
                </a:cubicBezTo>
                <a:cubicBezTo>
                  <a:pt x="582" y="365"/>
                  <a:pt x="582" y="365"/>
                  <a:pt x="582" y="365"/>
                </a:cubicBezTo>
                <a:cubicBezTo>
                  <a:pt x="582" y="366"/>
                  <a:pt x="582" y="366"/>
                  <a:pt x="582" y="367"/>
                </a:cubicBezTo>
                <a:cubicBezTo>
                  <a:pt x="583" y="367"/>
                  <a:pt x="585" y="368"/>
                  <a:pt x="586" y="369"/>
                </a:cubicBezTo>
                <a:cubicBezTo>
                  <a:pt x="589" y="371"/>
                  <a:pt x="591" y="372"/>
                  <a:pt x="592" y="373"/>
                </a:cubicBezTo>
                <a:cubicBezTo>
                  <a:pt x="593" y="373"/>
                  <a:pt x="597" y="375"/>
                  <a:pt x="602" y="378"/>
                </a:cubicBezTo>
                <a:cubicBezTo>
                  <a:pt x="604" y="379"/>
                  <a:pt x="605" y="380"/>
                  <a:pt x="607" y="381"/>
                </a:cubicBezTo>
                <a:cubicBezTo>
                  <a:pt x="608" y="381"/>
                  <a:pt x="610" y="383"/>
                  <a:pt x="611" y="382"/>
                </a:cubicBezTo>
                <a:cubicBezTo>
                  <a:pt x="611" y="382"/>
                  <a:pt x="612" y="381"/>
                  <a:pt x="612" y="381"/>
                </a:cubicBezTo>
                <a:cubicBezTo>
                  <a:pt x="613" y="382"/>
                  <a:pt x="614" y="382"/>
                  <a:pt x="614" y="383"/>
                </a:cubicBezTo>
                <a:cubicBezTo>
                  <a:pt x="614" y="383"/>
                  <a:pt x="614" y="383"/>
                  <a:pt x="614" y="383"/>
                </a:cubicBezTo>
                <a:cubicBezTo>
                  <a:pt x="613" y="385"/>
                  <a:pt x="618" y="386"/>
                  <a:pt x="619" y="387"/>
                </a:cubicBezTo>
                <a:cubicBezTo>
                  <a:pt x="624" y="390"/>
                  <a:pt x="626" y="392"/>
                  <a:pt x="630" y="395"/>
                </a:cubicBezTo>
                <a:cubicBezTo>
                  <a:pt x="632" y="397"/>
                  <a:pt x="644" y="404"/>
                  <a:pt x="651" y="407"/>
                </a:cubicBezTo>
                <a:cubicBezTo>
                  <a:pt x="652" y="407"/>
                  <a:pt x="653" y="408"/>
                  <a:pt x="654" y="408"/>
                </a:cubicBezTo>
                <a:cubicBezTo>
                  <a:pt x="655" y="408"/>
                  <a:pt x="655" y="409"/>
                  <a:pt x="656" y="409"/>
                </a:cubicBezTo>
                <a:cubicBezTo>
                  <a:pt x="656" y="409"/>
                  <a:pt x="656" y="409"/>
                  <a:pt x="657" y="409"/>
                </a:cubicBezTo>
                <a:cubicBezTo>
                  <a:pt x="657" y="409"/>
                  <a:pt x="657" y="409"/>
                  <a:pt x="658" y="409"/>
                </a:cubicBezTo>
                <a:cubicBezTo>
                  <a:pt x="658" y="410"/>
                  <a:pt x="658" y="409"/>
                  <a:pt x="659" y="410"/>
                </a:cubicBezTo>
                <a:cubicBezTo>
                  <a:pt x="660" y="410"/>
                  <a:pt x="660" y="411"/>
                  <a:pt x="660" y="411"/>
                </a:cubicBezTo>
                <a:cubicBezTo>
                  <a:pt x="661" y="412"/>
                  <a:pt x="662" y="412"/>
                  <a:pt x="663" y="413"/>
                </a:cubicBezTo>
                <a:cubicBezTo>
                  <a:pt x="664" y="413"/>
                  <a:pt x="665" y="414"/>
                  <a:pt x="666" y="414"/>
                </a:cubicBezTo>
                <a:cubicBezTo>
                  <a:pt x="668" y="414"/>
                  <a:pt x="669" y="414"/>
                  <a:pt x="670" y="414"/>
                </a:cubicBezTo>
                <a:cubicBezTo>
                  <a:pt x="670" y="415"/>
                  <a:pt x="670" y="416"/>
                  <a:pt x="671" y="417"/>
                </a:cubicBezTo>
                <a:cubicBezTo>
                  <a:pt x="671" y="417"/>
                  <a:pt x="672" y="417"/>
                  <a:pt x="672" y="417"/>
                </a:cubicBezTo>
                <a:cubicBezTo>
                  <a:pt x="672" y="417"/>
                  <a:pt x="672" y="418"/>
                  <a:pt x="672" y="418"/>
                </a:cubicBezTo>
                <a:cubicBezTo>
                  <a:pt x="672" y="418"/>
                  <a:pt x="672" y="418"/>
                  <a:pt x="673" y="417"/>
                </a:cubicBezTo>
                <a:cubicBezTo>
                  <a:pt x="675" y="417"/>
                  <a:pt x="676" y="418"/>
                  <a:pt x="678" y="419"/>
                </a:cubicBezTo>
                <a:cubicBezTo>
                  <a:pt x="679" y="419"/>
                  <a:pt x="679" y="420"/>
                  <a:pt x="679" y="420"/>
                </a:cubicBezTo>
                <a:cubicBezTo>
                  <a:pt x="679" y="421"/>
                  <a:pt x="679" y="421"/>
                  <a:pt x="679" y="422"/>
                </a:cubicBezTo>
                <a:cubicBezTo>
                  <a:pt x="680" y="422"/>
                  <a:pt x="680" y="422"/>
                  <a:pt x="681" y="422"/>
                </a:cubicBezTo>
                <a:cubicBezTo>
                  <a:pt x="682" y="422"/>
                  <a:pt x="683" y="424"/>
                  <a:pt x="684" y="425"/>
                </a:cubicBezTo>
                <a:cubicBezTo>
                  <a:pt x="685" y="426"/>
                  <a:pt x="686" y="426"/>
                  <a:pt x="687" y="427"/>
                </a:cubicBezTo>
                <a:cubicBezTo>
                  <a:pt x="688" y="427"/>
                  <a:pt x="692" y="431"/>
                  <a:pt x="693" y="430"/>
                </a:cubicBezTo>
                <a:cubicBezTo>
                  <a:pt x="694" y="429"/>
                  <a:pt x="694" y="429"/>
                  <a:pt x="694" y="429"/>
                </a:cubicBezTo>
                <a:cubicBezTo>
                  <a:pt x="695" y="428"/>
                  <a:pt x="696" y="429"/>
                  <a:pt x="697" y="430"/>
                </a:cubicBezTo>
                <a:cubicBezTo>
                  <a:pt x="698" y="431"/>
                  <a:pt x="699" y="431"/>
                  <a:pt x="699" y="432"/>
                </a:cubicBezTo>
                <a:cubicBezTo>
                  <a:pt x="700" y="433"/>
                  <a:pt x="700" y="433"/>
                  <a:pt x="700" y="434"/>
                </a:cubicBezTo>
                <a:cubicBezTo>
                  <a:pt x="701" y="434"/>
                  <a:pt x="702" y="434"/>
                  <a:pt x="702" y="434"/>
                </a:cubicBezTo>
                <a:cubicBezTo>
                  <a:pt x="702" y="434"/>
                  <a:pt x="702" y="434"/>
                  <a:pt x="702" y="434"/>
                </a:cubicBezTo>
                <a:cubicBezTo>
                  <a:pt x="703" y="433"/>
                  <a:pt x="703" y="434"/>
                  <a:pt x="703" y="434"/>
                </a:cubicBezTo>
                <a:cubicBezTo>
                  <a:pt x="704" y="434"/>
                  <a:pt x="704" y="434"/>
                  <a:pt x="705" y="435"/>
                </a:cubicBezTo>
                <a:cubicBezTo>
                  <a:pt x="705" y="435"/>
                  <a:pt x="706" y="436"/>
                  <a:pt x="705" y="436"/>
                </a:cubicBezTo>
                <a:cubicBezTo>
                  <a:pt x="705" y="436"/>
                  <a:pt x="705" y="437"/>
                  <a:pt x="706" y="437"/>
                </a:cubicBezTo>
                <a:cubicBezTo>
                  <a:pt x="706" y="438"/>
                  <a:pt x="707" y="438"/>
                  <a:pt x="707" y="438"/>
                </a:cubicBezTo>
                <a:cubicBezTo>
                  <a:pt x="712" y="441"/>
                  <a:pt x="722" y="447"/>
                  <a:pt x="724" y="449"/>
                </a:cubicBezTo>
                <a:cubicBezTo>
                  <a:pt x="725" y="449"/>
                  <a:pt x="727" y="450"/>
                  <a:pt x="728" y="451"/>
                </a:cubicBezTo>
                <a:cubicBezTo>
                  <a:pt x="730" y="452"/>
                  <a:pt x="733" y="453"/>
                  <a:pt x="734" y="455"/>
                </a:cubicBezTo>
                <a:cubicBezTo>
                  <a:pt x="736" y="456"/>
                  <a:pt x="739" y="458"/>
                  <a:pt x="741" y="459"/>
                </a:cubicBezTo>
                <a:cubicBezTo>
                  <a:pt x="744" y="461"/>
                  <a:pt x="747" y="465"/>
                  <a:pt x="750" y="465"/>
                </a:cubicBezTo>
                <a:cubicBezTo>
                  <a:pt x="751" y="465"/>
                  <a:pt x="752" y="465"/>
                  <a:pt x="753" y="465"/>
                </a:cubicBezTo>
                <a:cubicBezTo>
                  <a:pt x="755" y="466"/>
                  <a:pt x="757" y="467"/>
                  <a:pt x="759" y="468"/>
                </a:cubicBezTo>
                <a:cubicBezTo>
                  <a:pt x="763" y="471"/>
                  <a:pt x="768" y="473"/>
                  <a:pt x="771" y="475"/>
                </a:cubicBezTo>
                <a:cubicBezTo>
                  <a:pt x="772" y="476"/>
                  <a:pt x="774" y="476"/>
                  <a:pt x="775" y="477"/>
                </a:cubicBezTo>
                <a:cubicBezTo>
                  <a:pt x="775" y="477"/>
                  <a:pt x="776" y="477"/>
                  <a:pt x="776" y="477"/>
                </a:cubicBezTo>
                <a:cubicBezTo>
                  <a:pt x="777" y="476"/>
                  <a:pt x="776" y="476"/>
                  <a:pt x="776" y="475"/>
                </a:cubicBezTo>
                <a:cubicBezTo>
                  <a:pt x="777" y="475"/>
                  <a:pt x="778" y="476"/>
                  <a:pt x="778" y="476"/>
                </a:cubicBezTo>
                <a:cubicBezTo>
                  <a:pt x="779" y="476"/>
                  <a:pt x="779" y="477"/>
                  <a:pt x="779" y="477"/>
                </a:cubicBezTo>
                <a:cubicBezTo>
                  <a:pt x="779" y="477"/>
                  <a:pt x="779" y="477"/>
                  <a:pt x="778" y="477"/>
                </a:cubicBezTo>
                <a:cubicBezTo>
                  <a:pt x="778" y="477"/>
                  <a:pt x="778" y="478"/>
                  <a:pt x="778" y="478"/>
                </a:cubicBezTo>
                <a:cubicBezTo>
                  <a:pt x="779" y="479"/>
                  <a:pt x="781" y="480"/>
                  <a:pt x="782" y="480"/>
                </a:cubicBezTo>
                <a:cubicBezTo>
                  <a:pt x="783" y="481"/>
                  <a:pt x="784" y="481"/>
                  <a:pt x="785" y="482"/>
                </a:cubicBezTo>
                <a:cubicBezTo>
                  <a:pt x="785" y="482"/>
                  <a:pt x="786" y="482"/>
                  <a:pt x="787" y="482"/>
                </a:cubicBezTo>
                <a:cubicBezTo>
                  <a:pt x="788" y="481"/>
                  <a:pt x="788" y="480"/>
                  <a:pt x="789" y="482"/>
                </a:cubicBezTo>
                <a:cubicBezTo>
                  <a:pt x="789" y="482"/>
                  <a:pt x="789" y="483"/>
                  <a:pt x="789" y="483"/>
                </a:cubicBezTo>
                <a:cubicBezTo>
                  <a:pt x="789" y="483"/>
                  <a:pt x="789" y="484"/>
                  <a:pt x="789" y="484"/>
                </a:cubicBezTo>
                <a:cubicBezTo>
                  <a:pt x="790" y="485"/>
                  <a:pt x="792" y="486"/>
                  <a:pt x="792" y="487"/>
                </a:cubicBezTo>
                <a:cubicBezTo>
                  <a:pt x="792" y="487"/>
                  <a:pt x="792" y="487"/>
                  <a:pt x="792" y="487"/>
                </a:cubicBezTo>
                <a:cubicBezTo>
                  <a:pt x="792" y="488"/>
                  <a:pt x="792" y="488"/>
                  <a:pt x="793" y="488"/>
                </a:cubicBezTo>
                <a:cubicBezTo>
                  <a:pt x="794" y="489"/>
                  <a:pt x="795" y="488"/>
                  <a:pt x="796" y="488"/>
                </a:cubicBezTo>
                <a:cubicBezTo>
                  <a:pt x="797" y="489"/>
                  <a:pt x="797" y="489"/>
                  <a:pt x="798" y="490"/>
                </a:cubicBezTo>
                <a:cubicBezTo>
                  <a:pt x="801" y="491"/>
                  <a:pt x="803" y="492"/>
                  <a:pt x="805" y="493"/>
                </a:cubicBezTo>
                <a:cubicBezTo>
                  <a:pt x="809" y="496"/>
                  <a:pt x="814" y="498"/>
                  <a:pt x="818" y="501"/>
                </a:cubicBezTo>
                <a:cubicBezTo>
                  <a:pt x="830" y="508"/>
                  <a:pt x="842" y="514"/>
                  <a:pt x="845" y="516"/>
                </a:cubicBezTo>
                <a:cubicBezTo>
                  <a:pt x="847" y="517"/>
                  <a:pt x="857" y="522"/>
                  <a:pt x="867" y="528"/>
                </a:cubicBezTo>
                <a:cubicBezTo>
                  <a:pt x="876" y="533"/>
                  <a:pt x="892" y="541"/>
                  <a:pt x="901" y="547"/>
                </a:cubicBezTo>
                <a:cubicBezTo>
                  <a:pt x="911" y="552"/>
                  <a:pt x="936" y="566"/>
                  <a:pt x="957" y="578"/>
                </a:cubicBezTo>
                <a:cubicBezTo>
                  <a:pt x="965" y="582"/>
                  <a:pt x="972" y="586"/>
                  <a:pt x="979" y="590"/>
                </a:cubicBezTo>
                <a:cubicBezTo>
                  <a:pt x="983" y="592"/>
                  <a:pt x="986" y="594"/>
                  <a:pt x="990" y="596"/>
                </a:cubicBezTo>
                <a:cubicBezTo>
                  <a:pt x="992" y="597"/>
                  <a:pt x="993" y="598"/>
                  <a:pt x="995" y="599"/>
                </a:cubicBezTo>
                <a:cubicBezTo>
                  <a:pt x="997" y="600"/>
                  <a:pt x="997" y="599"/>
                  <a:pt x="998" y="600"/>
                </a:cubicBezTo>
                <a:cubicBezTo>
                  <a:pt x="999" y="602"/>
                  <a:pt x="1001" y="602"/>
                  <a:pt x="1002" y="603"/>
                </a:cubicBezTo>
                <a:cubicBezTo>
                  <a:pt x="1004" y="604"/>
                  <a:pt x="1005" y="604"/>
                  <a:pt x="1007" y="605"/>
                </a:cubicBezTo>
                <a:cubicBezTo>
                  <a:pt x="1010" y="607"/>
                  <a:pt x="1013" y="609"/>
                  <a:pt x="1016" y="610"/>
                </a:cubicBezTo>
                <a:cubicBezTo>
                  <a:pt x="1019" y="612"/>
                  <a:pt x="1022" y="614"/>
                  <a:pt x="1026" y="615"/>
                </a:cubicBezTo>
                <a:cubicBezTo>
                  <a:pt x="1028" y="617"/>
                  <a:pt x="1031" y="619"/>
                  <a:pt x="1034" y="619"/>
                </a:cubicBezTo>
                <a:cubicBezTo>
                  <a:pt x="1035" y="619"/>
                  <a:pt x="1035" y="620"/>
                  <a:pt x="1035" y="620"/>
                </a:cubicBezTo>
                <a:cubicBezTo>
                  <a:pt x="1037" y="622"/>
                  <a:pt x="1039" y="623"/>
                  <a:pt x="1041" y="624"/>
                </a:cubicBezTo>
                <a:cubicBezTo>
                  <a:pt x="1045" y="626"/>
                  <a:pt x="1054" y="631"/>
                  <a:pt x="1062" y="635"/>
                </a:cubicBezTo>
                <a:cubicBezTo>
                  <a:pt x="1066" y="638"/>
                  <a:pt x="1070" y="640"/>
                  <a:pt x="1074" y="642"/>
                </a:cubicBezTo>
                <a:cubicBezTo>
                  <a:pt x="1075" y="643"/>
                  <a:pt x="1076" y="643"/>
                  <a:pt x="1076" y="644"/>
                </a:cubicBezTo>
                <a:cubicBezTo>
                  <a:pt x="1076" y="644"/>
                  <a:pt x="1076" y="644"/>
                  <a:pt x="1076" y="645"/>
                </a:cubicBezTo>
                <a:cubicBezTo>
                  <a:pt x="1077" y="646"/>
                  <a:pt x="1079" y="646"/>
                  <a:pt x="1080" y="647"/>
                </a:cubicBezTo>
                <a:cubicBezTo>
                  <a:pt x="1081" y="647"/>
                  <a:pt x="1083" y="648"/>
                  <a:pt x="1084" y="648"/>
                </a:cubicBezTo>
                <a:cubicBezTo>
                  <a:pt x="1085" y="648"/>
                  <a:pt x="1086" y="649"/>
                  <a:pt x="1087" y="649"/>
                </a:cubicBezTo>
                <a:cubicBezTo>
                  <a:pt x="1087" y="649"/>
                  <a:pt x="1088" y="649"/>
                  <a:pt x="1088" y="649"/>
                </a:cubicBezTo>
                <a:cubicBezTo>
                  <a:pt x="1089" y="650"/>
                  <a:pt x="1090" y="651"/>
                  <a:pt x="1091" y="652"/>
                </a:cubicBezTo>
                <a:cubicBezTo>
                  <a:pt x="1092" y="653"/>
                  <a:pt x="1093" y="652"/>
                  <a:pt x="1094" y="652"/>
                </a:cubicBezTo>
                <a:cubicBezTo>
                  <a:pt x="1095" y="653"/>
                  <a:pt x="1095" y="653"/>
                  <a:pt x="1095" y="653"/>
                </a:cubicBezTo>
                <a:cubicBezTo>
                  <a:pt x="1096" y="655"/>
                  <a:pt x="1099" y="656"/>
                  <a:pt x="1101" y="657"/>
                </a:cubicBezTo>
                <a:cubicBezTo>
                  <a:pt x="1103" y="658"/>
                  <a:pt x="1105" y="659"/>
                  <a:pt x="1106" y="660"/>
                </a:cubicBezTo>
                <a:cubicBezTo>
                  <a:pt x="1107" y="661"/>
                  <a:pt x="1110" y="662"/>
                  <a:pt x="1110" y="663"/>
                </a:cubicBezTo>
                <a:cubicBezTo>
                  <a:pt x="1110" y="664"/>
                  <a:pt x="1110" y="664"/>
                  <a:pt x="1110" y="665"/>
                </a:cubicBezTo>
                <a:cubicBezTo>
                  <a:pt x="1110" y="665"/>
                  <a:pt x="1110" y="666"/>
                  <a:pt x="1110" y="666"/>
                </a:cubicBezTo>
                <a:cubicBezTo>
                  <a:pt x="1111" y="667"/>
                  <a:pt x="1112" y="667"/>
                  <a:pt x="1112" y="668"/>
                </a:cubicBezTo>
                <a:cubicBezTo>
                  <a:pt x="1113" y="668"/>
                  <a:pt x="1113" y="668"/>
                  <a:pt x="1114" y="668"/>
                </a:cubicBezTo>
                <a:cubicBezTo>
                  <a:pt x="1114" y="667"/>
                  <a:pt x="1114" y="667"/>
                  <a:pt x="1114" y="666"/>
                </a:cubicBezTo>
                <a:cubicBezTo>
                  <a:pt x="1114" y="666"/>
                  <a:pt x="1115" y="665"/>
                  <a:pt x="1115" y="665"/>
                </a:cubicBezTo>
                <a:cubicBezTo>
                  <a:pt x="1117" y="665"/>
                  <a:pt x="1119" y="667"/>
                  <a:pt x="1120" y="668"/>
                </a:cubicBezTo>
                <a:cubicBezTo>
                  <a:pt x="1122" y="669"/>
                  <a:pt x="1124" y="671"/>
                  <a:pt x="1126" y="672"/>
                </a:cubicBezTo>
                <a:cubicBezTo>
                  <a:pt x="1127" y="674"/>
                  <a:pt x="1129" y="676"/>
                  <a:pt x="1132" y="677"/>
                </a:cubicBezTo>
                <a:cubicBezTo>
                  <a:pt x="1133" y="677"/>
                  <a:pt x="1135" y="677"/>
                  <a:pt x="1137" y="679"/>
                </a:cubicBezTo>
                <a:cubicBezTo>
                  <a:pt x="1137" y="679"/>
                  <a:pt x="1138" y="680"/>
                  <a:pt x="1139" y="680"/>
                </a:cubicBezTo>
                <a:cubicBezTo>
                  <a:pt x="1140" y="681"/>
                  <a:pt x="1141" y="682"/>
                  <a:pt x="1141" y="683"/>
                </a:cubicBezTo>
                <a:cubicBezTo>
                  <a:pt x="1142" y="684"/>
                  <a:pt x="1143" y="684"/>
                  <a:pt x="1144" y="685"/>
                </a:cubicBezTo>
                <a:cubicBezTo>
                  <a:pt x="1146" y="686"/>
                  <a:pt x="1147" y="687"/>
                  <a:pt x="1149" y="688"/>
                </a:cubicBezTo>
                <a:cubicBezTo>
                  <a:pt x="1151" y="688"/>
                  <a:pt x="1153" y="691"/>
                  <a:pt x="1155" y="691"/>
                </a:cubicBezTo>
                <a:cubicBezTo>
                  <a:pt x="1157" y="691"/>
                  <a:pt x="1157" y="689"/>
                  <a:pt x="1158" y="689"/>
                </a:cubicBezTo>
                <a:cubicBezTo>
                  <a:pt x="1160" y="689"/>
                  <a:pt x="1161" y="690"/>
                  <a:pt x="1162" y="691"/>
                </a:cubicBezTo>
                <a:cubicBezTo>
                  <a:pt x="1163" y="691"/>
                  <a:pt x="1170" y="697"/>
                  <a:pt x="1171" y="695"/>
                </a:cubicBezTo>
                <a:cubicBezTo>
                  <a:pt x="1171" y="695"/>
                  <a:pt x="1171" y="695"/>
                  <a:pt x="1172" y="695"/>
                </a:cubicBezTo>
                <a:cubicBezTo>
                  <a:pt x="1173" y="696"/>
                  <a:pt x="1175" y="697"/>
                  <a:pt x="1177" y="698"/>
                </a:cubicBezTo>
                <a:cubicBezTo>
                  <a:pt x="1184" y="704"/>
                  <a:pt x="1190" y="708"/>
                  <a:pt x="1199" y="712"/>
                </a:cubicBezTo>
                <a:cubicBezTo>
                  <a:pt x="1202" y="714"/>
                  <a:pt x="1206" y="715"/>
                  <a:pt x="1208" y="717"/>
                </a:cubicBezTo>
                <a:cubicBezTo>
                  <a:pt x="1209" y="717"/>
                  <a:pt x="1208" y="718"/>
                  <a:pt x="1208" y="718"/>
                </a:cubicBezTo>
                <a:cubicBezTo>
                  <a:pt x="1208" y="718"/>
                  <a:pt x="1208" y="718"/>
                  <a:pt x="1208" y="718"/>
                </a:cubicBezTo>
                <a:cubicBezTo>
                  <a:pt x="1209" y="719"/>
                  <a:pt x="1210" y="719"/>
                  <a:pt x="1210" y="719"/>
                </a:cubicBezTo>
                <a:cubicBezTo>
                  <a:pt x="1212" y="719"/>
                  <a:pt x="1212" y="721"/>
                  <a:pt x="1213" y="722"/>
                </a:cubicBezTo>
                <a:cubicBezTo>
                  <a:pt x="1214" y="723"/>
                  <a:pt x="1215" y="724"/>
                  <a:pt x="1217" y="723"/>
                </a:cubicBezTo>
                <a:cubicBezTo>
                  <a:pt x="1217" y="723"/>
                  <a:pt x="1217" y="723"/>
                  <a:pt x="1217" y="723"/>
                </a:cubicBezTo>
                <a:cubicBezTo>
                  <a:pt x="1218" y="722"/>
                  <a:pt x="1221" y="724"/>
                  <a:pt x="1221" y="724"/>
                </a:cubicBezTo>
                <a:cubicBezTo>
                  <a:pt x="1223" y="725"/>
                  <a:pt x="1224" y="726"/>
                  <a:pt x="1226" y="727"/>
                </a:cubicBezTo>
                <a:cubicBezTo>
                  <a:pt x="1230" y="729"/>
                  <a:pt x="1235" y="732"/>
                  <a:pt x="1236" y="732"/>
                </a:cubicBezTo>
                <a:cubicBezTo>
                  <a:pt x="1237" y="733"/>
                  <a:pt x="1239" y="734"/>
                  <a:pt x="1241" y="736"/>
                </a:cubicBezTo>
                <a:cubicBezTo>
                  <a:pt x="1241" y="736"/>
                  <a:pt x="1241" y="736"/>
                  <a:pt x="1241" y="736"/>
                </a:cubicBezTo>
                <a:cubicBezTo>
                  <a:pt x="1241" y="737"/>
                  <a:pt x="1242" y="738"/>
                  <a:pt x="1242" y="738"/>
                </a:cubicBezTo>
                <a:cubicBezTo>
                  <a:pt x="1243" y="739"/>
                  <a:pt x="1244" y="740"/>
                  <a:pt x="1246" y="740"/>
                </a:cubicBezTo>
                <a:cubicBezTo>
                  <a:pt x="1246" y="740"/>
                  <a:pt x="1246" y="741"/>
                  <a:pt x="1247" y="740"/>
                </a:cubicBezTo>
                <a:cubicBezTo>
                  <a:pt x="1247" y="740"/>
                  <a:pt x="1247" y="740"/>
                  <a:pt x="1247" y="740"/>
                </a:cubicBezTo>
                <a:cubicBezTo>
                  <a:pt x="1249" y="739"/>
                  <a:pt x="1250" y="741"/>
                  <a:pt x="1251" y="741"/>
                </a:cubicBezTo>
                <a:cubicBezTo>
                  <a:pt x="1253" y="742"/>
                  <a:pt x="1255" y="743"/>
                  <a:pt x="1256" y="744"/>
                </a:cubicBezTo>
                <a:cubicBezTo>
                  <a:pt x="1258" y="746"/>
                  <a:pt x="1259" y="747"/>
                  <a:pt x="1262" y="747"/>
                </a:cubicBezTo>
                <a:cubicBezTo>
                  <a:pt x="1263" y="747"/>
                  <a:pt x="1264" y="746"/>
                  <a:pt x="1265" y="747"/>
                </a:cubicBezTo>
                <a:cubicBezTo>
                  <a:pt x="1266" y="747"/>
                  <a:pt x="1267" y="749"/>
                  <a:pt x="1268" y="750"/>
                </a:cubicBezTo>
                <a:cubicBezTo>
                  <a:pt x="1272" y="752"/>
                  <a:pt x="1276" y="754"/>
                  <a:pt x="1280" y="755"/>
                </a:cubicBezTo>
                <a:cubicBezTo>
                  <a:pt x="1285" y="758"/>
                  <a:pt x="1292" y="761"/>
                  <a:pt x="1294" y="762"/>
                </a:cubicBezTo>
                <a:cubicBezTo>
                  <a:pt x="1295" y="763"/>
                  <a:pt x="1297" y="764"/>
                  <a:pt x="1299" y="764"/>
                </a:cubicBezTo>
                <a:cubicBezTo>
                  <a:pt x="1299" y="764"/>
                  <a:pt x="1299" y="763"/>
                  <a:pt x="1299" y="763"/>
                </a:cubicBezTo>
                <a:cubicBezTo>
                  <a:pt x="1299" y="764"/>
                  <a:pt x="1300" y="764"/>
                  <a:pt x="1300" y="764"/>
                </a:cubicBezTo>
                <a:cubicBezTo>
                  <a:pt x="1300" y="764"/>
                  <a:pt x="1300" y="764"/>
                  <a:pt x="1301" y="765"/>
                </a:cubicBezTo>
                <a:cubicBezTo>
                  <a:pt x="1301" y="765"/>
                  <a:pt x="1301" y="765"/>
                  <a:pt x="1301" y="766"/>
                </a:cubicBezTo>
                <a:cubicBezTo>
                  <a:pt x="1302" y="768"/>
                  <a:pt x="1306" y="769"/>
                  <a:pt x="1308" y="771"/>
                </a:cubicBezTo>
                <a:cubicBezTo>
                  <a:pt x="1311" y="772"/>
                  <a:pt x="1313" y="773"/>
                  <a:pt x="1316" y="775"/>
                </a:cubicBezTo>
                <a:cubicBezTo>
                  <a:pt x="1319" y="776"/>
                  <a:pt x="1322" y="778"/>
                  <a:pt x="1325" y="780"/>
                </a:cubicBezTo>
                <a:cubicBezTo>
                  <a:pt x="1326" y="781"/>
                  <a:pt x="1328" y="782"/>
                  <a:pt x="1329" y="783"/>
                </a:cubicBezTo>
                <a:cubicBezTo>
                  <a:pt x="1330" y="783"/>
                  <a:pt x="1331" y="783"/>
                  <a:pt x="1332" y="783"/>
                </a:cubicBezTo>
                <a:cubicBezTo>
                  <a:pt x="1333" y="784"/>
                  <a:pt x="1333" y="784"/>
                  <a:pt x="1333" y="784"/>
                </a:cubicBezTo>
                <a:cubicBezTo>
                  <a:pt x="1334" y="784"/>
                  <a:pt x="1334" y="783"/>
                  <a:pt x="1334" y="784"/>
                </a:cubicBezTo>
                <a:cubicBezTo>
                  <a:pt x="1336" y="785"/>
                  <a:pt x="1337" y="787"/>
                  <a:pt x="1339" y="788"/>
                </a:cubicBezTo>
                <a:cubicBezTo>
                  <a:pt x="1341" y="790"/>
                  <a:pt x="1343" y="790"/>
                  <a:pt x="1345" y="791"/>
                </a:cubicBezTo>
                <a:cubicBezTo>
                  <a:pt x="1347" y="792"/>
                  <a:pt x="1349" y="793"/>
                  <a:pt x="1350" y="794"/>
                </a:cubicBezTo>
                <a:cubicBezTo>
                  <a:pt x="1352" y="794"/>
                  <a:pt x="1353" y="795"/>
                  <a:pt x="1354" y="795"/>
                </a:cubicBezTo>
                <a:cubicBezTo>
                  <a:pt x="1355" y="794"/>
                  <a:pt x="1356" y="795"/>
                  <a:pt x="1356" y="795"/>
                </a:cubicBezTo>
                <a:cubicBezTo>
                  <a:pt x="1358" y="796"/>
                  <a:pt x="1359" y="796"/>
                  <a:pt x="1360" y="797"/>
                </a:cubicBezTo>
                <a:cubicBezTo>
                  <a:pt x="1362" y="798"/>
                  <a:pt x="1363" y="798"/>
                  <a:pt x="1364" y="799"/>
                </a:cubicBezTo>
                <a:cubicBezTo>
                  <a:pt x="1365" y="799"/>
                  <a:pt x="1365" y="800"/>
                  <a:pt x="1366" y="799"/>
                </a:cubicBezTo>
                <a:cubicBezTo>
                  <a:pt x="1366" y="799"/>
                  <a:pt x="1366" y="799"/>
                  <a:pt x="1367" y="799"/>
                </a:cubicBezTo>
                <a:cubicBezTo>
                  <a:pt x="1367" y="799"/>
                  <a:pt x="1367" y="799"/>
                  <a:pt x="1367" y="799"/>
                </a:cubicBezTo>
                <a:cubicBezTo>
                  <a:pt x="1368" y="799"/>
                  <a:pt x="1368" y="800"/>
                  <a:pt x="1368" y="801"/>
                </a:cubicBezTo>
                <a:cubicBezTo>
                  <a:pt x="1369" y="802"/>
                  <a:pt x="1370" y="802"/>
                  <a:pt x="1371" y="803"/>
                </a:cubicBezTo>
                <a:cubicBezTo>
                  <a:pt x="1372" y="804"/>
                  <a:pt x="1373" y="805"/>
                  <a:pt x="1374" y="805"/>
                </a:cubicBezTo>
                <a:cubicBezTo>
                  <a:pt x="1375" y="806"/>
                  <a:pt x="1375" y="806"/>
                  <a:pt x="1375" y="806"/>
                </a:cubicBezTo>
                <a:cubicBezTo>
                  <a:pt x="1377" y="807"/>
                  <a:pt x="1379" y="808"/>
                  <a:pt x="1381" y="809"/>
                </a:cubicBezTo>
                <a:cubicBezTo>
                  <a:pt x="1382" y="810"/>
                  <a:pt x="1383" y="810"/>
                  <a:pt x="1384" y="811"/>
                </a:cubicBezTo>
                <a:cubicBezTo>
                  <a:pt x="1385" y="812"/>
                  <a:pt x="1386" y="812"/>
                  <a:pt x="1387" y="813"/>
                </a:cubicBezTo>
                <a:cubicBezTo>
                  <a:pt x="1387" y="814"/>
                  <a:pt x="1388" y="815"/>
                  <a:pt x="1388" y="815"/>
                </a:cubicBezTo>
                <a:cubicBezTo>
                  <a:pt x="1390" y="816"/>
                  <a:pt x="1392" y="817"/>
                  <a:pt x="1393" y="818"/>
                </a:cubicBezTo>
                <a:cubicBezTo>
                  <a:pt x="1398" y="821"/>
                  <a:pt x="1402" y="823"/>
                  <a:pt x="1406" y="825"/>
                </a:cubicBezTo>
                <a:cubicBezTo>
                  <a:pt x="1407" y="825"/>
                  <a:pt x="1407" y="825"/>
                  <a:pt x="1407" y="825"/>
                </a:cubicBezTo>
                <a:cubicBezTo>
                  <a:pt x="1408" y="826"/>
                  <a:pt x="1408" y="826"/>
                  <a:pt x="1408" y="826"/>
                </a:cubicBezTo>
                <a:cubicBezTo>
                  <a:pt x="1409" y="827"/>
                  <a:pt x="1409" y="828"/>
                  <a:pt x="1410" y="829"/>
                </a:cubicBezTo>
                <a:cubicBezTo>
                  <a:pt x="1410" y="829"/>
                  <a:pt x="1411" y="829"/>
                  <a:pt x="1412" y="830"/>
                </a:cubicBezTo>
                <a:cubicBezTo>
                  <a:pt x="1413" y="831"/>
                  <a:pt x="1415" y="832"/>
                  <a:pt x="1417" y="833"/>
                </a:cubicBezTo>
                <a:cubicBezTo>
                  <a:pt x="1418" y="833"/>
                  <a:pt x="1419" y="834"/>
                  <a:pt x="1421" y="835"/>
                </a:cubicBezTo>
                <a:cubicBezTo>
                  <a:pt x="1421" y="836"/>
                  <a:pt x="1422" y="836"/>
                  <a:pt x="1423" y="836"/>
                </a:cubicBezTo>
                <a:cubicBezTo>
                  <a:pt x="1423" y="836"/>
                  <a:pt x="1424" y="837"/>
                  <a:pt x="1424" y="837"/>
                </a:cubicBezTo>
                <a:cubicBezTo>
                  <a:pt x="1425" y="837"/>
                  <a:pt x="1428" y="835"/>
                  <a:pt x="1429" y="837"/>
                </a:cubicBezTo>
                <a:cubicBezTo>
                  <a:pt x="1429" y="838"/>
                  <a:pt x="1428" y="838"/>
                  <a:pt x="1428" y="839"/>
                </a:cubicBezTo>
                <a:cubicBezTo>
                  <a:pt x="1428" y="840"/>
                  <a:pt x="1430" y="842"/>
                  <a:pt x="1430" y="841"/>
                </a:cubicBezTo>
                <a:cubicBezTo>
                  <a:pt x="1431" y="841"/>
                  <a:pt x="1431" y="841"/>
                  <a:pt x="1430" y="841"/>
                </a:cubicBezTo>
                <a:cubicBezTo>
                  <a:pt x="1430" y="840"/>
                  <a:pt x="1430" y="840"/>
                  <a:pt x="1430" y="839"/>
                </a:cubicBezTo>
                <a:cubicBezTo>
                  <a:pt x="1430" y="839"/>
                  <a:pt x="1430" y="839"/>
                  <a:pt x="1430" y="839"/>
                </a:cubicBezTo>
                <a:cubicBezTo>
                  <a:pt x="1431" y="839"/>
                  <a:pt x="1432" y="840"/>
                  <a:pt x="1433" y="841"/>
                </a:cubicBezTo>
                <a:cubicBezTo>
                  <a:pt x="1434" y="841"/>
                  <a:pt x="1434" y="842"/>
                  <a:pt x="1435" y="842"/>
                </a:cubicBezTo>
                <a:cubicBezTo>
                  <a:pt x="1435" y="842"/>
                  <a:pt x="1436" y="842"/>
                  <a:pt x="1436" y="843"/>
                </a:cubicBezTo>
                <a:cubicBezTo>
                  <a:pt x="1436" y="843"/>
                  <a:pt x="1436" y="843"/>
                  <a:pt x="1437" y="843"/>
                </a:cubicBezTo>
                <a:cubicBezTo>
                  <a:pt x="1437" y="844"/>
                  <a:pt x="1437" y="843"/>
                  <a:pt x="1438" y="843"/>
                </a:cubicBezTo>
                <a:cubicBezTo>
                  <a:pt x="1438" y="843"/>
                  <a:pt x="1438" y="843"/>
                  <a:pt x="1438" y="843"/>
                </a:cubicBezTo>
                <a:cubicBezTo>
                  <a:pt x="1439" y="841"/>
                  <a:pt x="1440" y="843"/>
                  <a:pt x="1441" y="844"/>
                </a:cubicBezTo>
                <a:cubicBezTo>
                  <a:pt x="1442" y="845"/>
                  <a:pt x="1444" y="847"/>
                  <a:pt x="1445" y="848"/>
                </a:cubicBezTo>
                <a:cubicBezTo>
                  <a:pt x="1446" y="850"/>
                  <a:pt x="1447" y="851"/>
                  <a:pt x="1449" y="852"/>
                </a:cubicBezTo>
                <a:cubicBezTo>
                  <a:pt x="1450" y="853"/>
                  <a:pt x="1452" y="853"/>
                  <a:pt x="1453" y="854"/>
                </a:cubicBezTo>
                <a:cubicBezTo>
                  <a:pt x="1454" y="855"/>
                  <a:pt x="1455" y="855"/>
                  <a:pt x="1457" y="856"/>
                </a:cubicBezTo>
                <a:cubicBezTo>
                  <a:pt x="1457" y="856"/>
                  <a:pt x="1459" y="857"/>
                  <a:pt x="1459" y="857"/>
                </a:cubicBezTo>
                <a:cubicBezTo>
                  <a:pt x="1460" y="857"/>
                  <a:pt x="1460" y="857"/>
                  <a:pt x="1460" y="857"/>
                </a:cubicBezTo>
                <a:cubicBezTo>
                  <a:pt x="1461" y="857"/>
                  <a:pt x="1461" y="857"/>
                  <a:pt x="1461" y="857"/>
                </a:cubicBezTo>
                <a:cubicBezTo>
                  <a:pt x="1461" y="857"/>
                  <a:pt x="1461" y="857"/>
                  <a:pt x="1461" y="856"/>
                </a:cubicBezTo>
                <a:cubicBezTo>
                  <a:pt x="1461" y="856"/>
                  <a:pt x="1463" y="857"/>
                  <a:pt x="1463" y="857"/>
                </a:cubicBezTo>
                <a:cubicBezTo>
                  <a:pt x="1463" y="858"/>
                  <a:pt x="1462" y="857"/>
                  <a:pt x="1462" y="858"/>
                </a:cubicBezTo>
                <a:cubicBezTo>
                  <a:pt x="1462" y="859"/>
                  <a:pt x="1464" y="860"/>
                  <a:pt x="1465" y="860"/>
                </a:cubicBezTo>
                <a:cubicBezTo>
                  <a:pt x="1466" y="861"/>
                  <a:pt x="1466" y="861"/>
                  <a:pt x="1467" y="862"/>
                </a:cubicBezTo>
                <a:cubicBezTo>
                  <a:pt x="1467" y="862"/>
                  <a:pt x="1467" y="862"/>
                  <a:pt x="1468" y="862"/>
                </a:cubicBezTo>
                <a:cubicBezTo>
                  <a:pt x="1468" y="862"/>
                  <a:pt x="1468" y="862"/>
                  <a:pt x="1469" y="863"/>
                </a:cubicBezTo>
                <a:cubicBezTo>
                  <a:pt x="1469" y="863"/>
                  <a:pt x="1470" y="863"/>
                  <a:pt x="1470" y="863"/>
                </a:cubicBezTo>
                <a:cubicBezTo>
                  <a:pt x="1470" y="863"/>
                  <a:pt x="1470" y="863"/>
                  <a:pt x="1471" y="863"/>
                </a:cubicBezTo>
                <a:cubicBezTo>
                  <a:pt x="1472" y="863"/>
                  <a:pt x="1469" y="861"/>
                  <a:pt x="1469" y="861"/>
                </a:cubicBezTo>
                <a:cubicBezTo>
                  <a:pt x="1468" y="861"/>
                  <a:pt x="1467" y="861"/>
                  <a:pt x="1468" y="860"/>
                </a:cubicBezTo>
                <a:cubicBezTo>
                  <a:pt x="1468" y="859"/>
                  <a:pt x="1469" y="859"/>
                  <a:pt x="1469" y="859"/>
                </a:cubicBezTo>
                <a:cubicBezTo>
                  <a:pt x="1471" y="860"/>
                  <a:pt x="1472" y="860"/>
                  <a:pt x="1473" y="861"/>
                </a:cubicBezTo>
                <a:cubicBezTo>
                  <a:pt x="1475" y="862"/>
                  <a:pt x="1477" y="864"/>
                  <a:pt x="1479" y="865"/>
                </a:cubicBezTo>
                <a:cubicBezTo>
                  <a:pt x="1481" y="866"/>
                  <a:pt x="1483" y="868"/>
                  <a:pt x="1486" y="869"/>
                </a:cubicBezTo>
                <a:cubicBezTo>
                  <a:pt x="1487" y="870"/>
                  <a:pt x="1488" y="870"/>
                  <a:pt x="1489" y="871"/>
                </a:cubicBezTo>
                <a:cubicBezTo>
                  <a:pt x="1489" y="871"/>
                  <a:pt x="1490" y="872"/>
                  <a:pt x="1491" y="872"/>
                </a:cubicBezTo>
                <a:cubicBezTo>
                  <a:pt x="1491" y="872"/>
                  <a:pt x="1491" y="872"/>
                  <a:pt x="1490" y="872"/>
                </a:cubicBezTo>
                <a:cubicBezTo>
                  <a:pt x="1491" y="872"/>
                  <a:pt x="1491" y="873"/>
                  <a:pt x="1491" y="873"/>
                </a:cubicBezTo>
                <a:cubicBezTo>
                  <a:pt x="1492" y="874"/>
                  <a:pt x="1489" y="873"/>
                  <a:pt x="1489" y="874"/>
                </a:cubicBezTo>
                <a:cubicBezTo>
                  <a:pt x="1488" y="874"/>
                  <a:pt x="1489" y="875"/>
                  <a:pt x="1490" y="875"/>
                </a:cubicBezTo>
                <a:cubicBezTo>
                  <a:pt x="1490" y="875"/>
                  <a:pt x="1491" y="874"/>
                  <a:pt x="1492" y="874"/>
                </a:cubicBezTo>
                <a:cubicBezTo>
                  <a:pt x="1492" y="874"/>
                  <a:pt x="1492" y="875"/>
                  <a:pt x="1492" y="876"/>
                </a:cubicBezTo>
                <a:cubicBezTo>
                  <a:pt x="1493" y="876"/>
                  <a:pt x="1493" y="877"/>
                  <a:pt x="1494" y="878"/>
                </a:cubicBezTo>
                <a:cubicBezTo>
                  <a:pt x="1495" y="879"/>
                  <a:pt x="1497" y="879"/>
                  <a:pt x="1498" y="880"/>
                </a:cubicBezTo>
                <a:cubicBezTo>
                  <a:pt x="1501" y="882"/>
                  <a:pt x="1504" y="883"/>
                  <a:pt x="1504" y="883"/>
                </a:cubicBezTo>
                <a:cubicBezTo>
                  <a:pt x="1506" y="883"/>
                  <a:pt x="1507" y="885"/>
                  <a:pt x="1508" y="886"/>
                </a:cubicBezTo>
                <a:cubicBezTo>
                  <a:pt x="1509" y="887"/>
                  <a:pt x="1509" y="887"/>
                  <a:pt x="1510" y="887"/>
                </a:cubicBezTo>
                <a:cubicBezTo>
                  <a:pt x="1510" y="886"/>
                  <a:pt x="1510" y="886"/>
                  <a:pt x="1510" y="885"/>
                </a:cubicBezTo>
                <a:cubicBezTo>
                  <a:pt x="1511" y="885"/>
                  <a:pt x="1511" y="885"/>
                  <a:pt x="1511" y="885"/>
                </a:cubicBezTo>
                <a:cubicBezTo>
                  <a:pt x="1512" y="885"/>
                  <a:pt x="1512" y="887"/>
                  <a:pt x="1512" y="887"/>
                </a:cubicBezTo>
                <a:cubicBezTo>
                  <a:pt x="1513" y="888"/>
                  <a:pt x="1514" y="888"/>
                  <a:pt x="1514" y="889"/>
                </a:cubicBezTo>
                <a:cubicBezTo>
                  <a:pt x="1516" y="890"/>
                  <a:pt x="1517" y="890"/>
                  <a:pt x="1519" y="891"/>
                </a:cubicBezTo>
                <a:cubicBezTo>
                  <a:pt x="1519" y="891"/>
                  <a:pt x="1520" y="891"/>
                  <a:pt x="1521" y="891"/>
                </a:cubicBezTo>
                <a:cubicBezTo>
                  <a:pt x="1521" y="891"/>
                  <a:pt x="1521" y="891"/>
                  <a:pt x="1521" y="890"/>
                </a:cubicBezTo>
                <a:cubicBezTo>
                  <a:pt x="1524" y="892"/>
                  <a:pt x="1527" y="895"/>
                  <a:pt x="1529" y="896"/>
                </a:cubicBezTo>
                <a:cubicBezTo>
                  <a:pt x="1531" y="897"/>
                  <a:pt x="1532" y="898"/>
                  <a:pt x="1534" y="899"/>
                </a:cubicBezTo>
                <a:cubicBezTo>
                  <a:pt x="1535" y="899"/>
                  <a:pt x="1536" y="899"/>
                  <a:pt x="1536" y="899"/>
                </a:cubicBezTo>
                <a:cubicBezTo>
                  <a:pt x="1537" y="900"/>
                  <a:pt x="1538" y="900"/>
                  <a:pt x="1537" y="901"/>
                </a:cubicBezTo>
                <a:cubicBezTo>
                  <a:pt x="1537" y="901"/>
                  <a:pt x="1535" y="901"/>
                  <a:pt x="1534" y="901"/>
                </a:cubicBezTo>
                <a:cubicBezTo>
                  <a:pt x="1534" y="902"/>
                  <a:pt x="1536" y="902"/>
                  <a:pt x="1536" y="902"/>
                </a:cubicBezTo>
                <a:cubicBezTo>
                  <a:pt x="1537" y="902"/>
                  <a:pt x="1538" y="902"/>
                  <a:pt x="1539" y="902"/>
                </a:cubicBezTo>
                <a:cubicBezTo>
                  <a:pt x="1539" y="902"/>
                  <a:pt x="1540" y="902"/>
                  <a:pt x="1540" y="903"/>
                </a:cubicBezTo>
                <a:cubicBezTo>
                  <a:pt x="1540" y="903"/>
                  <a:pt x="1539" y="903"/>
                  <a:pt x="1540" y="903"/>
                </a:cubicBezTo>
                <a:cubicBezTo>
                  <a:pt x="1541" y="905"/>
                  <a:pt x="1543" y="906"/>
                  <a:pt x="1544" y="907"/>
                </a:cubicBezTo>
                <a:cubicBezTo>
                  <a:pt x="1548" y="909"/>
                  <a:pt x="1551" y="911"/>
                  <a:pt x="1554" y="912"/>
                </a:cubicBezTo>
                <a:cubicBezTo>
                  <a:pt x="1556" y="913"/>
                  <a:pt x="1558" y="914"/>
                  <a:pt x="1560" y="914"/>
                </a:cubicBezTo>
                <a:cubicBezTo>
                  <a:pt x="1561" y="915"/>
                  <a:pt x="1563" y="915"/>
                  <a:pt x="1565" y="916"/>
                </a:cubicBezTo>
                <a:cubicBezTo>
                  <a:pt x="1565" y="916"/>
                  <a:pt x="1565" y="916"/>
                  <a:pt x="1565" y="916"/>
                </a:cubicBezTo>
                <a:cubicBezTo>
                  <a:pt x="1565" y="916"/>
                  <a:pt x="1565" y="916"/>
                  <a:pt x="1565" y="916"/>
                </a:cubicBezTo>
                <a:cubicBezTo>
                  <a:pt x="1565" y="917"/>
                  <a:pt x="1566" y="917"/>
                  <a:pt x="1567" y="918"/>
                </a:cubicBezTo>
                <a:cubicBezTo>
                  <a:pt x="1567" y="918"/>
                  <a:pt x="1568" y="918"/>
                  <a:pt x="1568" y="918"/>
                </a:cubicBezTo>
                <a:cubicBezTo>
                  <a:pt x="1569" y="917"/>
                  <a:pt x="1569" y="917"/>
                  <a:pt x="1570" y="917"/>
                </a:cubicBezTo>
                <a:cubicBezTo>
                  <a:pt x="1570" y="917"/>
                  <a:pt x="1571" y="918"/>
                  <a:pt x="1572" y="918"/>
                </a:cubicBezTo>
                <a:cubicBezTo>
                  <a:pt x="1572" y="919"/>
                  <a:pt x="1573" y="920"/>
                  <a:pt x="1574" y="920"/>
                </a:cubicBezTo>
                <a:cubicBezTo>
                  <a:pt x="1575" y="920"/>
                  <a:pt x="1576" y="920"/>
                  <a:pt x="1577" y="920"/>
                </a:cubicBezTo>
                <a:cubicBezTo>
                  <a:pt x="1578" y="920"/>
                  <a:pt x="1579" y="921"/>
                  <a:pt x="1580" y="921"/>
                </a:cubicBezTo>
                <a:cubicBezTo>
                  <a:pt x="1582" y="923"/>
                  <a:pt x="1585" y="925"/>
                  <a:pt x="1586" y="926"/>
                </a:cubicBezTo>
                <a:cubicBezTo>
                  <a:pt x="1587" y="927"/>
                  <a:pt x="1587" y="928"/>
                  <a:pt x="1588" y="928"/>
                </a:cubicBezTo>
                <a:cubicBezTo>
                  <a:pt x="1588" y="929"/>
                  <a:pt x="1589" y="929"/>
                  <a:pt x="1590" y="929"/>
                </a:cubicBezTo>
                <a:cubicBezTo>
                  <a:pt x="1590" y="929"/>
                  <a:pt x="1591" y="929"/>
                  <a:pt x="1591" y="930"/>
                </a:cubicBezTo>
                <a:cubicBezTo>
                  <a:pt x="1592" y="931"/>
                  <a:pt x="1594" y="930"/>
                  <a:pt x="1595" y="930"/>
                </a:cubicBezTo>
                <a:cubicBezTo>
                  <a:pt x="1595" y="930"/>
                  <a:pt x="1596" y="931"/>
                  <a:pt x="1596" y="931"/>
                </a:cubicBezTo>
                <a:cubicBezTo>
                  <a:pt x="1596" y="931"/>
                  <a:pt x="1596" y="932"/>
                  <a:pt x="1596" y="932"/>
                </a:cubicBezTo>
                <a:cubicBezTo>
                  <a:pt x="1597" y="933"/>
                  <a:pt x="1598" y="934"/>
                  <a:pt x="1598" y="934"/>
                </a:cubicBezTo>
                <a:cubicBezTo>
                  <a:pt x="1599" y="934"/>
                  <a:pt x="1599" y="935"/>
                  <a:pt x="1599" y="935"/>
                </a:cubicBezTo>
                <a:cubicBezTo>
                  <a:pt x="1600" y="935"/>
                  <a:pt x="1600" y="935"/>
                  <a:pt x="1600" y="935"/>
                </a:cubicBezTo>
                <a:cubicBezTo>
                  <a:pt x="1600" y="935"/>
                  <a:pt x="1601" y="935"/>
                  <a:pt x="1601" y="936"/>
                </a:cubicBezTo>
                <a:cubicBezTo>
                  <a:pt x="1601" y="936"/>
                  <a:pt x="1601" y="936"/>
                  <a:pt x="1601" y="936"/>
                </a:cubicBezTo>
                <a:cubicBezTo>
                  <a:pt x="1602" y="936"/>
                  <a:pt x="1602" y="936"/>
                  <a:pt x="1603" y="936"/>
                </a:cubicBezTo>
                <a:cubicBezTo>
                  <a:pt x="1603" y="936"/>
                  <a:pt x="1603" y="935"/>
                  <a:pt x="1603" y="935"/>
                </a:cubicBezTo>
                <a:cubicBezTo>
                  <a:pt x="1604" y="935"/>
                  <a:pt x="1604" y="935"/>
                  <a:pt x="1605" y="935"/>
                </a:cubicBezTo>
                <a:cubicBezTo>
                  <a:pt x="1605" y="936"/>
                  <a:pt x="1606" y="936"/>
                  <a:pt x="1607" y="937"/>
                </a:cubicBezTo>
                <a:cubicBezTo>
                  <a:pt x="1609" y="938"/>
                  <a:pt x="1611" y="940"/>
                  <a:pt x="1613" y="941"/>
                </a:cubicBezTo>
                <a:cubicBezTo>
                  <a:pt x="1614" y="942"/>
                  <a:pt x="1615" y="943"/>
                  <a:pt x="1615" y="943"/>
                </a:cubicBezTo>
                <a:cubicBezTo>
                  <a:pt x="1616" y="944"/>
                  <a:pt x="1617" y="944"/>
                  <a:pt x="1617" y="945"/>
                </a:cubicBezTo>
                <a:cubicBezTo>
                  <a:pt x="1618" y="946"/>
                  <a:pt x="1619" y="947"/>
                  <a:pt x="1620" y="947"/>
                </a:cubicBezTo>
                <a:cubicBezTo>
                  <a:pt x="1621" y="948"/>
                  <a:pt x="1622" y="949"/>
                  <a:pt x="1623" y="948"/>
                </a:cubicBezTo>
                <a:cubicBezTo>
                  <a:pt x="1623" y="948"/>
                  <a:pt x="1624" y="948"/>
                  <a:pt x="1624" y="948"/>
                </a:cubicBezTo>
                <a:cubicBezTo>
                  <a:pt x="1625" y="948"/>
                  <a:pt x="1625" y="948"/>
                  <a:pt x="1625" y="948"/>
                </a:cubicBezTo>
                <a:cubicBezTo>
                  <a:pt x="1625" y="948"/>
                  <a:pt x="1626" y="948"/>
                  <a:pt x="1626" y="948"/>
                </a:cubicBezTo>
                <a:cubicBezTo>
                  <a:pt x="1629" y="950"/>
                  <a:pt x="1630" y="954"/>
                  <a:pt x="1633" y="955"/>
                </a:cubicBezTo>
                <a:cubicBezTo>
                  <a:pt x="1633" y="955"/>
                  <a:pt x="1634" y="955"/>
                  <a:pt x="1635" y="954"/>
                </a:cubicBezTo>
                <a:cubicBezTo>
                  <a:pt x="1636" y="954"/>
                  <a:pt x="1637" y="955"/>
                  <a:pt x="1639" y="955"/>
                </a:cubicBezTo>
                <a:cubicBezTo>
                  <a:pt x="1639" y="956"/>
                  <a:pt x="1640" y="956"/>
                  <a:pt x="1641" y="956"/>
                </a:cubicBezTo>
                <a:cubicBezTo>
                  <a:pt x="1642" y="957"/>
                  <a:pt x="1642" y="957"/>
                  <a:pt x="1643" y="956"/>
                </a:cubicBezTo>
                <a:cubicBezTo>
                  <a:pt x="1643" y="956"/>
                  <a:pt x="1644" y="957"/>
                  <a:pt x="1644" y="957"/>
                </a:cubicBezTo>
                <a:cubicBezTo>
                  <a:pt x="1645" y="957"/>
                  <a:pt x="1646" y="957"/>
                  <a:pt x="1647" y="958"/>
                </a:cubicBezTo>
                <a:cubicBezTo>
                  <a:pt x="1647" y="959"/>
                  <a:pt x="1648" y="960"/>
                  <a:pt x="1648" y="960"/>
                </a:cubicBezTo>
                <a:cubicBezTo>
                  <a:pt x="1649" y="961"/>
                  <a:pt x="1650" y="961"/>
                  <a:pt x="1651" y="962"/>
                </a:cubicBezTo>
                <a:cubicBezTo>
                  <a:pt x="1652" y="962"/>
                  <a:pt x="1653" y="963"/>
                  <a:pt x="1654" y="964"/>
                </a:cubicBezTo>
                <a:cubicBezTo>
                  <a:pt x="1655" y="964"/>
                  <a:pt x="1657" y="965"/>
                  <a:pt x="1658" y="966"/>
                </a:cubicBezTo>
                <a:cubicBezTo>
                  <a:pt x="1658" y="966"/>
                  <a:pt x="1659" y="967"/>
                  <a:pt x="1660" y="967"/>
                </a:cubicBezTo>
                <a:cubicBezTo>
                  <a:pt x="1661" y="967"/>
                  <a:pt x="1662" y="965"/>
                  <a:pt x="1663" y="966"/>
                </a:cubicBezTo>
                <a:cubicBezTo>
                  <a:pt x="1664" y="966"/>
                  <a:pt x="1665" y="968"/>
                  <a:pt x="1666" y="968"/>
                </a:cubicBezTo>
                <a:cubicBezTo>
                  <a:pt x="1667" y="969"/>
                  <a:pt x="1668" y="970"/>
                  <a:pt x="1669" y="971"/>
                </a:cubicBezTo>
                <a:cubicBezTo>
                  <a:pt x="1671" y="971"/>
                  <a:pt x="1673" y="972"/>
                  <a:pt x="1675" y="973"/>
                </a:cubicBezTo>
                <a:cubicBezTo>
                  <a:pt x="1678" y="975"/>
                  <a:pt x="1682" y="977"/>
                  <a:pt x="1686" y="979"/>
                </a:cubicBezTo>
                <a:cubicBezTo>
                  <a:pt x="1687" y="980"/>
                  <a:pt x="1688" y="980"/>
                  <a:pt x="1689" y="981"/>
                </a:cubicBezTo>
                <a:cubicBezTo>
                  <a:pt x="1690" y="982"/>
                  <a:pt x="1690" y="983"/>
                  <a:pt x="1691" y="983"/>
                </a:cubicBezTo>
                <a:cubicBezTo>
                  <a:pt x="1691" y="984"/>
                  <a:pt x="1691" y="984"/>
                  <a:pt x="1692" y="984"/>
                </a:cubicBezTo>
                <a:cubicBezTo>
                  <a:pt x="1692" y="984"/>
                  <a:pt x="1692" y="984"/>
                  <a:pt x="1692" y="983"/>
                </a:cubicBezTo>
                <a:cubicBezTo>
                  <a:pt x="1693" y="983"/>
                  <a:pt x="1694" y="984"/>
                  <a:pt x="1694" y="984"/>
                </a:cubicBezTo>
                <a:cubicBezTo>
                  <a:pt x="1695" y="985"/>
                  <a:pt x="1696" y="985"/>
                  <a:pt x="1697" y="986"/>
                </a:cubicBezTo>
                <a:cubicBezTo>
                  <a:pt x="1698" y="987"/>
                  <a:pt x="1700" y="988"/>
                  <a:pt x="1701" y="988"/>
                </a:cubicBezTo>
                <a:cubicBezTo>
                  <a:pt x="1702" y="989"/>
                  <a:pt x="1704" y="989"/>
                  <a:pt x="1704" y="989"/>
                </a:cubicBezTo>
                <a:cubicBezTo>
                  <a:pt x="1705" y="990"/>
                  <a:pt x="1704" y="991"/>
                  <a:pt x="1704" y="991"/>
                </a:cubicBezTo>
                <a:cubicBezTo>
                  <a:pt x="1705" y="991"/>
                  <a:pt x="1705" y="991"/>
                  <a:pt x="1706" y="991"/>
                </a:cubicBezTo>
                <a:cubicBezTo>
                  <a:pt x="1706" y="991"/>
                  <a:pt x="1706" y="991"/>
                  <a:pt x="1706" y="991"/>
                </a:cubicBezTo>
                <a:cubicBezTo>
                  <a:pt x="1705" y="989"/>
                  <a:pt x="1709" y="989"/>
                  <a:pt x="1709" y="990"/>
                </a:cubicBezTo>
                <a:cubicBezTo>
                  <a:pt x="1710" y="990"/>
                  <a:pt x="1709" y="991"/>
                  <a:pt x="1709" y="992"/>
                </a:cubicBezTo>
                <a:cubicBezTo>
                  <a:pt x="1710" y="993"/>
                  <a:pt x="1710" y="993"/>
                  <a:pt x="1711" y="993"/>
                </a:cubicBezTo>
                <a:cubicBezTo>
                  <a:pt x="1711" y="993"/>
                  <a:pt x="1712" y="994"/>
                  <a:pt x="1713" y="995"/>
                </a:cubicBezTo>
                <a:cubicBezTo>
                  <a:pt x="1713" y="995"/>
                  <a:pt x="1714" y="997"/>
                  <a:pt x="1715" y="996"/>
                </a:cubicBezTo>
                <a:cubicBezTo>
                  <a:pt x="1715" y="996"/>
                  <a:pt x="1716" y="996"/>
                  <a:pt x="1716" y="996"/>
                </a:cubicBezTo>
                <a:cubicBezTo>
                  <a:pt x="1717" y="996"/>
                  <a:pt x="1717" y="997"/>
                  <a:pt x="1717" y="997"/>
                </a:cubicBezTo>
                <a:cubicBezTo>
                  <a:pt x="1718" y="998"/>
                  <a:pt x="1719" y="998"/>
                  <a:pt x="1720" y="998"/>
                </a:cubicBezTo>
                <a:cubicBezTo>
                  <a:pt x="1721" y="998"/>
                  <a:pt x="1721" y="998"/>
                  <a:pt x="1722" y="998"/>
                </a:cubicBezTo>
                <a:cubicBezTo>
                  <a:pt x="1722" y="998"/>
                  <a:pt x="1722" y="998"/>
                  <a:pt x="1722" y="998"/>
                </a:cubicBezTo>
                <a:cubicBezTo>
                  <a:pt x="1723" y="998"/>
                  <a:pt x="1723" y="999"/>
                  <a:pt x="1723" y="999"/>
                </a:cubicBezTo>
                <a:cubicBezTo>
                  <a:pt x="1723" y="1001"/>
                  <a:pt x="1725" y="1001"/>
                  <a:pt x="1726" y="1002"/>
                </a:cubicBezTo>
                <a:cubicBezTo>
                  <a:pt x="1740" y="1009"/>
                  <a:pt x="1747" y="1012"/>
                  <a:pt x="1747" y="1012"/>
                </a:cubicBezTo>
                <a:cubicBezTo>
                  <a:pt x="1748" y="1012"/>
                  <a:pt x="1755" y="1016"/>
                  <a:pt x="1756" y="1018"/>
                </a:cubicBezTo>
                <a:cubicBezTo>
                  <a:pt x="1757" y="1018"/>
                  <a:pt x="1758" y="1019"/>
                  <a:pt x="1759" y="1020"/>
                </a:cubicBezTo>
                <a:cubicBezTo>
                  <a:pt x="1759" y="1021"/>
                  <a:pt x="1760" y="1021"/>
                  <a:pt x="1760" y="1022"/>
                </a:cubicBezTo>
                <a:cubicBezTo>
                  <a:pt x="1761" y="1022"/>
                  <a:pt x="1761" y="1023"/>
                  <a:pt x="1762" y="1023"/>
                </a:cubicBezTo>
                <a:cubicBezTo>
                  <a:pt x="1762" y="1023"/>
                  <a:pt x="1763" y="1023"/>
                  <a:pt x="1763" y="1024"/>
                </a:cubicBezTo>
                <a:cubicBezTo>
                  <a:pt x="1763" y="1024"/>
                  <a:pt x="1762" y="1024"/>
                  <a:pt x="1762" y="1024"/>
                </a:cubicBezTo>
                <a:cubicBezTo>
                  <a:pt x="1763" y="1025"/>
                  <a:pt x="1763" y="1026"/>
                  <a:pt x="1764" y="1026"/>
                </a:cubicBezTo>
                <a:cubicBezTo>
                  <a:pt x="1765" y="1027"/>
                  <a:pt x="1766" y="1027"/>
                  <a:pt x="1767" y="1027"/>
                </a:cubicBezTo>
                <a:cubicBezTo>
                  <a:pt x="1768" y="1027"/>
                  <a:pt x="1770" y="1027"/>
                  <a:pt x="1771" y="1029"/>
                </a:cubicBezTo>
                <a:cubicBezTo>
                  <a:pt x="1771" y="1029"/>
                  <a:pt x="1771" y="1030"/>
                  <a:pt x="1771" y="1030"/>
                </a:cubicBezTo>
                <a:cubicBezTo>
                  <a:pt x="1772" y="1031"/>
                  <a:pt x="1773" y="1030"/>
                  <a:pt x="1773" y="1030"/>
                </a:cubicBezTo>
                <a:cubicBezTo>
                  <a:pt x="1774" y="1030"/>
                  <a:pt x="1775" y="1030"/>
                  <a:pt x="1776" y="1031"/>
                </a:cubicBezTo>
                <a:cubicBezTo>
                  <a:pt x="1777" y="1031"/>
                  <a:pt x="1779" y="1032"/>
                  <a:pt x="1780" y="1033"/>
                </a:cubicBezTo>
                <a:cubicBezTo>
                  <a:pt x="1784" y="1035"/>
                  <a:pt x="1789" y="1037"/>
                  <a:pt x="1790" y="1038"/>
                </a:cubicBezTo>
                <a:cubicBezTo>
                  <a:pt x="1791" y="1038"/>
                  <a:pt x="1793" y="1039"/>
                  <a:pt x="1794" y="1040"/>
                </a:cubicBezTo>
                <a:cubicBezTo>
                  <a:pt x="1794" y="1040"/>
                  <a:pt x="1795" y="1040"/>
                  <a:pt x="1796" y="1040"/>
                </a:cubicBezTo>
                <a:cubicBezTo>
                  <a:pt x="1797" y="1040"/>
                  <a:pt x="1797" y="1040"/>
                  <a:pt x="1798" y="1040"/>
                </a:cubicBezTo>
                <a:cubicBezTo>
                  <a:pt x="1799" y="1040"/>
                  <a:pt x="1801" y="1041"/>
                  <a:pt x="1801" y="1042"/>
                </a:cubicBezTo>
                <a:cubicBezTo>
                  <a:pt x="1802" y="1043"/>
                  <a:pt x="1803" y="1044"/>
                  <a:pt x="1803" y="1044"/>
                </a:cubicBezTo>
                <a:cubicBezTo>
                  <a:pt x="1804" y="1045"/>
                  <a:pt x="1805" y="1045"/>
                  <a:pt x="1806" y="1045"/>
                </a:cubicBezTo>
                <a:cubicBezTo>
                  <a:pt x="1808" y="1047"/>
                  <a:pt x="1810" y="1047"/>
                  <a:pt x="1812" y="1049"/>
                </a:cubicBezTo>
                <a:cubicBezTo>
                  <a:pt x="1816" y="1051"/>
                  <a:pt x="1822" y="1054"/>
                  <a:pt x="1828" y="1058"/>
                </a:cubicBezTo>
                <a:cubicBezTo>
                  <a:pt x="1841" y="1065"/>
                  <a:pt x="1854" y="1072"/>
                  <a:pt x="1858" y="1074"/>
                </a:cubicBezTo>
                <a:cubicBezTo>
                  <a:pt x="1859" y="1074"/>
                  <a:pt x="1861" y="1075"/>
                  <a:pt x="1862" y="1076"/>
                </a:cubicBezTo>
                <a:cubicBezTo>
                  <a:pt x="1863" y="1076"/>
                  <a:pt x="1864" y="1077"/>
                  <a:pt x="1865" y="1077"/>
                </a:cubicBezTo>
                <a:cubicBezTo>
                  <a:pt x="1866" y="1077"/>
                  <a:pt x="1866" y="1077"/>
                  <a:pt x="1867" y="1077"/>
                </a:cubicBezTo>
                <a:cubicBezTo>
                  <a:pt x="1867" y="1077"/>
                  <a:pt x="1867" y="1077"/>
                  <a:pt x="1867" y="1078"/>
                </a:cubicBezTo>
                <a:cubicBezTo>
                  <a:pt x="1867" y="1078"/>
                  <a:pt x="1867" y="1078"/>
                  <a:pt x="1867" y="1078"/>
                </a:cubicBezTo>
                <a:cubicBezTo>
                  <a:pt x="1869" y="1079"/>
                  <a:pt x="1870" y="1079"/>
                  <a:pt x="1871" y="1080"/>
                </a:cubicBezTo>
                <a:cubicBezTo>
                  <a:pt x="1872" y="1080"/>
                  <a:pt x="1873" y="1081"/>
                  <a:pt x="1874" y="1082"/>
                </a:cubicBezTo>
                <a:cubicBezTo>
                  <a:pt x="1875" y="1082"/>
                  <a:pt x="1876" y="1083"/>
                  <a:pt x="1877" y="1084"/>
                </a:cubicBezTo>
                <a:cubicBezTo>
                  <a:pt x="1877" y="1084"/>
                  <a:pt x="1878" y="1084"/>
                  <a:pt x="1878" y="1084"/>
                </a:cubicBezTo>
                <a:cubicBezTo>
                  <a:pt x="1880" y="1083"/>
                  <a:pt x="1881" y="1084"/>
                  <a:pt x="1883" y="1085"/>
                </a:cubicBezTo>
                <a:cubicBezTo>
                  <a:pt x="1883" y="1086"/>
                  <a:pt x="1883" y="1086"/>
                  <a:pt x="1883" y="1086"/>
                </a:cubicBezTo>
                <a:cubicBezTo>
                  <a:pt x="1883" y="1086"/>
                  <a:pt x="1883" y="1087"/>
                  <a:pt x="1882" y="1087"/>
                </a:cubicBezTo>
                <a:cubicBezTo>
                  <a:pt x="1883" y="1088"/>
                  <a:pt x="1885" y="1089"/>
                  <a:pt x="1887" y="1089"/>
                </a:cubicBezTo>
                <a:cubicBezTo>
                  <a:pt x="1889" y="1090"/>
                  <a:pt x="1890" y="1091"/>
                  <a:pt x="1892" y="1092"/>
                </a:cubicBezTo>
                <a:cubicBezTo>
                  <a:pt x="1894" y="1093"/>
                  <a:pt x="1895" y="1095"/>
                  <a:pt x="1897" y="1095"/>
                </a:cubicBezTo>
                <a:cubicBezTo>
                  <a:pt x="1898" y="1096"/>
                  <a:pt x="1903" y="1098"/>
                  <a:pt x="1907" y="1101"/>
                </a:cubicBezTo>
                <a:cubicBezTo>
                  <a:pt x="1909" y="1101"/>
                  <a:pt x="1910" y="1102"/>
                  <a:pt x="1912" y="1103"/>
                </a:cubicBezTo>
                <a:cubicBezTo>
                  <a:pt x="1913" y="1103"/>
                  <a:pt x="1914" y="1104"/>
                  <a:pt x="1915" y="1104"/>
                </a:cubicBezTo>
                <a:cubicBezTo>
                  <a:pt x="1916" y="1104"/>
                  <a:pt x="1916" y="1104"/>
                  <a:pt x="1917" y="1104"/>
                </a:cubicBezTo>
                <a:cubicBezTo>
                  <a:pt x="1918" y="1105"/>
                  <a:pt x="1918" y="1106"/>
                  <a:pt x="1919" y="1106"/>
                </a:cubicBezTo>
                <a:cubicBezTo>
                  <a:pt x="1921" y="1108"/>
                  <a:pt x="1923" y="1109"/>
                  <a:pt x="1925" y="1110"/>
                </a:cubicBezTo>
                <a:cubicBezTo>
                  <a:pt x="1928" y="1112"/>
                  <a:pt x="1930" y="1113"/>
                  <a:pt x="1932" y="1114"/>
                </a:cubicBezTo>
                <a:cubicBezTo>
                  <a:pt x="1935" y="1116"/>
                  <a:pt x="1937" y="1117"/>
                  <a:pt x="1940" y="1119"/>
                </a:cubicBezTo>
                <a:cubicBezTo>
                  <a:pt x="1941" y="1119"/>
                  <a:pt x="1942" y="1120"/>
                  <a:pt x="1943" y="1120"/>
                </a:cubicBezTo>
                <a:cubicBezTo>
                  <a:pt x="1944" y="1121"/>
                  <a:pt x="1945" y="1122"/>
                  <a:pt x="1947" y="1122"/>
                </a:cubicBezTo>
                <a:cubicBezTo>
                  <a:pt x="1948" y="1122"/>
                  <a:pt x="1950" y="1122"/>
                  <a:pt x="1951" y="1123"/>
                </a:cubicBezTo>
                <a:cubicBezTo>
                  <a:pt x="1953" y="1124"/>
                  <a:pt x="1955" y="1125"/>
                  <a:pt x="1956" y="1127"/>
                </a:cubicBezTo>
                <a:cubicBezTo>
                  <a:pt x="1958" y="1128"/>
                  <a:pt x="1960" y="1129"/>
                  <a:pt x="1962" y="1130"/>
                </a:cubicBezTo>
                <a:cubicBezTo>
                  <a:pt x="1966" y="1133"/>
                  <a:pt x="1970" y="1135"/>
                  <a:pt x="1974" y="1137"/>
                </a:cubicBezTo>
                <a:cubicBezTo>
                  <a:pt x="1978" y="1139"/>
                  <a:pt x="1981" y="1141"/>
                  <a:pt x="1984" y="1142"/>
                </a:cubicBezTo>
                <a:cubicBezTo>
                  <a:pt x="1987" y="1144"/>
                  <a:pt x="1989" y="1145"/>
                  <a:pt x="1992" y="1146"/>
                </a:cubicBezTo>
                <a:cubicBezTo>
                  <a:pt x="1993" y="1147"/>
                  <a:pt x="1993" y="1147"/>
                  <a:pt x="1994" y="1147"/>
                </a:cubicBezTo>
                <a:cubicBezTo>
                  <a:pt x="1995" y="1147"/>
                  <a:pt x="1995" y="1148"/>
                  <a:pt x="1995" y="1148"/>
                </a:cubicBezTo>
                <a:cubicBezTo>
                  <a:pt x="1996" y="1148"/>
                  <a:pt x="1996" y="1148"/>
                  <a:pt x="1997" y="1148"/>
                </a:cubicBezTo>
                <a:cubicBezTo>
                  <a:pt x="1997" y="1148"/>
                  <a:pt x="1998" y="1148"/>
                  <a:pt x="1998" y="1149"/>
                </a:cubicBezTo>
                <a:cubicBezTo>
                  <a:pt x="1997" y="1150"/>
                  <a:pt x="2000" y="1151"/>
                  <a:pt x="2001" y="1152"/>
                </a:cubicBezTo>
                <a:cubicBezTo>
                  <a:pt x="2001" y="1153"/>
                  <a:pt x="2003" y="1155"/>
                  <a:pt x="2004" y="1154"/>
                </a:cubicBezTo>
                <a:cubicBezTo>
                  <a:pt x="2004" y="1154"/>
                  <a:pt x="2005" y="1154"/>
                  <a:pt x="2005" y="1154"/>
                </a:cubicBezTo>
                <a:cubicBezTo>
                  <a:pt x="2005" y="1154"/>
                  <a:pt x="2005" y="1154"/>
                  <a:pt x="2005" y="1154"/>
                </a:cubicBezTo>
                <a:cubicBezTo>
                  <a:pt x="2007" y="1154"/>
                  <a:pt x="2008" y="1155"/>
                  <a:pt x="2009" y="1156"/>
                </a:cubicBezTo>
                <a:cubicBezTo>
                  <a:pt x="2011" y="1157"/>
                  <a:pt x="2014" y="1160"/>
                  <a:pt x="2017" y="1161"/>
                </a:cubicBezTo>
                <a:cubicBezTo>
                  <a:pt x="2020" y="1163"/>
                  <a:pt x="2030" y="1168"/>
                  <a:pt x="2035" y="1171"/>
                </a:cubicBezTo>
                <a:cubicBezTo>
                  <a:pt x="2036" y="1172"/>
                  <a:pt x="2039" y="1173"/>
                  <a:pt x="2041" y="1174"/>
                </a:cubicBezTo>
                <a:cubicBezTo>
                  <a:pt x="2043" y="1175"/>
                  <a:pt x="2045" y="1176"/>
                  <a:pt x="2046" y="1177"/>
                </a:cubicBezTo>
                <a:cubicBezTo>
                  <a:pt x="2047" y="1178"/>
                  <a:pt x="2047" y="1178"/>
                  <a:pt x="2048" y="1179"/>
                </a:cubicBezTo>
                <a:cubicBezTo>
                  <a:pt x="2048" y="1179"/>
                  <a:pt x="2049" y="1179"/>
                  <a:pt x="2050" y="1180"/>
                </a:cubicBezTo>
                <a:cubicBezTo>
                  <a:pt x="2052" y="1181"/>
                  <a:pt x="2055" y="1182"/>
                  <a:pt x="2056" y="1183"/>
                </a:cubicBezTo>
                <a:cubicBezTo>
                  <a:pt x="2057" y="1184"/>
                  <a:pt x="2057" y="1184"/>
                  <a:pt x="2058" y="1185"/>
                </a:cubicBezTo>
                <a:cubicBezTo>
                  <a:pt x="2058" y="1185"/>
                  <a:pt x="2058" y="1185"/>
                  <a:pt x="2059" y="1185"/>
                </a:cubicBezTo>
                <a:cubicBezTo>
                  <a:pt x="2059" y="1185"/>
                  <a:pt x="2059" y="1185"/>
                  <a:pt x="2059" y="1185"/>
                </a:cubicBezTo>
                <a:cubicBezTo>
                  <a:pt x="2060" y="1185"/>
                  <a:pt x="2061" y="1186"/>
                  <a:pt x="2062" y="1186"/>
                </a:cubicBezTo>
                <a:cubicBezTo>
                  <a:pt x="2063" y="1187"/>
                  <a:pt x="2064" y="1188"/>
                  <a:pt x="2066" y="1188"/>
                </a:cubicBezTo>
                <a:cubicBezTo>
                  <a:pt x="2068" y="1190"/>
                  <a:pt x="2070" y="1191"/>
                  <a:pt x="2072" y="1192"/>
                </a:cubicBezTo>
                <a:cubicBezTo>
                  <a:pt x="2077" y="1195"/>
                  <a:pt x="2081" y="1197"/>
                  <a:pt x="2085" y="1199"/>
                </a:cubicBezTo>
                <a:cubicBezTo>
                  <a:pt x="2086" y="1199"/>
                  <a:pt x="2087" y="1199"/>
                  <a:pt x="2087" y="1199"/>
                </a:cubicBezTo>
                <a:cubicBezTo>
                  <a:pt x="2088" y="1199"/>
                  <a:pt x="2089" y="1199"/>
                  <a:pt x="2089" y="1199"/>
                </a:cubicBezTo>
                <a:cubicBezTo>
                  <a:pt x="2089" y="1199"/>
                  <a:pt x="2089" y="1199"/>
                  <a:pt x="2089" y="1199"/>
                </a:cubicBezTo>
                <a:cubicBezTo>
                  <a:pt x="2090" y="1200"/>
                  <a:pt x="2090" y="1201"/>
                  <a:pt x="2091" y="1201"/>
                </a:cubicBezTo>
                <a:cubicBezTo>
                  <a:pt x="2092" y="1202"/>
                  <a:pt x="2093" y="1203"/>
                  <a:pt x="2093" y="1204"/>
                </a:cubicBezTo>
                <a:cubicBezTo>
                  <a:pt x="2094" y="1204"/>
                  <a:pt x="2096" y="1206"/>
                  <a:pt x="2097" y="1205"/>
                </a:cubicBezTo>
                <a:cubicBezTo>
                  <a:pt x="2097" y="1205"/>
                  <a:pt x="2098" y="1205"/>
                  <a:pt x="2098" y="1205"/>
                </a:cubicBezTo>
                <a:cubicBezTo>
                  <a:pt x="2098" y="1205"/>
                  <a:pt x="2099" y="1205"/>
                  <a:pt x="2099" y="1205"/>
                </a:cubicBezTo>
                <a:cubicBezTo>
                  <a:pt x="2099" y="1205"/>
                  <a:pt x="2099" y="1205"/>
                  <a:pt x="2100" y="1206"/>
                </a:cubicBezTo>
                <a:cubicBezTo>
                  <a:pt x="2099" y="1207"/>
                  <a:pt x="2101" y="1208"/>
                  <a:pt x="2102" y="1209"/>
                </a:cubicBezTo>
                <a:cubicBezTo>
                  <a:pt x="2103" y="1210"/>
                  <a:pt x="2105" y="1211"/>
                  <a:pt x="2106" y="1212"/>
                </a:cubicBezTo>
                <a:cubicBezTo>
                  <a:pt x="2106" y="1212"/>
                  <a:pt x="2106" y="1212"/>
                  <a:pt x="2106" y="1212"/>
                </a:cubicBezTo>
                <a:cubicBezTo>
                  <a:pt x="2107" y="1213"/>
                  <a:pt x="2107" y="1213"/>
                  <a:pt x="2108" y="1213"/>
                </a:cubicBezTo>
                <a:cubicBezTo>
                  <a:pt x="2108" y="1213"/>
                  <a:pt x="2109" y="1212"/>
                  <a:pt x="2109" y="1212"/>
                </a:cubicBezTo>
                <a:cubicBezTo>
                  <a:pt x="2109" y="1212"/>
                  <a:pt x="2109" y="1212"/>
                  <a:pt x="2110" y="1213"/>
                </a:cubicBezTo>
                <a:cubicBezTo>
                  <a:pt x="2110" y="1213"/>
                  <a:pt x="2110" y="1213"/>
                  <a:pt x="2110" y="1213"/>
                </a:cubicBezTo>
                <a:cubicBezTo>
                  <a:pt x="2110" y="1214"/>
                  <a:pt x="2110" y="1214"/>
                  <a:pt x="2110" y="1215"/>
                </a:cubicBezTo>
                <a:cubicBezTo>
                  <a:pt x="2110" y="1215"/>
                  <a:pt x="2110" y="1215"/>
                  <a:pt x="2111" y="1216"/>
                </a:cubicBezTo>
                <a:cubicBezTo>
                  <a:pt x="2112" y="1216"/>
                  <a:pt x="2113" y="1215"/>
                  <a:pt x="2114" y="1216"/>
                </a:cubicBezTo>
                <a:cubicBezTo>
                  <a:pt x="2114" y="1216"/>
                  <a:pt x="2115" y="1216"/>
                  <a:pt x="2116" y="1216"/>
                </a:cubicBezTo>
                <a:cubicBezTo>
                  <a:pt x="2117" y="1217"/>
                  <a:pt x="2118" y="1218"/>
                  <a:pt x="2119" y="1218"/>
                </a:cubicBezTo>
                <a:cubicBezTo>
                  <a:pt x="2123" y="1220"/>
                  <a:pt x="2126" y="1223"/>
                  <a:pt x="2128" y="1224"/>
                </a:cubicBezTo>
                <a:cubicBezTo>
                  <a:pt x="2128" y="1224"/>
                  <a:pt x="2129" y="1225"/>
                  <a:pt x="2130" y="1226"/>
                </a:cubicBezTo>
                <a:cubicBezTo>
                  <a:pt x="2130" y="1226"/>
                  <a:pt x="2130" y="1226"/>
                  <a:pt x="2130" y="1226"/>
                </a:cubicBezTo>
                <a:cubicBezTo>
                  <a:pt x="2130" y="1227"/>
                  <a:pt x="2130" y="1228"/>
                  <a:pt x="2131" y="1227"/>
                </a:cubicBezTo>
                <a:cubicBezTo>
                  <a:pt x="2132" y="1227"/>
                  <a:pt x="2132" y="1226"/>
                  <a:pt x="2133" y="1226"/>
                </a:cubicBezTo>
                <a:cubicBezTo>
                  <a:pt x="2134" y="1226"/>
                  <a:pt x="2135" y="1228"/>
                  <a:pt x="2136" y="1229"/>
                </a:cubicBezTo>
                <a:cubicBezTo>
                  <a:pt x="2139" y="1231"/>
                  <a:pt x="2142" y="1233"/>
                  <a:pt x="2145" y="1234"/>
                </a:cubicBezTo>
                <a:cubicBezTo>
                  <a:pt x="2146" y="1235"/>
                  <a:pt x="2147" y="1235"/>
                  <a:pt x="2148" y="1236"/>
                </a:cubicBezTo>
                <a:cubicBezTo>
                  <a:pt x="2149" y="1236"/>
                  <a:pt x="2149" y="1236"/>
                  <a:pt x="2150" y="1237"/>
                </a:cubicBezTo>
                <a:cubicBezTo>
                  <a:pt x="2150" y="1237"/>
                  <a:pt x="2150" y="1238"/>
                  <a:pt x="2151" y="1238"/>
                </a:cubicBezTo>
                <a:cubicBezTo>
                  <a:pt x="2151" y="1238"/>
                  <a:pt x="2151" y="1238"/>
                  <a:pt x="2151" y="1239"/>
                </a:cubicBezTo>
                <a:cubicBezTo>
                  <a:pt x="2152" y="1239"/>
                  <a:pt x="2152" y="1239"/>
                  <a:pt x="2152" y="1239"/>
                </a:cubicBezTo>
                <a:cubicBezTo>
                  <a:pt x="2153" y="1239"/>
                  <a:pt x="2153" y="1239"/>
                  <a:pt x="2154" y="1238"/>
                </a:cubicBezTo>
                <a:cubicBezTo>
                  <a:pt x="2154" y="1238"/>
                  <a:pt x="2155" y="1238"/>
                  <a:pt x="2156" y="1238"/>
                </a:cubicBezTo>
                <a:cubicBezTo>
                  <a:pt x="2157" y="1239"/>
                  <a:pt x="2159" y="1239"/>
                  <a:pt x="2161" y="1240"/>
                </a:cubicBezTo>
                <a:cubicBezTo>
                  <a:pt x="2162" y="1241"/>
                  <a:pt x="2163" y="1242"/>
                  <a:pt x="2164" y="1243"/>
                </a:cubicBezTo>
                <a:cubicBezTo>
                  <a:pt x="2165" y="1243"/>
                  <a:pt x="2166" y="1244"/>
                  <a:pt x="2166" y="1245"/>
                </a:cubicBezTo>
                <a:cubicBezTo>
                  <a:pt x="2167" y="1245"/>
                  <a:pt x="2167" y="1246"/>
                  <a:pt x="2167" y="1246"/>
                </a:cubicBezTo>
                <a:cubicBezTo>
                  <a:pt x="2167" y="1247"/>
                  <a:pt x="2167" y="1247"/>
                  <a:pt x="2167" y="1247"/>
                </a:cubicBezTo>
                <a:cubicBezTo>
                  <a:pt x="2168" y="1247"/>
                  <a:pt x="2168" y="1247"/>
                  <a:pt x="2168" y="1247"/>
                </a:cubicBezTo>
                <a:cubicBezTo>
                  <a:pt x="2169" y="1247"/>
                  <a:pt x="2169" y="1247"/>
                  <a:pt x="2169" y="1247"/>
                </a:cubicBezTo>
                <a:cubicBezTo>
                  <a:pt x="2169" y="1247"/>
                  <a:pt x="2169" y="1247"/>
                  <a:pt x="2170" y="1247"/>
                </a:cubicBezTo>
                <a:cubicBezTo>
                  <a:pt x="2171" y="1248"/>
                  <a:pt x="2172" y="1249"/>
                  <a:pt x="2173" y="1250"/>
                </a:cubicBezTo>
                <a:cubicBezTo>
                  <a:pt x="2173" y="1250"/>
                  <a:pt x="2173" y="1250"/>
                  <a:pt x="2174" y="1250"/>
                </a:cubicBezTo>
                <a:cubicBezTo>
                  <a:pt x="2174" y="1251"/>
                  <a:pt x="2176" y="1251"/>
                  <a:pt x="2177" y="1251"/>
                </a:cubicBezTo>
                <a:cubicBezTo>
                  <a:pt x="2178" y="1251"/>
                  <a:pt x="2179" y="1251"/>
                  <a:pt x="2180" y="1251"/>
                </a:cubicBezTo>
                <a:cubicBezTo>
                  <a:pt x="2180" y="1251"/>
                  <a:pt x="2181" y="1251"/>
                  <a:pt x="2182" y="1251"/>
                </a:cubicBezTo>
                <a:cubicBezTo>
                  <a:pt x="2183" y="1251"/>
                  <a:pt x="2183" y="1252"/>
                  <a:pt x="2184" y="1253"/>
                </a:cubicBezTo>
                <a:cubicBezTo>
                  <a:pt x="2184" y="1254"/>
                  <a:pt x="2185" y="1255"/>
                  <a:pt x="2185" y="1255"/>
                </a:cubicBezTo>
                <a:cubicBezTo>
                  <a:pt x="2187" y="1257"/>
                  <a:pt x="2189" y="1258"/>
                  <a:pt x="2190" y="1259"/>
                </a:cubicBezTo>
                <a:cubicBezTo>
                  <a:pt x="2192" y="1260"/>
                  <a:pt x="2193" y="1261"/>
                  <a:pt x="2194" y="1262"/>
                </a:cubicBezTo>
                <a:cubicBezTo>
                  <a:pt x="2195" y="1262"/>
                  <a:pt x="2196" y="1263"/>
                  <a:pt x="2197" y="1264"/>
                </a:cubicBezTo>
                <a:cubicBezTo>
                  <a:pt x="2197" y="1264"/>
                  <a:pt x="2197" y="1264"/>
                  <a:pt x="2197" y="1265"/>
                </a:cubicBezTo>
                <a:cubicBezTo>
                  <a:pt x="2197" y="1265"/>
                  <a:pt x="2198" y="1265"/>
                  <a:pt x="2198" y="1264"/>
                </a:cubicBezTo>
                <a:cubicBezTo>
                  <a:pt x="2198" y="1264"/>
                  <a:pt x="2198" y="1264"/>
                  <a:pt x="2198" y="1264"/>
                </a:cubicBezTo>
                <a:cubicBezTo>
                  <a:pt x="2198" y="1265"/>
                  <a:pt x="2198" y="1265"/>
                  <a:pt x="2198" y="1265"/>
                </a:cubicBezTo>
                <a:cubicBezTo>
                  <a:pt x="2199" y="1265"/>
                  <a:pt x="2199" y="1265"/>
                  <a:pt x="2199" y="1265"/>
                </a:cubicBezTo>
                <a:cubicBezTo>
                  <a:pt x="2200" y="1265"/>
                  <a:pt x="2200" y="1265"/>
                  <a:pt x="2200" y="1265"/>
                </a:cubicBezTo>
                <a:cubicBezTo>
                  <a:pt x="2200" y="1265"/>
                  <a:pt x="2200" y="1266"/>
                  <a:pt x="2201" y="1266"/>
                </a:cubicBezTo>
                <a:cubicBezTo>
                  <a:pt x="2201" y="1266"/>
                  <a:pt x="2201" y="1266"/>
                  <a:pt x="2202" y="1267"/>
                </a:cubicBezTo>
                <a:cubicBezTo>
                  <a:pt x="2206" y="1268"/>
                  <a:pt x="2209" y="1269"/>
                  <a:pt x="2213" y="1271"/>
                </a:cubicBezTo>
                <a:cubicBezTo>
                  <a:pt x="2214" y="1272"/>
                  <a:pt x="2216" y="1273"/>
                  <a:pt x="2217" y="1274"/>
                </a:cubicBezTo>
                <a:cubicBezTo>
                  <a:pt x="2218" y="1274"/>
                  <a:pt x="2219" y="1275"/>
                  <a:pt x="2219" y="1276"/>
                </a:cubicBezTo>
                <a:cubicBezTo>
                  <a:pt x="2219" y="1277"/>
                  <a:pt x="2219" y="1277"/>
                  <a:pt x="2220" y="1278"/>
                </a:cubicBezTo>
                <a:cubicBezTo>
                  <a:pt x="2221" y="1279"/>
                  <a:pt x="2221" y="1279"/>
                  <a:pt x="2222" y="1280"/>
                </a:cubicBezTo>
                <a:cubicBezTo>
                  <a:pt x="2223" y="1280"/>
                  <a:pt x="2224" y="1282"/>
                  <a:pt x="2225" y="1281"/>
                </a:cubicBezTo>
                <a:cubicBezTo>
                  <a:pt x="2226" y="1280"/>
                  <a:pt x="2227" y="1282"/>
                  <a:pt x="2228" y="1283"/>
                </a:cubicBezTo>
                <a:cubicBezTo>
                  <a:pt x="2229" y="1284"/>
                  <a:pt x="2231" y="1285"/>
                  <a:pt x="2232" y="1286"/>
                </a:cubicBezTo>
                <a:cubicBezTo>
                  <a:pt x="2233" y="1286"/>
                  <a:pt x="2234" y="1287"/>
                  <a:pt x="2234" y="1287"/>
                </a:cubicBezTo>
                <a:cubicBezTo>
                  <a:pt x="2235" y="1287"/>
                  <a:pt x="2236" y="1287"/>
                  <a:pt x="2237" y="1287"/>
                </a:cubicBezTo>
                <a:cubicBezTo>
                  <a:pt x="2237" y="1287"/>
                  <a:pt x="2238" y="1287"/>
                  <a:pt x="2238" y="1288"/>
                </a:cubicBezTo>
                <a:cubicBezTo>
                  <a:pt x="2238" y="1288"/>
                  <a:pt x="2238" y="1288"/>
                  <a:pt x="2239" y="1288"/>
                </a:cubicBezTo>
                <a:cubicBezTo>
                  <a:pt x="2238" y="1289"/>
                  <a:pt x="2239" y="1290"/>
                  <a:pt x="2239" y="1290"/>
                </a:cubicBezTo>
                <a:cubicBezTo>
                  <a:pt x="2240" y="1290"/>
                  <a:pt x="2240" y="1290"/>
                  <a:pt x="2241" y="1291"/>
                </a:cubicBezTo>
                <a:cubicBezTo>
                  <a:pt x="2241" y="1291"/>
                  <a:pt x="2243" y="1292"/>
                  <a:pt x="2243" y="1291"/>
                </a:cubicBezTo>
                <a:cubicBezTo>
                  <a:pt x="2243" y="1291"/>
                  <a:pt x="2243" y="1291"/>
                  <a:pt x="2244" y="1291"/>
                </a:cubicBezTo>
                <a:cubicBezTo>
                  <a:pt x="2244" y="1291"/>
                  <a:pt x="2244" y="1291"/>
                  <a:pt x="2244" y="1291"/>
                </a:cubicBezTo>
                <a:cubicBezTo>
                  <a:pt x="2245" y="1291"/>
                  <a:pt x="2246" y="1291"/>
                  <a:pt x="2247" y="1292"/>
                </a:cubicBezTo>
                <a:cubicBezTo>
                  <a:pt x="2248" y="1292"/>
                  <a:pt x="2249" y="1293"/>
                  <a:pt x="2250" y="1294"/>
                </a:cubicBezTo>
                <a:cubicBezTo>
                  <a:pt x="2253" y="1296"/>
                  <a:pt x="2260" y="1301"/>
                  <a:pt x="2266" y="1304"/>
                </a:cubicBezTo>
                <a:cubicBezTo>
                  <a:pt x="2268" y="1305"/>
                  <a:pt x="2270" y="1306"/>
                  <a:pt x="2272" y="1307"/>
                </a:cubicBezTo>
                <a:cubicBezTo>
                  <a:pt x="2273" y="1308"/>
                  <a:pt x="2275" y="1309"/>
                  <a:pt x="2277" y="1310"/>
                </a:cubicBezTo>
                <a:cubicBezTo>
                  <a:pt x="2277" y="1311"/>
                  <a:pt x="2278" y="1311"/>
                  <a:pt x="2278" y="1312"/>
                </a:cubicBezTo>
                <a:cubicBezTo>
                  <a:pt x="2278" y="1312"/>
                  <a:pt x="2278" y="1312"/>
                  <a:pt x="2278" y="1312"/>
                </a:cubicBezTo>
                <a:cubicBezTo>
                  <a:pt x="2279" y="1312"/>
                  <a:pt x="2279" y="1312"/>
                  <a:pt x="2279" y="1312"/>
                </a:cubicBezTo>
                <a:cubicBezTo>
                  <a:pt x="2280" y="1312"/>
                  <a:pt x="2280" y="1312"/>
                  <a:pt x="2280" y="1312"/>
                </a:cubicBezTo>
                <a:cubicBezTo>
                  <a:pt x="2281" y="1312"/>
                  <a:pt x="2281" y="1311"/>
                  <a:pt x="2281" y="1312"/>
                </a:cubicBezTo>
                <a:cubicBezTo>
                  <a:pt x="2282" y="1312"/>
                  <a:pt x="2283" y="1313"/>
                  <a:pt x="2283" y="1313"/>
                </a:cubicBezTo>
                <a:cubicBezTo>
                  <a:pt x="2284" y="1314"/>
                  <a:pt x="2286" y="1316"/>
                  <a:pt x="2288" y="1317"/>
                </a:cubicBezTo>
                <a:cubicBezTo>
                  <a:pt x="2289" y="1318"/>
                  <a:pt x="2289" y="1318"/>
                  <a:pt x="2290" y="1318"/>
                </a:cubicBezTo>
                <a:cubicBezTo>
                  <a:pt x="2290" y="1319"/>
                  <a:pt x="2291" y="1319"/>
                  <a:pt x="2291" y="1320"/>
                </a:cubicBezTo>
                <a:cubicBezTo>
                  <a:pt x="2292" y="1320"/>
                  <a:pt x="2292" y="1320"/>
                  <a:pt x="2292" y="1320"/>
                </a:cubicBezTo>
                <a:cubicBezTo>
                  <a:pt x="2292" y="1320"/>
                  <a:pt x="2292" y="1320"/>
                  <a:pt x="2292" y="1319"/>
                </a:cubicBezTo>
                <a:cubicBezTo>
                  <a:pt x="2292" y="1319"/>
                  <a:pt x="2292" y="1318"/>
                  <a:pt x="2293" y="1318"/>
                </a:cubicBezTo>
                <a:cubicBezTo>
                  <a:pt x="2293" y="1318"/>
                  <a:pt x="2293" y="1318"/>
                  <a:pt x="2293" y="1319"/>
                </a:cubicBezTo>
                <a:cubicBezTo>
                  <a:pt x="2295" y="1319"/>
                  <a:pt x="2296" y="1320"/>
                  <a:pt x="2297" y="1321"/>
                </a:cubicBezTo>
                <a:cubicBezTo>
                  <a:pt x="2299" y="1322"/>
                  <a:pt x="2302" y="1324"/>
                  <a:pt x="2304" y="1325"/>
                </a:cubicBezTo>
                <a:cubicBezTo>
                  <a:pt x="2306" y="1326"/>
                  <a:pt x="2310" y="1328"/>
                  <a:pt x="2313" y="1330"/>
                </a:cubicBezTo>
                <a:cubicBezTo>
                  <a:pt x="2316" y="1332"/>
                  <a:pt x="2325" y="1336"/>
                  <a:pt x="2332" y="1340"/>
                </a:cubicBezTo>
                <a:cubicBezTo>
                  <a:pt x="2334" y="1342"/>
                  <a:pt x="2336" y="1343"/>
                  <a:pt x="2339" y="1344"/>
                </a:cubicBezTo>
                <a:cubicBezTo>
                  <a:pt x="2340" y="1345"/>
                  <a:pt x="2341" y="1346"/>
                  <a:pt x="2342" y="1346"/>
                </a:cubicBezTo>
                <a:cubicBezTo>
                  <a:pt x="2343" y="1346"/>
                  <a:pt x="2344" y="1347"/>
                  <a:pt x="2344" y="1348"/>
                </a:cubicBezTo>
                <a:cubicBezTo>
                  <a:pt x="2344" y="1348"/>
                  <a:pt x="2344" y="1349"/>
                  <a:pt x="2344" y="1349"/>
                </a:cubicBezTo>
                <a:cubicBezTo>
                  <a:pt x="2344" y="1350"/>
                  <a:pt x="2346" y="1351"/>
                  <a:pt x="2347" y="1351"/>
                </a:cubicBezTo>
                <a:cubicBezTo>
                  <a:pt x="2348" y="1352"/>
                  <a:pt x="2349" y="1352"/>
                  <a:pt x="2350" y="1353"/>
                </a:cubicBezTo>
                <a:cubicBezTo>
                  <a:pt x="2351" y="1353"/>
                  <a:pt x="2351" y="1353"/>
                  <a:pt x="2351" y="1354"/>
                </a:cubicBezTo>
                <a:cubicBezTo>
                  <a:pt x="2351" y="1354"/>
                  <a:pt x="2351" y="1354"/>
                  <a:pt x="2352" y="1354"/>
                </a:cubicBezTo>
                <a:cubicBezTo>
                  <a:pt x="2352" y="1355"/>
                  <a:pt x="2352" y="1355"/>
                  <a:pt x="2352" y="1355"/>
                </a:cubicBezTo>
                <a:cubicBezTo>
                  <a:pt x="2352" y="1355"/>
                  <a:pt x="2353" y="1355"/>
                  <a:pt x="2353" y="1354"/>
                </a:cubicBezTo>
                <a:cubicBezTo>
                  <a:pt x="2355" y="1353"/>
                  <a:pt x="2356" y="1354"/>
                  <a:pt x="2357" y="1355"/>
                </a:cubicBezTo>
                <a:cubicBezTo>
                  <a:pt x="2358" y="1356"/>
                  <a:pt x="2361" y="1357"/>
                  <a:pt x="2363" y="1358"/>
                </a:cubicBezTo>
                <a:cubicBezTo>
                  <a:pt x="2364" y="1358"/>
                  <a:pt x="2364" y="1358"/>
                  <a:pt x="2365" y="1359"/>
                </a:cubicBezTo>
                <a:cubicBezTo>
                  <a:pt x="2366" y="1359"/>
                  <a:pt x="2366" y="1359"/>
                  <a:pt x="2367" y="1359"/>
                </a:cubicBezTo>
                <a:cubicBezTo>
                  <a:pt x="2367" y="1360"/>
                  <a:pt x="2367" y="1360"/>
                  <a:pt x="2367" y="1360"/>
                </a:cubicBezTo>
                <a:cubicBezTo>
                  <a:pt x="2368" y="1361"/>
                  <a:pt x="2369" y="1362"/>
                  <a:pt x="2370" y="1362"/>
                </a:cubicBezTo>
                <a:cubicBezTo>
                  <a:pt x="2371" y="1362"/>
                  <a:pt x="2372" y="1363"/>
                  <a:pt x="2372" y="1363"/>
                </a:cubicBezTo>
                <a:cubicBezTo>
                  <a:pt x="2373" y="1364"/>
                  <a:pt x="2374" y="1365"/>
                  <a:pt x="2374" y="1365"/>
                </a:cubicBezTo>
                <a:cubicBezTo>
                  <a:pt x="2374" y="1366"/>
                  <a:pt x="2374" y="1367"/>
                  <a:pt x="2375" y="1367"/>
                </a:cubicBezTo>
                <a:cubicBezTo>
                  <a:pt x="2375" y="1367"/>
                  <a:pt x="2376" y="1367"/>
                  <a:pt x="2377" y="1367"/>
                </a:cubicBezTo>
                <a:cubicBezTo>
                  <a:pt x="2377" y="1367"/>
                  <a:pt x="2378" y="1367"/>
                  <a:pt x="2379" y="1368"/>
                </a:cubicBezTo>
                <a:cubicBezTo>
                  <a:pt x="2381" y="1369"/>
                  <a:pt x="2383" y="1369"/>
                  <a:pt x="2384" y="1369"/>
                </a:cubicBezTo>
                <a:cubicBezTo>
                  <a:pt x="2386" y="1369"/>
                  <a:pt x="2387" y="1370"/>
                  <a:pt x="2389" y="1371"/>
                </a:cubicBezTo>
                <a:cubicBezTo>
                  <a:pt x="2390" y="1372"/>
                  <a:pt x="2392" y="1374"/>
                  <a:pt x="2393" y="1375"/>
                </a:cubicBezTo>
                <a:cubicBezTo>
                  <a:pt x="2394" y="1376"/>
                  <a:pt x="2394" y="1377"/>
                  <a:pt x="2395" y="1377"/>
                </a:cubicBezTo>
                <a:cubicBezTo>
                  <a:pt x="2395" y="1377"/>
                  <a:pt x="2396" y="1377"/>
                  <a:pt x="2396" y="1377"/>
                </a:cubicBezTo>
                <a:cubicBezTo>
                  <a:pt x="2397" y="1377"/>
                  <a:pt x="2397" y="1376"/>
                  <a:pt x="2397" y="1376"/>
                </a:cubicBezTo>
                <a:cubicBezTo>
                  <a:pt x="2398" y="1376"/>
                  <a:pt x="2398" y="1377"/>
                  <a:pt x="2398" y="1377"/>
                </a:cubicBezTo>
                <a:cubicBezTo>
                  <a:pt x="2399" y="1377"/>
                  <a:pt x="2400" y="1377"/>
                  <a:pt x="2400" y="1378"/>
                </a:cubicBezTo>
                <a:cubicBezTo>
                  <a:pt x="2400" y="1378"/>
                  <a:pt x="2400" y="1379"/>
                  <a:pt x="2400" y="1379"/>
                </a:cubicBezTo>
                <a:cubicBezTo>
                  <a:pt x="2400" y="1380"/>
                  <a:pt x="2400" y="1380"/>
                  <a:pt x="2401" y="1381"/>
                </a:cubicBezTo>
                <a:cubicBezTo>
                  <a:pt x="2401" y="1381"/>
                  <a:pt x="2401" y="1382"/>
                  <a:pt x="2401" y="1382"/>
                </a:cubicBezTo>
                <a:cubicBezTo>
                  <a:pt x="2401" y="1383"/>
                  <a:pt x="2402" y="1382"/>
                  <a:pt x="2403" y="1382"/>
                </a:cubicBezTo>
                <a:cubicBezTo>
                  <a:pt x="2403" y="1382"/>
                  <a:pt x="2403" y="1383"/>
                  <a:pt x="2403" y="1383"/>
                </a:cubicBezTo>
                <a:cubicBezTo>
                  <a:pt x="2403" y="1383"/>
                  <a:pt x="2403" y="1383"/>
                  <a:pt x="2402" y="1384"/>
                </a:cubicBezTo>
                <a:cubicBezTo>
                  <a:pt x="2402" y="1384"/>
                  <a:pt x="2402" y="1384"/>
                  <a:pt x="2403" y="1384"/>
                </a:cubicBezTo>
                <a:cubicBezTo>
                  <a:pt x="2403" y="1384"/>
                  <a:pt x="2403" y="1385"/>
                  <a:pt x="2404" y="1384"/>
                </a:cubicBezTo>
                <a:cubicBezTo>
                  <a:pt x="2404" y="1384"/>
                  <a:pt x="2404" y="1384"/>
                  <a:pt x="2404" y="1384"/>
                </a:cubicBezTo>
                <a:cubicBezTo>
                  <a:pt x="2404" y="1384"/>
                  <a:pt x="2404" y="1384"/>
                  <a:pt x="2405" y="1383"/>
                </a:cubicBezTo>
                <a:cubicBezTo>
                  <a:pt x="2405" y="1383"/>
                  <a:pt x="2404" y="1383"/>
                  <a:pt x="2404" y="1382"/>
                </a:cubicBezTo>
                <a:cubicBezTo>
                  <a:pt x="2404" y="1381"/>
                  <a:pt x="2405" y="1381"/>
                  <a:pt x="2406" y="1381"/>
                </a:cubicBezTo>
                <a:cubicBezTo>
                  <a:pt x="2406" y="1381"/>
                  <a:pt x="2407" y="1381"/>
                  <a:pt x="2407" y="1381"/>
                </a:cubicBezTo>
                <a:cubicBezTo>
                  <a:pt x="2407" y="1382"/>
                  <a:pt x="2407" y="1382"/>
                  <a:pt x="2407" y="1383"/>
                </a:cubicBezTo>
                <a:cubicBezTo>
                  <a:pt x="2407" y="1384"/>
                  <a:pt x="2407" y="1385"/>
                  <a:pt x="2408" y="1385"/>
                </a:cubicBezTo>
                <a:cubicBezTo>
                  <a:pt x="2408" y="1386"/>
                  <a:pt x="2409" y="1386"/>
                  <a:pt x="2409" y="1386"/>
                </a:cubicBezTo>
                <a:cubicBezTo>
                  <a:pt x="2410" y="1387"/>
                  <a:pt x="2413" y="1389"/>
                  <a:pt x="2416" y="1391"/>
                </a:cubicBezTo>
                <a:cubicBezTo>
                  <a:pt x="2417" y="1391"/>
                  <a:pt x="2417" y="1392"/>
                  <a:pt x="2418" y="1392"/>
                </a:cubicBezTo>
                <a:cubicBezTo>
                  <a:pt x="2418" y="1392"/>
                  <a:pt x="2420" y="1393"/>
                  <a:pt x="2420" y="1393"/>
                </a:cubicBezTo>
                <a:cubicBezTo>
                  <a:pt x="2420" y="1393"/>
                  <a:pt x="2421" y="1393"/>
                  <a:pt x="2421" y="1392"/>
                </a:cubicBezTo>
                <a:cubicBezTo>
                  <a:pt x="2422" y="1393"/>
                  <a:pt x="2422" y="1393"/>
                  <a:pt x="2423" y="1393"/>
                </a:cubicBezTo>
                <a:cubicBezTo>
                  <a:pt x="2424" y="1394"/>
                  <a:pt x="2425" y="1394"/>
                  <a:pt x="2426" y="1394"/>
                </a:cubicBezTo>
                <a:cubicBezTo>
                  <a:pt x="2427" y="1395"/>
                  <a:pt x="2429" y="1395"/>
                  <a:pt x="2429" y="1396"/>
                </a:cubicBezTo>
                <a:cubicBezTo>
                  <a:pt x="2430" y="1397"/>
                  <a:pt x="2430" y="1397"/>
                  <a:pt x="2430" y="1398"/>
                </a:cubicBezTo>
                <a:cubicBezTo>
                  <a:pt x="2430" y="1398"/>
                  <a:pt x="2430" y="1398"/>
                  <a:pt x="2430" y="1399"/>
                </a:cubicBezTo>
                <a:cubicBezTo>
                  <a:pt x="2430" y="1399"/>
                  <a:pt x="2429" y="1399"/>
                  <a:pt x="2429" y="1400"/>
                </a:cubicBezTo>
                <a:cubicBezTo>
                  <a:pt x="2430" y="1400"/>
                  <a:pt x="2431" y="1400"/>
                  <a:pt x="2432" y="1401"/>
                </a:cubicBezTo>
                <a:cubicBezTo>
                  <a:pt x="2433" y="1401"/>
                  <a:pt x="2434" y="1401"/>
                  <a:pt x="2434" y="1402"/>
                </a:cubicBezTo>
                <a:cubicBezTo>
                  <a:pt x="2435" y="1402"/>
                  <a:pt x="2435" y="1402"/>
                  <a:pt x="2436" y="1402"/>
                </a:cubicBezTo>
                <a:cubicBezTo>
                  <a:pt x="2436" y="1402"/>
                  <a:pt x="2436" y="1402"/>
                  <a:pt x="2436" y="1402"/>
                </a:cubicBezTo>
                <a:cubicBezTo>
                  <a:pt x="2437" y="1402"/>
                  <a:pt x="2438" y="1402"/>
                  <a:pt x="2439" y="1402"/>
                </a:cubicBezTo>
                <a:cubicBezTo>
                  <a:pt x="2439" y="1402"/>
                  <a:pt x="2439" y="1401"/>
                  <a:pt x="2440" y="1401"/>
                </a:cubicBezTo>
                <a:cubicBezTo>
                  <a:pt x="2440" y="1401"/>
                  <a:pt x="2440" y="1402"/>
                  <a:pt x="2440" y="1402"/>
                </a:cubicBezTo>
                <a:cubicBezTo>
                  <a:pt x="2440" y="1402"/>
                  <a:pt x="2440" y="1403"/>
                  <a:pt x="2440" y="1403"/>
                </a:cubicBezTo>
                <a:cubicBezTo>
                  <a:pt x="2440" y="1404"/>
                  <a:pt x="2441" y="1404"/>
                  <a:pt x="2441" y="1404"/>
                </a:cubicBezTo>
                <a:cubicBezTo>
                  <a:pt x="2443" y="1405"/>
                  <a:pt x="2444" y="1406"/>
                  <a:pt x="2446" y="1406"/>
                </a:cubicBezTo>
                <a:cubicBezTo>
                  <a:pt x="2447" y="1406"/>
                  <a:pt x="2448" y="1407"/>
                  <a:pt x="2449" y="1408"/>
                </a:cubicBezTo>
                <a:cubicBezTo>
                  <a:pt x="2449" y="1408"/>
                  <a:pt x="2452" y="1410"/>
                  <a:pt x="2455" y="1412"/>
                </a:cubicBezTo>
                <a:cubicBezTo>
                  <a:pt x="2456" y="1412"/>
                  <a:pt x="2457" y="1413"/>
                  <a:pt x="2458" y="1414"/>
                </a:cubicBezTo>
                <a:cubicBezTo>
                  <a:pt x="2459" y="1414"/>
                  <a:pt x="2460" y="1415"/>
                  <a:pt x="2461" y="1415"/>
                </a:cubicBezTo>
                <a:cubicBezTo>
                  <a:pt x="2462" y="1415"/>
                  <a:pt x="2462" y="1415"/>
                  <a:pt x="2463" y="1415"/>
                </a:cubicBezTo>
                <a:cubicBezTo>
                  <a:pt x="2464" y="1414"/>
                  <a:pt x="2465" y="1415"/>
                  <a:pt x="2466" y="1415"/>
                </a:cubicBezTo>
                <a:cubicBezTo>
                  <a:pt x="2466" y="1416"/>
                  <a:pt x="2466" y="1416"/>
                  <a:pt x="2467" y="1416"/>
                </a:cubicBezTo>
                <a:cubicBezTo>
                  <a:pt x="2467" y="1417"/>
                  <a:pt x="2467" y="1417"/>
                  <a:pt x="2467" y="1418"/>
                </a:cubicBezTo>
                <a:cubicBezTo>
                  <a:pt x="2467" y="1418"/>
                  <a:pt x="2468" y="1419"/>
                  <a:pt x="2468" y="1419"/>
                </a:cubicBezTo>
                <a:cubicBezTo>
                  <a:pt x="2469" y="1420"/>
                  <a:pt x="2470" y="1420"/>
                  <a:pt x="2471" y="1421"/>
                </a:cubicBezTo>
                <a:cubicBezTo>
                  <a:pt x="2472" y="1421"/>
                  <a:pt x="2474" y="1422"/>
                  <a:pt x="2476" y="1422"/>
                </a:cubicBezTo>
                <a:cubicBezTo>
                  <a:pt x="2477" y="1422"/>
                  <a:pt x="2479" y="1422"/>
                  <a:pt x="2480" y="1422"/>
                </a:cubicBezTo>
                <a:cubicBezTo>
                  <a:pt x="2480" y="1423"/>
                  <a:pt x="2481" y="1424"/>
                  <a:pt x="2481" y="1425"/>
                </a:cubicBezTo>
                <a:cubicBezTo>
                  <a:pt x="2481" y="1425"/>
                  <a:pt x="2481" y="1426"/>
                  <a:pt x="2482" y="1426"/>
                </a:cubicBezTo>
                <a:cubicBezTo>
                  <a:pt x="2483" y="1427"/>
                  <a:pt x="2484" y="1427"/>
                  <a:pt x="2485" y="1428"/>
                </a:cubicBezTo>
                <a:cubicBezTo>
                  <a:pt x="2487" y="1429"/>
                  <a:pt x="2489" y="1431"/>
                  <a:pt x="2490" y="1432"/>
                </a:cubicBezTo>
                <a:cubicBezTo>
                  <a:pt x="2490" y="1432"/>
                  <a:pt x="2494" y="1434"/>
                  <a:pt x="2497" y="1436"/>
                </a:cubicBezTo>
                <a:cubicBezTo>
                  <a:pt x="2499" y="1437"/>
                  <a:pt x="2500" y="1438"/>
                  <a:pt x="2502" y="1439"/>
                </a:cubicBezTo>
                <a:cubicBezTo>
                  <a:pt x="2502" y="1439"/>
                  <a:pt x="2502" y="1439"/>
                  <a:pt x="2502" y="1439"/>
                </a:cubicBezTo>
                <a:cubicBezTo>
                  <a:pt x="2503" y="1439"/>
                  <a:pt x="2503" y="1438"/>
                  <a:pt x="2503" y="1438"/>
                </a:cubicBezTo>
                <a:cubicBezTo>
                  <a:pt x="2503" y="1438"/>
                  <a:pt x="2503" y="1438"/>
                  <a:pt x="2503" y="1438"/>
                </a:cubicBezTo>
                <a:cubicBezTo>
                  <a:pt x="2504" y="1438"/>
                  <a:pt x="2504" y="1438"/>
                  <a:pt x="2504" y="1438"/>
                </a:cubicBezTo>
                <a:cubicBezTo>
                  <a:pt x="2505" y="1439"/>
                  <a:pt x="2506" y="1438"/>
                  <a:pt x="2507" y="1438"/>
                </a:cubicBezTo>
                <a:cubicBezTo>
                  <a:pt x="2508" y="1438"/>
                  <a:pt x="2509" y="1439"/>
                  <a:pt x="2509" y="1439"/>
                </a:cubicBezTo>
                <a:cubicBezTo>
                  <a:pt x="2510" y="1440"/>
                  <a:pt x="2511" y="1441"/>
                  <a:pt x="2512" y="1441"/>
                </a:cubicBezTo>
                <a:cubicBezTo>
                  <a:pt x="2514" y="1442"/>
                  <a:pt x="2516" y="1444"/>
                  <a:pt x="2517" y="1445"/>
                </a:cubicBezTo>
                <a:cubicBezTo>
                  <a:pt x="2518" y="1445"/>
                  <a:pt x="2519" y="1445"/>
                  <a:pt x="2520" y="1446"/>
                </a:cubicBezTo>
                <a:cubicBezTo>
                  <a:pt x="2520" y="1446"/>
                  <a:pt x="2521" y="1446"/>
                  <a:pt x="2521" y="1446"/>
                </a:cubicBezTo>
                <a:cubicBezTo>
                  <a:pt x="2521" y="1447"/>
                  <a:pt x="2521" y="1447"/>
                  <a:pt x="2521" y="1447"/>
                </a:cubicBezTo>
                <a:cubicBezTo>
                  <a:pt x="2521" y="1448"/>
                  <a:pt x="2521" y="1448"/>
                  <a:pt x="2521" y="1448"/>
                </a:cubicBezTo>
                <a:cubicBezTo>
                  <a:pt x="2522" y="1449"/>
                  <a:pt x="2523" y="1449"/>
                  <a:pt x="2523" y="1449"/>
                </a:cubicBezTo>
                <a:cubicBezTo>
                  <a:pt x="2525" y="1450"/>
                  <a:pt x="2527" y="1452"/>
                  <a:pt x="2528" y="1453"/>
                </a:cubicBezTo>
                <a:cubicBezTo>
                  <a:pt x="2529" y="1453"/>
                  <a:pt x="2530" y="1454"/>
                  <a:pt x="2532" y="1454"/>
                </a:cubicBezTo>
                <a:cubicBezTo>
                  <a:pt x="2532" y="1454"/>
                  <a:pt x="2532" y="1454"/>
                  <a:pt x="2532" y="1454"/>
                </a:cubicBezTo>
                <a:cubicBezTo>
                  <a:pt x="2533" y="1453"/>
                  <a:pt x="2533" y="1453"/>
                  <a:pt x="2533" y="1453"/>
                </a:cubicBezTo>
                <a:cubicBezTo>
                  <a:pt x="2533" y="1453"/>
                  <a:pt x="2533" y="1453"/>
                  <a:pt x="2534" y="1453"/>
                </a:cubicBezTo>
                <a:cubicBezTo>
                  <a:pt x="2535" y="1454"/>
                  <a:pt x="2537" y="1455"/>
                  <a:pt x="2539" y="1456"/>
                </a:cubicBezTo>
                <a:cubicBezTo>
                  <a:pt x="2541" y="1457"/>
                  <a:pt x="2542" y="1458"/>
                  <a:pt x="2543" y="1458"/>
                </a:cubicBezTo>
                <a:cubicBezTo>
                  <a:pt x="2544" y="1459"/>
                  <a:pt x="2544" y="1459"/>
                  <a:pt x="2545" y="1459"/>
                </a:cubicBezTo>
                <a:cubicBezTo>
                  <a:pt x="2545" y="1459"/>
                  <a:pt x="2544" y="1459"/>
                  <a:pt x="2544" y="1460"/>
                </a:cubicBezTo>
                <a:cubicBezTo>
                  <a:pt x="2544" y="1460"/>
                  <a:pt x="2545" y="1460"/>
                  <a:pt x="2545" y="1460"/>
                </a:cubicBezTo>
                <a:cubicBezTo>
                  <a:pt x="2546" y="1461"/>
                  <a:pt x="2549" y="1460"/>
                  <a:pt x="2549" y="1461"/>
                </a:cubicBezTo>
                <a:cubicBezTo>
                  <a:pt x="2549" y="1462"/>
                  <a:pt x="2549" y="1462"/>
                  <a:pt x="2549" y="1462"/>
                </a:cubicBezTo>
                <a:cubicBezTo>
                  <a:pt x="2548" y="1462"/>
                  <a:pt x="2548" y="1463"/>
                  <a:pt x="2548" y="1463"/>
                </a:cubicBezTo>
                <a:cubicBezTo>
                  <a:pt x="2548" y="1463"/>
                  <a:pt x="2548" y="1464"/>
                  <a:pt x="2548" y="1464"/>
                </a:cubicBezTo>
                <a:cubicBezTo>
                  <a:pt x="2548" y="1464"/>
                  <a:pt x="2549" y="1465"/>
                  <a:pt x="2549" y="1465"/>
                </a:cubicBezTo>
                <a:cubicBezTo>
                  <a:pt x="2549" y="1465"/>
                  <a:pt x="2550" y="1465"/>
                  <a:pt x="2550" y="1465"/>
                </a:cubicBezTo>
                <a:cubicBezTo>
                  <a:pt x="2550" y="1465"/>
                  <a:pt x="2550" y="1465"/>
                  <a:pt x="2551" y="1465"/>
                </a:cubicBezTo>
                <a:cubicBezTo>
                  <a:pt x="2551" y="1465"/>
                  <a:pt x="2551" y="1466"/>
                  <a:pt x="2551" y="1467"/>
                </a:cubicBezTo>
                <a:cubicBezTo>
                  <a:pt x="2552" y="1468"/>
                  <a:pt x="2553" y="1468"/>
                  <a:pt x="2554" y="1469"/>
                </a:cubicBezTo>
                <a:cubicBezTo>
                  <a:pt x="2557" y="1470"/>
                  <a:pt x="2559" y="1471"/>
                  <a:pt x="2562" y="1473"/>
                </a:cubicBezTo>
                <a:cubicBezTo>
                  <a:pt x="2564" y="1474"/>
                  <a:pt x="2566" y="1475"/>
                  <a:pt x="2568" y="1476"/>
                </a:cubicBezTo>
                <a:cubicBezTo>
                  <a:pt x="2569" y="1476"/>
                  <a:pt x="2570" y="1477"/>
                  <a:pt x="2571" y="1477"/>
                </a:cubicBezTo>
                <a:cubicBezTo>
                  <a:pt x="2571" y="1478"/>
                  <a:pt x="2573" y="1478"/>
                  <a:pt x="2573" y="1478"/>
                </a:cubicBezTo>
                <a:cubicBezTo>
                  <a:pt x="2574" y="1477"/>
                  <a:pt x="2574" y="1477"/>
                  <a:pt x="2575" y="1478"/>
                </a:cubicBezTo>
                <a:cubicBezTo>
                  <a:pt x="2575" y="1478"/>
                  <a:pt x="2577" y="1478"/>
                  <a:pt x="2577" y="1477"/>
                </a:cubicBezTo>
                <a:cubicBezTo>
                  <a:pt x="2579" y="1477"/>
                  <a:pt x="2579" y="1477"/>
                  <a:pt x="2580" y="1477"/>
                </a:cubicBezTo>
                <a:cubicBezTo>
                  <a:pt x="2581" y="1478"/>
                  <a:pt x="2582" y="1479"/>
                  <a:pt x="2583" y="1479"/>
                </a:cubicBezTo>
                <a:cubicBezTo>
                  <a:pt x="2584" y="1480"/>
                  <a:pt x="2586" y="1481"/>
                  <a:pt x="2587" y="1481"/>
                </a:cubicBezTo>
                <a:cubicBezTo>
                  <a:pt x="2587" y="1482"/>
                  <a:pt x="2588" y="1482"/>
                  <a:pt x="2588" y="1482"/>
                </a:cubicBezTo>
                <a:cubicBezTo>
                  <a:pt x="2588" y="1482"/>
                  <a:pt x="2589" y="1482"/>
                  <a:pt x="2589" y="1482"/>
                </a:cubicBezTo>
                <a:cubicBezTo>
                  <a:pt x="2589" y="1482"/>
                  <a:pt x="2589" y="1482"/>
                  <a:pt x="2590" y="1482"/>
                </a:cubicBezTo>
                <a:cubicBezTo>
                  <a:pt x="2590" y="1483"/>
                  <a:pt x="2591" y="1483"/>
                  <a:pt x="2592" y="1483"/>
                </a:cubicBezTo>
                <a:cubicBezTo>
                  <a:pt x="2592" y="1484"/>
                  <a:pt x="2593" y="1484"/>
                  <a:pt x="2594" y="1485"/>
                </a:cubicBezTo>
                <a:cubicBezTo>
                  <a:pt x="2594" y="1485"/>
                  <a:pt x="2594" y="1485"/>
                  <a:pt x="2594" y="1486"/>
                </a:cubicBezTo>
                <a:cubicBezTo>
                  <a:pt x="2594" y="1486"/>
                  <a:pt x="2594" y="1487"/>
                  <a:pt x="2594" y="1487"/>
                </a:cubicBezTo>
                <a:cubicBezTo>
                  <a:pt x="2594" y="1487"/>
                  <a:pt x="2595" y="1488"/>
                  <a:pt x="2595" y="1488"/>
                </a:cubicBezTo>
                <a:cubicBezTo>
                  <a:pt x="2595" y="1488"/>
                  <a:pt x="2596" y="1488"/>
                  <a:pt x="2596" y="1488"/>
                </a:cubicBezTo>
                <a:cubicBezTo>
                  <a:pt x="2596" y="1488"/>
                  <a:pt x="2596" y="1488"/>
                  <a:pt x="2597" y="1488"/>
                </a:cubicBezTo>
                <a:cubicBezTo>
                  <a:pt x="2597" y="1488"/>
                  <a:pt x="2597" y="1488"/>
                  <a:pt x="2597" y="1488"/>
                </a:cubicBezTo>
                <a:cubicBezTo>
                  <a:pt x="2597" y="1486"/>
                  <a:pt x="2598" y="1487"/>
                  <a:pt x="2599" y="1487"/>
                </a:cubicBezTo>
                <a:cubicBezTo>
                  <a:pt x="2600" y="1488"/>
                  <a:pt x="2601" y="1489"/>
                  <a:pt x="2601" y="1490"/>
                </a:cubicBezTo>
                <a:cubicBezTo>
                  <a:pt x="2601" y="1491"/>
                  <a:pt x="2602" y="1491"/>
                  <a:pt x="2603" y="1491"/>
                </a:cubicBezTo>
                <a:cubicBezTo>
                  <a:pt x="2604" y="1492"/>
                  <a:pt x="2604" y="1492"/>
                  <a:pt x="2605" y="1492"/>
                </a:cubicBezTo>
                <a:cubicBezTo>
                  <a:pt x="2605" y="1492"/>
                  <a:pt x="2605" y="1492"/>
                  <a:pt x="2605" y="1492"/>
                </a:cubicBezTo>
                <a:cubicBezTo>
                  <a:pt x="2606" y="1492"/>
                  <a:pt x="2606" y="1492"/>
                  <a:pt x="2606" y="1492"/>
                </a:cubicBezTo>
                <a:cubicBezTo>
                  <a:pt x="2606" y="1491"/>
                  <a:pt x="2606" y="1491"/>
                  <a:pt x="2606" y="1491"/>
                </a:cubicBezTo>
                <a:cubicBezTo>
                  <a:pt x="2608" y="1492"/>
                  <a:pt x="2610" y="1493"/>
                  <a:pt x="2611" y="1494"/>
                </a:cubicBezTo>
                <a:cubicBezTo>
                  <a:pt x="2613" y="1495"/>
                  <a:pt x="2615" y="1496"/>
                  <a:pt x="2616" y="1496"/>
                </a:cubicBezTo>
                <a:cubicBezTo>
                  <a:pt x="2618" y="1497"/>
                  <a:pt x="2621" y="1498"/>
                  <a:pt x="2623" y="1500"/>
                </a:cubicBezTo>
                <a:cubicBezTo>
                  <a:pt x="2624" y="1500"/>
                  <a:pt x="2625" y="1501"/>
                  <a:pt x="2626" y="1501"/>
                </a:cubicBezTo>
                <a:cubicBezTo>
                  <a:pt x="2626" y="1502"/>
                  <a:pt x="2626" y="1502"/>
                  <a:pt x="2626" y="1502"/>
                </a:cubicBezTo>
                <a:cubicBezTo>
                  <a:pt x="2626" y="1502"/>
                  <a:pt x="2625" y="1503"/>
                  <a:pt x="2626" y="1503"/>
                </a:cubicBezTo>
                <a:cubicBezTo>
                  <a:pt x="2626" y="1504"/>
                  <a:pt x="2629" y="1504"/>
                  <a:pt x="2629" y="1505"/>
                </a:cubicBezTo>
                <a:cubicBezTo>
                  <a:pt x="2629" y="1506"/>
                  <a:pt x="2629" y="1506"/>
                  <a:pt x="2629" y="1506"/>
                </a:cubicBezTo>
                <a:cubicBezTo>
                  <a:pt x="2629" y="1506"/>
                  <a:pt x="2629" y="1506"/>
                  <a:pt x="2629" y="1506"/>
                </a:cubicBezTo>
                <a:cubicBezTo>
                  <a:pt x="2629" y="1507"/>
                  <a:pt x="2629" y="1507"/>
                  <a:pt x="2629" y="1507"/>
                </a:cubicBezTo>
                <a:cubicBezTo>
                  <a:pt x="2633" y="1509"/>
                  <a:pt x="2636" y="1510"/>
                  <a:pt x="2640" y="1512"/>
                </a:cubicBezTo>
                <a:cubicBezTo>
                  <a:pt x="2641" y="1512"/>
                  <a:pt x="2641" y="1513"/>
                  <a:pt x="2642" y="1513"/>
                </a:cubicBezTo>
                <a:cubicBezTo>
                  <a:pt x="2643" y="1513"/>
                  <a:pt x="2644" y="1513"/>
                  <a:pt x="2645" y="1512"/>
                </a:cubicBezTo>
                <a:cubicBezTo>
                  <a:pt x="2646" y="1512"/>
                  <a:pt x="2647" y="1512"/>
                  <a:pt x="2648" y="1512"/>
                </a:cubicBezTo>
                <a:cubicBezTo>
                  <a:pt x="2649" y="1512"/>
                  <a:pt x="2649" y="1513"/>
                  <a:pt x="2650" y="1513"/>
                </a:cubicBezTo>
                <a:cubicBezTo>
                  <a:pt x="2651" y="1513"/>
                  <a:pt x="2652" y="1514"/>
                  <a:pt x="2652" y="1514"/>
                </a:cubicBezTo>
                <a:cubicBezTo>
                  <a:pt x="2652" y="1514"/>
                  <a:pt x="2652" y="1515"/>
                  <a:pt x="2652" y="1515"/>
                </a:cubicBezTo>
                <a:cubicBezTo>
                  <a:pt x="2652" y="1515"/>
                  <a:pt x="2652" y="1516"/>
                  <a:pt x="2652" y="1516"/>
                </a:cubicBezTo>
                <a:cubicBezTo>
                  <a:pt x="2653" y="1516"/>
                  <a:pt x="2654" y="1517"/>
                  <a:pt x="2654" y="1517"/>
                </a:cubicBezTo>
                <a:cubicBezTo>
                  <a:pt x="2655" y="1518"/>
                  <a:pt x="2655" y="1518"/>
                  <a:pt x="2655" y="1519"/>
                </a:cubicBezTo>
                <a:cubicBezTo>
                  <a:pt x="2656" y="1520"/>
                  <a:pt x="2656" y="1521"/>
                  <a:pt x="2657" y="1522"/>
                </a:cubicBezTo>
                <a:cubicBezTo>
                  <a:pt x="2658" y="1522"/>
                  <a:pt x="2659" y="1522"/>
                  <a:pt x="2659" y="1523"/>
                </a:cubicBezTo>
                <a:cubicBezTo>
                  <a:pt x="2660" y="1523"/>
                  <a:pt x="2662" y="1524"/>
                  <a:pt x="2663" y="1524"/>
                </a:cubicBezTo>
                <a:cubicBezTo>
                  <a:pt x="2663" y="1525"/>
                  <a:pt x="2664" y="1524"/>
                  <a:pt x="2665" y="1524"/>
                </a:cubicBezTo>
                <a:cubicBezTo>
                  <a:pt x="2665" y="1524"/>
                  <a:pt x="2666" y="1525"/>
                  <a:pt x="2666" y="1525"/>
                </a:cubicBezTo>
                <a:cubicBezTo>
                  <a:pt x="2667" y="1526"/>
                  <a:pt x="2671" y="1528"/>
                  <a:pt x="2675" y="1530"/>
                </a:cubicBezTo>
                <a:cubicBezTo>
                  <a:pt x="2676" y="1531"/>
                  <a:pt x="2677" y="1531"/>
                  <a:pt x="2679" y="1532"/>
                </a:cubicBezTo>
                <a:cubicBezTo>
                  <a:pt x="2690" y="1537"/>
                  <a:pt x="2697" y="1545"/>
                  <a:pt x="2711" y="1552"/>
                </a:cubicBezTo>
                <a:cubicBezTo>
                  <a:pt x="2718" y="1555"/>
                  <a:pt x="2727" y="1564"/>
                  <a:pt x="2736" y="1560"/>
                </a:cubicBezTo>
                <a:cubicBezTo>
                  <a:pt x="2741" y="1557"/>
                  <a:pt x="2743" y="1548"/>
                  <a:pt x="2746" y="1543"/>
                </a:cubicBezTo>
                <a:cubicBezTo>
                  <a:pt x="2748" y="1539"/>
                  <a:pt x="2748" y="1536"/>
                  <a:pt x="2749" y="1533"/>
                </a:cubicBezTo>
                <a:cubicBezTo>
                  <a:pt x="2749" y="1531"/>
                  <a:pt x="2751" y="1528"/>
                  <a:pt x="2751" y="1526"/>
                </a:cubicBezTo>
                <a:cubicBezTo>
                  <a:pt x="2751" y="1525"/>
                  <a:pt x="2750" y="1523"/>
                  <a:pt x="2749" y="1522"/>
                </a:cubicBezTo>
                <a:cubicBezTo>
                  <a:pt x="2746" y="1518"/>
                  <a:pt x="2746" y="1516"/>
                  <a:pt x="2741" y="1513"/>
                </a:cubicBezTo>
                <a:cubicBezTo>
                  <a:pt x="2738" y="1509"/>
                  <a:pt x="2734" y="1506"/>
                  <a:pt x="2730" y="1504"/>
                </a:cubicBezTo>
                <a:cubicBezTo>
                  <a:pt x="2726" y="1501"/>
                  <a:pt x="2722" y="1499"/>
                  <a:pt x="2718" y="1497"/>
                </a:cubicBezTo>
                <a:cubicBezTo>
                  <a:pt x="2716" y="1496"/>
                  <a:pt x="2715" y="1495"/>
                  <a:pt x="2714" y="1495"/>
                </a:cubicBezTo>
                <a:cubicBezTo>
                  <a:pt x="2713" y="1495"/>
                  <a:pt x="2712" y="1494"/>
                  <a:pt x="2711" y="1494"/>
                </a:cubicBezTo>
                <a:cubicBezTo>
                  <a:pt x="2710" y="1493"/>
                  <a:pt x="2709" y="1492"/>
                  <a:pt x="2707" y="1491"/>
                </a:cubicBezTo>
                <a:cubicBezTo>
                  <a:pt x="2706" y="1490"/>
                  <a:pt x="2705" y="1490"/>
                  <a:pt x="2704" y="1489"/>
                </a:cubicBezTo>
                <a:cubicBezTo>
                  <a:pt x="2702" y="1488"/>
                  <a:pt x="2701" y="1486"/>
                  <a:pt x="2699" y="1485"/>
                </a:cubicBezTo>
                <a:cubicBezTo>
                  <a:pt x="2697" y="1484"/>
                  <a:pt x="2695" y="1484"/>
                  <a:pt x="2693" y="1483"/>
                </a:cubicBezTo>
                <a:cubicBezTo>
                  <a:pt x="2691" y="1481"/>
                  <a:pt x="2689" y="1480"/>
                  <a:pt x="2687" y="1479"/>
                </a:cubicBezTo>
                <a:cubicBezTo>
                  <a:pt x="2686" y="1478"/>
                  <a:pt x="2684" y="1479"/>
                  <a:pt x="2683" y="1479"/>
                </a:cubicBezTo>
                <a:cubicBezTo>
                  <a:pt x="2681" y="1478"/>
                  <a:pt x="2679" y="1477"/>
                  <a:pt x="2677" y="1476"/>
                </a:cubicBezTo>
                <a:cubicBezTo>
                  <a:pt x="2646" y="1457"/>
                  <a:pt x="2568" y="1413"/>
                  <a:pt x="2552" y="1405"/>
                </a:cubicBezTo>
                <a:cubicBezTo>
                  <a:pt x="2549" y="1404"/>
                  <a:pt x="2542" y="1400"/>
                  <a:pt x="2536" y="1397"/>
                </a:cubicBezTo>
                <a:cubicBezTo>
                  <a:pt x="2531" y="1394"/>
                  <a:pt x="2522" y="1390"/>
                  <a:pt x="2518" y="1387"/>
                </a:cubicBezTo>
                <a:cubicBezTo>
                  <a:pt x="2492" y="1374"/>
                  <a:pt x="2481" y="1369"/>
                  <a:pt x="2456" y="1355"/>
                </a:cubicBezTo>
                <a:cubicBezTo>
                  <a:pt x="2453" y="1353"/>
                  <a:pt x="2451" y="1352"/>
                  <a:pt x="2449" y="1351"/>
                </a:cubicBezTo>
                <a:cubicBezTo>
                  <a:pt x="2448" y="1350"/>
                  <a:pt x="2445" y="1348"/>
                  <a:pt x="2444" y="1348"/>
                </a:cubicBezTo>
                <a:cubicBezTo>
                  <a:pt x="2443" y="1348"/>
                  <a:pt x="2443" y="1349"/>
                  <a:pt x="2443" y="1348"/>
                </a:cubicBezTo>
                <a:cubicBezTo>
                  <a:pt x="2442" y="1348"/>
                  <a:pt x="2442" y="1347"/>
                  <a:pt x="2442" y="1347"/>
                </a:cubicBezTo>
                <a:cubicBezTo>
                  <a:pt x="2441" y="1346"/>
                  <a:pt x="2441" y="1345"/>
                  <a:pt x="2440" y="1345"/>
                </a:cubicBezTo>
                <a:cubicBezTo>
                  <a:pt x="2440" y="1345"/>
                  <a:pt x="2439" y="1345"/>
                  <a:pt x="2439" y="1345"/>
                </a:cubicBezTo>
                <a:cubicBezTo>
                  <a:pt x="2438" y="1346"/>
                  <a:pt x="2437" y="1345"/>
                  <a:pt x="2436" y="1344"/>
                </a:cubicBezTo>
                <a:cubicBezTo>
                  <a:pt x="2434" y="1344"/>
                  <a:pt x="2432" y="1343"/>
                  <a:pt x="2431" y="1342"/>
                </a:cubicBezTo>
                <a:cubicBezTo>
                  <a:pt x="2428" y="1340"/>
                  <a:pt x="2424" y="1338"/>
                  <a:pt x="2421" y="1336"/>
                </a:cubicBezTo>
                <a:cubicBezTo>
                  <a:pt x="2417" y="1334"/>
                  <a:pt x="2414" y="1332"/>
                  <a:pt x="2411" y="1331"/>
                </a:cubicBezTo>
                <a:cubicBezTo>
                  <a:pt x="2409" y="1330"/>
                  <a:pt x="2408" y="1329"/>
                  <a:pt x="2407" y="1329"/>
                </a:cubicBezTo>
                <a:cubicBezTo>
                  <a:pt x="2405" y="1328"/>
                  <a:pt x="2403" y="1327"/>
                  <a:pt x="2403" y="1326"/>
                </a:cubicBezTo>
                <a:cubicBezTo>
                  <a:pt x="2402" y="1324"/>
                  <a:pt x="2402" y="1323"/>
                  <a:pt x="2400" y="1323"/>
                </a:cubicBezTo>
                <a:cubicBezTo>
                  <a:pt x="2400" y="1323"/>
                  <a:pt x="2399" y="1323"/>
                  <a:pt x="2399" y="1324"/>
                </a:cubicBezTo>
                <a:cubicBezTo>
                  <a:pt x="2399" y="1324"/>
                  <a:pt x="2399" y="1323"/>
                  <a:pt x="2398" y="1323"/>
                </a:cubicBezTo>
                <a:cubicBezTo>
                  <a:pt x="2395" y="1322"/>
                  <a:pt x="2391" y="1320"/>
                  <a:pt x="2388" y="1318"/>
                </a:cubicBezTo>
                <a:cubicBezTo>
                  <a:pt x="2384" y="1316"/>
                  <a:pt x="2380" y="1314"/>
                  <a:pt x="2376" y="1311"/>
                </a:cubicBezTo>
                <a:cubicBezTo>
                  <a:pt x="2369" y="1307"/>
                  <a:pt x="2361" y="1303"/>
                  <a:pt x="2354" y="1299"/>
                </a:cubicBezTo>
                <a:cubicBezTo>
                  <a:pt x="2347" y="1295"/>
                  <a:pt x="2341" y="1291"/>
                  <a:pt x="2335" y="1288"/>
                </a:cubicBezTo>
                <a:cubicBezTo>
                  <a:pt x="2320" y="1279"/>
                  <a:pt x="2305" y="1271"/>
                  <a:pt x="2290" y="1262"/>
                </a:cubicBezTo>
                <a:cubicBezTo>
                  <a:pt x="2286" y="1260"/>
                  <a:pt x="2283" y="1259"/>
                  <a:pt x="2280" y="1257"/>
                </a:cubicBezTo>
                <a:cubicBezTo>
                  <a:pt x="2278" y="1256"/>
                  <a:pt x="2276" y="1255"/>
                  <a:pt x="2275" y="1254"/>
                </a:cubicBezTo>
                <a:cubicBezTo>
                  <a:pt x="2273" y="1253"/>
                  <a:pt x="2272" y="1252"/>
                  <a:pt x="2270" y="1252"/>
                </a:cubicBezTo>
                <a:cubicBezTo>
                  <a:pt x="2269" y="1252"/>
                  <a:pt x="2269" y="1252"/>
                  <a:pt x="2269" y="1251"/>
                </a:cubicBezTo>
                <a:cubicBezTo>
                  <a:pt x="2268" y="1250"/>
                  <a:pt x="2266" y="1249"/>
                  <a:pt x="2266" y="1249"/>
                </a:cubicBezTo>
                <a:cubicBezTo>
                  <a:pt x="2266" y="1249"/>
                  <a:pt x="2265" y="1249"/>
                  <a:pt x="2264" y="1248"/>
                </a:cubicBezTo>
                <a:cubicBezTo>
                  <a:pt x="2263" y="1248"/>
                  <a:pt x="2261" y="1247"/>
                  <a:pt x="2260" y="1246"/>
                </a:cubicBezTo>
                <a:cubicBezTo>
                  <a:pt x="2257" y="1244"/>
                  <a:pt x="2254" y="1242"/>
                  <a:pt x="2250" y="1241"/>
                </a:cubicBezTo>
                <a:cubicBezTo>
                  <a:pt x="2250" y="1240"/>
                  <a:pt x="2250" y="1240"/>
                  <a:pt x="2249" y="1240"/>
                </a:cubicBezTo>
                <a:cubicBezTo>
                  <a:pt x="2249" y="1240"/>
                  <a:pt x="2249" y="1240"/>
                  <a:pt x="2248" y="1240"/>
                </a:cubicBezTo>
                <a:cubicBezTo>
                  <a:pt x="2247" y="1241"/>
                  <a:pt x="2245" y="1240"/>
                  <a:pt x="2244" y="1239"/>
                </a:cubicBezTo>
                <a:cubicBezTo>
                  <a:pt x="2243" y="1239"/>
                  <a:pt x="2242" y="1239"/>
                  <a:pt x="2242" y="1238"/>
                </a:cubicBezTo>
                <a:cubicBezTo>
                  <a:pt x="2242" y="1238"/>
                  <a:pt x="2244" y="1237"/>
                  <a:pt x="2243" y="1237"/>
                </a:cubicBezTo>
                <a:cubicBezTo>
                  <a:pt x="2242" y="1236"/>
                  <a:pt x="2242" y="1236"/>
                  <a:pt x="2241" y="1236"/>
                </a:cubicBezTo>
                <a:cubicBezTo>
                  <a:pt x="2241" y="1237"/>
                  <a:pt x="2240" y="1236"/>
                  <a:pt x="2240" y="1235"/>
                </a:cubicBezTo>
                <a:cubicBezTo>
                  <a:pt x="2240" y="1235"/>
                  <a:pt x="2240" y="1235"/>
                  <a:pt x="2240" y="1235"/>
                </a:cubicBezTo>
                <a:cubicBezTo>
                  <a:pt x="2238" y="1234"/>
                  <a:pt x="2236" y="1233"/>
                  <a:pt x="2233" y="1232"/>
                </a:cubicBezTo>
                <a:cubicBezTo>
                  <a:pt x="2232" y="1231"/>
                  <a:pt x="2229" y="1229"/>
                  <a:pt x="2227" y="1229"/>
                </a:cubicBezTo>
                <a:cubicBezTo>
                  <a:pt x="2227" y="1229"/>
                  <a:pt x="2226" y="1229"/>
                  <a:pt x="2226" y="1229"/>
                </a:cubicBezTo>
                <a:cubicBezTo>
                  <a:pt x="2225" y="1229"/>
                  <a:pt x="2224" y="1228"/>
                  <a:pt x="2223" y="1227"/>
                </a:cubicBezTo>
                <a:cubicBezTo>
                  <a:pt x="2222" y="1227"/>
                  <a:pt x="2221" y="1225"/>
                  <a:pt x="2219" y="1224"/>
                </a:cubicBezTo>
                <a:cubicBezTo>
                  <a:pt x="2218" y="1224"/>
                  <a:pt x="2217" y="1222"/>
                  <a:pt x="2216" y="1222"/>
                </a:cubicBezTo>
                <a:cubicBezTo>
                  <a:pt x="2215" y="1222"/>
                  <a:pt x="2215" y="1222"/>
                  <a:pt x="2215" y="1222"/>
                </a:cubicBezTo>
                <a:cubicBezTo>
                  <a:pt x="2215" y="1222"/>
                  <a:pt x="2214" y="1222"/>
                  <a:pt x="2214" y="1222"/>
                </a:cubicBezTo>
                <a:cubicBezTo>
                  <a:pt x="2214" y="1222"/>
                  <a:pt x="2213" y="1222"/>
                  <a:pt x="2213" y="1221"/>
                </a:cubicBezTo>
                <a:cubicBezTo>
                  <a:pt x="2213" y="1220"/>
                  <a:pt x="2209" y="1218"/>
                  <a:pt x="2208" y="1218"/>
                </a:cubicBezTo>
                <a:lnTo>
                  <a:pt x="2202" y="1214"/>
                </a:lnTo>
                <a:cubicBezTo>
                  <a:pt x="2197" y="1211"/>
                  <a:pt x="2192" y="1208"/>
                  <a:pt x="2187" y="1205"/>
                </a:cubicBezTo>
                <a:cubicBezTo>
                  <a:pt x="2185" y="1204"/>
                  <a:pt x="2183" y="1203"/>
                  <a:pt x="2181" y="1202"/>
                </a:cubicBezTo>
                <a:cubicBezTo>
                  <a:pt x="2180" y="1201"/>
                  <a:pt x="2179" y="1200"/>
                  <a:pt x="2177" y="1200"/>
                </a:cubicBezTo>
                <a:cubicBezTo>
                  <a:pt x="2177" y="1200"/>
                  <a:pt x="2176" y="1200"/>
                  <a:pt x="2175" y="1199"/>
                </a:cubicBezTo>
                <a:cubicBezTo>
                  <a:pt x="2174" y="1199"/>
                  <a:pt x="2173" y="1198"/>
                  <a:pt x="2172" y="1198"/>
                </a:cubicBezTo>
                <a:cubicBezTo>
                  <a:pt x="2171" y="1197"/>
                  <a:pt x="2171" y="1197"/>
                  <a:pt x="2170" y="1197"/>
                </a:cubicBezTo>
                <a:cubicBezTo>
                  <a:pt x="2170" y="1197"/>
                  <a:pt x="2169" y="1197"/>
                  <a:pt x="2169" y="1196"/>
                </a:cubicBezTo>
                <a:cubicBezTo>
                  <a:pt x="2168" y="1196"/>
                  <a:pt x="2168" y="1195"/>
                  <a:pt x="2167" y="1194"/>
                </a:cubicBezTo>
                <a:cubicBezTo>
                  <a:pt x="2165" y="1193"/>
                  <a:pt x="2163" y="1192"/>
                  <a:pt x="2161" y="1191"/>
                </a:cubicBezTo>
                <a:cubicBezTo>
                  <a:pt x="2158" y="1189"/>
                  <a:pt x="2155" y="1187"/>
                  <a:pt x="2154" y="1187"/>
                </a:cubicBezTo>
                <a:cubicBezTo>
                  <a:pt x="2154" y="1186"/>
                  <a:pt x="2149" y="1184"/>
                  <a:pt x="2144" y="1181"/>
                </a:cubicBezTo>
                <a:cubicBezTo>
                  <a:pt x="2143" y="1180"/>
                  <a:pt x="2141" y="1179"/>
                  <a:pt x="2139" y="1178"/>
                </a:cubicBezTo>
                <a:cubicBezTo>
                  <a:pt x="2138" y="1178"/>
                  <a:pt x="2138" y="1178"/>
                  <a:pt x="2137" y="1177"/>
                </a:cubicBezTo>
                <a:cubicBezTo>
                  <a:pt x="2137" y="1177"/>
                  <a:pt x="2136" y="1176"/>
                  <a:pt x="2135" y="1176"/>
                </a:cubicBezTo>
                <a:cubicBezTo>
                  <a:pt x="2135" y="1176"/>
                  <a:pt x="2134" y="1177"/>
                  <a:pt x="2134" y="1176"/>
                </a:cubicBezTo>
                <a:cubicBezTo>
                  <a:pt x="2134" y="1176"/>
                  <a:pt x="2134" y="1176"/>
                  <a:pt x="2134" y="1176"/>
                </a:cubicBezTo>
                <a:cubicBezTo>
                  <a:pt x="2134" y="1175"/>
                  <a:pt x="2133" y="1175"/>
                  <a:pt x="2132" y="1175"/>
                </a:cubicBezTo>
                <a:cubicBezTo>
                  <a:pt x="2131" y="1174"/>
                  <a:pt x="2129" y="1173"/>
                  <a:pt x="2128" y="1172"/>
                </a:cubicBezTo>
                <a:cubicBezTo>
                  <a:pt x="2123" y="1169"/>
                  <a:pt x="2120" y="1167"/>
                  <a:pt x="2117" y="1165"/>
                </a:cubicBezTo>
                <a:cubicBezTo>
                  <a:pt x="2114" y="1162"/>
                  <a:pt x="2102" y="1156"/>
                  <a:pt x="2095" y="1153"/>
                </a:cubicBezTo>
                <a:cubicBezTo>
                  <a:pt x="2093" y="1152"/>
                  <a:pt x="2090" y="1150"/>
                  <a:pt x="2088" y="1150"/>
                </a:cubicBezTo>
                <a:cubicBezTo>
                  <a:pt x="2088" y="1150"/>
                  <a:pt x="2087" y="1150"/>
                  <a:pt x="2087" y="1150"/>
                </a:cubicBezTo>
                <a:cubicBezTo>
                  <a:pt x="2086" y="1149"/>
                  <a:pt x="2087" y="1149"/>
                  <a:pt x="2086" y="1148"/>
                </a:cubicBezTo>
                <a:cubicBezTo>
                  <a:pt x="2086" y="1147"/>
                  <a:pt x="2084" y="1147"/>
                  <a:pt x="2084" y="1147"/>
                </a:cubicBezTo>
                <a:cubicBezTo>
                  <a:pt x="2083" y="1146"/>
                  <a:pt x="2081" y="1144"/>
                  <a:pt x="2080" y="1145"/>
                </a:cubicBezTo>
                <a:cubicBezTo>
                  <a:pt x="2080" y="1145"/>
                  <a:pt x="2079" y="1146"/>
                  <a:pt x="2079" y="1146"/>
                </a:cubicBezTo>
                <a:cubicBezTo>
                  <a:pt x="2079" y="1146"/>
                  <a:pt x="2078" y="1146"/>
                  <a:pt x="2078" y="1146"/>
                </a:cubicBezTo>
                <a:cubicBezTo>
                  <a:pt x="2077" y="1145"/>
                  <a:pt x="2077" y="1145"/>
                  <a:pt x="2076" y="1144"/>
                </a:cubicBezTo>
                <a:cubicBezTo>
                  <a:pt x="2076" y="1144"/>
                  <a:pt x="2076" y="1144"/>
                  <a:pt x="2076" y="1144"/>
                </a:cubicBezTo>
                <a:cubicBezTo>
                  <a:pt x="2077" y="1144"/>
                  <a:pt x="2077" y="1144"/>
                  <a:pt x="2077" y="1143"/>
                </a:cubicBezTo>
                <a:cubicBezTo>
                  <a:pt x="2077" y="1143"/>
                  <a:pt x="2077" y="1142"/>
                  <a:pt x="2077" y="1142"/>
                </a:cubicBezTo>
                <a:cubicBezTo>
                  <a:pt x="2076" y="1142"/>
                  <a:pt x="2076" y="1142"/>
                  <a:pt x="2075" y="1142"/>
                </a:cubicBezTo>
                <a:cubicBezTo>
                  <a:pt x="2074" y="1142"/>
                  <a:pt x="2073" y="1142"/>
                  <a:pt x="2071" y="1142"/>
                </a:cubicBezTo>
                <a:cubicBezTo>
                  <a:pt x="2070" y="1142"/>
                  <a:pt x="2070" y="1141"/>
                  <a:pt x="2069" y="1140"/>
                </a:cubicBezTo>
                <a:cubicBezTo>
                  <a:pt x="2068" y="1140"/>
                  <a:pt x="2066" y="1139"/>
                  <a:pt x="2066" y="1138"/>
                </a:cubicBezTo>
                <a:cubicBezTo>
                  <a:pt x="2066" y="1137"/>
                  <a:pt x="2067" y="1137"/>
                  <a:pt x="2066" y="1136"/>
                </a:cubicBezTo>
                <a:cubicBezTo>
                  <a:pt x="2065" y="1136"/>
                  <a:pt x="2065" y="1136"/>
                  <a:pt x="2064" y="1136"/>
                </a:cubicBezTo>
                <a:cubicBezTo>
                  <a:pt x="2062" y="1135"/>
                  <a:pt x="2061" y="1134"/>
                  <a:pt x="2059" y="1133"/>
                </a:cubicBezTo>
                <a:cubicBezTo>
                  <a:pt x="2058" y="1132"/>
                  <a:pt x="2055" y="1130"/>
                  <a:pt x="2053" y="1130"/>
                </a:cubicBezTo>
                <a:cubicBezTo>
                  <a:pt x="2053" y="1130"/>
                  <a:pt x="2052" y="1130"/>
                  <a:pt x="2052" y="1130"/>
                </a:cubicBezTo>
                <a:cubicBezTo>
                  <a:pt x="2050" y="1131"/>
                  <a:pt x="2048" y="1129"/>
                  <a:pt x="2048" y="1128"/>
                </a:cubicBezTo>
                <a:cubicBezTo>
                  <a:pt x="2048" y="1128"/>
                  <a:pt x="2048" y="1127"/>
                  <a:pt x="2048" y="1127"/>
                </a:cubicBezTo>
                <a:cubicBezTo>
                  <a:pt x="2048" y="1126"/>
                  <a:pt x="2047" y="1126"/>
                  <a:pt x="2047" y="1125"/>
                </a:cubicBezTo>
                <a:cubicBezTo>
                  <a:pt x="2047" y="1125"/>
                  <a:pt x="2046" y="1125"/>
                  <a:pt x="2046" y="1125"/>
                </a:cubicBezTo>
                <a:cubicBezTo>
                  <a:pt x="2046" y="1125"/>
                  <a:pt x="2045" y="1125"/>
                  <a:pt x="2045" y="1125"/>
                </a:cubicBezTo>
                <a:cubicBezTo>
                  <a:pt x="2045" y="1125"/>
                  <a:pt x="2045" y="1124"/>
                  <a:pt x="2044" y="1124"/>
                </a:cubicBezTo>
                <a:cubicBezTo>
                  <a:pt x="2044" y="1124"/>
                  <a:pt x="2044" y="1124"/>
                  <a:pt x="2044" y="1123"/>
                </a:cubicBezTo>
                <a:cubicBezTo>
                  <a:pt x="2037" y="1119"/>
                  <a:pt x="2029" y="1116"/>
                  <a:pt x="2022" y="1111"/>
                </a:cubicBezTo>
                <a:cubicBezTo>
                  <a:pt x="2022" y="1110"/>
                  <a:pt x="2020" y="1109"/>
                  <a:pt x="2018" y="1109"/>
                </a:cubicBezTo>
                <a:cubicBezTo>
                  <a:pt x="2017" y="1108"/>
                  <a:pt x="2014" y="1106"/>
                  <a:pt x="2012" y="1105"/>
                </a:cubicBezTo>
                <a:cubicBezTo>
                  <a:pt x="2010" y="1103"/>
                  <a:pt x="2007" y="1101"/>
                  <a:pt x="2005" y="1100"/>
                </a:cubicBezTo>
                <a:cubicBezTo>
                  <a:pt x="2004" y="1099"/>
                  <a:pt x="2003" y="1098"/>
                  <a:pt x="2001" y="1097"/>
                </a:cubicBezTo>
                <a:cubicBezTo>
                  <a:pt x="2000" y="1096"/>
                  <a:pt x="1999" y="1095"/>
                  <a:pt x="1998" y="1095"/>
                </a:cubicBezTo>
                <a:cubicBezTo>
                  <a:pt x="1997" y="1095"/>
                  <a:pt x="1995" y="1095"/>
                  <a:pt x="1994" y="1094"/>
                </a:cubicBezTo>
                <a:cubicBezTo>
                  <a:pt x="1992" y="1093"/>
                  <a:pt x="1990" y="1092"/>
                  <a:pt x="1988" y="1091"/>
                </a:cubicBezTo>
                <a:cubicBezTo>
                  <a:pt x="1985" y="1089"/>
                  <a:pt x="1982" y="1088"/>
                  <a:pt x="1979" y="1087"/>
                </a:cubicBezTo>
                <a:cubicBezTo>
                  <a:pt x="1977" y="1085"/>
                  <a:pt x="1974" y="1083"/>
                  <a:pt x="1971" y="1082"/>
                </a:cubicBezTo>
                <a:cubicBezTo>
                  <a:pt x="1971" y="1083"/>
                  <a:pt x="1970" y="1083"/>
                  <a:pt x="1970" y="1083"/>
                </a:cubicBezTo>
                <a:cubicBezTo>
                  <a:pt x="1969" y="1082"/>
                  <a:pt x="1969" y="1082"/>
                  <a:pt x="1968" y="1082"/>
                </a:cubicBezTo>
                <a:cubicBezTo>
                  <a:pt x="1969" y="1081"/>
                  <a:pt x="1966" y="1080"/>
                  <a:pt x="1965" y="1079"/>
                </a:cubicBezTo>
                <a:cubicBezTo>
                  <a:pt x="1964" y="1079"/>
                  <a:pt x="1962" y="1077"/>
                  <a:pt x="1961" y="1077"/>
                </a:cubicBezTo>
                <a:cubicBezTo>
                  <a:pt x="1961" y="1077"/>
                  <a:pt x="1959" y="1078"/>
                  <a:pt x="1959" y="1077"/>
                </a:cubicBezTo>
                <a:cubicBezTo>
                  <a:pt x="1959" y="1077"/>
                  <a:pt x="1960" y="1076"/>
                  <a:pt x="1959" y="1076"/>
                </a:cubicBezTo>
                <a:cubicBezTo>
                  <a:pt x="1959" y="1075"/>
                  <a:pt x="1959" y="1075"/>
                  <a:pt x="1958" y="1075"/>
                </a:cubicBezTo>
                <a:cubicBezTo>
                  <a:pt x="1957" y="1075"/>
                  <a:pt x="1955" y="1074"/>
                  <a:pt x="1955" y="1073"/>
                </a:cubicBezTo>
                <a:cubicBezTo>
                  <a:pt x="1955" y="1072"/>
                  <a:pt x="1956" y="1070"/>
                  <a:pt x="1954" y="1070"/>
                </a:cubicBezTo>
                <a:cubicBezTo>
                  <a:pt x="1953" y="1070"/>
                  <a:pt x="1952" y="1070"/>
                  <a:pt x="1952" y="1071"/>
                </a:cubicBezTo>
                <a:cubicBezTo>
                  <a:pt x="1950" y="1072"/>
                  <a:pt x="1949" y="1070"/>
                  <a:pt x="1947" y="1069"/>
                </a:cubicBezTo>
                <a:cubicBezTo>
                  <a:pt x="1945" y="1068"/>
                  <a:pt x="1943" y="1067"/>
                  <a:pt x="1941" y="1066"/>
                </a:cubicBezTo>
                <a:cubicBezTo>
                  <a:pt x="1937" y="1063"/>
                  <a:pt x="1933" y="1061"/>
                  <a:pt x="1928" y="1059"/>
                </a:cubicBezTo>
                <a:cubicBezTo>
                  <a:pt x="1916" y="1052"/>
                  <a:pt x="1904" y="1045"/>
                  <a:pt x="1902" y="1044"/>
                </a:cubicBezTo>
                <a:cubicBezTo>
                  <a:pt x="1899" y="1042"/>
                  <a:pt x="1889" y="1037"/>
                  <a:pt x="1880" y="1032"/>
                </a:cubicBezTo>
                <a:cubicBezTo>
                  <a:pt x="1870" y="1027"/>
                  <a:pt x="1855" y="1018"/>
                  <a:pt x="1845" y="1013"/>
                </a:cubicBezTo>
                <a:cubicBezTo>
                  <a:pt x="1835" y="1007"/>
                  <a:pt x="1810" y="993"/>
                  <a:pt x="1789" y="981"/>
                </a:cubicBezTo>
                <a:cubicBezTo>
                  <a:pt x="1783" y="977"/>
                  <a:pt x="1776" y="974"/>
                  <a:pt x="1769" y="970"/>
                </a:cubicBezTo>
                <a:cubicBezTo>
                  <a:pt x="1766" y="968"/>
                  <a:pt x="1763" y="966"/>
                  <a:pt x="1759" y="965"/>
                </a:cubicBezTo>
                <a:cubicBezTo>
                  <a:pt x="1756" y="963"/>
                  <a:pt x="1753" y="961"/>
                  <a:pt x="1750" y="960"/>
                </a:cubicBezTo>
                <a:cubicBezTo>
                  <a:pt x="1750" y="960"/>
                  <a:pt x="1750" y="960"/>
                  <a:pt x="1749" y="960"/>
                </a:cubicBezTo>
                <a:cubicBezTo>
                  <a:pt x="1748" y="959"/>
                  <a:pt x="1747" y="958"/>
                  <a:pt x="1746" y="957"/>
                </a:cubicBezTo>
                <a:cubicBezTo>
                  <a:pt x="1744" y="957"/>
                  <a:pt x="1743" y="956"/>
                  <a:pt x="1741" y="955"/>
                </a:cubicBezTo>
                <a:cubicBezTo>
                  <a:pt x="1737" y="953"/>
                  <a:pt x="1734" y="951"/>
                  <a:pt x="1730" y="949"/>
                </a:cubicBezTo>
                <a:cubicBezTo>
                  <a:pt x="1727" y="948"/>
                  <a:pt x="1724" y="946"/>
                  <a:pt x="1721" y="944"/>
                </a:cubicBezTo>
                <a:cubicBezTo>
                  <a:pt x="1720" y="943"/>
                  <a:pt x="1718" y="943"/>
                  <a:pt x="1717" y="942"/>
                </a:cubicBezTo>
                <a:cubicBezTo>
                  <a:pt x="1716" y="941"/>
                  <a:pt x="1714" y="940"/>
                  <a:pt x="1713" y="940"/>
                </a:cubicBezTo>
                <a:cubicBezTo>
                  <a:pt x="1713" y="939"/>
                  <a:pt x="1712" y="939"/>
                  <a:pt x="1712" y="939"/>
                </a:cubicBezTo>
                <a:cubicBezTo>
                  <a:pt x="1711" y="938"/>
                  <a:pt x="1710" y="938"/>
                  <a:pt x="1709" y="937"/>
                </a:cubicBezTo>
                <a:cubicBezTo>
                  <a:pt x="1707" y="937"/>
                  <a:pt x="1706" y="936"/>
                  <a:pt x="1705" y="935"/>
                </a:cubicBezTo>
                <a:cubicBezTo>
                  <a:pt x="1702" y="933"/>
                  <a:pt x="1692" y="928"/>
                  <a:pt x="1685" y="924"/>
                </a:cubicBezTo>
                <a:cubicBezTo>
                  <a:pt x="1683" y="923"/>
                  <a:pt x="1680" y="922"/>
                  <a:pt x="1678" y="920"/>
                </a:cubicBezTo>
                <a:cubicBezTo>
                  <a:pt x="1676" y="919"/>
                  <a:pt x="1673" y="918"/>
                  <a:pt x="1672" y="917"/>
                </a:cubicBezTo>
                <a:cubicBezTo>
                  <a:pt x="1672" y="917"/>
                  <a:pt x="1672" y="917"/>
                  <a:pt x="1672" y="917"/>
                </a:cubicBezTo>
                <a:cubicBezTo>
                  <a:pt x="1672" y="916"/>
                  <a:pt x="1672" y="916"/>
                  <a:pt x="1672" y="916"/>
                </a:cubicBezTo>
                <a:cubicBezTo>
                  <a:pt x="1672" y="915"/>
                  <a:pt x="1672" y="915"/>
                  <a:pt x="1671" y="914"/>
                </a:cubicBezTo>
                <a:cubicBezTo>
                  <a:pt x="1671" y="914"/>
                  <a:pt x="1670" y="914"/>
                  <a:pt x="1669" y="914"/>
                </a:cubicBezTo>
                <a:cubicBezTo>
                  <a:pt x="1668" y="913"/>
                  <a:pt x="1667" y="913"/>
                  <a:pt x="1666" y="912"/>
                </a:cubicBezTo>
                <a:cubicBezTo>
                  <a:pt x="1665" y="912"/>
                  <a:pt x="1664" y="912"/>
                  <a:pt x="1664" y="911"/>
                </a:cubicBezTo>
                <a:cubicBezTo>
                  <a:pt x="1663" y="911"/>
                  <a:pt x="1663" y="911"/>
                  <a:pt x="1663" y="911"/>
                </a:cubicBezTo>
                <a:cubicBezTo>
                  <a:pt x="1662" y="911"/>
                  <a:pt x="1662" y="911"/>
                  <a:pt x="1662" y="911"/>
                </a:cubicBezTo>
                <a:cubicBezTo>
                  <a:pt x="1662" y="911"/>
                  <a:pt x="1661" y="911"/>
                  <a:pt x="1661" y="911"/>
                </a:cubicBezTo>
                <a:cubicBezTo>
                  <a:pt x="1660" y="911"/>
                  <a:pt x="1658" y="910"/>
                  <a:pt x="1657" y="909"/>
                </a:cubicBezTo>
                <a:cubicBezTo>
                  <a:pt x="1656" y="908"/>
                  <a:pt x="1656" y="907"/>
                  <a:pt x="1654" y="906"/>
                </a:cubicBezTo>
                <a:cubicBezTo>
                  <a:pt x="1654" y="906"/>
                  <a:pt x="1651" y="905"/>
                  <a:pt x="1650" y="905"/>
                </a:cubicBezTo>
                <a:cubicBezTo>
                  <a:pt x="1649" y="904"/>
                  <a:pt x="1647" y="903"/>
                  <a:pt x="1646" y="902"/>
                </a:cubicBezTo>
                <a:cubicBezTo>
                  <a:pt x="1644" y="901"/>
                  <a:pt x="1642" y="900"/>
                  <a:pt x="1640" y="899"/>
                </a:cubicBezTo>
                <a:cubicBezTo>
                  <a:pt x="1639" y="899"/>
                  <a:pt x="1637" y="898"/>
                  <a:pt x="1637" y="897"/>
                </a:cubicBezTo>
                <a:cubicBezTo>
                  <a:pt x="1637" y="896"/>
                  <a:pt x="1637" y="896"/>
                  <a:pt x="1637" y="896"/>
                </a:cubicBezTo>
                <a:cubicBezTo>
                  <a:pt x="1637" y="895"/>
                  <a:pt x="1636" y="895"/>
                  <a:pt x="1636" y="895"/>
                </a:cubicBezTo>
                <a:cubicBezTo>
                  <a:pt x="1635" y="895"/>
                  <a:pt x="1634" y="895"/>
                  <a:pt x="1634" y="895"/>
                </a:cubicBezTo>
                <a:cubicBezTo>
                  <a:pt x="1632" y="895"/>
                  <a:pt x="1630" y="894"/>
                  <a:pt x="1629" y="893"/>
                </a:cubicBez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36" name="Freeform 11">
            <a:extLst>
              <a:ext uri="{FF2B5EF4-FFF2-40B4-BE49-F238E27FC236}">
                <a16:creationId xmlns:a16="http://schemas.microsoft.com/office/drawing/2014/main" id="{1F89FE20-ADF3-B048-682E-5DA62006F591}"/>
              </a:ext>
            </a:extLst>
          </p:cNvPr>
          <p:cNvSpPr>
            <a:spLocks noChangeAspect="1"/>
          </p:cNvSpPr>
          <p:nvPr userDrawn="1"/>
        </p:nvSpPr>
        <p:spPr bwMode="auto">
          <a:xfrm>
            <a:off x="10090950" y="4508561"/>
            <a:ext cx="545702" cy="2949920"/>
          </a:xfrm>
          <a:custGeom>
            <a:avLst/>
            <a:gdLst>
              <a:gd name="T0" fmla="*/ 276 w 572"/>
              <a:gd name="T1" fmla="*/ 1759 h 3093"/>
              <a:gd name="T2" fmla="*/ 295 w 572"/>
              <a:gd name="T3" fmla="*/ 1651 h 3093"/>
              <a:gd name="T4" fmla="*/ 318 w 572"/>
              <a:gd name="T5" fmla="*/ 1506 h 3093"/>
              <a:gd name="T6" fmla="*/ 332 w 572"/>
              <a:gd name="T7" fmla="*/ 1418 h 3093"/>
              <a:gd name="T8" fmla="*/ 349 w 572"/>
              <a:gd name="T9" fmla="*/ 1350 h 3093"/>
              <a:gd name="T10" fmla="*/ 355 w 572"/>
              <a:gd name="T11" fmla="*/ 1294 h 3093"/>
              <a:gd name="T12" fmla="*/ 361 w 572"/>
              <a:gd name="T13" fmla="*/ 1248 h 3093"/>
              <a:gd name="T14" fmla="*/ 371 w 572"/>
              <a:gd name="T15" fmla="*/ 1182 h 3093"/>
              <a:gd name="T16" fmla="*/ 390 w 572"/>
              <a:gd name="T17" fmla="*/ 1095 h 3093"/>
              <a:gd name="T18" fmla="*/ 406 w 572"/>
              <a:gd name="T19" fmla="*/ 966 h 3093"/>
              <a:gd name="T20" fmla="*/ 419 w 572"/>
              <a:gd name="T21" fmla="*/ 887 h 3093"/>
              <a:gd name="T22" fmla="*/ 439 w 572"/>
              <a:gd name="T23" fmla="*/ 767 h 3093"/>
              <a:gd name="T24" fmla="*/ 450 w 572"/>
              <a:gd name="T25" fmla="*/ 704 h 3093"/>
              <a:gd name="T26" fmla="*/ 459 w 572"/>
              <a:gd name="T27" fmla="*/ 652 h 3093"/>
              <a:gd name="T28" fmla="*/ 471 w 572"/>
              <a:gd name="T29" fmla="*/ 582 h 3093"/>
              <a:gd name="T30" fmla="*/ 487 w 572"/>
              <a:gd name="T31" fmla="*/ 507 h 3093"/>
              <a:gd name="T32" fmla="*/ 506 w 572"/>
              <a:gd name="T33" fmla="*/ 388 h 3093"/>
              <a:gd name="T34" fmla="*/ 516 w 572"/>
              <a:gd name="T35" fmla="*/ 343 h 3093"/>
              <a:gd name="T36" fmla="*/ 528 w 572"/>
              <a:gd name="T37" fmla="*/ 279 h 3093"/>
              <a:gd name="T38" fmla="*/ 542 w 572"/>
              <a:gd name="T39" fmla="*/ 206 h 3093"/>
              <a:gd name="T40" fmla="*/ 545 w 572"/>
              <a:gd name="T41" fmla="*/ 152 h 3093"/>
              <a:gd name="T42" fmla="*/ 553 w 572"/>
              <a:gd name="T43" fmla="*/ 94 h 3093"/>
              <a:gd name="T44" fmla="*/ 537 w 572"/>
              <a:gd name="T45" fmla="*/ 2 h 3093"/>
              <a:gd name="T46" fmla="*/ 466 w 572"/>
              <a:gd name="T47" fmla="*/ 350 h 3093"/>
              <a:gd name="T48" fmla="*/ 432 w 572"/>
              <a:gd name="T49" fmla="*/ 563 h 3093"/>
              <a:gd name="T50" fmla="*/ 415 w 572"/>
              <a:gd name="T51" fmla="*/ 659 h 3093"/>
              <a:gd name="T52" fmla="*/ 395 w 572"/>
              <a:gd name="T53" fmla="*/ 761 h 3093"/>
              <a:gd name="T54" fmla="*/ 379 w 572"/>
              <a:gd name="T55" fmla="*/ 840 h 3093"/>
              <a:gd name="T56" fmla="*/ 365 w 572"/>
              <a:gd name="T57" fmla="*/ 926 h 3093"/>
              <a:gd name="T58" fmla="*/ 314 w 572"/>
              <a:gd name="T59" fmla="*/ 1234 h 3093"/>
              <a:gd name="T60" fmla="*/ 300 w 572"/>
              <a:gd name="T61" fmla="*/ 1325 h 3093"/>
              <a:gd name="T62" fmla="*/ 279 w 572"/>
              <a:gd name="T63" fmla="*/ 1447 h 3093"/>
              <a:gd name="T64" fmla="*/ 266 w 572"/>
              <a:gd name="T65" fmla="*/ 1545 h 3093"/>
              <a:gd name="T66" fmla="*/ 250 w 572"/>
              <a:gd name="T67" fmla="*/ 1620 h 3093"/>
              <a:gd name="T68" fmla="*/ 243 w 572"/>
              <a:gd name="T69" fmla="*/ 1659 h 3093"/>
              <a:gd name="T70" fmla="*/ 233 w 572"/>
              <a:gd name="T71" fmla="*/ 1720 h 3093"/>
              <a:gd name="T72" fmla="*/ 219 w 572"/>
              <a:gd name="T73" fmla="*/ 1795 h 3093"/>
              <a:gd name="T74" fmla="*/ 210 w 572"/>
              <a:gd name="T75" fmla="*/ 1848 h 3093"/>
              <a:gd name="T76" fmla="*/ 199 w 572"/>
              <a:gd name="T77" fmla="*/ 1926 h 3093"/>
              <a:gd name="T78" fmla="*/ 186 w 572"/>
              <a:gd name="T79" fmla="*/ 2001 h 3093"/>
              <a:gd name="T80" fmla="*/ 170 w 572"/>
              <a:gd name="T81" fmla="*/ 2125 h 3093"/>
              <a:gd name="T82" fmla="*/ 149 w 572"/>
              <a:gd name="T83" fmla="*/ 2254 h 3093"/>
              <a:gd name="T84" fmla="*/ 130 w 572"/>
              <a:gd name="T85" fmla="*/ 2360 h 3093"/>
              <a:gd name="T86" fmla="*/ 117 w 572"/>
              <a:gd name="T87" fmla="*/ 2422 h 3093"/>
              <a:gd name="T88" fmla="*/ 107 w 572"/>
              <a:gd name="T89" fmla="*/ 2478 h 3093"/>
              <a:gd name="T90" fmla="*/ 96 w 572"/>
              <a:gd name="T91" fmla="*/ 2534 h 3093"/>
              <a:gd name="T92" fmla="*/ 79 w 572"/>
              <a:gd name="T93" fmla="*/ 2634 h 3093"/>
              <a:gd name="T94" fmla="*/ 67 w 572"/>
              <a:gd name="T95" fmla="*/ 2703 h 3093"/>
              <a:gd name="T96" fmla="*/ 59 w 572"/>
              <a:gd name="T97" fmla="*/ 2735 h 3093"/>
              <a:gd name="T98" fmla="*/ 52 w 572"/>
              <a:gd name="T99" fmla="*/ 2786 h 3093"/>
              <a:gd name="T100" fmla="*/ 40 w 572"/>
              <a:gd name="T101" fmla="*/ 2851 h 3093"/>
              <a:gd name="T102" fmla="*/ 31 w 572"/>
              <a:gd name="T103" fmla="*/ 2909 h 3093"/>
              <a:gd name="T104" fmla="*/ 27 w 572"/>
              <a:gd name="T105" fmla="*/ 2954 h 3093"/>
              <a:gd name="T106" fmla="*/ 15 w 572"/>
              <a:gd name="T107" fmla="*/ 3020 h 3093"/>
              <a:gd name="T108" fmla="*/ 108 w 572"/>
              <a:gd name="T109" fmla="*/ 2748 h 3093"/>
              <a:gd name="T110" fmla="*/ 143 w 572"/>
              <a:gd name="T111" fmla="*/ 2541 h 3093"/>
              <a:gd name="T112" fmla="*/ 159 w 572"/>
              <a:gd name="T113" fmla="*/ 2445 h 3093"/>
              <a:gd name="T114" fmla="*/ 178 w 572"/>
              <a:gd name="T115" fmla="*/ 2330 h 3093"/>
              <a:gd name="T116" fmla="*/ 195 w 572"/>
              <a:gd name="T117" fmla="*/ 2254 h 3093"/>
              <a:gd name="T118" fmla="*/ 237 w 572"/>
              <a:gd name="T119" fmla="*/ 2002 h 3093"/>
              <a:gd name="T120" fmla="*/ 261 w 572"/>
              <a:gd name="T121" fmla="*/ 1859 h 30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72" h="3093">
                <a:moveTo>
                  <a:pt x="266" y="1821"/>
                </a:moveTo>
                <a:lnTo>
                  <a:pt x="266" y="1821"/>
                </a:lnTo>
                <a:cubicBezTo>
                  <a:pt x="266" y="1821"/>
                  <a:pt x="266" y="1820"/>
                  <a:pt x="266" y="1819"/>
                </a:cubicBezTo>
                <a:cubicBezTo>
                  <a:pt x="267" y="1817"/>
                  <a:pt x="268" y="1815"/>
                  <a:pt x="269" y="1812"/>
                </a:cubicBezTo>
                <a:cubicBezTo>
                  <a:pt x="270" y="1811"/>
                  <a:pt x="270" y="1810"/>
                  <a:pt x="271" y="1808"/>
                </a:cubicBezTo>
                <a:cubicBezTo>
                  <a:pt x="271" y="1808"/>
                  <a:pt x="272" y="1807"/>
                  <a:pt x="272" y="1806"/>
                </a:cubicBezTo>
                <a:cubicBezTo>
                  <a:pt x="272" y="1805"/>
                  <a:pt x="271" y="1804"/>
                  <a:pt x="271" y="1803"/>
                </a:cubicBezTo>
                <a:cubicBezTo>
                  <a:pt x="271" y="1803"/>
                  <a:pt x="270" y="1801"/>
                  <a:pt x="271" y="1801"/>
                </a:cubicBezTo>
                <a:cubicBezTo>
                  <a:pt x="271" y="1799"/>
                  <a:pt x="272" y="1800"/>
                  <a:pt x="273" y="1799"/>
                </a:cubicBezTo>
                <a:cubicBezTo>
                  <a:pt x="273" y="1798"/>
                  <a:pt x="272" y="1797"/>
                  <a:pt x="272" y="1796"/>
                </a:cubicBezTo>
                <a:cubicBezTo>
                  <a:pt x="272" y="1796"/>
                  <a:pt x="273" y="1795"/>
                  <a:pt x="273" y="1795"/>
                </a:cubicBezTo>
                <a:cubicBezTo>
                  <a:pt x="273" y="1795"/>
                  <a:pt x="274" y="1794"/>
                  <a:pt x="274" y="1794"/>
                </a:cubicBezTo>
                <a:cubicBezTo>
                  <a:pt x="274" y="1794"/>
                  <a:pt x="274" y="1794"/>
                  <a:pt x="274" y="1794"/>
                </a:cubicBezTo>
                <a:cubicBezTo>
                  <a:pt x="275" y="1793"/>
                  <a:pt x="275" y="1793"/>
                  <a:pt x="275" y="1793"/>
                </a:cubicBezTo>
                <a:cubicBezTo>
                  <a:pt x="275" y="1793"/>
                  <a:pt x="275" y="1792"/>
                  <a:pt x="275" y="1792"/>
                </a:cubicBezTo>
                <a:cubicBezTo>
                  <a:pt x="275" y="1791"/>
                  <a:pt x="275" y="1790"/>
                  <a:pt x="275" y="1789"/>
                </a:cubicBezTo>
                <a:cubicBezTo>
                  <a:pt x="275" y="1787"/>
                  <a:pt x="276" y="1786"/>
                  <a:pt x="276" y="1785"/>
                </a:cubicBezTo>
                <a:cubicBezTo>
                  <a:pt x="276" y="1783"/>
                  <a:pt x="277" y="1779"/>
                  <a:pt x="276" y="1777"/>
                </a:cubicBezTo>
                <a:cubicBezTo>
                  <a:pt x="276" y="1776"/>
                  <a:pt x="275" y="1777"/>
                  <a:pt x="274" y="1776"/>
                </a:cubicBezTo>
                <a:cubicBezTo>
                  <a:pt x="273" y="1776"/>
                  <a:pt x="273" y="1776"/>
                  <a:pt x="273" y="1776"/>
                </a:cubicBezTo>
                <a:cubicBezTo>
                  <a:pt x="273" y="1775"/>
                  <a:pt x="274" y="1774"/>
                  <a:pt x="274" y="1774"/>
                </a:cubicBezTo>
                <a:cubicBezTo>
                  <a:pt x="274" y="1773"/>
                  <a:pt x="274" y="1772"/>
                  <a:pt x="274" y="1771"/>
                </a:cubicBezTo>
                <a:cubicBezTo>
                  <a:pt x="275" y="1769"/>
                  <a:pt x="275" y="1767"/>
                  <a:pt x="276" y="1765"/>
                </a:cubicBezTo>
                <a:cubicBezTo>
                  <a:pt x="276" y="1764"/>
                  <a:pt x="279" y="1760"/>
                  <a:pt x="276" y="1759"/>
                </a:cubicBezTo>
                <a:cubicBezTo>
                  <a:pt x="276" y="1759"/>
                  <a:pt x="276" y="1759"/>
                  <a:pt x="276" y="1759"/>
                </a:cubicBezTo>
                <a:cubicBezTo>
                  <a:pt x="275" y="1758"/>
                  <a:pt x="276" y="1756"/>
                  <a:pt x="276" y="1755"/>
                </a:cubicBezTo>
                <a:cubicBezTo>
                  <a:pt x="279" y="1746"/>
                  <a:pt x="281" y="1740"/>
                  <a:pt x="282" y="1730"/>
                </a:cubicBezTo>
                <a:cubicBezTo>
                  <a:pt x="283" y="1728"/>
                  <a:pt x="282" y="1725"/>
                  <a:pt x="283" y="1723"/>
                </a:cubicBezTo>
                <a:cubicBezTo>
                  <a:pt x="283" y="1722"/>
                  <a:pt x="284" y="1722"/>
                  <a:pt x="285" y="1721"/>
                </a:cubicBezTo>
                <a:cubicBezTo>
                  <a:pt x="285" y="1720"/>
                  <a:pt x="286" y="1719"/>
                  <a:pt x="286" y="1718"/>
                </a:cubicBezTo>
                <a:cubicBezTo>
                  <a:pt x="286" y="1717"/>
                  <a:pt x="285" y="1715"/>
                  <a:pt x="286" y="1714"/>
                </a:cubicBezTo>
                <a:cubicBezTo>
                  <a:pt x="287" y="1713"/>
                  <a:pt x="288" y="1713"/>
                  <a:pt x="288" y="1712"/>
                </a:cubicBezTo>
                <a:cubicBezTo>
                  <a:pt x="288" y="1711"/>
                  <a:pt x="288" y="1710"/>
                  <a:pt x="287" y="1709"/>
                </a:cubicBezTo>
                <a:cubicBezTo>
                  <a:pt x="286" y="1707"/>
                  <a:pt x="286" y="1707"/>
                  <a:pt x="286" y="1705"/>
                </a:cubicBezTo>
                <a:cubicBezTo>
                  <a:pt x="287" y="1703"/>
                  <a:pt x="287" y="1701"/>
                  <a:pt x="287" y="1700"/>
                </a:cubicBezTo>
                <a:cubicBezTo>
                  <a:pt x="288" y="1694"/>
                  <a:pt x="288" y="1689"/>
                  <a:pt x="289" y="1689"/>
                </a:cubicBezTo>
                <a:cubicBezTo>
                  <a:pt x="289" y="1688"/>
                  <a:pt x="289" y="1687"/>
                  <a:pt x="289" y="1686"/>
                </a:cubicBezTo>
                <a:cubicBezTo>
                  <a:pt x="290" y="1685"/>
                  <a:pt x="290" y="1685"/>
                  <a:pt x="291" y="1684"/>
                </a:cubicBezTo>
                <a:cubicBezTo>
                  <a:pt x="292" y="1684"/>
                  <a:pt x="292" y="1683"/>
                  <a:pt x="292" y="1682"/>
                </a:cubicBezTo>
                <a:cubicBezTo>
                  <a:pt x="293" y="1681"/>
                  <a:pt x="293" y="1679"/>
                  <a:pt x="293" y="1678"/>
                </a:cubicBezTo>
                <a:cubicBezTo>
                  <a:pt x="294" y="1677"/>
                  <a:pt x="294" y="1677"/>
                  <a:pt x="294" y="1676"/>
                </a:cubicBezTo>
                <a:cubicBezTo>
                  <a:pt x="294" y="1676"/>
                  <a:pt x="293" y="1675"/>
                  <a:pt x="293" y="1675"/>
                </a:cubicBezTo>
                <a:cubicBezTo>
                  <a:pt x="291" y="1672"/>
                  <a:pt x="292" y="1669"/>
                  <a:pt x="293" y="1667"/>
                </a:cubicBezTo>
                <a:cubicBezTo>
                  <a:pt x="294" y="1665"/>
                  <a:pt x="295" y="1663"/>
                  <a:pt x="295" y="1661"/>
                </a:cubicBezTo>
                <a:cubicBezTo>
                  <a:pt x="295" y="1660"/>
                  <a:pt x="295" y="1660"/>
                  <a:pt x="294" y="1659"/>
                </a:cubicBezTo>
                <a:cubicBezTo>
                  <a:pt x="294" y="1659"/>
                  <a:pt x="294" y="1659"/>
                  <a:pt x="294" y="1658"/>
                </a:cubicBezTo>
                <a:cubicBezTo>
                  <a:pt x="293" y="1657"/>
                  <a:pt x="293" y="1656"/>
                  <a:pt x="293" y="1655"/>
                </a:cubicBezTo>
                <a:cubicBezTo>
                  <a:pt x="294" y="1654"/>
                  <a:pt x="294" y="1652"/>
                  <a:pt x="295" y="1651"/>
                </a:cubicBezTo>
                <a:cubicBezTo>
                  <a:pt x="295" y="1649"/>
                  <a:pt x="295" y="1648"/>
                  <a:pt x="295" y="1646"/>
                </a:cubicBezTo>
                <a:cubicBezTo>
                  <a:pt x="295" y="1644"/>
                  <a:pt x="296" y="1642"/>
                  <a:pt x="296" y="1639"/>
                </a:cubicBezTo>
                <a:cubicBezTo>
                  <a:pt x="297" y="1633"/>
                  <a:pt x="297" y="1626"/>
                  <a:pt x="298" y="1624"/>
                </a:cubicBezTo>
                <a:cubicBezTo>
                  <a:pt x="298" y="1622"/>
                  <a:pt x="299" y="1620"/>
                  <a:pt x="298" y="1618"/>
                </a:cubicBezTo>
                <a:cubicBezTo>
                  <a:pt x="298" y="1618"/>
                  <a:pt x="298" y="1618"/>
                  <a:pt x="298" y="1618"/>
                </a:cubicBezTo>
                <a:cubicBezTo>
                  <a:pt x="298" y="1616"/>
                  <a:pt x="299" y="1615"/>
                  <a:pt x="299" y="1613"/>
                </a:cubicBezTo>
                <a:cubicBezTo>
                  <a:pt x="300" y="1612"/>
                  <a:pt x="300" y="1611"/>
                  <a:pt x="300" y="1609"/>
                </a:cubicBezTo>
                <a:cubicBezTo>
                  <a:pt x="301" y="1606"/>
                  <a:pt x="302" y="1602"/>
                  <a:pt x="302" y="1598"/>
                </a:cubicBezTo>
                <a:cubicBezTo>
                  <a:pt x="302" y="1595"/>
                  <a:pt x="303" y="1593"/>
                  <a:pt x="304" y="1590"/>
                </a:cubicBezTo>
                <a:cubicBezTo>
                  <a:pt x="304" y="1587"/>
                  <a:pt x="306" y="1583"/>
                  <a:pt x="305" y="1581"/>
                </a:cubicBezTo>
                <a:cubicBezTo>
                  <a:pt x="305" y="1581"/>
                  <a:pt x="305" y="1580"/>
                  <a:pt x="305" y="1580"/>
                </a:cubicBezTo>
                <a:cubicBezTo>
                  <a:pt x="305" y="1579"/>
                  <a:pt x="305" y="1579"/>
                  <a:pt x="305" y="1579"/>
                </a:cubicBezTo>
                <a:cubicBezTo>
                  <a:pt x="305" y="1578"/>
                  <a:pt x="305" y="1577"/>
                  <a:pt x="306" y="1576"/>
                </a:cubicBezTo>
                <a:cubicBezTo>
                  <a:pt x="307" y="1575"/>
                  <a:pt x="307" y="1574"/>
                  <a:pt x="307" y="1573"/>
                </a:cubicBezTo>
                <a:cubicBezTo>
                  <a:pt x="308" y="1570"/>
                  <a:pt x="308" y="1568"/>
                  <a:pt x="308" y="1566"/>
                </a:cubicBezTo>
                <a:cubicBezTo>
                  <a:pt x="308" y="1564"/>
                  <a:pt x="308" y="1562"/>
                  <a:pt x="309" y="1560"/>
                </a:cubicBezTo>
                <a:cubicBezTo>
                  <a:pt x="309" y="1559"/>
                  <a:pt x="309" y="1558"/>
                  <a:pt x="309" y="1557"/>
                </a:cubicBezTo>
                <a:cubicBezTo>
                  <a:pt x="309" y="1556"/>
                  <a:pt x="308" y="1556"/>
                  <a:pt x="308" y="1555"/>
                </a:cubicBezTo>
                <a:cubicBezTo>
                  <a:pt x="307" y="1554"/>
                  <a:pt x="308" y="1554"/>
                  <a:pt x="308" y="1553"/>
                </a:cubicBezTo>
                <a:cubicBezTo>
                  <a:pt x="308" y="1550"/>
                  <a:pt x="309" y="1546"/>
                  <a:pt x="309" y="1543"/>
                </a:cubicBezTo>
                <a:cubicBezTo>
                  <a:pt x="309" y="1540"/>
                  <a:pt x="311" y="1537"/>
                  <a:pt x="311" y="1534"/>
                </a:cubicBezTo>
                <a:cubicBezTo>
                  <a:pt x="312" y="1531"/>
                  <a:pt x="312" y="1527"/>
                  <a:pt x="313" y="1523"/>
                </a:cubicBezTo>
                <a:cubicBezTo>
                  <a:pt x="314" y="1520"/>
                  <a:pt x="316" y="1518"/>
                  <a:pt x="317" y="1515"/>
                </a:cubicBezTo>
                <a:cubicBezTo>
                  <a:pt x="317" y="1512"/>
                  <a:pt x="318" y="1509"/>
                  <a:pt x="318" y="1506"/>
                </a:cubicBezTo>
                <a:cubicBezTo>
                  <a:pt x="318" y="1505"/>
                  <a:pt x="319" y="1503"/>
                  <a:pt x="319" y="1502"/>
                </a:cubicBezTo>
                <a:cubicBezTo>
                  <a:pt x="319" y="1501"/>
                  <a:pt x="319" y="1500"/>
                  <a:pt x="319" y="1498"/>
                </a:cubicBezTo>
                <a:cubicBezTo>
                  <a:pt x="319" y="1498"/>
                  <a:pt x="319" y="1497"/>
                  <a:pt x="319" y="1497"/>
                </a:cubicBezTo>
                <a:cubicBezTo>
                  <a:pt x="320" y="1495"/>
                  <a:pt x="321" y="1493"/>
                  <a:pt x="322" y="1491"/>
                </a:cubicBezTo>
                <a:cubicBezTo>
                  <a:pt x="323" y="1488"/>
                  <a:pt x="323" y="1485"/>
                  <a:pt x="324" y="1482"/>
                </a:cubicBezTo>
                <a:cubicBezTo>
                  <a:pt x="324" y="1480"/>
                  <a:pt x="324" y="1478"/>
                  <a:pt x="324" y="1477"/>
                </a:cubicBezTo>
                <a:cubicBezTo>
                  <a:pt x="324" y="1475"/>
                  <a:pt x="323" y="1474"/>
                  <a:pt x="324" y="1472"/>
                </a:cubicBezTo>
                <a:cubicBezTo>
                  <a:pt x="324" y="1471"/>
                  <a:pt x="324" y="1471"/>
                  <a:pt x="324" y="1471"/>
                </a:cubicBezTo>
                <a:cubicBezTo>
                  <a:pt x="325" y="1470"/>
                  <a:pt x="325" y="1470"/>
                  <a:pt x="325" y="1469"/>
                </a:cubicBezTo>
                <a:cubicBezTo>
                  <a:pt x="325" y="1467"/>
                  <a:pt x="325" y="1466"/>
                  <a:pt x="325" y="1464"/>
                </a:cubicBezTo>
                <a:cubicBezTo>
                  <a:pt x="325" y="1464"/>
                  <a:pt x="324" y="1463"/>
                  <a:pt x="324" y="1463"/>
                </a:cubicBezTo>
                <a:cubicBezTo>
                  <a:pt x="324" y="1462"/>
                  <a:pt x="324" y="1462"/>
                  <a:pt x="324" y="1462"/>
                </a:cubicBezTo>
                <a:cubicBezTo>
                  <a:pt x="325" y="1460"/>
                  <a:pt x="325" y="1457"/>
                  <a:pt x="326" y="1456"/>
                </a:cubicBezTo>
                <a:cubicBezTo>
                  <a:pt x="327" y="1454"/>
                  <a:pt x="327" y="1451"/>
                  <a:pt x="328" y="1449"/>
                </a:cubicBezTo>
                <a:cubicBezTo>
                  <a:pt x="329" y="1447"/>
                  <a:pt x="330" y="1444"/>
                  <a:pt x="331" y="1442"/>
                </a:cubicBezTo>
                <a:cubicBezTo>
                  <a:pt x="332" y="1440"/>
                  <a:pt x="331" y="1438"/>
                  <a:pt x="332" y="1435"/>
                </a:cubicBezTo>
                <a:cubicBezTo>
                  <a:pt x="332" y="1435"/>
                  <a:pt x="332" y="1435"/>
                  <a:pt x="332" y="1435"/>
                </a:cubicBezTo>
                <a:cubicBezTo>
                  <a:pt x="332" y="1434"/>
                  <a:pt x="332" y="1434"/>
                  <a:pt x="332" y="1434"/>
                </a:cubicBezTo>
                <a:cubicBezTo>
                  <a:pt x="332" y="1434"/>
                  <a:pt x="332" y="1433"/>
                  <a:pt x="333" y="1433"/>
                </a:cubicBezTo>
                <a:cubicBezTo>
                  <a:pt x="333" y="1431"/>
                  <a:pt x="333" y="1430"/>
                  <a:pt x="334" y="1428"/>
                </a:cubicBezTo>
                <a:cubicBezTo>
                  <a:pt x="334" y="1427"/>
                  <a:pt x="334" y="1426"/>
                  <a:pt x="335" y="1425"/>
                </a:cubicBezTo>
                <a:cubicBezTo>
                  <a:pt x="335" y="1424"/>
                  <a:pt x="335" y="1423"/>
                  <a:pt x="335" y="1422"/>
                </a:cubicBezTo>
                <a:cubicBezTo>
                  <a:pt x="334" y="1421"/>
                  <a:pt x="333" y="1423"/>
                  <a:pt x="332" y="1422"/>
                </a:cubicBezTo>
                <a:cubicBezTo>
                  <a:pt x="331" y="1421"/>
                  <a:pt x="332" y="1419"/>
                  <a:pt x="332" y="1418"/>
                </a:cubicBezTo>
                <a:cubicBezTo>
                  <a:pt x="332" y="1416"/>
                  <a:pt x="333" y="1414"/>
                  <a:pt x="333" y="1412"/>
                </a:cubicBezTo>
                <a:cubicBezTo>
                  <a:pt x="334" y="1410"/>
                  <a:pt x="334" y="1409"/>
                  <a:pt x="334" y="1407"/>
                </a:cubicBezTo>
                <a:cubicBezTo>
                  <a:pt x="335" y="1405"/>
                  <a:pt x="334" y="1404"/>
                  <a:pt x="336" y="1404"/>
                </a:cubicBezTo>
                <a:cubicBezTo>
                  <a:pt x="337" y="1404"/>
                  <a:pt x="338" y="1403"/>
                  <a:pt x="338" y="1402"/>
                </a:cubicBezTo>
                <a:cubicBezTo>
                  <a:pt x="338" y="1402"/>
                  <a:pt x="338" y="1402"/>
                  <a:pt x="338" y="1401"/>
                </a:cubicBezTo>
                <a:cubicBezTo>
                  <a:pt x="338" y="1401"/>
                  <a:pt x="339" y="1401"/>
                  <a:pt x="339" y="1401"/>
                </a:cubicBezTo>
                <a:cubicBezTo>
                  <a:pt x="339" y="1400"/>
                  <a:pt x="339" y="1400"/>
                  <a:pt x="339" y="1400"/>
                </a:cubicBezTo>
                <a:cubicBezTo>
                  <a:pt x="340" y="1399"/>
                  <a:pt x="340" y="1398"/>
                  <a:pt x="340" y="1397"/>
                </a:cubicBezTo>
                <a:cubicBezTo>
                  <a:pt x="340" y="1397"/>
                  <a:pt x="340" y="1397"/>
                  <a:pt x="340" y="1396"/>
                </a:cubicBezTo>
                <a:cubicBezTo>
                  <a:pt x="340" y="1396"/>
                  <a:pt x="340" y="1396"/>
                  <a:pt x="340" y="1396"/>
                </a:cubicBezTo>
                <a:cubicBezTo>
                  <a:pt x="341" y="1395"/>
                  <a:pt x="340" y="1393"/>
                  <a:pt x="341" y="1392"/>
                </a:cubicBezTo>
                <a:cubicBezTo>
                  <a:pt x="341" y="1390"/>
                  <a:pt x="341" y="1389"/>
                  <a:pt x="341" y="1387"/>
                </a:cubicBezTo>
                <a:cubicBezTo>
                  <a:pt x="342" y="1385"/>
                  <a:pt x="343" y="1383"/>
                  <a:pt x="343" y="1382"/>
                </a:cubicBezTo>
                <a:cubicBezTo>
                  <a:pt x="343" y="1381"/>
                  <a:pt x="344" y="1380"/>
                  <a:pt x="344" y="1379"/>
                </a:cubicBezTo>
                <a:cubicBezTo>
                  <a:pt x="344" y="1379"/>
                  <a:pt x="343" y="1378"/>
                  <a:pt x="343" y="1378"/>
                </a:cubicBezTo>
                <a:cubicBezTo>
                  <a:pt x="343" y="1376"/>
                  <a:pt x="343" y="1374"/>
                  <a:pt x="343" y="1372"/>
                </a:cubicBezTo>
                <a:cubicBezTo>
                  <a:pt x="343" y="1370"/>
                  <a:pt x="344" y="1368"/>
                  <a:pt x="344" y="1367"/>
                </a:cubicBezTo>
                <a:cubicBezTo>
                  <a:pt x="344" y="1365"/>
                  <a:pt x="344" y="1363"/>
                  <a:pt x="344" y="1362"/>
                </a:cubicBezTo>
                <a:cubicBezTo>
                  <a:pt x="345" y="1360"/>
                  <a:pt x="345" y="1358"/>
                  <a:pt x="346" y="1356"/>
                </a:cubicBezTo>
                <a:cubicBezTo>
                  <a:pt x="346" y="1355"/>
                  <a:pt x="346" y="1354"/>
                  <a:pt x="346" y="1354"/>
                </a:cubicBezTo>
                <a:cubicBezTo>
                  <a:pt x="346" y="1353"/>
                  <a:pt x="346" y="1351"/>
                  <a:pt x="347" y="1350"/>
                </a:cubicBezTo>
                <a:cubicBezTo>
                  <a:pt x="347" y="1350"/>
                  <a:pt x="347" y="1351"/>
                  <a:pt x="347" y="1351"/>
                </a:cubicBezTo>
                <a:cubicBezTo>
                  <a:pt x="347" y="1351"/>
                  <a:pt x="348" y="1351"/>
                  <a:pt x="348" y="1351"/>
                </a:cubicBezTo>
                <a:cubicBezTo>
                  <a:pt x="349" y="1351"/>
                  <a:pt x="349" y="1351"/>
                  <a:pt x="349" y="1350"/>
                </a:cubicBezTo>
                <a:cubicBezTo>
                  <a:pt x="349" y="1350"/>
                  <a:pt x="349" y="1350"/>
                  <a:pt x="349" y="1349"/>
                </a:cubicBezTo>
                <a:cubicBezTo>
                  <a:pt x="349" y="1349"/>
                  <a:pt x="349" y="1349"/>
                  <a:pt x="348" y="1348"/>
                </a:cubicBezTo>
                <a:cubicBezTo>
                  <a:pt x="348" y="1348"/>
                  <a:pt x="348" y="1348"/>
                  <a:pt x="348" y="1348"/>
                </a:cubicBezTo>
                <a:cubicBezTo>
                  <a:pt x="348" y="1348"/>
                  <a:pt x="349" y="1348"/>
                  <a:pt x="349" y="1348"/>
                </a:cubicBezTo>
                <a:cubicBezTo>
                  <a:pt x="349" y="1347"/>
                  <a:pt x="349" y="1347"/>
                  <a:pt x="349" y="1347"/>
                </a:cubicBezTo>
                <a:cubicBezTo>
                  <a:pt x="349" y="1347"/>
                  <a:pt x="349" y="1346"/>
                  <a:pt x="349" y="1346"/>
                </a:cubicBezTo>
                <a:cubicBezTo>
                  <a:pt x="349" y="1346"/>
                  <a:pt x="349" y="1345"/>
                  <a:pt x="349" y="1344"/>
                </a:cubicBezTo>
                <a:cubicBezTo>
                  <a:pt x="350" y="1342"/>
                  <a:pt x="350" y="1341"/>
                  <a:pt x="350" y="1339"/>
                </a:cubicBezTo>
                <a:cubicBezTo>
                  <a:pt x="351" y="1336"/>
                  <a:pt x="352" y="1333"/>
                  <a:pt x="352" y="1329"/>
                </a:cubicBezTo>
                <a:cubicBezTo>
                  <a:pt x="352" y="1327"/>
                  <a:pt x="352" y="1325"/>
                  <a:pt x="352" y="1324"/>
                </a:cubicBezTo>
                <a:cubicBezTo>
                  <a:pt x="352" y="1323"/>
                  <a:pt x="352" y="1322"/>
                  <a:pt x="352" y="1321"/>
                </a:cubicBezTo>
                <a:cubicBezTo>
                  <a:pt x="352" y="1320"/>
                  <a:pt x="351" y="1320"/>
                  <a:pt x="352" y="1319"/>
                </a:cubicBezTo>
                <a:cubicBezTo>
                  <a:pt x="352" y="1318"/>
                  <a:pt x="352" y="1318"/>
                  <a:pt x="352" y="1318"/>
                </a:cubicBezTo>
                <a:cubicBezTo>
                  <a:pt x="352" y="1318"/>
                  <a:pt x="352" y="1318"/>
                  <a:pt x="352" y="1318"/>
                </a:cubicBezTo>
                <a:cubicBezTo>
                  <a:pt x="353" y="1317"/>
                  <a:pt x="354" y="1317"/>
                  <a:pt x="354" y="1316"/>
                </a:cubicBezTo>
                <a:cubicBezTo>
                  <a:pt x="354" y="1316"/>
                  <a:pt x="354" y="1315"/>
                  <a:pt x="354" y="1315"/>
                </a:cubicBezTo>
                <a:cubicBezTo>
                  <a:pt x="354" y="1314"/>
                  <a:pt x="353" y="1314"/>
                  <a:pt x="353" y="1314"/>
                </a:cubicBezTo>
                <a:cubicBezTo>
                  <a:pt x="352" y="1313"/>
                  <a:pt x="352" y="1313"/>
                  <a:pt x="352" y="1312"/>
                </a:cubicBezTo>
                <a:cubicBezTo>
                  <a:pt x="352" y="1311"/>
                  <a:pt x="352" y="1311"/>
                  <a:pt x="352" y="1310"/>
                </a:cubicBezTo>
                <a:cubicBezTo>
                  <a:pt x="352" y="1309"/>
                  <a:pt x="353" y="1308"/>
                  <a:pt x="353" y="1307"/>
                </a:cubicBezTo>
                <a:cubicBezTo>
                  <a:pt x="353" y="1306"/>
                  <a:pt x="352" y="1306"/>
                  <a:pt x="352" y="1305"/>
                </a:cubicBezTo>
                <a:cubicBezTo>
                  <a:pt x="351" y="1304"/>
                  <a:pt x="352" y="1302"/>
                  <a:pt x="352" y="1301"/>
                </a:cubicBezTo>
                <a:cubicBezTo>
                  <a:pt x="353" y="1299"/>
                  <a:pt x="353" y="1298"/>
                  <a:pt x="354" y="1296"/>
                </a:cubicBezTo>
                <a:cubicBezTo>
                  <a:pt x="354" y="1295"/>
                  <a:pt x="354" y="1294"/>
                  <a:pt x="355" y="1294"/>
                </a:cubicBezTo>
                <a:cubicBezTo>
                  <a:pt x="355" y="1293"/>
                  <a:pt x="356" y="1293"/>
                  <a:pt x="356" y="1292"/>
                </a:cubicBezTo>
                <a:cubicBezTo>
                  <a:pt x="357" y="1291"/>
                  <a:pt x="357" y="1291"/>
                  <a:pt x="356" y="1290"/>
                </a:cubicBezTo>
                <a:cubicBezTo>
                  <a:pt x="356" y="1290"/>
                  <a:pt x="356" y="1290"/>
                  <a:pt x="356" y="1289"/>
                </a:cubicBezTo>
                <a:cubicBezTo>
                  <a:pt x="355" y="1289"/>
                  <a:pt x="356" y="1288"/>
                  <a:pt x="356" y="1288"/>
                </a:cubicBezTo>
                <a:cubicBezTo>
                  <a:pt x="357" y="1289"/>
                  <a:pt x="357" y="1288"/>
                  <a:pt x="357" y="1288"/>
                </a:cubicBezTo>
                <a:cubicBezTo>
                  <a:pt x="357" y="1288"/>
                  <a:pt x="357" y="1287"/>
                  <a:pt x="357" y="1287"/>
                </a:cubicBezTo>
                <a:cubicBezTo>
                  <a:pt x="357" y="1286"/>
                  <a:pt x="356" y="1286"/>
                  <a:pt x="356" y="1285"/>
                </a:cubicBezTo>
                <a:cubicBezTo>
                  <a:pt x="355" y="1285"/>
                  <a:pt x="356" y="1284"/>
                  <a:pt x="356" y="1283"/>
                </a:cubicBezTo>
                <a:cubicBezTo>
                  <a:pt x="356" y="1283"/>
                  <a:pt x="356" y="1283"/>
                  <a:pt x="356" y="1283"/>
                </a:cubicBezTo>
                <a:cubicBezTo>
                  <a:pt x="357" y="1283"/>
                  <a:pt x="357" y="1281"/>
                  <a:pt x="358" y="1281"/>
                </a:cubicBezTo>
                <a:cubicBezTo>
                  <a:pt x="358" y="1280"/>
                  <a:pt x="359" y="1280"/>
                  <a:pt x="359" y="1279"/>
                </a:cubicBezTo>
                <a:cubicBezTo>
                  <a:pt x="360" y="1279"/>
                  <a:pt x="360" y="1278"/>
                  <a:pt x="360" y="1277"/>
                </a:cubicBezTo>
                <a:cubicBezTo>
                  <a:pt x="360" y="1277"/>
                  <a:pt x="360" y="1277"/>
                  <a:pt x="360" y="1276"/>
                </a:cubicBezTo>
                <a:cubicBezTo>
                  <a:pt x="359" y="1276"/>
                  <a:pt x="359" y="1275"/>
                  <a:pt x="359" y="1275"/>
                </a:cubicBezTo>
                <a:cubicBezTo>
                  <a:pt x="359" y="1275"/>
                  <a:pt x="359" y="1274"/>
                  <a:pt x="358" y="1274"/>
                </a:cubicBezTo>
                <a:cubicBezTo>
                  <a:pt x="358" y="1274"/>
                  <a:pt x="358" y="1274"/>
                  <a:pt x="358" y="1274"/>
                </a:cubicBezTo>
                <a:cubicBezTo>
                  <a:pt x="357" y="1274"/>
                  <a:pt x="358" y="1273"/>
                  <a:pt x="358" y="1273"/>
                </a:cubicBezTo>
                <a:cubicBezTo>
                  <a:pt x="358" y="1272"/>
                  <a:pt x="358" y="1272"/>
                  <a:pt x="358" y="1271"/>
                </a:cubicBezTo>
                <a:cubicBezTo>
                  <a:pt x="358" y="1270"/>
                  <a:pt x="358" y="1269"/>
                  <a:pt x="358" y="1268"/>
                </a:cubicBezTo>
                <a:cubicBezTo>
                  <a:pt x="359" y="1267"/>
                  <a:pt x="359" y="1265"/>
                  <a:pt x="360" y="1263"/>
                </a:cubicBezTo>
                <a:cubicBezTo>
                  <a:pt x="360" y="1262"/>
                  <a:pt x="361" y="1258"/>
                  <a:pt x="362" y="1258"/>
                </a:cubicBezTo>
                <a:cubicBezTo>
                  <a:pt x="363" y="1257"/>
                  <a:pt x="363" y="1256"/>
                  <a:pt x="363" y="1255"/>
                </a:cubicBezTo>
                <a:cubicBezTo>
                  <a:pt x="364" y="1254"/>
                  <a:pt x="364" y="1253"/>
                  <a:pt x="364" y="1252"/>
                </a:cubicBezTo>
                <a:cubicBezTo>
                  <a:pt x="364" y="1251"/>
                  <a:pt x="361" y="1250"/>
                  <a:pt x="361" y="1248"/>
                </a:cubicBezTo>
                <a:cubicBezTo>
                  <a:pt x="362" y="1248"/>
                  <a:pt x="362" y="1246"/>
                  <a:pt x="363" y="1246"/>
                </a:cubicBezTo>
                <a:cubicBezTo>
                  <a:pt x="364" y="1244"/>
                  <a:pt x="364" y="1243"/>
                  <a:pt x="365" y="1242"/>
                </a:cubicBezTo>
                <a:cubicBezTo>
                  <a:pt x="366" y="1241"/>
                  <a:pt x="367" y="1240"/>
                  <a:pt x="366" y="1239"/>
                </a:cubicBezTo>
                <a:cubicBezTo>
                  <a:pt x="366" y="1239"/>
                  <a:pt x="365" y="1239"/>
                  <a:pt x="365" y="1238"/>
                </a:cubicBezTo>
                <a:cubicBezTo>
                  <a:pt x="364" y="1238"/>
                  <a:pt x="364" y="1237"/>
                  <a:pt x="364" y="1237"/>
                </a:cubicBezTo>
                <a:cubicBezTo>
                  <a:pt x="364" y="1236"/>
                  <a:pt x="365" y="1235"/>
                  <a:pt x="365" y="1234"/>
                </a:cubicBezTo>
                <a:cubicBezTo>
                  <a:pt x="365" y="1233"/>
                  <a:pt x="365" y="1231"/>
                  <a:pt x="364" y="1230"/>
                </a:cubicBezTo>
                <a:cubicBezTo>
                  <a:pt x="364" y="1229"/>
                  <a:pt x="364" y="1229"/>
                  <a:pt x="364" y="1229"/>
                </a:cubicBezTo>
                <a:cubicBezTo>
                  <a:pt x="364" y="1229"/>
                  <a:pt x="364" y="1228"/>
                  <a:pt x="364" y="1227"/>
                </a:cubicBezTo>
                <a:cubicBezTo>
                  <a:pt x="364" y="1227"/>
                  <a:pt x="364" y="1227"/>
                  <a:pt x="365" y="1227"/>
                </a:cubicBezTo>
                <a:cubicBezTo>
                  <a:pt x="365" y="1226"/>
                  <a:pt x="365" y="1226"/>
                  <a:pt x="365" y="1225"/>
                </a:cubicBezTo>
                <a:cubicBezTo>
                  <a:pt x="365" y="1225"/>
                  <a:pt x="365" y="1225"/>
                  <a:pt x="365" y="1225"/>
                </a:cubicBezTo>
                <a:cubicBezTo>
                  <a:pt x="366" y="1224"/>
                  <a:pt x="366" y="1222"/>
                  <a:pt x="366" y="1221"/>
                </a:cubicBezTo>
                <a:cubicBezTo>
                  <a:pt x="367" y="1220"/>
                  <a:pt x="367" y="1218"/>
                  <a:pt x="367" y="1217"/>
                </a:cubicBezTo>
                <a:cubicBezTo>
                  <a:pt x="368" y="1215"/>
                  <a:pt x="368" y="1214"/>
                  <a:pt x="368" y="1212"/>
                </a:cubicBezTo>
                <a:cubicBezTo>
                  <a:pt x="368" y="1211"/>
                  <a:pt x="368" y="1210"/>
                  <a:pt x="368" y="1210"/>
                </a:cubicBezTo>
                <a:cubicBezTo>
                  <a:pt x="367" y="1209"/>
                  <a:pt x="368" y="1209"/>
                  <a:pt x="368" y="1208"/>
                </a:cubicBezTo>
                <a:cubicBezTo>
                  <a:pt x="368" y="1207"/>
                  <a:pt x="367" y="1207"/>
                  <a:pt x="367" y="1206"/>
                </a:cubicBezTo>
                <a:cubicBezTo>
                  <a:pt x="367" y="1206"/>
                  <a:pt x="368" y="1206"/>
                  <a:pt x="368" y="1206"/>
                </a:cubicBezTo>
                <a:cubicBezTo>
                  <a:pt x="368" y="1206"/>
                  <a:pt x="368" y="1206"/>
                  <a:pt x="368" y="1206"/>
                </a:cubicBezTo>
                <a:cubicBezTo>
                  <a:pt x="368" y="1205"/>
                  <a:pt x="368" y="1205"/>
                  <a:pt x="368" y="1205"/>
                </a:cubicBezTo>
                <a:cubicBezTo>
                  <a:pt x="369" y="1203"/>
                  <a:pt x="369" y="1201"/>
                  <a:pt x="369" y="1200"/>
                </a:cubicBezTo>
                <a:cubicBezTo>
                  <a:pt x="369" y="1198"/>
                  <a:pt x="369" y="1196"/>
                  <a:pt x="369" y="1195"/>
                </a:cubicBezTo>
                <a:cubicBezTo>
                  <a:pt x="370" y="1191"/>
                  <a:pt x="370" y="1186"/>
                  <a:pt x="371" y="1182"/>
                </a:cubicBezTo>
                <a:cubicBezTo>
                  <a:pt x="372" y="1180"/>
                  <a:pt x="372" y="1178"/>
                  <a:pt x="373" y="1177"/>
                </a:cubicBezTo>
                <a:cubicBezTo>
                  <a:pt x="374" y="1176"/>
                  <a:pt x="374" y="1176"/>
                  <a:pt x="374" y="1175"/>
                </a:cubicBezTo>
                <a:cubicBezTo>
                  <a:pt x="374" y="1174"/>
                  <a:pt x="373" y="1174"/>
                  <a:pt x="373" y="1173"/>
                </a:cubicBezTo>
                <a:cubicBezTo>
                  <a:pt x="373" y="1172"/>
                  <a:pt x="374" y="1170"/>
                  <a:pt x="374" y="1169"/>
                </a:cubicBezTo>
                <a:cubicBezTo>
                  <a:pt x="375" y="1167"/>
                  <a:pt x="375" y="1164"/>
                  <a:pt x="375" y="1162"/>
                </a:cubicBezTo>
                <a:cubicBezTo>
                  <a:pt x="376" y="1162"/>
                  <a:pt x="376" y="1161"/>
                  <a:pt x="376" y="1161"/>
                </a:cubicBezTo>
                <a:cubicBezTo>
                  <a:pt x="377" y="1160"/>
                  <a:pt x="377" y="1159"/>
                  <a:pt x="377" y="1158"/>
                </a:cubicBezTo>
                <a:cubicBezTo>
                  <a:pt x="377" y="1158"/>
                  <a:pt x="377" y="1157"/>
                  <a:pt x="377" y="1156"/>
                </a:cubicBezTo>
                <a:cubicBezTo>
                  <a:pt x="377" y="1156"/>
                  <a:pt x="376" y="1157"/>
                  <a:pt x="375" y="1156"/>
                </a:cubicBezTo>
                <a:cubicBezTo>
                  <a:pt x="375" y="1156"/>
                  <a:pt x="376" y="1155"/>
                  <a:pt x="376" y="1155"/>
                </a:cubicBezTo>
                <a:cubicBezTo>
                  <a:pt x="376" y="1154"/>
                  <a:pt x="376" y="1154"/>
                  <a:pt x="376" y="1153"/>
                </a:cubicBezTo>
                <a:cubicBezTo>
                  <a:pt x="377" y="1152"/>
                  <a:pt x="378" y="1151"/>
                  <a:pt x="379" y="1150"/>
                </a:cubicBezTo>
                <a:cubicBezTo>
                  <a:pt x="379" y="1149"/>
                  <a:pt x="378" y="1148"/>
                  <a:pt x="378" y="1147"/>
                </a:cubicBezTo>
                <a:cubicBezTo>
                  <a:pt x="378" y="1147"/>
                  <a:pt x="378" y="1146"/>
                  <a:pt x="379" y="1146"/>
                </a:cubicBezTo>
                <a:cubicBezTo>
                  <a:pt x="379" y="1145"/>
                  <a:pt x="378" y="1144"/>
                  <a:pt x="378" y="1143"/>
                </a:cubicBezTo>
                <a:cubicBezTo>
                  <a:pt x="377" y="1143"/>
                  <a:pt x="377" y="1142"/>
                  <a:pt x="378" y="1142"/>
                </a:cubicBezTo>
                <a:cubicBezTo>
                  <a:pt x="378" y="1142"/>
                  <a:pt x="378" y="1141"/>
                  <a:pt x="379" y="1141"/>
                </a:cubicBezTo>
                <a:cubicBezTo>
                  <a:pt x="379" y="1140"/>
                  <a:pt x="379" y="1138"/>
                  <a:pt x="379" y="1136"/>
                </a:cubicBezTo>
                <a:cubicBezTo>
                  <a:pt x="382" y="1120"/>
                  <a:pt x="382" y="1113"/>
                  <a:pt x="382" y="1113"/>
                </a:cubicBezTo>
                <a:cubicBezTo>
                  <a:pt x="382" y="1112"/>
                  <a:pt x="383" y="1104"/>
                  <a:pt x="384" y="1102"/>
                </a:cubicBezTo>
                <a:cubicBezTo>
                  <a:pt x="385" y="1101"/>
                  <a:pt x="386" y="1099"/>
                  <a:pt x="387" y="1097"/>
                </a:cubicBezTo>
                <a:cubicBezTo>
                  <a:pt x="387" y="1097"/>
                  <a:pt x="387" y="1095"/>
                  <a:pt x="387" y="1095"/>
                </a:cubicBezTo>
                <a:cubicBezTo>
                  <a:pt x="388" y="1094"/>
                  <a:pt x="388" y="1095"/>
                  <a:pt x="389" y="1096"/>
                </a:cubicBezTo>
                <a:cubicBezTo>
                  <a:pt x="389" y="1096"/>
                  <a:pt x="390" y="1096"/>
                  <a:pt x="390" y="1095"/>
                </a:cubicBezTo>
                <a:cubicBezTo>
                  <a:pt x="390" y="1095"/>
                  <a:pt x="390" y="1094"/>
                  <a:pt x="390" y="1094"/>
                </a:cubicBezTo>
                <a:cubicBezTo>
                  <a:pt x="390" y="1093"/>
                  <a:pt x="390" y="1092"/>
                  <a:pt x="389" y="1091"/>
                </a:cubicBezTo>
                <a:cubicBezTo>
                  <a:pt x="389" y="1089"/>
                  <a:pt x="389" y="1088"/>
                  <a:pt x="389" y="1086"/>
                </a:cubicBezTo>
                <a:cubicBezTo>
                  <a:pt x="389" y="1086"/>
                  <a:pt x="390" y="1086"/>
                  <a:pt x="390" y="1085"/>
                </a:cubicBezTo>
                <a:cubicBezTo>
                  <a:pt x="390" y="1085"/>
                  <a:pt x="391" y="1085"/>
                  <a:pt x="391" y="1085"/>
                </a:cubicBezTo>
                <a:cubicBezTo>
                  <a:pt x="392" y="1084"/>
                  <a:pt x="392" y="1084"/>
                  <a:pt x="392" y="1083"/>
                </a:cubicBezTo>
                <a:cubicBezTo>
                  <a:pt x="392" y="1083"/>
                  <a:pt x="391" y="1083"/>
                  <a:pt x="391" y="1083"/>
                </a:cubicBezTo>
                <a:cubicBezTo>
                  <a:pt x="389" y="1081"/>
                  <a:pt x="390" y="1077"/>
                  <a:pt x="391" y="1075"/>
                </a:cubicBezTo>
                <a:cubicBezTo>
                  <a:pt x="391" y="1070"/>
                  <a:pt x="392" y="1065"/>
                  <a:pt x="392" y="1064"/>
                </a:cubicBezTo>
                <a:cubicBezTo>
                  <a:pt x="392" y="1061"/>
                  <a:pt x="393" y="1059"/>
                  <a:pt x="392" y="1056"/>
                </a:cubicBezTo>
                <a:cubicBezTo>
                  <a:pt x="391" y="1055"/>
                  <a:pt x="392" y="1054"/>
                  <a:pt x="392" y="1053"/>
                </a:cubicBezTo>
                <a:cubicBezTo>
                  <a:pt x="393" y="1051"/>
                  <a:pt x="394" y="1050"/>
                  <a:pt x="394" y="1049"/>
                </a:cubicBezTo>
                <a:cubicBezTo>
                  <a:pt x="394" y="1048"/>
                  <a:pt x="394" y="1047"/>
                  <a:pt x="394" y="1046"/>
                </a:cubicBezTo>
                <a:cubicBezTo>
                  <a:pt x="395" y="1042"/>
                  <a:pt x="395" y="1038"/>
                  <a:pt x="396" y="1034"/>
                </a:cubicBezTo>
                <a:cubicBezTo>
                  <a:pt x="396" y="1030"/>
                  <a:pt x="397" y="1026"/>
                  <a:pt x="398" y="1021"/>
                </a:cubicBezTo>
                <a:cubicBezTo>
                  <a:pt x="400" y="1007"/>
                  <a:pt x="402" y="992"/>
                  <a:pt x="403" y="988"/>
                </a:cubicBezTo>
                <a:cubicBezTo>
                  <a:pt x="403" y="986"/>
                  <a:pt x="403" y="985"/>
                  <a:pt x="404" y="983"/>
                </a:cubicBezTo>
                <a:cubicBezTo>
                  <a:pt x="404" y="982"/>
                  <a:pt x="405" y="980"/>
                  <a:pt x="404" y="979"/>
                </a:cubicBezTo>
                <a:cubicBezTo>
                  <a:pt x="404" y="979"/>
                  <a:pt x="404" y="979"/>
                  <a:pt x="404" y="979"/>
                </a:cubicBezTo>
                <a:cubicBezTo>
                  <a:pt x="405" y="979"/>
                  <a:pt x="405" y="979"/>
                  <a:pt x="405" y="978"/>
                </a:cubicBezTo>
                <a:cubicBezTo>
                  <a:pt x="405" y="978"/>
                  <a:pt x="405" y="978"/>
                  <a:pt x="405" y="977"/>
                </a:cubicBezTo>
                <a:cubicBezTo>
                  <a:pt x="404" y="977"/>
                  <a:pt x="404" y="977"/>
                  <a:pt x="404" y="976"/>
                </a:cubicBezTo>
                <a:cubicBezTo>
                  <a:pt x="404" y="975"/>
                  <a:pt x="405" y="972"/>
                  <a:pt x="405" y="970"/>
                </a:cubicBezTo>
                <a:cubicBezTo>
                  <a:pt x="406" y="969"/>
                  <a:pt x="406" y="967"/>
                  <a:pt x="406" y="966"/>
                </a:cubicBezTo>
                <a:cubicBezTo>
                  <a:pt x="406" y="966"/>
                  <a:pt x="406" y="966"/>
                  <a:pt x="406" y="965"/>
                </a:cubicBezTo>
                <a:cubicBezTo>
                  <a:pt x="406" y="965"/>
                  <a:pt x="406" y="965"/>
                  <a:pt x="406" y="964"/>
                </a:cubicBezTo>
                <a:cubicBezTo>
                  <a:pt x="405" y="964"/>
                  <a:pt x="405" y="963"/>
                  <a:pt x="405" y="963"/>
                </a:cubicBezTo>
                <a:cubicBezTo>
                  <a:pt x="405" y="962"/>
                  <a:pt x="406" y="961"/>
                  <a:pt x="407" y="961"/>
                </a:cubicBezTo>
                <a:cubicBezTo>
                  <a:pt x="407" y="962"/>
                  <a:pt x="407" y="962"/>
                  <a:pt x="408" y="962"/>
                </a:cubicBezTo>
                <a:cubicBezTo>
                  <a:pt x="408" y="962"/>
                  <a:pt x="408" y="962"/>
                  <a:pt x="408" y="961"/>
                </a:cubicBezTo>
                <a:cubicBezTo>
                  <a:pt x="408" y="961"/>
                  <a:pt x="408" y="961"/>
                  <a:pt x="408" y="960"/>
                </a:cubicBezTo>
                <a:cubicBezTo>
                  <a:pt x="408" y="959"/>
                  <a:pt x="408" y="957"/>
                  <a:pt x="408" y="955"/>
                </a:cubicBezTo>
                <a:cubicBezTo>
                  <a:pt x="408" y="954"/>
                  <a:pt x="408" y="951"/>
                  <a:pt x="409" y="950"/>
                </a:cubicBezTo>
                <a:cubicBezTo>
                  <a:pt x="409" y="949"/>
                  <a:pt x="409" y="949"/>
                  <a:pt x="409" y="949"/>
                </a:cubicBezTo>
                <a:cubicBezTo>
                  <a:pt x="409" y="949"/>
                  <a:pt x="410" y="948"/>
                  <a:pt x="410" y="948"/>
                </a:cubicBezTo>
                <a:cubicBezTo>
                  <a:pt x="410" y="947"/>
                  <a:pt x="410" y="945"/>
                  <a:pt x="411" y="944"/>
                </a:cubicBezTo>
                <a:cubicBezTo>
                  <a:pt x="411" y="943"/>
                  <a:pt x="411" y="937"/>
                  <a:pt x="412" y="933"/>
                </a:cubicBezTo>
                <a:cubicBezTo>
                  <a:pt x="412" y="931"/>
                  <a:pt x="412" y="929"/>
                  <a:pt x="413" y="927"/>
                </a:cubicBezTo>
                <a:cubicBezTo>
                  <a:pt x="413" y="926"/>
                  <a:pt x="413" y="925"/>
                  <a:pt x="413" y="924"/>
                </a:cubicBezTo>
                <a:cubicBezTo>
                  <a:pt x="413" y="923"/>
                  <a:pt x="412" y="923"/>
                  <a:pt x="412" y="922"/>
                </a:cubicBezTo>
                <a:cubicBezTo>
                  <a:pt x="412" y="922"/>
                  <a:pt x="412" y="921"/>
                  <a:pt x="412" y="920"/>
                </a:cubicBezTo>
                <a:cubicBezTo>
                  <a:pt x="412" y="920"/>
                  <a:pt x="414" y="920"/>
                  <a:pt x="414" y="920"/>
                </a:cubicBezTo>
                <a:cubicBezTo>
                  <a:pt x="414" y="919"/>
                  <a:pt x="414" y="919"/>
                  <a:pt x="414" y="918"/>
                </a:cubicBezTo>
                <a:cubicBezTo>
                  <a:pt x="414" y="917"/>
                  <a:pt x="415" y="915"/>
                  <a:pt x="415" y="914"/>
                </a:cubicBezTo>
                <a:cubicBezTo>
                  <a:pt x="415" y="911"/>
                  <a:pt x="416" y="908"/>
                  <a:pt x="417" y="904"/>
                </a:cubicBezTo>
                <a:cubicBezTo>
                  <a:pt x="417" y="902"/>
                  <a:pt x="418" y="899"/>
                  <a:pt x="418" y="896"/>
                </a:cubicBezTo>
                <a:cubicBezTo>
                  <a:pt x="419" y="893"/>
                  <a:pt x="420" y="890"/>
                  <a:pt x="419" y="888"/>
                </a:cubicBezTo>
                <a:cubicBezTo>
                  <a:pt x="419" y="888"/>
                  <a:pt x="419" y="887"/>
                  <a:pt x="419" y="887"/>
                </a:cubicBezTo>
                <a:cubicBezTo>
                  <a:pt x="419" y="887"/>
                  <a:pt x="419" y="886"/>
                  <a:pt x="419" y="886"/>
                </a:cubicBezTo>
                <a:cubicBezTo>
                  <a:pt x="419" y="886"/>
                  <a:pt x="419" y="885"/>
                  <a:pt x="419" y="885"/>
                </a:cubicBezTo>
                <a:cubicBezTo>
                  <a:pt x="419" y="885"/>
                  <a:pt x="419" y="884"/>
                  <a:pt x="419" y="884"/>
                </a:cubicBezTo>
                <a:cubicBezTo>
                  <a:pt x="419" y="882"/>
                  <a:pt x="419" y="879"/>
                  <a:pt x="420" y="877"/>
                </a:cubicBezTo>
                <a:cubicBezTo>
                  <a:pt x="421" y="875"/>
                  <a:pt x="421" y="873"/>
                  <a:pt x="422" y="871"/>
                </a:cubicBezTo>
                <a:cubicBezTo>
                  <a:pt x="423" y="866"/>
                  <a:pt x="423" y="862"/>
                  <a:pt x="424" y="857"/>
                </a:cubicBezTo>
                <a:cubicBezTo>
                  <a:pt x="425" y="849"/>
                  <a:pt x="426" y="840"/>
                  <a:pt x="427" y="832"/>
                </a:cubicBezTo>
                <a:cubicBezTo>
                  <a:pt x="427" y="832"/>
                  <a:pt x="427" y="832"/>
                  <a:pt x="428" y="832"/>
                </a:cubicBezTo>
                <a:cubicBezTo>
                  <a:pt x="428" y="832"/>
                  <a:pt x="428" y="832"/>
                  <a:pt x="428" y="831"/>
                </a:cubicBezTo>
                <a:cubicBezTo>
                  <a:pt x="428" y="831"/>
                  <a:pt x="428" y="831"/>
                  <a:pt x="428" y="831"/>
                </a:cubicBezTo>
                <a:cubicBezTo>
                  <a:pt x="428" y="830"/>
                  <a:pt x="429" y="829"/>
                  <a:pt x="429" y="828"/>
                </a:cubicBezTo>
                <a:cubicBezTo>
                  <a:pt x="429" y="827"/>
                  <a:pt x="430" y="826"/>
                  <a:pt x="430" y="825"/>
                </a:cubicBezTo>
                <a:cubicBezTo>
                  <a:pt x="430" y="824"/>
                  <a:pt x="431" y="824"/>
                  <a:pt x="431" y="823"/>
                </a:cubicBezTo>
                <a:cubicBezTo>
                  <a:pt x="431" y="822"/>
                  <a:pt x="430" y="822"/>
                  <a:pt x="430" y="821"/>
                </a:cubicBezTo>
                <a:cubicBezTo>
                  <a:pt x="429" y="820"/>
                  <a:pt x="430" y="819"/>
                  <a:pt x="430" y="818"/>
                </a:cubicBezTo>
                <a:cubicBezTo>
                  <a:pt x="431" y="816"/>
                  <a:pt x="432" y="812"/>
                  <a:pt x="432" y="809"/>
                </a:cubicBezTo>
                <a:cubicBezTo>
                  <a:pt x="433" y="805"/>
                  <a:pt x="434" y="794"/>
                  <a:pt x="436" y="788"/>
                </a:cubicBezTo>
                <a:cubicBezTo>
                  <a:pt x="436" y="787"/>
                  <a:pt x="436" y="784"/>
                  <a:pt x="437" y="781"/>
                </a:cubicBezTo>
                <a:cubicBezTo>
                  <a:pt x="437" y="780"/>
                  <a:pt x="437" y="778"/>
                  <a:pt x="437" y="777"/>
                </a:cubicBezTo>
                <a:cubicBezTo>
                  <a:pt x="438" y="777"/>
                  <a:pt x="438" y="777"/>
                  <a:pt x="438" y="776"/>
                </a:cubicBezTo>
                <a:cubicBezTo>
                  <a:pt x="439" y="776"/>
                  <a:pt x="439" y="776"/>
                  <a:pt x="439" y="775"/>
                </a:cubicBezTo>
                <a:cubicBezTo>
                  <a:pt x="439" y="775"/>
                  <a:pt x="439" y="774"/>
                  <a:pt x="439" y="773"/>
                </a:cubicBezTo>
                <a:cubicBezTo>
                  <a:pt x="439" y="773"/>
                  <a:pt x="439" y="772"/>
                  <a:pt x="439" y="772"/>
                </a:cubicBezTo>
                <a:cubicBezTo>
                  <a:pt x="439" y="771"/>
                  <a:pt x="439" y="769"/>
                  <a:pt x="439" y="767"/>
                </a:cubicBezTo>
                <a:cubicBezTo>
                  <a:pt x="440" y="766"/>
                  <a:pt x="442" y="765"/>
                  <a:pt x="443" y="765"/>
                </a:cubicBezTo>
                <a:cubicBezTo>
                  <a:pt x="443" y="764"/>
                  <a:pt x="444" y="764"/>
                  <a:pt x="443" y="763"/>
                </a:cubicBezTo>
                <a:cubicBezTo>
                  <a:pt x="442" y="762"/>
                  <a:pt x="442" y="761"/>
                  <a:pt x="441" y="760"/>
                </a:cubicBezTo>
                <a:cubicBezTo>
                  <a:pt x="441" y="760"/>
                  <a:pt x="441" y="760"/>
                  <a:pt x="441" y="760"/>
                </a:cubicBezTo>
                <a:cubicBezTo>
                  <a:pt x="441" y="760"/>
                  <a:pt x="441" y="759"/>
                  <a:pt x="441" y="759"/>
                </a:cubicBezTo>
                <a:cubicBezTo>
                  <a:pt x="441" y="759"/>
                  <a:pt x="441" y="758"/>
                  <a:pt x="441" y="758"/>
                </a:cubicBezTo>
                <a:cubicBezTo>
                  <a:pt x="441" y="757"/>
                  <a:pt x="442" y="755"/>
                  <a:pt x="442" y="753"/>
                </a:cubicBezTo>
                <a:cubicBezTo>
                  <a:pt x="442" y="751"/>
                  <a:pt x="443" y="749"/>
                  <a:pt x="443" y="746"/>
                </a:cubicBezTo>
                <a:cubicBezTo>
                  <a:pt x="444" y="741"/>
                  <a:pt x="445" y="737"/>
                  <a:pt x="446" y="732"/>
                </a:cubicBezTo>
                <a:cubicBezTo>
                  <a:pt x="446" y="731"/>
                  <a:pt x="446" y="731"/>
                  <a:pt x="445" y="730"/>
                </a:cubicBezTo>
                <a:cubicBezTo>
                  <a:pt x="445" y="730"/>
                  <a:pt x="445" y="730"/>
                  <a:pt x="445" y="730"/>
                </a:cubicBezTo>
                <a:cubicBezTo>
                  <a:pt x="445" y="730"/>
                  <a:pt x="445" y="729"/>
                  <a:pt x="445" y="729"/>
                </a:cubicBezTo>
                <a:cubicBezTo>
                  <a:pt x="445" y="729"/>
                  <a:pt x="445" y="729"/>
                  <a:pt x="445" y="729"/>
                </a:cubicBezTo>
                <a:cubicBezTo>
                  <a:pt x="445" y="728"/>
                  <a:pt x="445" y="726"/>
                  <a:pt x="446" y="726"/>
                </a:cubicBezTo>
                <a:cubicBezTo>
                  <a:pt x="446" y="725"/>
                  <a:pt x="446" y="724"/>
                  <a:pt x="447" y="723"/>
                </a:cubicBezTo>
                <a:cubicBezTo>
                  <a:pt x="447" y="721"/>
                  <a:pt x="448" y="720"/>
                  <a:pt x="448" y="719"/>
                </a:cubicBezTo>
                <a:cubicBezTo>
                  <a:pt x="448" y="719"/>
                  <a:pt x="448" y="719"/>
                  <a:pt x="448" y="718"/>
                </a:cubicBezTo>
                <a:cubicBezTo>
                  <a:pt x="448" y="718"/>
                  <a:pt x="448" y="718"/>
                  <a:pt x="448" y="718"/>
                </a:cubicBezTo>
                <a:cubicBezTo>
                  <a:pt x="447" y="717"/>
                  <a:pt x="447" y="717"/>
                  <a:pt x="447" y="716"/>
                </a:cubicBezTo>
                <a:cubicBezTo>
                  <a:pt x="448" y="716"/>
                  <a:pt x="448" y="716"/>
                  <a:pt x="448" y="716"/>
                </a:cubicBezTo>
                <a:cubicBezTo>
                  <a:pt x="449" y="715"/>
                  <a:pt x="449" y="713"/>
                  <a:pt x="449" y="713"/>
                </a:cubicBezTo>
                <a:cubicBezTo>
                  <a:pt x="449" y="712"/>
                  <a:pt x="449" y="710"/>
                  <a:pt x="450" y="710"/>
                </a:cubicBezTo>
                <a:cubicBezTo>
                  <a:pt x="450" y="709"/>
                  <a:pt x="451" y="709"/>
                  <a:pt x="452" y="708"/>
                </a:cubicBezTo>
                <a:cubicBezTo>
                  <a:pt x="452" y="707"/>
                  <a:pt x="449" y="704"/>
                  <a:pt x="450" y="704"/>
                </a:cubicBezTo>
                <a:cubicBezTo>
                  <a:pt x="451" y="703"/>
                  <a:pt x="451" y="704"/>
                  <a:pt x="451" y="704"/>
                </a:cubicBezTo>
                <a:cubicBezTo>
                  <a:pt x="452" y="704"/>
                  <a:pt x="452" y="704"/>
                  <a:pt x="452" y="704"/>
                </a:cubicBezTo>
                <a:cubicBezTo>
                  <a:pt x="452" y="704"/>
                  <a:pt x="452" y="704"/>
                  <a:pt x="452" y="704"/>
                </a:cubicBezTo>
                <a:cubicBezTo>
                  <a:pt x="453" y="703"/>
                  <a:pt x="453" y="702"/>
                  <a:pt x="452" y="702"/>
                </a:cubicBezTo>
                <a:cubicBezTo>
                  <a:pt x="452" y="701"/>
                  <a:pt x="452" y="701"/>
                  <a:pt x="452" y="701"/>
                </a:cubicBezTo>
                <a:cubicBezTo>
                  <a:pt x="451" y="699"/>
                  <a:pt x="452" y="696"/>
                  <a:pt x="452" y="693"/>
                </a:cubicBezTo>
                <a:cubicBezTo>
                  <a:pt x="452" y="691"/>
                  <a:pt x="453" y="689"/>
                  <a:pt x="453" y="687"/>
                </a:cubicBezTo>
                <a:cubicBezTo>
                  <a:pt x="454" y="686"/>
                  <a:pt x="454" y="685"/>
                  <a:pt x="454" y="684"/>
                </a:cubicBezTo>
                <a:cubicBezTo>
                  <a:pt x="455" y="682"/>
                  <a:pt x="455" y="683"/>
                  <a:pt x="456" y="682"/>
                </a:cubicBezTo>
                <a:cubicBezTo>
                  <a:pt x="456" y="682"/>
                  <a:pt x="457" y="682"/>
                  <a:pt x="458" y="682"/>
                </a:cubicBezTo>
                <a:cubicBezTo>
                  <a:pt x="458" y="681"/>
                  <a:pt x="458" y="681"/>
                  <a:pt x="458" y="681"/>
                </a:cubicBezTo>
                <a:cubicBezTo>
                  <a:pt x="458" y="680"/>
                  <a:pt x="458" y="680"/>
                  <a:pt x="457" y="680"/>
                </a:cubicBezTo>
                <a:cubicBezTo>
                  <a:pt x="457" y="679"/>
                  <a:pt x="456" y="679"/>
                  <a:pt x="456" y="678"/>
                </a:cubicBezTo>
                <a:cubicBezTo>
                  <a:pt x="456" y="677"/>
                  <a:pt x="456" y="676"/>
                  <a:pt x="456" y="675"/>
                </a:cubicBezTo>
                <a:cubicBezTo>
                  <a:pt x="456" y="673"/>
                  <a:pt x="457" y="672"/>
                  <a:pt x="458" y="670"/>
                </a:cubicBezTo>
                <a:cubicBezTo>
                  <a:pt x="458" y="668"/>
                  <a:pt x="458" y="666"/>
                  <a:pt x="458" y="664"/>
                </a:cubicBezTo>
                <a:cubicBezTo>
                  <a:pt x="459" y="663"/>
                  <a:pt x="459" y="662"/>
                  <a:pt x="459" y="661"/>
                </a:cubicBezTo>
                <a:cubicBezTo>
                  <a:pt x="459" y="660"/>
                  <a:pt x="459" y="660"/>
                  <a:pt x="459" y="659"/>
                </a:cubicBezTo>
                <a:cubicBezTo>
                  <a:pt x="459" y="659"/>
                  <a:pt x="459" y="659"/>
                  <a:pt x="460" y="659"/>
                </a:cubicBezTo>
                <a:cubicBezTo>
                  <a:pt x="460" y="658"/>
                  <a:pt x="460" y="658"/>
                  <a:pt x="461" y="658"/>
                </a:cubicBezTo>
                <a:cubicBezTo>
                  <a:pt x="461" y="657"/>
                  <a:pt x="461" y="657"/>
                  <a:pt x="461" y="657"/>
                </a:cubicBezTo>
                <a:cubicBezTo>
                  <a:pt x="461" y="657"/>
                  <a:pt x="461" y="657"/>
                  <a:pt x="461" y="657"/>
                </a:cubicBezTo>
                <a:cubicBezTo>
                  <a:pt x="460" y="656"/>
                  <a:pt x="460" y="655"/>
                  <a:pt x="460" y="655"/>
                </a:cubicBezTo>
                <a:cubicBezTo>
                  <a:pt x="459" y="654"/>
                  <a:pt x="459" y="653"/>
                  <a:pt x="459" y="652"/>
                </a:cubicBezTo>
                <a:cubicBezTo>
                  <a:pt x="459" y="652"/>
                  <a:pt x="459" y="651"/>
                  <a:pt x="459" y="651"/>
                </a:cubicBezTo>
                <a:cubicBezTo>
                  <a:pt x="459" y="648"/>
                  <a:pt x="460" y="645"/>
                  <a:pt x="460" y="643"/>
                </a:cubicBezTo>
                <a:cubicBezTo>
                  <a:pt x="461" y="641"/>
                  <a:pt x="462" y="640"/>
                  <a:pt x="464" y="639"/>
                </a:cubicBezTo>
                <a:cubicBezTo>
                  <a:pt x="464" y="638"/>
                  <a:pt x="464" y="638"/>
                  <a:pt x="464" y="638"/>
                </a:cubicBezTo>
                <a:cubicBezTo>
                  <a:pt x="464" y="637"/>
                  <a:pt x="463" y="636"/>
                  <a:pt x="463" y="636"/>
                </a:cubicBezTo>
                <a:cubicBezTo>
                  <a:pt x="463" y="635"/>
                  <a:pt x="463" y="634"/>
                  <a:pt x="464" y="634"/>
                </a:cubicBezTo>
                <a:cubicBezTo>
                  <a:pt x="465" y="632"/>
                  <a:pt x="464" y="630"/>
                  <a:pt x="464" y="628"/>
                </a:cubicBezTo>
                <a:cubicBezTo>
                  <a:pt x="464" y="627"/>
                  <a:pt x="463" y="626"/>
                  <a:pt x="463" y="625"/>
                </a:cubicBezTo>
                <a:cubicBezTo>
                  <a:pt x="463" y="623"/>
                  <a:pt x="464" y="622"/>
                  <a:pt x="464" y="620"/>
                </a:cubicBezTo>
                <a:cubicBezTo>
                  <a:pt x="464" y="619"/>
                  <a:pt x="465" y="619"/>
                  <a:pt x="465" y="618"/>
                </a:cubicBezTo>
                <a:cubicBezTo>
                  <a:pt x="466" y="617"/>
                  <a:pt x="466" y="615"/>
                  <a:pt x="467" y="613"/>
                </a:cubicBezTo>
                <a:cubicBezTo>
                  <a:pt x="467" y="611"/>
                  <a:pt x="467" y="610"/>
                  <a:pt x="468" y="608"/>
                </a:cubicBezTo>
                <a:cubicBezTo>
                  <a:pt x="468" y="607"/>
                  <a:pt x="470" y="606"/>
                  <a:pt x="471" y="605"/>
                </a:cubicBezTo>
                <a:cubicBezTo>
                  <a:pt x="471" y="605"/>
                  <a:pt x="471" y="604"/>
                  <a:pt x="471" y="604"/>
                </a:cubicBezTo>
                <a:cubicBezTo>
                  <a:pt x="471" y="604"/>
                  <a:pt x="471" y="604"/>
                  <a:pt x="471" y="603"/>
                </a:cubicBezTo>
                <a:cubicBezTo>
                  <a:pt x="471" y="603"/>
                  <a:pt x="471" y="603"/>
                  <a:pt x="471" y="603"/>
                </a:cubicBezTo>
                <a:cubicBezTo>
                  <a:pt x="470" y="603"/>
                  <a:pt x="470" y="603"/>
                  <a:pt x="470" y="603"/>
                </a:cubicBezTo>
                <a:cubicBezTo>
                  <a:pt x="471" y="602"/>
                  <a:pt x="471" y="603"/>
                  <a:pt x="471" y="602"/>
                </a:cubicBezTo>
                <a:cubicBezTo>
                  <a:pt x="471" y="602"/>
                  <a:pt x="471" y="602"/>
                  <a:pt x="470" y="601"/>
                </a:cubicBezTo>
                <a:cubicBezTo>
                  <a:pt x="470" y="601"/>
                  <a:pt x="470" y="601"/>
                  <a:pt x="470" y="601"/>
                </a:cubicBezTo>
                <a:cubicBezTo>
                  <a:pt x="470" y="600"/>
                  <a:pt x="471" y="600"/>
                  <a:pt x="471" y="600"/>
                </a:cubicBezTo>
                <a:cubicBezTo>
                  <a:pt x="472" y="600"/>
                  <a:pt x="471" y="599"/>
                  <a:pt x="471" y="598"/>
                </a:cubicBezTo>
                <a:cubicBezTo>
                  <a:pt x="469" y="596"/>
                  <a:pt x="470" y="590"/>
                  <a:pt x="471" y="587"/>
                </a:cubicBezTo>
                <a:cubicBezTo>
                  <a:pt x="471" y="586"/>
                  <a:pt x="471" y="583"/>
                  <a:pt x="471" y="582"/>
                </a:cubicBezTo>
                <a:cubicBezTo>
                  <a:pt x="472" y="582"/>
                  <a:pt x="472" y="582"/>
                  <a:pt x="472" y="581"/>
                </a:cubicBezTo>
                <a:cubicBezTo>
                  <a:pt x="472" y="581"/>
                  <a:pt x="473" y="580"/>
                  <a:pt x="473" y="580"/>
                </a:cubicBezTo>
                <a:cubicBezTo>
                  <a:pt x="474" y="580"/>
                  <a:pt x="474" y="580"/>
                  <a:pt x="474" y="579"/>
                </a:cubicBezTo>
                <a:cubicBezTo>
                  <a:pt x="475" y="579"/>
                  <a:pt x="475" y="577"/>
                  <a:pt x="476" y="576"/>
                </a:cubicBezTo>
                <a:cubicBezTo>
                  <a:pt x="476" y="575"/>
                  <a:pt x="477" y="573"/>
                  <a:pt x="477" y="572"/>
                </a:cubicBezTo>
                <a:cubicBezTo>
                  <a:pt x="476" y="571"/>
                  <a:pt x="477" y="569"/>
                  <a:pt x="477" y="568"/>
                </a:cubicBezTo>
                <a:cubicBezTo>
                  <a:pt x="478" y="567"/>
                  <a:pt x="478" y="565"/>
                  <a:pt x="478" y="564"/>
                </a:cubicBezTo>
                <a:cubicBezTo>
                  <a:pt x="478" y="563"/>
                  <a:pt x="478" y="562"/>
                  <a:pt x="478" y="561"/>
                </a:cubicBezTo>
                <a:cubicBezTo>
                  <a:pt x="478" y="560"/>
                  <a:pt x="477" y="560"/>
                  <a:pt x="477" y="559"/>
                </a:cubicBezTo>
                <a:cubicBezTo>
                  <a:pt x="477" y="558"/>
                  <a:pt x="478" y="558"/>
                  <a:pt x="478" y="558"/>
                </a:cubicBezTo>
                <a:cubicBezTo>
                  <a:pt x="478" y="558"/>
                  <a:pt x="479" y="558"/>
                  <a:pt x="479" y="558"/>
                </a:cubicBezTo>
                <a:cubicBezTo>
                  <a:pt x="480" y="558"/>
                  <a:pt x="480" y="555"/>
                  <a:pt x="480" y="555"/>
                </a:cubicBezTo>
                <a:cubicBezTo>
                  <a:pt x="480" y="554"/>
                  <a:pt x="481" y="551"/>
                  <a:pt x="480" y="550"/>
                </a:cubicBezTo>
                <a:cubicBezTo>
                  <a:pt x="479" y="550"/>
                  <a:pt x="479" y="550"/>
                  <a:pt x="479" y="550"/>
                </a:cubicBezTo>
                <a:cubicBezTo>
                  <a:pt x="478" y="550"/>
                  <a:pt x="479" y="548"/>
                  <a:pt x="479" y="548"/>
                </a:cubicBezTo>
                <a:cubicBezTo>
                  <a:pt x="479" y="546"/>
                  <a:pt x="479" y="545"/>
                  <a:pt x="480" y="544"/>
                </a:cubicBezTo>
                <a:cubicBezTo>
                  <a:pt x="481" y="541"/>
                  <a:pt x="483" y="533"/>
                  <a:pt x="484" y="526"/>
                </a:cubicBezTo>
                <a:cubicBezTo>
                  <a:pt x="484" y="524"/>
                  <a:pt x="485" y="522"/>
                  <a:pt x="485" y="520"/>
                </a:cubicBezTo>
                <a:cubicBezTo>
                  <a:pt x="485" y="518"/>
                  <a:pt x="485" y="515"/>
                  <a:pt x="486" y="514"/>
                </a:cubicBezTo>
                <a:cubicBezTo>
                  <a:pt x="486" y="514"/>
                  <a:pt x="487" y="513"/>
                  <a:pt x="487" y="513"/>
                </a:cubicBezTo>
                <a:cubicBezTo>
                  <a:pt x="487" y="513"/>
                  <a:pt x="487" y="512"/>
                  <a:pt x="487" y="511"/>
                </a:cubicBezTo>
                <a:cubicBezTo>
                  <a:pt x="487" y="510"/>
                  <a:pt x="487" y="509"/>
                  <a:pt x="487" y="509"/>
                </a:cubicBezTo>
                <a:cubicBezTo>
                  <a:pt x="486" y="509"/>
                  <a:pt x="486" y="508"/>
                  <a:pt x="486" y="508"/>
                </a:cubicBezTo>
                <a:cubicBezTo>
                  <a:pt x="486" y="508"/>
                  <a:pt x="487" y="507"/>
                  <a:pt x="487" y="507"/>
                </a:cubicBezTo>
                <a:cubicBezTo>
                  <a:pt x="488" y="504"/>
                  <a:pt x="490" y="500"/>
                  <a:pt x="490" y="497"/>
                </a:cubicBezTo>
                <a:cubicBezTo>
                  <a:pt x="490" y="497"/>
                  <a:pt x="490" y="497"/>
                  <a:pt x="489" y="497"/>
                </a:cubicBezTo>
                <a:cubicBezTo>
                  <a:pt x="487" y="496"/>
                  <a:pt x="489" y="493"/>
                  <a:pt x="489" y="492"/>
                </a:cubicBezTo>
                <a:cubicBezTo>
                  <a:pt x="490" y="489"/>
                  <a:pt x="491" y="485"/>
                  <a:pt x="491" y="483"/>
                </a:cubicBezTo>
                <a:cubicBezTo>
                  <a:pt x="491" y="482"/>
                  <a:pt x="492" y="477"/>
                  <a:pt x="492" y="473"/>
                </a:cubicBezTo>
                <a:cubicBezTo>
                  <a:pt x="493" y="470"/>
                  <a:pt x="495" y="460"/>
                  <a:pt x="496" y="452"/>
                </a:cubicBezTo>
                <a:cubicBezTo>
                  <a:pt x="497" y="450"/>
                  <a:pt x="497" y="447"/>
                  <a:pt x="497" y="445"/>
                </a:cubicBezTo>
                <a:cubicBezTo>
                  <a:pt x="498" y="444"/>
                  <a:pt x="498" y="439"/>
                  <a:pt x="499" y="439"/>
                </a:cubicBezTo>
                <a:cubicBezTo>
                  <a:pt x="499" y="439"/>
                  <a:pt x="499" y="439"/>
                  <a:pt x="499" y="439"/>
                </a:cubicBezTo>
                <a:cubicBezTo>
                  <a:pt x="500" y="439"/>
                  <a:pt x="501" y="439"/>
                  <a:pt x="501" y="439"/>
                </a:cubicBezTo>
                <a:cubicBezTo>
                  <a:pt x="501" y="438"/>
                  <a:pt x="501" y="437"/>
                  <a:pt x="501" y="437"/>
                </a:cubicBezTo>
                <a:cubicBezTo>
                  <a:pt x="501" y="436"/>
                  <a:pt x="501" y="435"/>
                  <a:pt x="501" y="434"/>
                </a:cubicBezTo>
                <a:cubicBezTo>
                  <a:pt x="501" y="433"/>
                  <a:pt x="501" y="431"/>
                  <a:pt x="502" y="430"/>
                </a:cubicBezTo>
                <a:cubicBezTo>
                  <a:pt x="502" y="429"/>
                  <a:pt x="503" y="429"/>
                  <a:pt x="503" y="428"/>
                </a:cubicBezTo>
                <a:cubicBezTo>
                  <a:pt x="503" y="427"/>
                  <a:pt x="502" y="426"/>
                  <a:pt x="502" y="426"/>
                </a:cubicBezTo>
                <a:cubicBezTo>
                  <a:pt x="501" y="425"/>
                  <a:pt x="501" y="424"/>
                  <a:pt x="501" y="423"/>
                </a:cubicBezTo>
                <a:cubicBezTo>
                  <a:pt x="502" y="422"/>
                  <a:pt x="502" y="419"/>
                  <a:pt x="502" y="417"/>
                </a:cubicBezTo>
                <a:cubicBezTo>
                  <a:pt x="502" y="416"/>
                  <a:pt x="502" y="413"/>
                  <a:pt x="503" y="413"/>
                </a:cubicBezTo>
                <a:cubicBezTo>
                  <a:pt x="504" y="411"/>
                  <a:pt x="504" y="410"/>
                  <a:pt x="504" y="409"/>
                </a:cubicBezTo>
                <a:cubicBezTo>
                  <a:pt x="504" y="408"/>
                  <a:pt x="504" y="406"/>
                  <a:pt x="505" y="405"/>
                </a:cubicBezTo>
                <a:cubicBezTo>
                  <a:pt x="505" y="404"/>
                  <a:pt x="506" y="404"/>
                  <a:pt x="506" y="403"/>
                </a:cubicBezTo>
                <a:cubicBezTo>
                  <a:pt x="507" y="402"/>
                  <a:pt x="506" y="400"/>
                  <a:pt x="506" y="398"/>
                </a:cubicBezTo>
                <a:cubicBezTo>
                  <a:pt x="507" y="396"/>
                  <a:pt x="506" y="394"/>
                  <a:pt x="506" y="392"/>
                </a:cubicBezTo>
                <a:cubicBezTo>
                  <a:pt x="506" y="391"/>
                  <a:pt x="506" y="390"/>
                  <a:pt x="506" y="388"/>
                </a:cubicBezTo>
                <a:cubicBezTo>
                  <a:pt x="507" y="387"/>
                  <a:pt x="507" y="385"/>
                  <a:pt x="508" y="384"/>
                </a:cubicBezTo>
                <a:cubicBezTo>
                  <a:pt x="509" y="382"/>
                  <a:pt x="509" y="382"/>
                  <a:pt x="509" y="380"/>
                </a:cubicBezTo>
                <a:cubicBezTo>
                  <a:pt x="509" y="380"/>
                  <a:pt x="509" y="379"/>
                  <a:pt x="509" y="379"/>
                </a:cubicBezTo>
                <a:cubicBezTo>
                  <a:pt x="508" y="379"/>
                  <a:pt x="508" y="378"/>
                  <a:pt x="509" y="377"/>
                </a:cubicBezTo>
                <a:cubicBezTo>
                  <a:pt x="509" y="376"/>
                  <a:pt x="509" y="374"/>
                  <a:pt x="510" y="375"/>
                </a:cubicBezTo>
                <a:cubicBezTo>
                  <a:pt x="511" y="375"/>
                  <a:pt x="511" y="375"/>
                  <a:pt x="511" y="375"/>
                </a:cubicBezTo>
                <a:cubicBezTo>
                  <a:pt x="511" y="374"/>
                  <a:pt x="512" y="374"/>
                  <a:pt x="512" y="374"/>
                </a:cubicBezTo>
                <a:cubicBezTo>
                  <a:pt x="513" y="374"/>
                  <a:pt x="513" y="374"/>
                  <a:pt x="513" y="374"/>
                </a:cubicBezTo>
                <a:cubicBezTo>
                  <a:pt x="513" y="373"/>
                  <a:pt x="513" y="373"/>
                  <a:pt x="513" y="373"/>
                </a:cubicBezTo>
                <a:cubicBezTo>
                  <a:pt x="513" y="372"/>
                  <a:pt x="513" y="372"/>
                  <a:pt x="514" y="371"/>
                </a:cubicBezTo>
                <a:cubicBezTo>
                  <a:pt x="514" y="371"/>
                  <a:pt x="515" y="371"/>
                  <a:pt x="515" y="370"/>
                </a:cubicBezTo>
                <a:cubicBezTo>
                  <a:pt x="514" y="369"/>
                  <a:pt x="513" y="369"/>
                  <a:pt x="513" y="369"/>
                </a:cubicBezTo>
                <a:cubicBezTo>
                  <a:pt x="512" y="369"/>
                  <a:pt x="512" y="369"/>
                  <a:pt x="512" y="369"/>
                </a:cubicBezTo>
                <a:cubicBezTo>
                  <a:pt x="511" y="369"/>
                  <a:pt x="511" y="368"/>
                  <a:pt x="512" y="368"/>
                </a:cubicBezTo>
                <a:cubicBezTo>
                  <a:pt x="512" y="368"/>
                  <a:pt x="512" y="367"/>
                  <a:pt x="512" y="367"/>
                </a:cubicBezTo>
                <a:cubicBezTo>
                  <a:pt x="512" y="367"/>
                  <a:pt x="513" y="367"/>
                  <a:pt x="513" y="367"/>
                </a:cubicBezTo>
                <a:cubicBezTo>
                  <a:pt x="513" y="366"/>
                  <a:pt x="514" y="364"/>
                  <a:pt x="514" y="363"/>
                </a:cubicBezTo>
                <a:cubicBezTo>
                  <a:pt x="514" y="362"/>
                  <a:pt x="515" y="360"/>
                  <a:pt x="515" y="359"/>
                </a:cubicBezTo>
                <a:cubicBezTo>
                  <a:pt x="515" y="358"/>
                  <a:pt x="516" y="357"/>
                  <a:pt x="516" y="356"/>
                </a:cubicBezTo>
                <a:cubicBezTo>
                  <a:pt x="516" y="355"/>
                  <a:pt x="516" y="354"/>
                  <a:pt x="516" y="353"/>
                </a:cubicBezTo>
                <a:cubicBezTo>
                  <a:pt x="516" y="352"/>
                  <a:pt x="517" y="351"/>
                  <a:pt x="516" y="350"/>
                </a:cubicBezTo>
                <a:cubicBezTo>
                  <a:pt x="516" y="350"/>
                  <a:pt x="516" y="350"/>
                  <a:pt x="516" y="349"/>
                </a:cubicBezTo>
                <a:cubicBezTo>
                  <a:pt x="516" y="349"/>
                  <a:pt x="516" y="348"/>
                  <a:pt x="516" y="347"/>
                </a:cubicBezTo>
                <a:cubicBezTo>
                  <a:pt x="516" y="346"/>
                  <a:pt x="515" y="345"/>
                  <a:pt x="516" y="343"/>
                </a:cubicBezTo>
                <a:cubicBezTo>
                  <a:pt x="516" y="343"/>
                  <a:pt x="516" y="343"/>
                  <a:pt x="516" y="342"/>
                </a:cubicBezTo>
                <a:cubicBezTo>
                  <a:pt x="516" y="342"/>
                  <a:pt x="516" y="342"/>
                  <a:pt x="517" y="342"/>
                </a:cubicBezTo>
                <a:cubicBezTo>
                  <a:pt x="517" y="342"/>
                  <a:pt x="517" y="342"/>
                  <a:pt x="518" y="342"/>
                </a:cubicBezTo>
                <a:cubicBezTo>
                  <a:pt x="518" y="343"/>
                  <a:pt x="519" y="342"/>
                  <a:pt x="519" y="342"/>
                </a:cubicBezTo>
                <a:cubicBezTo>
                  <a:pt x="519" y="342"/>
                  <a:pt x="519" y="341"/>
                  <a:pt x="519" y="340"/>
                </a:cubicBezTo>
                <a:cubicBezTo>
                  <a:pt x="521" y="340"/>
                  <a:pt x="519" y="338"/>
                  <a:pt x="519" y="337"/>
                </a:cubicBezTo>
                <a:cubicBezTo>
                  <a:pt x="519" y="336"/>
                  <a:pt x="520" y="334"/>
                  <a:pt x="520" y="333"/>
                </a:cubicBezTo>
                <a:cubicBezTo>
                  <a:pt x="520" y="333"/>
                  <a:pt x="519" y="332"/>
                  <a:pt x="519" y="332"/>
                </a:cubicBezTo>
                <a:cubicBezTo>
                  <a:pt x="519" y="331"/>
                  <a:pt x="519" y="331"/>
                  <a:pt x="519" y="331"/>
                </a:cubicBezTo>
                <a:cubicBezTo>
                  <a:pt x="518" y="330"/>
                  <a:pt x="518" y="330"/>
                  <a:pt x="519" y="329"/>
                </a:cubicBezTo>
                <a:cubicBezTo>
                  <a:pt x="521" y="329"/>
                  <a:pt x="520" y="326"/>
                  <a:pt x="520" y="324"/>
                </a:cubicBezTo>
                <a:cubicBezTo>
                  <a:pt x="520" y="322"/>
                  <a:pt x="520" y="320"/>
                  <a:pt x="520" y="319"/>
                </a:cubicBezTo>
                <a:cubicBezTo>
                  <a:pt x="521" y="319"/>
                  <a:pt x="522" y="316"/>
                  <a:pt x="522" y="312"/>
                </a:cubicBezTo>
                <a:cubicBezTo>
                  <a:pt x="523" y="311"/>
                  <a:pt x="523" y="310"/>
                  <a:pt x="523" y="308"/>
                </a:cubicBezTo>
                <a:cubicBezTo>
                  <a:pt x="523" y="307"/>
                  <a:pt x="524" y="306"/>
                  <a:pt x="523" y="305"/>
                </a:cubicBezTo>
                <a:cubicBezTo>
                  <a:pt x="523" y="305"/>
                  <a:pt x="523" y="304"/>
                  <a:pt x="523" y="304"/>
                </a:cubicBezTo>
                <a:cubicBezTo>
                  <a:pt x="522" y="304"/>
                  <a:pt x="522" y="303"/>
                  <a:pt x="522" y="303"/>
                </a:cubicBezTo>
                <a:cubicBezTo>
                  <a:pt x="522" y="302"/>
                  <a:pt x="522" y="302"/>
                  <a:pt x="522" y="301"/>
                </a:cubicBezTo>
                <a:cubicBezTo>
                  <a:pt x="523" y="300"/>
                  <a:pt x="524" y="299"/>
                  <a:pt x="524" y="298"/>
                </a:cubicBezTo>
                <a:cubicBezTo>
                  <a:pt x="526" y="298"/>
                  <a:pt x="526" y="291"/>
                  <a:pt x="525" y="289"/>
                </a:cubicBezTo>
                <a:cubicBezTo>
                  <a:pt x="524" y="288"/>
                  <a:pt x="524" y="285"/>
                  <a:pt x="525" y="285"/>
                </a:cubicBezTo>
                <a:cubicBezTo>
                  <a:pt x="525" y="284"/>
                  <a:pt x="525" y="284"/>
                  <a:pt x="526" y="284"/>
                </a:cubicBezTo>
                <a:cubicBezTo>
                  <a:pt x="526" y="284"/>
                  <a:pt x="526" y="284"/>
                  <a:pt x="526" y="283"/>
                </a:cubicBezTo>
                <a:cubicBezTo>
                  <a:pt x="527" y="282"/>
                  <a:pt x="527" y="280"/>
                  <a:pt x="528" y="279"/>
                </a:cubicBezTo>
                <a:cubicBezTo>
                  <a:pt x="528" y="277"/>
                  <a:pt x="529" y="274"/>
                  <a:pt x="529" y="273"/>
                </a:cubicBezTo>
                <a:cubicBezTo>
                  <a:pt x="530" y="272"/>
                  <a:pt x="531" y="268"/>
                  <a:pt x="531" y="265"/>
                </a:cubicBezTo>
                <a:cubicBezTo>
                  <a:pt x="532" y="262"/>
                  <a:pt x="533" y="258"/>
                  <a:pt x="530" y="256"/>
                </a:cubicBezTo>
                <a:cubicBezTo>
                  <a:pt x="530" y="256"/>
                  <a:pt x="530" y="256"/>
                  <a:pt x="530" y="256"/>
                </a:cubicBezTo>
                <a:cubicBezTo>
                  <a:pt x="530" y="256"/>
                  <a:pt x="530" y="255"/>
                  <a:pt x="530" y="255"/>
                </a:cubicBezTo>
                <a:cubicBezTo>
                  <a:pt x="530" y="254"/>
                  <a:pt x="530" y="253"/>
                  <a:pt x="530" y="252"/>
                </a:cubicBezTo>
                <a:cubicBezTo>
                  <a:pt x="530" y="251"/>
                  <a:pt x="531" y="250"/>
                  <a:pt x="531" y="248"/>
                </a:cubicBezTo>
                <a:cubicBezTo>
                  <a:pt x="532" y="247"/>
                  <a:pt x="532" y="245"/>
                  <a:pt x="532" y="243"/>
                </a:cubicBezTo>
                <a:cubicBezTo>
                  <a:pt x="533" y="242"/>
                  <a:pt x="533" y="240"/>
                  <a:pt x="533" y="239"/>
                </a:cubicBezTo>
                <a:cubicBezTo>
                  <a:pt x="533" y="239"/>
                  <a:pt x="533" y="239"/>
                  <a:pt x="534" y="239"/>
                </a:cubicBezTo>
                <a:cubicBezTo>
                  <a:pt x="535" y="238"/>
                  <a:pt x="535" y="237"/>
                  <a:pt x="535" y="235"/>
                </a:cubicBezTo>
                <a:cubicBezTo>
                  <a:pt x="535" y="234"/>
                  <a:pt x="536" y="231"/>
                  <a:pt x="536" y="229"/>
                </a:cubicBezTo>
                <a:cubicBezTo>
                  <a:pt x="537" y="228"/>
                  <a:pt x="537" y="227"/>
                  <a:pt x="536" y="226"/>
                </a:cubicBezTo>
                <a:cubicBezTo>
                  <a:pt x="536" y="225"/>
                  <a:pt x="535" y="224"/>
                  <a:pt x="535" y="223"/>
                </a:cubicBezTo>
                <a:cubicBezTo>
                  <a:pt x="536" y="221"/>
                  <a:pt x="536" y="220"/>
                  <a:pt x="536" y="218"/>
                </a:cubicBezTo>
                <a:cubicBezTo>
                  <a:pt x="536" y="216"/>
                  <a:pt x="536" y="214"/>
                  <a:pt x="537" y="213"/>
                </a:cubicBezTo>
                <a:cubicBezTo>
                  <a:pt x="537" y="213"/>
                  <a:pt x="538" y="213"/>
                  <a:pt x="538" y="213"/>
                </a:cubicBezTo>
                <a:cubicBezTo>
                  <a:pt x="538" y="213"/>
                  <a:pt x="539" y="213"/>
                  <a:pt x="539" y="212"/>
                </a:cubicBezTo>
                <a:cubicBezTo>
                  <a:pt x="539" y="212"/>
                  <a:pt x="539" y="212"/>
                  <a:pt x="539" y="212"/>
                </a:cubicBezTo>
                <a:cubicBezTo>
                  <a:pt x="538" y="211"/>
                  <a:pt x="536" y="208"/>
                  <a:pt x="538" y="208"/>
                </a:cubicBezTo>
                <a:cubicBezTo>
                  <a:pt x="538" y="207"/>
                  <a:pt x="539" y="207"/>
                  <a:pt x="539" y="208"/>
                </a:cubicBezTo>
                <a:cubicBezTo>
                  <a:pt x="540" y="208"/>
                  <a:pt x="540" y="208"/>
                  <a:pt x="540" y="208"/>
                </a:cubicBezTo>
                <a:cubicBezTo>
                  <a:pt x="541" y="208"/>
                  <a:pt x="541" y="208"/>
                  <a:pt x="541" y="207"/>
                </a:cubicBezTo>
                <a:cubicBezTo>
                  <a:pt x="542" y="207"/>
                  <a:pt x="542" y="206"/>
                  <a:pt x="542" y="206"/>
                </a:cubicBezTo>
                <a:cubicBezTo>
                  <a:pt x="541" y="205"/>
                  <a:pt x="541" y="205"/>
                  <a:pt x="540" y="204"/>
                </a:cubicBezTo>
                <a:cubicBezTo>
                  <a:pt x="540" y="203"/>
                  <a:pt x="541" y="203"/>
                  <a:pt x="541" y="204"/>
                </a:cubicBezTo>
                <a:cubicBezTo>
                  <a:pt x="541" y="204"/>
                  <a:pt x="541" y="204"/>
                  <a:pt x="541" y="204"/>
                </a:cubicBezTo>
                <a:cubicBezTo>
                  <a:pt x="543" y="204"/>
                  <a:pt x="543" y="200"/>
                  <a:pt x="543" y="199"/>
                </a:cubicBezTo>
                <a:cubicBezTo>
                  <a:pt x="543" y="197"/>
                  <a:pt x="544" y="194"/>
                  <a:pt x="544" y="191"/>
                </a:cubicBezTo>
                <a:cubicBezTo>
                  <a:pt x="544" y="189"/>
                  <a:pt x="545" y="187"/>
                  <a:pt x="545" y="184"/>
                </a:cubicBezTo>
                <a:cubicBezTo>
                  <a:pt x="545" y="183"/>
                  <a:pt x="547" y="181"/>
                  <a:pt x="546" y="179"/>
                </a:cubicBezTo>
                <a:cubicBezTo>
                  <a:pt x="546" y="179"/>
                  <a:pt x="545" y="179"/>
                  <a:pt x="545" y="178"/>
                </a:cubicBezTo>
                <a:cubicBezTo>
                  <a:pt x="544" y="178"/>
                  <a:pt x="544" y="177"/>
                  <a:pt x="544" y="177"/>
                </a:cubicBezTo>
                <a:cubicBezTo>
                  <a:pt x="544" y="176"/>
                  <a:pt x="544" y="175"/>
                  <a:pt x="543" y="174"/>
                </a:cubicBezTo>
                <a:cubicBezTo>
                  <a:pt x="543" y="173"/>
                  <a:pt x="543" y="173"/>
                  <a:pt x="543" y="172"/>
                </a:cubicBezTo>
                <a:cubicBezTo>
                  <a:pt x="542" y="171"/>
                  <a:pt x="543" y="170"/>
                  <a:pt x="543" y="169"/>
                </a:cubicBezTo>
                <a:cubicBezTo>
                  <a:pt x="543" y="168"/>
                  <a:pt x="543" y="165"/>
                  <a:pt x="544" y="164"/>
                </a:cubicBezTo>
                <a:cubicBezTo>
                  <a:pt x="544" y="164"/>
                  <a:pt x="545" y="165"/>
                  <a:pt x="545" y="165"/>
                </a:cubicBezTo>
                <a:cubicBezTo>
                  <a:pt x="546" y="165"/>
                  <a:pt x="546" y="164"/>
                  <a:pt x="546" y="164"/>
                </a:cubicBezTo>
                <a:cubicBezTo>
                  <a:pt x="546" y="163"/>
                  <a:pt x="545" y="163"/>
                  <a:pt x="545" y="163"/>
                </a:cubicBezTo>
                <a:cubicBezTo>
                  <a:pt x="545" y="163"/>
                  <a:pt x="544" y="162"/>
                  <a:pt x="544" y="162"/>
                </a:cubicBezTo>
                <a:cubicBezTo>
                  <a:pt x="544" y="160"/>
                  <a:pt x="545" y="158"/>
                  <a:pt x="545" y="157"/>
                </a:cubicBezTo>
                <a:cubicBezTo>
                  <a:pt x="545" y="156"/>
                  <a:pt x="545" y="156"/>
                  <a:pt x="545" y="156"/>
                </a:cubicBezTo>
                <a:cubicBezTo>
                  <a:pt x="545" y="156"/>
                  <a:pt x="546" y="156"/>
                  <a:pt x="546" y="156"/>
                </a:cubicBezTo>
                <a:cubicBezTo>
                  <a:pt x="547" y="157"/>
                  <a:pt x="550" y="155"/>
                  <a:pt x="549" y="153"/>
                </a:cubicBezTo>
                <a:cubicBezTo>
                  <a:pt x="548" y="153"/>
                  <a:pt x="548" y="153"/>
                  <a:pt x="547" y="153"/>
                </a:cubicBezTo>
                <a:cubicBezTo>
                  <a:pt x="547" y="153"/>
                  <a:pt x="547" y="153"/>
                  <a:pt x="546" y="153"/>
                </a:cubicBezTo>
                <a:cubicBezTo>
                  <a:pt x="546" y="153"/>
                  <a:pt x="546" y="153"/>
                  <a:pt x="545" y="152"/>
                </a:cubicBezTo>
                <a:cubicBezTo>
                  <a:pt x="545" y="152"/>
                  <a:pt x="546" y="150"/>
                  <a:pt x="546" y="150"/>
                </a:cubicBezTo>
                <a:cubicBezTo>
                  <a:pt x="547" y="149"/>
                  <a:pt x="547" y="150"/>
                  <a:pt x="548" y="149"/>
                </a:cubicBezTo>
                <a:cubicBezTo>
                  <a:pt x="548" y="149"/>
                  <a:pt x="548" y="147"/>
                  <a:pt x="548" y="147"/>
                </a:cubicBezTo>
                <a:cubicBezTo>
                  <a:pt x="548" y="146"/>
                  <a:pt x="549" y="144"/>
                  <a:pt x="549" y="143"/>
                </a:cubicBezTo>
                <a:cubicBezTo>
                  <a:pt x="548" y="142"/>
                  <a:pt x="548" y="142"/>
                  <a:pt x="547" y="140"/>
                </a:cubicBezTo>
                <a:cubicBezTo>
                  <a:pt x="547" y="138"/>
                  <a:pt x="548" y="135"/>
                  <a:pt x="548" y="132"/>
                </a:cubicBezTo>
                <a:cubicBezTo>
                  <a:pt x="548" y="131"/>
                  <a:pt x="549" y="122"/>
                  <a:pt x="550" y="122"/>
                </a:cubicBezTo>
                <a:cubicBezTo>
                  <a:pt x="550" y="122"/>
                  <a:pt x="551" y="122"/>
                  <a:pt x="551" y="122"/>
                </a:cubicBezTo>
                <a:cubicBezTo>
                  <a:pt x="551" y="122"/>
                  <a:pt x="551" y="122"/>
                  <a:pt x="551" y="122"/>
                </a:cubicBezTo>
                <a:cubicBezTo>
                  <a:pt x="551" y="121"/>
                  <a:pt x="551" y="118"/>
                  <a:pt x="553" y="119"/>
                </a:cubicBezTo>
                <a:cubicBezTo>
                  <a:pt x="553" y="120"/>
                  <a:pt x="553" y="120"/>
                  <a:pt x="554" y="120"/>
                </a:cubicBezTo>
                <a:cubicBezTo>
                  <a:pt x="554" y="120"/>
                  <a:pt x="554" y="119"/>
                  <a:pt x="554" y="119"/>
                </a:cubicBezTo>
                <a:cubicBezTo>
                  <a:pt x="554" y="119"/>
                  <a:pt x="553" y="118"/>
                  <a:pt x="553" y="118"/>
                </a:cubicBezTo>
                <a:cubicBezTo>
                  <a:pt x="553" y="117"/>
                  <a:pt x="554" y="116"/>
                  <a:pt x="554" y="116"/>
                </a:cubicBezTo>
                <a:cubicBezTo>
                  <a:pt x="554" y="115"/>
                  <a:pt x="554" y="114"/>
                  <a:pt x="554" y="114"/>
                </a:cubicBezTo>
                <a:cubicBezTo>
                  <a:pt x="554" y="112"/>
                  <a:pt x="554" y="110"/>
                  <a:pt x="555" y="108"/>
                </a:cubicBezTo>
                <a:cubicBezTo>
                  <a:pt x="555" y="107"/>
                  <a:pt x="555" y="106"/>
                  <a:pt x="555" y="105"/>
                </a:cubicBezTo>
                <a:cubicBezTo>
                  <a:pt x="555" y="104"/>
                  <a:pt x="556" y="104"/>
                  <a:pt x="555" y="103"/>
                </a:cubicBezTo>
                <a:cubicBezTo>
                  <a:pt x="555" y="102"/>
                  <a:pt x="555" y="102"/>
                  <a:pt x="555" y="101"/>
                </a:cubicBezTo>
                <a:cubicBezTo>
                  <a:pt x="555" y="101"/>
                  <a:pt x="554" y="100"/>
                  <a:pt x="554" y="100"/>
                </a:cubicBezTo>
                <a:cubicBezTo>
                  <a:pt x="554" y="99"/>
                  <a:pt x="554" y="98"/>
                  <a:pt x="553" y="98"/>
                </a:cubicBezTo>
                <a:cubicBezTo>
                  <a:pt x="553" y="98"/>
                  <a:pt x="553" y="98"/>
                  <a:pt x="553" y="97"/>
                </a:cubicBezTo>
                <a:cubicBezTo>
                  <a:pt x="552" y="97"/>
                  <a:pt x="552" y="97"/>
                  <a:pt x="552" y="97"/>
                </a:cubicBezTo>
                <a:cubicBezTo>
                  <a:pt x="552" y="96"/>
                  <a:pt x="553" y="95"/>
                  <a:pt x="553" y="94"/>
                </a:cubicBezTo>
                <a:cubicBezTo>
                  <a:pt x="553" y="94"/>
                  <a:pt x="553" y="93"/>
                  <a:pt x="554" y="93"/>
                </a:cubicBezTo>
                <a:cubicBezTo>
                  <a:pt x="554" y="93"/>
                  <a:pt x="555" y="93"/>
                  <a:pt x="555" y="93"/>
                </a:cubicBezTo>
                <a:cubicBezTo>
                  <a:pt x="556" y="92"/>
                  <a:pt x="555" y="90"/>
                  <a:pt x="556" y="89"/>
                </a:cubicBezTo>
                <a:cubicBezTo>
                  <a:pt x="556" y="88"/>
                  <a:pt x="558" y="87"/>
                  <a:pt x="558" y="86"/>
                </a:cubicBezTo>
                <a:cubicBezTo>
                  <a:pt x="559" y="85"/>
                  <a:pt x="559" y="83"/>
                  <a:pt x="559" y="81"/>
                </a:cubicBezTo>
                <a:cubicBezTo>
                  <a:pt x="559" y="81"/>
                  <a:pt x="559" y="80"/>
                  <a:pt x="559" y="79"/>
                </a:cubicBezTo>
                <a:cubicBezTo>
                  <a:pt x="559" y="78"/>
                  <a:pt x="559" y="78"/>
                  <a:pt x="558" y="77"/>
                </a:cubicBezTo>
                <a:cubicBezTo>
                  <a:pt x="558" y="76"/>
                  <a:pt x="559" y="74"/>
                  <a:pt x="559" y="72"/>
                </a:cubicBezTo>
                <a:cubicBezTo>
                  <a:pt x="560" y="70"/>
                  <a:pt x="560" y="68"/>
                  <a:pt x="560" y="66"/>
                </a:cubicBezTo>
                <a:cubicBezTo>
                  <a:pt x="561" y="64"/>
                  <a:pt x="561" y="63"/>
                  <a:pt x="561" y="61"/>
                </a:cubicBezTo>
                <a:cubicBezTo>
                  <a:pt x="562" y="47"/>
                  <a:pt x="570" y="35"/>
                  <a:pt x="571" y="21"/>
                </a:cubicBezTo>
                <a:cubicBezTo>
                  <a:pt x="572" y="17"/>
                  <a:pt x="571" y="13"/>
                  <a:pt x="570" y="9"/>
                </a:cubicBezTo>
                <a:cubicBezTo>
                  <a:pt x="570" y="8"/>
                  <a:pt x="570" y="5"/>
                  <a:pt x="569" y="4"/>
                </a:cubicBezTo>
                <a:cubicBezTo>
                  <a:pt x="568" y="3"/>
                  <a:pt x="566" y="3"/>
                  <a:pt x="565" y="3"/>
                </a:cubicBezTo>
                <a:cubicBezTo>
                  <a:pt x="565" y="3"/>
                  <a:pt x="565" y="4"/>
                  <a:pt x="564" y="4"/>
                </a:cubicBezTo>
                <a:cubicBezTo>
                  <a:pt x="564" y="4"/>
                  <a:pt x="563" y="3"/>
                  <a:pt x="563" y="3"/>
                </a:cubicBezTo>
                <a:cubicBezTo>
                  <a:pt x="562" y="2"/>
                  <a:pt x="561" y="4"/>
                  <a:pt x="561" y="3"/>
                </a:cubicBezTo>
                <a:cubicBezTo>
                  <a:pt x="560" y="3"/>
                  <a:pt x="560" y="2"/>
                  <a:pt x="559" y="2"/>
                </a:cubicBezTo>
                <a:cubicBezTo>
                  <a:pt x="558" y="1"/>
                  <a:pt x="556" y="2"/>
                  <a:pt x="556" y="1"/>
                </a:cubicBezTo>
                <a:cubicBezTo>
                  <a:pt x="556" y="1"/>
                  <a:pt x="555" y="1"/>
                  <a:pt x="555" y="1"/>
                </a:cubicBezTo>
                <a:cubicBezTo>
                  <a:pt x="554" y="1"/>
                  <a:pt x="553" y="1"/>
                  <a:pt x="552" y="0"/>
                </a:cubicBezTo>
                <a:cubicBezTo>
                  <a:pt x="550" y="0"/>
                  <a:pt x="549" y="0"/>
                  <a:pt x="548" y="0"/>
                </a:cubicBezTo>
                <a:cubicBezTo>
                  <a:pt x="545" y="0"/>
                  <a:pt x="543" y="0"/>
                  <a:pt x="540" y="1"/>
                </a:cubicBezTo>
                <a:cubicBezTo>
                  <a:pt x="539" y="1"/>
                  <a:pt x="538" y="1"/>
                  <a:pt x="537" y="2"/>
                </a:cubicBezTo>
                <a:cubicBezTo>
                  <a:pt x="536" y="2"/>
                  <a:pt x="536" y="2"/>
                  <a:pt x="535" y="2"/>
                </a:cubicBezTo>
                <a:cubicBezTo>
                  <a:pt x="535" y="3"/>
                  <a:pt x="534" y="3"/>
                  <a:pt x="534" y="3"/>
                </a:cubicBezTo>
                <a:cubicBezTo>
                  <a:pt x="532" y="3"/>
                  <a:pt x="530" y="2"/>
                  <a:pt x="529" y="2"/>
                </a:cubicBezTo>
                <a:cubicBezTo>
                  <a:pt x="527" y="2"/>
                  <a:pt x="525" y="3"/>
                  <a:pt x="523" y="3"/>
                </a:cubicBezTo>
                <a:cubicBezTo>
                  <a:pt x="523" y="3"/>
                  <a:pt x="523" y="4"/>
                  <a:pt x="523" y="4"/>
                </a:cubicBezTo>
                <a:cubicBezTo>
                  <a:pt x="522" y="4"/>
                  <a:pt x="522" y="4"/>
                  <a:pt x="522" y="5"/>
                </a:cubicBezTo>
                <a:cubicBezTo>
                  <a:pt x="518" y="12"/>
                  <a:pt x="518" y="21"/>
                  <a:pt x="516" y="29"/>
                </a:cubicBezTo>
                <a:cubicBezTo>
                  <a:pt x="514" y="34"/>
                  <a:pt x="513" y="39"/>
                  <a:pt x="512" y="44"/>
                </a:cubicBezTo>
                <a:cubicBezTo>
                  <a:pt x="512" y="46"/>
                  <a:pt x="511" y="49"/>
                  <a:pt x="511" y="51"/>
                </a:cubicBezTo>
                <a:cubicBezTo>
                  <a:pt x="510" y="54"/>
                  <a:pt x="511" y="56"/>
                  <a:pt x="510" y="59"/>
                </a:cubicBezTo>
                <a:cubicBezTo>
                  <a:pt x="510" y="61"/>
                  <a:pt x="510" y="62"/>
                  <a:pt x="510" y="64"/>
                </a:cubicBezTo>
                <a:cubicBezTo>
                  <a:pt x="509" y="67"/>
                  <a:pt x="508" y="70"/>
                  <a:pt x="509" y="73"/>
                </a:cubicBezTo>
                <a:cubicBezTo>
                  <a:pt x="509" y="75"/>
                  <a:pt x="510" y="76"/>
                  <a:pt x="510" y="77"/>
                </a:cubicBezTo>
                <a:cubicBezTo>
                  <a:pt x="509" y="78"/>
                  <a:pt x="509" y="80"/>
                  <a:pt x="509" y="81"/>
                </a:cubicBezTo>
                <a:cubicBezTo>
                  <a:pt x="501" y="117"/>
                  <a:pt x="486" y="206"/>
                  <a:pt x="484" y="223"/>
                </a:cubicBezTo>
                <a:cubicBezTo>
                  <a:pt x="483" y="226"/>
                  <a:pt x="482" y="234"/>
                  <a:pt x="481" y="241"/>
                </a:cubicBezTo>
                <a:cubicBezTo>
                  <a:pt x="481" y="247"/>
                  <a:pt x="479" y="256"/>
                  <a:pt x="479" y="261"/>
                </a:cubicBezTo>
                <a:cubicBezTo>
                  <a:pt x="475" y="290"/>
                  <a:pt x="473" y="302"/>
                  <a:pt x="468" y="331"/>
                </a:cubicBezTo>
                <a:cubicBezTo>
                  <a:pt x="468" y="333"/>
                  <a:pt x="467" y="336"/>
                  <a:pt x="467" y="338"/>
                </a:cubicBezTo>
                <a:cubicBezTo>
                  <a:pt x="467" y="339"/>
                  <a:pt x="466" y="340"/>
                  <a:pt x="466" y="341"/>
                </a:cubicBezTo>
                <a:cubicBezTo>
                  <a:pt x="466" y="342"/>
                  <a:pt x="467" y="343"/>
                  <a:pt x="467" y="344"/>
                </a:cubicBezTo>
                <a:cubicBezTo>
                  <a:pt x="467" y="345"/>
                  <a:pt x="467" y="345"/>
                  <a:pt x="466" y="346"/>
                </a:cubicBezTo>
                <a:cubicBezTo>
                  <a:pt x="465" y="347"/>
                  <a:pt x="465" y="348"/>
                  <a:pt x="465" y="349"/>
                </a:cubicBezTo>
                <a:cubicBezTo>
                  <a:pt x="465" y="349"/>
                  <a:pt x="466" y="350"/>
                  <a:pt x="466" y="350"/>
                </a:cubicBezTo>
                <a:cubicBezTo>
                  <a:pt x="466" y="351"/>
                  <a:pt x="465" y="353"/>
                  <a:pt x="465" y="354"/>
                </a:cubicBezTo>
                <a:cubicBezTo>
                  <a:pt x="465" y="356"/>
                  <a:pt x="465" y="358"/>
                  <a:pt x="464" y="359"/>
                </a:cubicBezTo>
                <a:cubicBezTo>
                  <a:pt x="464" y="363"/>
                  <a:pt x="463" y="366"/>
                  <a:pt x="463" y="370"/>
                </a:cubicBezTo>
                <a:cubicBezTo>
                  <a:pt x="461" y="380"/>
                  <a:pt x="459" y="389"/>
                  <a:pt x="459" y="390"/>
                </a:cubicBezTo>
                <a:cubicBezTo>
                  <a:pt x="460" y="391"/>
                  <a:pt x="460" y="391"/>
                  <a:pt x="460" y="392"/>
                </a:cubicBezTo>
                <a:cubicBezTo>
                  <a:pt x="459" y="392"/>
                  <a:pt x="458" y="393"/>
                  <a:pt x="458" y="394"/>
                </a:cubicBezTo>
                <a:cubicBezTo>
                  <a:pt x="459" y="396"/>
                  <a:pt x="458" y="397"/>
                  <a:pt x="458" y="399"/>
                </a:cubicBezTo>
                <a:cubicBezTo>
                  <a:pt x="457" y="400"/>
                  <a:pt x="457" y="402"/>
                  <a:pt x="457" y="404"/>
                </a:cubicBezTo>
                <a:cubicBezTo>
                  <a:pt x="456" y="408"/>
                  <a:pt x="455" y="412"/>
                  <a:pt x="455" y="416"/>
                </a:cubicBezTo>
                <a:cubicBezTo>
                  <a:pt x="452" y="433"/>
                  <a:pt x="449" y="450"/>
                  <a:pt x="446" y="467"/>
                </a:cubicBezTo>
                <a:cubicBezTo>
                  <a:pt x="444" y="475"/>
                  <a:pt x="443" y="482"/>
                  <a:pt x="442" y="490"/>
                </a:cubicBezTo>
                <a:cubicBezTo>
                  <a:pt x="441" y="495"/>
                  <a:pt x="440" y="501"/>
                  <a:pt x="439" y="506"/>
                </a:cubicBezTo>
                <a:cubicBezTo>
                  <a:pt x="438" y="512"/>
                  <a:pt x="437" y="517"/>
                  <a:pt x="436" y="522"/>
                </a:cubicBezTo>
                <a:cubicBezTo>
                  <a:pt x="436" y="525"/>
                  <a:pt x="435" y="527"/>
                  <a:pt x="435" y="530"/>
                </a:cubicBezTo>
                <a:cubicBezTo>
                  <a:pt x="435" y="531"/>
                  <a:pt x="434" y="532"/>
                  <a:pt x="434" y="533"/>
                </a:cubicBezTo>
                <a:cubicBezTo>
                  <a:pt x="434" y="533"/>
                  <a:pt x="433" y="535"/>
                  <a:pt x="434" y="536"/>
                </a:cubicBezTo>
                <a:cubicBezTo>
                  <a:pt x="434" y="536"/>
                  <a:pt x="434" y="537"/>
                  <a:pt x="434" y="537"/>
                </a:cubicBezTo>
                <a:cubicBezTo>
                  <a:pt x="434" y="537"/>
                  <a:pt x="434" y="537"/>
                  <a:pt x="434" y="538"/>
                </a:cubicBezTo>
                <a:cubicBezTo>
                  <a:pt x="433" y="539"/>
                  <a:pt x="435" y="539"/>
                  <a:pt x="435" y="540"/>
                </a:cubicBezTo>
                <a:cubicBezTo>
                  <a:pt x="434" y="541"/>
                  <a:pt x="433" y="542"/>
                  <a:pt x="433" y="543"/>
                </a:cubicBezTo>
                <a:cubicBezTo>
                  <a:pt x="432" y="544"/>
                  <a:pt x="432" y="546"/>
                  <a:pt x="432" y="547"/>
                </a:cubicBezTo>
                <a:cubicBezTo>
                  <a:pt x="432" y="550"/>
                  <a:pt x="431" y="552"/>
                  <a:pt x="431" y="554"/>
                </a:cubicBezTo>
                <a:cubicBezTo>
                  <a:pt x="431" y="555"/>
                  <a:pt x="429" y="562"/>
                  <a:pt x="430" y="563"/>
                </a:cubicBezTo>
                <a:cubicBezTo>
                  <a:pt x="431" y="563"/>
                  <a:pt x="431" y="563"/>
                  <a:pt x="432" y="563"/>
                </a:cubicBezTo>
                <a:cubicBezTo>
                  <a:pt x="432" y="563"/>
                  <a:pt x="432" y="566"/>
                  <a:pt x="431" y="567"/>
                </a:cubicBezTo>
                <a:cubicBezTo>
                  <a:pt x="431" y="567"/>
                  <a:pt x="431" y="571"/>
                  <a:pt x="430" y="571"/>
                </a:cubicBezTo>
                <a:cubicBezTo>
                  <a:pt x="429" y="571"/>
                  <a:pt x="429" y="571"/>
                  <a:pt x="429" y="572"/>
                </a:cubicBezTo>
                <a:cubicBezTo>
                  <a:pt x="430" y="573"/>
                  <a:pt x="430" y="573"/>
                  <a:pt x="430" y="574"/>
                </a:cubicBezTo>
                <a:cubicBezTo>
                  <a:pt x="430" y="574"/>
                  <a:pt x="430" y="575"/>
                  <a:pt x="430" y="576"/>
                </a:cubicBezTo>
                <a:cubicBezTo>
                  <a:pt x="430" y="577"/>
                  <a:pt x="428" y="576"/>
                  <a:pt x="428" y="577"/>
                </a:cubicBezTo>
                <a:cubicBezTo>
                  <a:pt x="427" y="579"/>
                  <a:pt x="427" y="581"/>
                  <a:pt x="426" y="583"/>
                </a:cubicBezTo>
                <a:cubicBezTo>
                  <a:pt x="426" y="585"/>
                  <a:pt x="425" y="587"/>
                  <a:pt x="426" y="589"/>
                </a:cubicBezTo>
                <a:cubicBezTo>
                  <a:pt x="427" y="590"/>
                  <a:pt x="427" y="591"/>
                  <a:pt x="426" y="592"/>
                </a:cubicBezTo>
                <a:cubicBezTo>
                  <a:pt x="425" y="593"/>
                  <a:pt x="425" y="595"/>
                  <a:pt x="424" y="597"/>
                </a:cubicBezTo>
                <a:cubicBezTo>
                  <a:pt x="424" y="598"/>
                  <a:pt x="425" y="600"/>
                  <a:pt x="425" y="601"/>
                </a:cubicBezTo>
                <a:cubicBezTo>
                  <a:pt x="425" y="602"/>
                  <a:pt x="425" y="603"/>
                  <a:pt x="425" y="604"/>
                </a:cubicBezTo>
                <a:cubicBezTo>
                  <a:pt x="425" y="604"/>
                  <a:pt x="425" y="605"/>
                  <a:pt x="424" y="606"/>
                </a:cubicBezTo>
                <a:cubicBezTo>
                  <a:pt x="424" y="606"/>
                  <a:pt x="423" y="607"/>
                  <a:pt x="423" y="607"/>
                </a:cubicBezTo>
                <a:cubicBezTo>
                  <a:pt x="422" y="608"/>
                  <a:pt x="422" y="610"/>
                  <a:pt x="422" y="611"/>
                </a:cubicBezTo>
                <a:cubicBezTo>
                  <a:pt x="421" y="613"/>
                  <a:pt x="421" y="615"/>
                  <a:pt x="420" y="616"/>
                </a:cubicBezTo>
                <a:cubicBezTo>
                  <a:pt x="419" y="622"/>
                  <a:pt x="418" y="628"/>
                  <a:pt x="417" y="633"/>
                </a:cubicBezTo>
                <a:cubicBezTo>
                  <a:pt x="417" y="635"/>
                  <a:pt x="416" y="638"/>
                  <a:pt x="416" y="640"/>
                </a:cubicBezTo>
                <a:cubicBezTo>
                  <a:pt x="416" y="642"/>
                  <a:pt x="416" y="644"/>
                  <a:pt x="416" y="645"/>
                </a:cubicBezTo>
                <a:cubicBezTo>
                  <a:pt x="416" y="647"/>
                  <a:pt x="417" y="648"/>
                  <a:pt x="417" y="649"/>
                </a:cubicBezTo>
                <a:cubicBezTo>
                  <a:pt x="418" y="650"/>
                  <a:pt x="417" y="651"/>
                  <a:pt x="417" y="651"/>
                </a:cubicBezTo>
                <a:cubicBezTo>
                  <a:pt x="417" y="652"/>
                  <a:pt x="416" y="654"/>
                  <a:pt x="416" y="656"/>
                </a:cubicBezTo>
                <a:cubicBezTo>
                  <a:pt x="416" y="657"/>
                  <a:pt x="416" y="658"/>
                  <a:pt x="416" y="659"/>
                </a:cubicBezTo>
                <a:cubicBezTo>
                  <a:pt x="415" y="659"/>
                  <a:pt x="415" y="659"/>
                  <a:pt x="415" y="659"/>
                </a:cubicBezTo>
                <a:cubicBezTo>
                  <a:pt x="414" y="659"/>
                  <a:pt x="414" y="659"/>
                  <a:pt x="414" y="659"/>
                </a:cubicBezTo>
                <a:cubicBezTo>
                  <a:pt x="414" y="659"/>
                  <a:pt x="413" y="659"/>
                  <a:pt x="413" y="660"/>
                </a:cubicBezTo>
                <a:cubicBezTo>
                  <a:pt x="413" y="661"/>
                  <a:pt x="412" y="662"/>
                  <a:pt x="412" y="663"/>
                </a:cubicBezTo>
                <a:cubicBezTo>
                  <a:pt x="411" y="667"/>
                  <a:pt x="411" y="670"/>
                  <a:pt x="411" y="671"/>
                </a:cubicBezTo>
                <a:cubicBezTo>
                  <a:pt x="410" y="671"/>
                  <a:pt x="410" y="676"/>
                  <a:pt x="409" y="682"/>
                </a:cubicBezTo>
                <a:cubicBezTo>
                  <a:pt x="408" y="684"/>
                  <a:pt x="408" y="686"/>
                  <a:pt x="408" y="688"/>
                </a:cubicBezTo>
                <a:cubicBezTo>
                  <a:pt x="408" y="688"/>
                  <a:pt x="407" y="691"/>
                  <a:pt x="408" y="691"/>
                </a:cubicBezTo>
                <a:cubicBezTo>
                  <a:pt x="408" y="692"/>
                  <a:pt x="409" y="692"/>
                  <a:pt x="409" y="693"/>
                </a:cubicBezTo>
                <a:cubicBezTo>
                  <a:pt x="409" y="693"/>
                  <a:pt x="409" y="694"/>
                  <a:pt x="408" y="695"/>
                </a:cubicBezTo>
                <a:cubicBezTo>
                  <a:pt x="408" y="695"/>
                  <a:pt x="408" y="695"/>
                  <a:pt x="408" y="695"/>
                </a:cubicBezTo>
                <a:cubicBezTo>
                  <a:pt x="406" y="695"/>
                  <a:pt x="406" y="699"/>
                  <a:pt x="406" y="701"/>
                </a:cubicBezTo>
                <a:cubicBezTo>
                  <a:pt x="405" y="707"/>
                  <a:pt x="404" y="710"/>
                  <a:pt x="402" y="714"/>
                </a:cubicBezTo>
                <a:cubicBezTo>
                  <a:pt x="401" y="717"/>
                  <a:pt x="399" y="730"/>
                  <a:pt x="398" y="738"/>
                </a:cubicBezTo>
                <a:cubicBezTo>
                  <a:pt x="398" y="739"/>
                  <a:pt x="398" y="740"/>
                  <a:pt x="398" y="741"/>
                </a:cubicBezTo>
                <a:cubicBezTo>
                  <a:pt x="398" y="742"/>
                  <a:pt x="398" y="742"/>
                  <a:pt x="398" y="743"/>
                </a:cubicBezTo>
                <a:cubicBezTo>
                  <a:pt x="398" y="743"/>
                  <a:pt x="398" y="743"/>
                  <a:pt x="398" y="744"/>
                </a:cubicBezTo>
                <a:cubicBezTo>
                  <a:pt x="398" y="744"/>
                  <a:pt x="398" y="744"/>
                  <a:pt x="398" y="745"/>
                </a:cubicBezTo>
                <a:cubicBezTo>
                  <a:pt x="398" y="745"/>
                  <a:pt x="398" y="746"/>
                  <a:pt x="398" y="746"/>
                </a:cubicBezTo>
                <a:cubicBezTo>
                  <a:pt x="398" y="747"/>
                  <a:pt x="397" y="747"/>
                  <a:pt x="397" y="748"/>
                </a:cubicBezTo>
                <a:cubicBezTo>
                  <a:pt x="397" y="749"/>
                  <a:pt x="397" y="750"/>
                  <a:pt x="396" y="751"/>
                </a:cubicBezTo>
                <a:cubicBezTo>
                  <a:pt x="396" y="752"/>
                  <a:pt x="396" y="753"/>
                  <a:pt x="396" y="755"/>
                </a:cubicBezTo>
                <a:cubicBezTo>
                  <a:pt x="397" y="756"/>
                  <a:pt x="398" y="757"/>
                  <a:pt x="397" y="758"/>
                </a:cubicBezTo>
                <a:cubicBezTo>
                  <a:pt x="397" y="759"/>
                  <a:pt x="395" y="759"/>
                  <a:pt x="395" y="760"/>
                </a:cubicBezTo>
                <a:cubicBezTo>
                  <a:pt x="395" y="760"/>
                  <a:pt x="395" y="761"/>
                  <a:pt x="395" y="761"/>
                </a:cubicBezTo>
                <a:cubicBezTo>
                  <a:pt x="395" y="761"/>
                  <a:pt x="395" y="761"/>
                  <a:pt x="395" y="761"/>
                </a:cubicBezTo>
                <a:cubicBezTo>
                  <a:pt x="395" y="761"/>
                  <a:pt x="395" y="762"/>
                  <a:pt x="395" y="762"/>
                </a:cubicBezTo>
                <a:cubicBezTo>
                  <a:pt x="397" y="763"/>
                  <a:pt x="396" y="765"/>
                  <a:pt x="396" y="767"/>
                </a:cubicBezTo>
                <a:cubicBezTo>
                  <a:pt x="396" y="768"/>
                  <a:pt x="395" y="769"/>
                  <a:pt x="395" y="769"/>
                </a:cubicBezTo>
                <a:cubicBezTo>
                  <a:pt x="394" y="769"/>
                  <a:pt x="394" y="769"/>
                  <a:pt x="393" y="770"/>
                </a:cubicBezTo>
                <a:cubicBezTo>
                  <a:pt x="393" y="770"/>
                  <a:pt x="393" y="771"/>
                  <a:pt x="393" y="771"/>
                </a:cubicBezTo>
                <a:cubicBezTo>
                  <a:pt x="394" y="772"/>
                  <a:pt x="392" y="773"/>
                  <a:pt x="392" y="775"/>
                </a:cubicBezTo>
                <a:cubicBezTo>
                  <a:pt x="392" y="776"/>
                  <a:pt x="392" y="777"/>
                  <a:pt x="391" y="779"/>
                </a:cubicBezTo>
                <a:cubicBezTo>
                  <a:pt x="391" y="780"/>
                  <a:pt x="389" y="785"/>
                  <a:pt x="391" y="785"/>
                </a:cubicBezTo>
                <a:cubicBezTo>
                  <a:pt x="391" y="785"/>
                  <a:pt x="391" y="785"/>
                  <a:pt x="391" y="786"/>
                </a:cubicBezTo>
                <a:cubicBezTo>
                  <a:pt x="393" y="786"/>
                  <a:pt x="392" y="788"/>
                  <a:pt x="392" y="789"/>
                </a:cubicBezTo>
                <a:cubicBezTo>
                  <a:pt x="392" y="790"/>
                  <a:pt x="391" y="791"/>
                  <a:pt x="390" y="792"/>
                </a:cubicBezTo>
                <a:cubicBezTo>
                  <a:pt x="390" y="792"/>
                  <a:pt x="389" y="793"/>
                  <a:pt x="389" y="793"/>
                </a:cubicBezTo>
                <a:cubicBezTo>
                  <a:pt x="389" y="794"/>
                  <a:pt x="389" y="795"/>
                  <a:pt x="390" y="795"/>
                </a:cubicBezTo>
                <a:cubicBezTo>
                  <a:pt x="390" y="795"/>
                  <a:pt x="390" y="795"/>
                  <a:pt x="390" y="795"/>
                </a:cubicBezTo>
                <a:cubicBezTo>
                  <a:pt x="390" y="795"/>
                  <a:pt x="390" y="795"/>
                  <a:pt x="390" y="796"/>
                </a:cubicBezTo>
                <a:cubicBezTo>
                  <a:pt x="390" y="796"/>
                  <a:pt x="390" y="797"/>
                  <a:pt x="390" y="798"/>
                </a:cubicBezTo>
                <a:cubicBezTo>
                  <a:pt x="390" y="798"/>
                  <a:pt x="389" y="799"/>
                  <a:pt x="388" y="799"/>
                </a:cubicBezTo>
                <a:cubicBezTo>
                  <a:pt x="388" y="799"/>
                  <a:pt x="388" y="799"/>
                  <a:pt x="388" y="799"/>
                </a:cubicBezTo>
                <a:cubicBezTo>
                  <a:pt x="387" y="800"/>
                  <a:pt x="387" y="801"/>
                  <a:pt x="387" y="801"/>
                </a:cubicBezTo>
                <a:cubicBezTo>
                  <a:pt x="386" y="806"/>
                  <a:pt x="384" y="818"/>
                  <a:pt x="383" y="821"/>
                </a:cubicBezTo>
                <a:cubicBezTo>
                  <a:pt x="383" y="821"/>
                  <a:pt x="383" y="823"/>
                  <a:pt x="382" y="825"/>
                </a:cubicBezTo>
                <a:cubicBezTo>
                  <a:pt x="382" y="827"/>
                  <a:pt x="381" y="830"/>
                  <a:pt x="381" y="832"/>
                </a:cubicBezTo>
                <a:cubicBezTo>
                  <a:pt x="380" y="834"/>
                  <a:pt x="379" y="838"/>
                  <a:pt x="379" y="840"/>
                </a:cubicBezTo>
                <a:cubicBezTo>
                  <a:pt x="378" y="844"/>
                  <a:pt x="376" y="847"/>
                  <a:pt x="377" y="851"/>
                </a:cubicBezTo>
                <a:cubicBezTo>
                  <a:pt x="377" y="852"/>
                  <a:pt x="377" y="852"/>
                  <a:pt x="377" y="853"/>
                </a:cubicBezTo>
                <a:cubicBezTo>
                  <a:pt x="376" y="855"/>
                  <a:pt x="376" y="857"/>
                  <a:pt x="376" y="860"/>
                </a:cubicBezTo>
                <a:cubicBezTo>
                  <a:pt x="375" y="864"/>
                  <a:pt x="374" y="871"/>
                  <a:pt x="374" y="873"/>
                </a:cubicBezTo>
                <a:cubicBezTo>
                  <a:pt x="374" y="875"/>
                  <a:pt x="373" y="877"/>
                  <a:pt x="373" y="878"/>
                </a:cubicBezTo>
                <a:cubicBezTo>
                  <a:pt x="373" y="878"/>
                  <a:pt x="373" y="879"/>
                  <a:pt x="374" y="879"/>
                </a:cubicBezTo>
                <a:cubicBezTo>
                  <a:pt x="375" y="879"/>
                  <a:pt x="375" y="879"/>
                  <a:pt x="376" y="879"/>
                </a:cubicBezTo>
                <a:cubicBezTo>
                  <a:pt x="376" y="879"/>
                  <a:pt x="375" y="880"/>
                  <a:pt x="375" y="881"/>
                </a:cubicBezTo>
                <a:cubicBezTo>
                  <a:pt x="375" y="881"/>
                  <a:pt x="375" y="882"/>
                  <a:pt x="375" y="882"/>
                </a:cubicBezTo>
                <a:cubicBezTo>
                  <a:pt x="374" y="882"/>
                  <a:pt x="374" y="881"/>
                  <a:pt x="374" y="881"/>
                </a:cubicBezTo>
                <a:cubicBezTo>
                  <a:pt x="374" y="881"/>
                  <a:pt x="374" y="881"/>
                  <a:pt x="374" y="882"/>
                </a:cubicBezTo>
                <a:cubicBezTo>
                  <a:pt x="373" y="883"/>
                  <a:pt x="373" y="884"/>
                  <a:pt x="373" y="885"/>
                </a:cubicBezTo>
                <a:cubicBezTo>
                  <a:pt x="372" y="886"/>
                  <a:pt x="373" y="888"/>
                  <a:pt x="372" y="889"/>
                </a:cubicBezTo>
                <a:cubicBezTo>
                  <a:pt x="372" y="889"/>
                  <a:pt x="372" y="890"/>
                  <a:pt x="373" y="890"/>
                </a:cubicBezTo>
                <a:cubicBezTo>
                  <a:pt x="374" y="891"/>
                  <a:pt x="374" y="891"/>
                  <a:pt x="373" y="892"/>
                </a:cubicBezTo>
                <a:cubicBezTo>
                  <a:pt x="373" y="893"/>
                  <a:pt x="373" y="893"/>
                  <a:pt x="372" y="893"/>
                </a:cubicBezTo>
                <a:cubicBezTo>
                  <a:pt x="372" y="893"/>
                  <a:pt x="371" y="894"/>
                  <a:pt x="371" y="894"/>
                </a:cubicBezTo>
                <a:cubicBezTo>
                  <a:pt x="371" y="895"/>
                  <a:pt x="370" y="897"/>
                  <a:pt x="370" y="897"/>
                </a:cubicBezTo>
                <a:cubicBezTo>
                  <a:pt x="369" y="897"/>
                  <a:pt x="369" y="897"/>
                  <a:pt x="369" y="897"/>
                </a:cubicBezTo>
                <a:cubicBezTo>
                  <a:pt x="369" y="898"/>
                  <a:pt x="369" y="898"/>
                  <a:pt x="369" y="898"/>
                </a:cubicBezTo>
                <a:cubicBezTo>
                  <a:pt x="369" y="899"/>
                  <a:pt x="369" y="900"/>
                  <a:pt x="369" y="901"/>
                </a:cubicBezTo>
                <a:cubicBezTo>
                  <a:pt x="370" y="902"/>
                  <a:pt x="369" y="903"/>
                  <a:pt x="369" y="904"/>
                </a:cubicBezTo>
                <a:cubicBezTo>
                  <a:pt x="369" y="907"/>
                  <a:pt x="368" y="909"/>
                  <a:pt x="368" y="912"/>
                </a:cubicBezTo>
                <a:cubicBezTo>
                  <a:pt x="367" y="917"/>
                  <a:pt x="366" y="922"/>
                  <a:pt x="365" y="926"/>
                </a:cubicBezTo>
                <a:cubicBezTo>
                  <a:pt x="363" y="940"/>
                  <a:pt x="360" y="954"/>
                  <a:pt x="360" y="957"/>
                </a:cubicBezTo>
                <a:cubicBezTo>
                  <a:pt x="360" y="959"/>
                  <a:pt x="358" y="971"/>
                  <a:pt x="356" y="981"/>
                </a:cubicBezTo>
                <a:cubicBezTo>
                  <a:pt x="355" y="992"/>
                  <a:pt x="352" y="1010"/>
                  <a:pt x="350" y="1020"/>
                </a:cubicBezTo>
                <a:cubicBezTo>
                  <a:pt x="348" y="1031"/>
                  <a:pt x="343" y="1060"/>
                  <a:pt x="339" y="1084"/>
                </a:cubicBezTo>
                <a:cubicBezTo>
                  <a:pt x="337" y="1092"/>
                  <a:pt x="336" y="1100"/>
                  <a:pt x="335" y="1108"/>
                </a:cubicBezTo>
                <a:cubicBezTo>
                  <a:pt x="334" y="1112"/>
                  <a:pt x="333" y="1116"/>
                  <a:pt x="333" y="1120"/>
                </a:cubicBezTo>
                <a:cubicBezTo>
                  <a:pt x="332" y="1122"/>
                  <a:pt x="332" y="1124"/>
                  <a:pt x="332" y="1126"/>
                </a:cubicBezTo>
                <a:cubicBezTo>
                  <a:pt x="332" y="1128"/>
                  <a:pt x="333" y="1128"/>
                  <a:pt x="332" y="1130"/>
                </a:cubicBezTo>
                <a:cubicBezTo>
                  <a:pt x="331" y="1131"/>
                  <a:pt x="331" y="1133"/>
                  <a:pt x="331" y="1134"/>
                </a:cubicBezTo>
                <a:cubicBezTo>
                  <a:pt x="330" y="1136"/>
                  <a:pt x="330" y="1137"/>
                  <a:pt x="330" y="1139"/>
                </a:cubicBezTo>
                <a:cubicBezTo>
                  <a:pt x="329" y="1143"/>
                  <a:pt x="329" y="1146"/>
                  <a:pt x="328" y="1150"/>
                </a:cubicBezTo>
                <a:cubicBezTo>
                  <a:pt x="328" y="1153"/>
                  <a:pt x="327" y="1157"/>
                  <a:pt x="326" y="1161"/>
                </a:cubicBezTo>
                <a:cubicBezTo>
                  <a:pt x="326" y="1163"/>
                  <a:pt x="325" y="1167"/>
                  <a:pt x="326" y="1169"/>
                </a:cubicBezTo>
                <a:cubicBezTo>
                  <a:pt x="326" y="1170"/>
                  <a:pt x="325" y="1171"/>
                  <a:pt x="325" y="1171"/>
                </a:cubicBezTo>
                <a:cubicBezTo>
                  <a:pt x="324" y="1173"/>
                  <a:pt x="324" y="1176"/>
                  <a:pt x="324" y="1178"/>
                </a:cubicBezTo>
                <a:cubicBezTo>
                  <a:pt x="323" y="1182"/>
                  <a:pt x="321" y="1193"/>
                  <a:pt x="320" y="1201"/>
                </a:cubicBezTo>
                <a:cubicBezTo>
                  <a:pt x="319" y="1206"/>
                  <a:pt x="318" y="1211"/>
                  <a:pt x="317" y="1216"/>
                </a:cubicBezTo>
                <a:cubicBezTo>
                  <a:pt x="317" y="1216"/>
                  <a:pt x="317" y="1217"/>
                  <a:pt x="316" y="1217"/>
                </a:cubicBezTo>
                <a:cubicBezTo>
                  <a:pt x="316" y="1218"/>
                  <a:pt x="316" y="1218"/>
                  <a:pt x="316" y="1218"/>
                </a:cubicBezTo>
                <a:cubicBezTo>
                  <a:pt x="315" y="1219"/>
                  <a:pt x="315" y="1221"/>
                  <a:pt x="315" y="1222"/>
                </a:cubicBezTo>
                <a:cubicBezTo>
                  <a:pt x="315" y="1224"/>
                  <a:pt x="315" y="1225"/>
                  <a:pt x="315" y="1226"/>
                </a:cubicBezTo>
                <a:cubicBezTo>
                  <a:pt x="315" y="1227"/>
                  <a:pt x="315" y="1228"/>
                  <a:pt x="315" y="1229"/>
                </a:cubicBezTo>
                <a:cubicBezTo>
                  <a:pt x="315" y="1230"/>
                  <a:pt x="316" y="1230"/>
                  <a:pt x="316" y="1231"/>
                </a:cubicBezTo>
                <a:cubicBezTo>
                  <a:pt x="315" y="1232"/>
                  <a:pt x="314" y="1233"/>
                  <a:pt x="314" y="1234"/>
                </a:cubicBezTo>
                <a:cubicBezTo>
                  <a:pt x="313" y="1235"/>
                  <a:pt x="315" y="1236"/>
                  <a:pt x="315" y="1237"/>
                </a:cubicBezTo>
                <a:cubicBezTo>
                  <a:pt x="314" y="1238"/>
                  <a:pt x="314" y="1238"/>
                  <a:pt x="314" y="1239"/>
                </a:cubicBezTo>
                <a:cubicBezTo>
                  <a:pt x="312" y="1240"/>
                  <a:pt x="313" y="1243"/>
                  <a:pt x="312" y="1245"/>
                </a:cubicBezTo>
                <a:cubicBezTo>
                  <a:pt x="312" y="1247"/>
                  <a:pt x="312" y="1249"/>
                  <a:pt x="311" y="1252"/>
                </a:cubicBezTo>
                <a:cubicBezTo>
                  <a:pt x="311" y="1253"/>
                  <a:pt x="311" y="1255"/>
                  <a:pt x="310" y="1256"/>
                </a:cubicBezTo>
                <a:cubicBezTo>
                  <a:pt x="309" y="1256"/>
                  <a:pt x="309" y="1256"/>
                  <a:pt x="308" y="1256"/>
                </a:cubicBezTo>
                <a:cubicBezTo>
                  <a:pt x="308" y="1256"/>
                  <a:pt x="307" y="1256"/>
                  <a:pt x="307" y="1257"/>
                </a:cubicBezTo>
                <a:cubicBezTo>
                  <a:pt x="306" y="1258"/>
                  <a:pt x="306" y="1259"/>
                  <a:pt x="306" y="1260"/>
                </a:cubicBezTo>
                <a:cubicBezTo>
                  <a:pt x="306" y="1260"/>
                  <a:pt x="306" y="1261"/>
                  <a:pt x="307" y="1261"/>
                </a:cubicBezTo>
                <a:cubicBezTo>
                  <a:pt x="307" y="1261"/>
                  <a:pt x="308" y="1261"/>
                  <a:pt x="308" y="1261"/>
                </a:cubicBezTo>
                <a:cubicBezTo>
                  <a:pt x="309" y="1261"/>
                  <a:pt x="309" y="1261"/>
                  <a:pt x="309" y="1262"/>
                </a:cubicBezTo>
                <a:cubicBezTo>
                  <a:pt x="310" y="1263"/>
                  <a:pt x="309" y="1266"/>
                  <a:pt x="309" y="1267"/>
                </a:cubicBezTo>
                <a:cubicBezTo>
                  <a:pt x="308" y="1270"/>
                  <a:pt x="307" y="1272"/>
                  <a:pt x="306" y="1274"/>
                </a:cubicBezTo>
                <a:cubicBezTo>
                  <a:pt x="305" y="1276"/>
                  <a:pt x="303" y="1278"/>
                  <a:pt x="304" y="1281"/>
                </a:cubicBezTo>
                <a:cubicBezTo>
                  <a:pt x="304" y="1283"/>
                  <a:pt x="305" y="1284"/>
                  <a:pt x="304" y="1286"/>
                </a:cubicBezTo>
                <a:cubicBezTo>
                  <a:pt x="303" y="1287"/>
                  <a:pt x="304" y="1288"/>
                  <a:pt x="303" y="1289"/>
                </a:cubicBezTo>
                <a:cubicBezTo>
                  <a:pt x="303" y="1290"/>
                  <a:pt x="302" y="1291"/>
                  <a:pt x="302" y="1292"/>
                </a:cubicBezTo>
                <a:cubicBezTo>
                  <a:pt x="301" y="1293"/>
                  <a:pt x="301" y="1294"/>
                  <a:pt x="300" y="1295"/>
                </a:cubicBezTo>
                <a:cubicBezTo>
                  <a:pt x="300" y="1297"/>
                  <a:pt x="300" y="1299"/>
                  <a:pt x="300" y="1301"/>
                </a:cubicBezTo>
                <a:cubicBezTo>
                  <a:pt x="299" y="1303"/>
                  <a:pt x="298" y="1306"/>
                  <a:pt x="299" y="1308"/>
                </a:cubicBezTo>
                <a:cubicBezTo>
                  <a:pt x="299" y="1309"/>
                  <a:pt x="301" y="1309"/>
                  <a:pt x="302" y="1310"/>
                </a:cubicBezTo>
                <a:cubicBezTo>
                  <a:pt x="302" y="1311"/>
                  <a:pt x="301" y="1313"/>
                  <a:pt x="301" y="1314"/>
                </a:cubicBezTo>
                <a:cubicBezTo>
                  <a:pt x="301" y="1316"/>
                  <a:pt x="298" y="1324"/>
                  <a:pt x="300" y="1324"/>
                </a:cubicBezTo>
                <a:cubicBezTo>
                  <a:pt x="300" y="1324"/>
                  <a:pt x="300" y="1324"/>
                  <a:pt x="300" y="1325"/>
                </a:cubicBezTo>
                <a:cubicBezTo>
                  <a:pt x="300" y="1327"/>
                  <a:pt x="299" y="1329"/>
                  <a:pt x="299" y="1331"/>
                </a:cubicBezTo>
                <a:cubicBezTo>
                  <a:pt x="296" y="1340"/>
                  <a:pt x="294" y="1346"/>
                  <a:pt x="293" y="1356"/>
                </a:cubicBezTo>
                <a:cubicBezTo>
                  <a:pt x="293" y="1360"/>
                  <a:pt x="293" y="1363"/>
                  <a:pt x="291" y="1367"/>
                </a:cubicBezTo>
                <a:cubicBezTo>
                  <a:pt x="291" y="1367"/>
                  <a:pt x="291" y="1367"/>
                  <a:pt x="291" y="1367"/>
                </a:cubicBezTo>
                <a:cubicBezTo>
                  <a:pt x="291" y="1367"/>
                  <a:pt x="291" y="1367"/>
                  <a:pt x="290" y="1367"/>
                </a:cubicBezTo>
                <a:cubicBezTo>
                  <a:pt x="290" y="1368"/>
                  <a:pt x="290" y="1368"/>
                  <a:pt x="291" y="1369"/>
                </a:cubicBezTo>
                <a:cubicBezTo>
                  <a:pt x="291" y="1370"/>
                  <a:pt x="289" y="1371"/>
                  <a:pt x="289" y="1372"/>
                </a:cubicBezTo>
                <a:cubicBezTo>
                  <a:pt x="288" y="1374"/>
                  <a:pt x="287" y="1375"/>
                  <a:pt x="289" y="1376"/>
                </a:cubicBezTo>
                <a:cubicBezTo>
                  <a:pt x="289" y="1377"/>
                  <a:pt x="289" y="1377"/>
                  <a:pt x="289" y="1377"/>
                </a:cubicBezTo>
                <a:cubicBezTo>
                  <a:pt x="290" y="1378"/>
                  <a:pt x="289" y="1381"/>
                  <a:pt x="289" y="1381"/>
                </a:cubicBezTo>
                <a:cubicBezTo>
                  <a:pt x="289" y="1383"/>
                  <a:pt x="288" y="1385"/>
                  <a:pt x="288" y="1386"/>
                </a:cubicBezTo>
                <a:cubicBezTo>
                  <a:pt x="288" y="1391"/>
                  <a:pt x="287" y="1396"/>
                  <a:pt x="287" y="1397"/>
                </a:cubicBezTo>
                <a:cubicBezTo>
                  <a:pt x="286" y="1399"/>
                  <a:pt x="286" y="1401"/>
                  <a:pt x="285" y="1404"/>
                </a:cubicBezTo>
                <a:cubicBezTo>
                  <a:pt x="285" y="1404"/>
                  <a:pt x="285" y="1404"/>
                  <a:pt x="285" y="1404"/>
                </a:cubicBezTo>
                <a:cubicBezTo>
                  <a:pt x="284" y="1405"/>
                  <a:pt x="283" y="1405"/>
                  <a:pt x="283" y="1406"/>
                </a:cubicBezTo>
                <a:cubicBezTo>
                  <a:pt x="283" y="1407"/>
                  <a:pt x="282" y="1408"/>
                  <a:pt x="282" y="1409"/>
                </a:cubicBezTo>
                <a:cubicBezTo>
                  <a:pt x="282" y="1410"/>
                  <a:pt x="282" y="1410"/>
                  <a:pt x="282" y="1411"/>
                </a:cubicBezTo>
                <a:cubicBezTo>
                  <a:pt x="283" y="1411"/>
                  <a:pt x="283" y="1411"/>
                  <a:pt x="283" y="1411"/>
                </a:cubicBezTo>
                <a:cubicBezTo>
                  <a:pt x="284" y="1412"/>
                  <a:pt x="283" y="1414"/>
                  <a:pt x="283" y="1415"/>
                </a:cubicBezTo>
                <a:cubicBezTo>
                  <a:pt x="283" y="1417"/>
                  <a:pt x="283" y="1419"/>
                  <a:pt x="282" y="1421"/>
                </a:cubicBezTo>
                <a:cubicBezTo>
                  <a:pt x="281" y="1423"/>
                  <a:pt x="281" y="1425"/>
                  <a:pt x="282" y="1427"/>
                </a:cubicBezTo>
                <a:cubicBezTo>
                  <a:pt x="282" y="1428"/>
                  <a:pt x="283" y="1429"/>
                  <a:pt x="283" y="1430"/>
                </a:cubicBezTo>
                <a:cubicBezTo>
                  <a:pt x="283" y="1431"/>
                  <a:pt x="281" y="1433"/>
                  <a:pt x="281" y="1434"/>
                </a:cubicBezTo>
                <a:cubicBezTo>
                  <a:pt x="280" y="1438"/>
                  <a:pt x="280" y="1442"/>
                  <a:pt x="279" y="1447"/>
                </a:cubicBezTo>
                <a:cubicBezTo>
                  <a:pt x="279" y="1453"/>
                  <a:pt x="278" y="1460"/>
                  <a:pt x="278" y="1462"/>
                </a:cubicBezTo>
                <a:cubicBezTo>
                  <a:pt x="277" y="1464"/>
                  <a:pt x="277" y="1466"/>
                  <a:pt x="278" y="1467"/>
                </a:cubicBezTo>
                <a:cubicBezTo>
                  <a:pt x="278" y="1468"/>
                  <a:pt x="278" y="1468"/>
                  <a:pt x="278" y="1468"/>
                </a:cubicBezTo>
                <a:cubicBezTo>
                  <a:pt x="278" y="1468"/>
                  <a:pt x="278" y="1468"/>
                  <a:pt x="278" y="1468"/>
                </a:cubicBezTo>
                <a:cubicBezTo>
                  <a:pt x="278" y="1469"/>
                  <a:pt x="278" y="1469"/>
                  <a:pt x="278" y="1470"/>
                </a:cubicBezTo>
                <a:cubicBezTo>
                  <a:pt x="277" y="1470"/>
                  <a:pt x="277" y="1470"/>
                  <a:pt x="277" y="1470"/>
                </a:cubicBezTo>
                <a:cubicBezTo>
                  <a:pt x="275" y="1472"/>
                  <a:pt x="275" y="1476"/>
                  <a:pt x="275" y="1479"/>
                </a:cubicBezTo>
                <a:cubicBezTo>
                  <a:pt x="274" y="1481"/>
                  <a:pt x="274" y="1484"/>
                  <a:pt x="273" y="1487"/>
                </a:cubicBezTo>
                <a:cubicBezTo>
                  <a:pt x="273" y="1491"/>
                  <a:pt x="272" y="1494"/>
                  <a:pt x="271" y="1497"/>
                </a:cubicBezTo>
                <a:cubicBezTo>
                  <a:pt x="271" y="1499"/>
                  <a:pt x="270" y="1501"/>
                  <a:pt x="270" y="1502"/>
                </a:cubicBezTo>
                <a:cubicBezTo>
                  <a:pt x="270" y="1504"/>
                  <a:pt x="271" y="1504"/>
                  <a:pt x="271" y="1506"/>
                </a:cubicBezTo>
                <a:cubicBezTo>
                  <a:pt x="271" y="1506"/>
                  <a:pt x="270" y="1506"/>
                  <a:pt x="270" y="1507"/>
                </a:cubicBezTo>
                <a:cubicBezTo>
                  <a:pt x="271" y="1507"/>
                  <a:pt x="271" y="1507"/>
                  <a:pt x="271" y="1508"/>
                </a:cubicBezTo>
                <a:cubicBezTo>
                  <a:pt x="270" y="1510"/>
                  <a:pt x="268" y="1512"/>
                  <a:pt x="268" y="1514"/>
                </a:cubicBezTo>
                <a:cubicBezTo>
                  <a:pt x="267" y="1516"/>
                  <a:pt x="267" y="1518"/>
                  <a:pt x="267" y="1520"/>
                </a:cubicBezTo>
                <a:cubicBezTo>
                  <a:pt x="267" y="1522"/>
                  <a:pt x="267" y="1524"/>
                  <a:pt x="267" y="1526"/>
                </a:cubicBezTo>
                <a:cubicBezTo>
                  <a:pt x="267" y="1527"/>
                  <a:pt x="267" y="1529"/>
                  <a:pt x="267" y="1530"/>
                </a:cubicBezTo>
                <a:cubicBezTo>
                  <a:pt x="268" y="1531"/>
                  <a:pt x="268" y="1531"/>
                  <a:pt x="268" y="1532"/>
                </a:cubicBezTo>
                <a:cubicBezTo>
                  <a:pt x="267" y="1534"/>
                  <a:pt x="267" y="1535"/>
                  <a:pt x="267" y="1537"/>
                </a:cubicBezTo>
                <a:cubicBezTo>
                  <a:pt x="267" y="1538"/>
                  <a:pt x="267" y="1540"/>
                  <a:pt x="266" y="1541"/>
                </a:cubicBezTo>
                <a:cubicBezTo>
                  <a:pt x="266" y="1542"/>
                  <a:pt x="266" y="1542"/>
                  <a:pt x="267" y="1543"/>
                </a:cubicBezTo>
                <a:cubicBezTo>
                  <a:pt x="267" y="1543"/>
                  <a:pt x="267" y="1543"/>
                  <a:pt x="267" y="1543"/>
                </a:cubicBezTo>
                <a:cubicBezTo>
                  <a:pt x="267" y="1543"/>
                  <a:pt x="267" y="1543"/>
                  <a:pt x="267" y="1544"/>
                </a:cubicBezTo>
                <a:cubicBezTo>
                  <a:pt x="267" y="1544"/>
                  <a:pt x="267" y="1545"/>
                  <a:pt x="266" y="1545"/>
                </a:cubicBezTo>
                <a:cubicBezTo>
                  <a:pt x="265" y="1546"/>
                  <a:pt x="265" y="1548"/>
                  <a:pt x="265" y="1549"/>
                </a:cubicBezTo>
                <a:cubicBezTo>
                  <a:pt x="264" y="1550"/>
                  <a:pt x="264" y="1551"/>
                  <a:pt x="264" y="1553"/>
                </a:cubicBezTo>
                <a:cubicBezTo>
                  <a:pt x="264" y="1553"/>
                  <a:pt x="264" y="1553"/>
                  <a:pt x="264" y="1554"/>
                </a:cubicBezTo>
                <a:cubicBezTo>
                  <a:pt x="263" y="1556"/>
                  <a:pt x="263" y="1558"/>
                  <a:pt x="263" y="1560"/>
                </a:cubicBezTo>
                <a:cubicBezTo>
                  <a:pt x="262" y="1561"/>
                  <a:pt x="262" y="1562"/>
                  <a:pt x="262" y="1564"/>
                </a:cubicBezTo>
                <a:cubicBezTo>
                  <a:pt x="261" y="1565"/>
                  <a:pt x="261" y="1566"/>
                  <a:pt x="260" y="1567"/>
                </a:cubicBezTo>
                <a:cubicBezTo>
                  <a:pt x="260" y="1568"/>
                  <a:pt x="259" y="1568"/>
                  <a:pt x="259" y="1569"/>
                </a:cubicBezTo>
                <a:cubicBezTo>
                  <a:pt x="259" y="1571"/>
                  <a:pt x="258" y="1573"/>
                  <a:pt x="258" y="1575"/>
                </a:cubicBezTo>
                <a:cubicBezTo>
                  <a:pt x="257" y="1580"/>
                  <a:pt x="257" y="1585"/>
                  <a:pt x="256" y="1589"/>
                </a:cubicBezTo>
                <a:cubicBezTo>
                  <a:pt x="256" y="1590"/>
                  <a:pt x="256" y="1590"/>
                  <a:pt x="256" y="1590"/>
                </a:cubicBezTo>
                <a:cubicBezTo>
                  <a:pt x="256" y="1591"/>
                  <a:pt x="256" y="1591"/>
                  <a:pt x="255" y="1592"/>
                </a:cubicBezTo>
                <a:cubicBezTo>
                  <a:pt x="255" y="1592"/>
                  <a:pt x="254" y="1593"/>
                  <a:pt x="254" y="1594"/>
                </a:cubicBezTo>
                <a:cubicBezTo>
                  <a:pt x="253" y="1595"/>
                  <a:pt x="253" y="1595"/>
                  <a:pt x="253" y="1596"/>
                </a:cubicBezTo>
                <a:cubicBezTo>
                  <a:pt x="253" y="1598"/>
                  <a:pt x="253" y="1600"/>
                  <a:pt x="252" y="1601"/>
                </a:cubicBezTo>
                <a:cubicBezTo>
                  <a:pt x="252" y="1603"/>
                  <a:pt x="252" y="1605"/>
                  <a:pt x="251" y="1606"/>
                </a:cubicBezTo>
                <a:cubicBezTo>
                  <a:pt x="251" y="1607"/>
                  <a:pt x="251" y="1608"/>
                  <a:pt x="251" y="1608"/>
                </a:cubicBezTo>
                <a:cubicBezTo>
                  <a:pt x="251" y="1609"/>
                  <a:pt x="251" y="1610"/>
                  <a:pt x="251" y="1610"/>
                </a:cubicBezTo>
                <a:cubicBezTo>
                  <a:pt x="251" y="1611"/>
                  <a:pt x="254" y="1614"/>
                  <a:pt x="252" y="1615"/>
                </a:cubicBezTo>
                <a:cubicBezTo>
                  <a:pt x="251" y="1615"/>
                  <a:pt x="251" y="1614"/>
                  <a:pt x="250" y="1614"/>
                </a:cubicBezTo>
                <a:cubicBezTo>
                  <a:pt x="249" y="1615"/>
                  <a:pt x="248" y="1617"/>
                  <a:pt x="249" y="1617"/>
                </a:cubicBezTo>
                <a:cubicBezTo>
                  <a:pt x="249" y="1618"/>
                  <a:pt x="249" y="1618"/>
                  <a:pt x="249" y="1617"/>
                </a:cubicBezTo>
                <a:cubicBezTo>
                  <a:pt x="249" y="1617"/>
                  <a:pt x="250" y="1616"/>
                  <a:pt x="250" y="1616"/>
                </a:cubicBezTo>
                <a:cubicBezTo>
                  <a:pt x="250" y="1616"/>
                  <a:pt x="251" y="1616"/>
                  <a:pt x="251" y="1616"/>
                </a:cubicBezTo>
                <a:cubicBezTo>
                  <a:pt x="251" y="1618"/>
                  <a:pt x="250" y="1619"/>
                  <a:pt x="250" y="1620"/>
                </a:cubicBezTo>
                <a:cubicBezTo>
                  <a:pt x="250" y="1621"/>
                  <a:pt x="250" y="1621"/>
                  <a:pt x="250" y="1622"/>
                </a:cubicBezTo>
                <a:cubicBezTo>
                  <a:pt x="250" y="1622"/>
                  <a:pt x="250" y="1623"/>
                  <a:pt x="249" y="1623"/>
                </a:cubicBezTo>
                <a:cubicBezTo>
                  <a:pt x="249" y="1624"/>
                  <a:pt x="249" y="1624"/>
                  <a:pt x="249" y="1624"/>
                </a:cubicBezTo>
                <a:cubicBezTo>
                  <a:pt x="249" y="1625"/>
                  <a:pt x="249" y="1625"/>
                  <a:pt x="249" y="1625"/>
                </a:cubicBezTo>
                <a:cubicBezTo>
                  <a:pt x="249" y="1625"/>
                  <a:pt x="250" y="1625"/>
                  <a:pt x="250" y="1625"/>
                </a:cubicBezTo>
                <a:cubicBezTo>
                  <a:pt x="252" y="1625"/>
                  <a:pt x="251" y="1627"/>
                  <a:pt x="250" y="1628"/>
                </a:cubicBezTo>
                <a:cubicBezTo>
                  <a:pt x="249" y="1630"/>
                  <a:pt x="248" y="1632"/>
                  <a:pt x="247" y="1633"/>
                </a:cubicBezTo>
                <a:cubicBezTo>
                  <a:pt x="246" y="1635"/>
                  <a:pt x="245" y="1637"/>
                  <a:pt x="245" y="1639"/>
                </a:cubicBezTo>
                <a:cubicBezTo>
                  <a:pt x="245" y="1640"/>
                  <a:pt x="244" y="1641"/>
                  <a:pt x="244" y="1643"/>
                </a:cubicBezTo>
                <a:cubicBezTo>
                  <a:pt x="244" y="1644"/>
                  <a:pt x="244" y="1646"/>
                  <a:pt x="243" y="1647"/>
                </a:cubicBezTo>
                <a:cubicBezTo>
                  <a:pt x="243" y="1648"/>
                  <a:pt x="243" y="1650"/>
                  <a:pt x="243" y="1650"/>
                </a:cubicBezTo>
                <a:cubicBezTo>
                  <a:pt x="244" y="1650"/>
                  <a:pt x="243" y="1651"/>
                  <a:pt x="244" y="1651"/>
                </a:cubicBezTo>
                <a:cubicBezTo>
                  <a:pt x="244" y="1651"/>
                  <a:pt x="244" y="1651"/>
                  <a:pt x="244" y="1651"/>
                </a:cubicBezTo>
                <a:cubicBezTo>
                  <a:pt x="244" y="1651"/>
                  <a:pt x="244" y="1651"/>
                  <a:pt x="245" y="1651"/>
                </a:cubicBezTo>
                <a:cubicBezTo>
                  <a:pt x="245" y="1651"/>
                  <a:pt x="245" y="1653"/>
                  <a:pt x="244" y="1653"/>
                </a:cubicBezTo>
                <a:cubicBezTo>
                  <a:pt x="244" y="1653"/>
                  <a:pt x="244" y="1653"/>
                  <a:pt x="244" y="1653"/>
                </a:cubicBezTo>
                <a:cubicBezTo>
                  <a:pt x="243" y="1653"/>
                  <a:pt x="243" y="1655"/>
                  <a:pt x="242" y="1656"/>
                </a:cubicBezTo>
                <a:cubicBezTo>
                  <a:pt x="242" y="1657"/>
                  <a:pt x="242" y="1658"/>
                  <a:pt x="241" y="1659"/>
                </a:cubicBezTo>
                <a:cubicBezTo>
                  <a:pt x="241" y="1659"/>
                  <a:pt x="242" y="1659"/>
                  <a:pt x="242" y="1660"/>
                </a:cubicBezTo>
                <a:cubicBezTo>
                  <a:pt x="242" y="1660"/>
                  <a:pt x="241" y="1660"/>
                  <a:pt x="241" y="1661"/>
                </a:cubicBezTo>
                <a:cubicBezTo>
                  <a:pt x="241" y="1661"/>
                  <a:pt x="241" y="1662"/>
                  <a:pt x="241" y="1662"/>
                </a:cubicBezTo>
                <a:cubicBezTo>
                  <a:pt x="241" y="1662"/>
                  <a:pt x="241" y="1662"/>
                  <a:pt x="241" y="1663"/>
                </a:cubicBezTo>
                <a:cubicBezTo>
                  <a:pt x="242" y="1664"/>
                  <a:pt x="243" y="1661"/>
                  <a:pt x="243" y="1660"/>
                </a:cubicBezTo>
                <a:cubicBezTo>
                  <a:pt x="243" y="1660"/>
                  <a:pt x="242" y="1658"/>
                  <a:pt x="243" y="1659"/>
                </a:cubicBezTo>
                <a:cubicBezTo>
                  <a:pt x="244" y="1659"/>
                  <a:pt x="245" y="1659"/>
                  <a:pt x="245" y="1660"/>
                </a:cubicBezTo>
                <a:cubicBezTo>
                  <a:pt x="245" y="1661"/>
                  <a:pt x="244" y="1663"/>
                  <a:pt x="244" y="1664"/>
                </a:cubicBezTo>
                <a:cubicBezTo>
                  <a:pt x="244" y="1666"/>
                  <a:pt x="243" y="1668"/>
                  <a:pt x="243" y="1671"/>
                </a:cubicBezTo>
                <a:cubicBezTo>
                  <a:pt x="242" y="1674"/>
                  <a:pt x="241" y="1676"/>
                  <a:pt x="241" y="1679"/>
                </a:cubicBezTo>
                <a:cubicBezTo>
                  <a:pt x="241" y="1680"/>
                  <a:pt x="240" y="1681"/>
                  <a:pt x="240" y="1682"/>
                </a:cubicBezTo>
                <a:cubicBezTo>
                  <a:pt x="240" y="1683"/>
                  <a:pt x="240" y="1684"/>
                  <a:pt x="240" y="1684"/>
                </a:cubicBezTo>
                <a:cubicBezTo>
                  <a:pt x="240" y="1684"/>
                  <a:pt x="240" y="1684"/>
                  <a:pt x="240" y="1684"/>
                </a:cubicBezTo>
                <a:cubicBezTo>
                  <a:pt x="239" y="1685"/>
                  <a:pt x="239" y="1685"/>
                  <a:pt x="239" y="1686"/>
                </a:cubicBezTo>
                <a:cubicBezTo>
                  <a:pt x="238" y="1686"/>
                  <a:pt x="238" y="1684"/>
                  <a:pt x="238" y="1684"/>
                </a:cubicBezTo>
                <a:cubicBezTo>
                  <a:pt x="237" y="1683"/>
                  <a:pt x="236" y="1684"/>
                  <a:pt x="237" y="1684"/>
                </a:cubicBezTo>
                <a:cubicBezTo>
                  <a:pt x="237" y="1685"/>
                  <a:pt x="238" y="1685"/>
                  <a:pt x="238" y="1686"/>
                </a:cubicBezTo>
                <a:cubicBezTo>
                  <a:pt x="238" y="1687"/>
                  <a:pt x="237" y="1687"/>
                  <a:pt x="237" y="1687"/>
                </a:cubicBezTo>
                <a:cubicBezTo>
                  <a:pt x="236" y="1688"/>
                  <a:pt x="236" y="1689"/>
                  <a:pt x="236" y="1690"/>
                </a:cubicBezTo>
                <a:cubicBezTo>
                  <a:pt x="235" y="1691"/>
                  <a:pt x="235" y="1693"/>
                  <a:pt x="235" y="1694"/>
                </a:cubicBezTo>
                <a:cubicBezTo>
                  <a:pt x="234" y="1698"/>
                  <a:pt x="234" y="1701"/>
                  <a:pt x="234" y="1701"/>
                </a:cubicBezTo>
                <a:cubicBezTo>
                  <a:pt x="234" y="1702"/>
                  <a:pt x="233" y="1705"/>
                  <a:pt x="232" y="1706"/>
                </a:cubicBezTo>
                <a:cubicBezTo>
                  <a:pt x="232" y="1706"/>
                  <a:pt x="232" y="1707"/>
                  <a:pt x="232" y="1707"/>
                </a:cubicBezTo>
                <a:cubicBezTo>
                  <a:pt x="233" y="1707"/>
                  <a:pt x="233" y="1707"/>
                  <a:pt x="234" y="1707"/>
                </a:cubicBezTo>
                <a:cubicBezTo>
                  <a:pt x="234" y="1708"/>
                  <a:pt x="235" y="1708"/>
                  <a:pt x="234" y="1708"/>
                </a:cubicBezTo>
                <a:cubicBezTo>
                  <a:pt x="234" y="1709"/>
                  <a:pt x="233" y="1709"/>
                  <a:pt x="233" y="1710"/>
                </a:cubicBezTo>
                <a:cubicBezTo>
                  <a:pt x="232" y="1711"/>
                  <a:pt x="232" y="1712"/>
                  <a:pt x="232" y="1712"/>
                </a:cubicBezTo>
                <a:cubicBezTo>
                  <a:pt x="232" y="1714"/>
                  <a:pt x="232" y="1716"/>
                  <a:pt x="231" y="1717"/>
                </a:cubicBezTo>
                <a:cubicBezTo>
                  <a:pt x="231" y="1718"/>
                  <a:pt x="231" y="1718"/>
                  <a:pt x="231" y="1719"/>
                </a:cubicBezTo>
                <a:cubicBezTo>
                  <a:pt x="232" y="1719"/>
                  <a:pt x="232" y="1719"/>
                  <a:pt x="233" y="1720"/>
                </a:cubicBezTo>
                <a:cubicBezTo>
                  <a:pt x="232" y="1723"/>
                  <a:pt x="231" y="1726"/>
                  <a:pt x="230" y="1729"/>
                </a:cubicBezTo>
                <a:cubicBezTo>
                  <a:pt x="229" y="1731"/>
                  <a:pt x="229" y="1733"/>
                  <a:pt x="229" y="1735"/>
                </a:cubicBezTo>
                <a:cubicBezTo>
                  <a:pt x="229" y="1735"/>
                  <a:pt x="229" y="1736"/>
                  <a:pt x="229" y="1737"/>
                </a:cubicBezTo>
                <a:cubicBezTo>
                  <a:pt x="229" y="1737"/>
                  <a:pt x="229" y="1739"/>
                  <a:pt x="228" y="1738"/>
                </a:cubicBezTo>
                <a:cubicBezTo>
                  <a:pt x="228" y="1738"/>
                  <a:pt x="228" y="1736"/>
                  <a:pt x="227" y="1736"/>
                </a:cubicBezTo>
                <a:cubicBezTo>
                  <a:pt x="226" y="1736"/>
                  <a:pt x="227" y="1737"/>
                  <a:pt x="227" y="1738"/>
                </a:cubicBezTo>
                <a:cubicBezTo>
                  <a:pt x="227" y="1738"/>
                  <a:pt x="228" y="1739"/>
                  <a:pt x="228" y="1740"/>
                </a:cubicBezTo>
                <a:cubicBezTo>
                  <a:pt x="228" y="1740"/>
                  <a:pt x="228" y="1741"/>
                  <a:pt x="227" y="1741"/>
                </a:cubicBezTo>
                <a:cubicBezTo>
                  <a:pt x="227" y="1741"/>
                  <a:pt x="227" y="1741"/>
                  <a:pt x="227" y="1741"/>
                </a:cubicBezTo>
                <a:cubicBezTo>
                  <a:pt x="225" y="1743"/>
                  <a:pt x="225" y="1745"/>
                  <a:pt x="225" y="1747"/>
                </a:cubicBezTo>
                <a:cubicBezTo>
                  <a:pt x="224" y="1750"/>
                  <a:pt x="224" y="1754"/>
                  <a:pt x="223" y="1758"/>
                </a:cubicBezTo>
                <a:cubicBezTo>
                  <a:pt x="223" y="1760"/>
                  <a:pt x="223" y="1762"/>
                  <a:pt x="223" y="1764"/>
                </a:cubicBezTo>
                <a:cubicBezTo>
                  <a:pt x="223" y="1765"/>
                  <a:pt x="224" y="1767"/>
                  <a:pt x="223" y="1769"/>
                </a:cubicBezTo>
                <a:cubicBezTo>
                  <a:pt x="223" y="1769"/>
                  <a:pt x="223" y="1769"/>
                  <a:pt x="223" y="1769"/>
                </a:cubicBezTo>
                <a:cubicBezTo>
                  <a:pt x="223" y="1769"/>
                  <a:pt x="223" y="1769"/>
                  <a:pt x="223" y="1769"/>
                </a:cubicBezTo>
                <a:cubicBezTo>
                  <a:pt x="222" y="1770"/>
                  <a:pt x="222" y="1771"/>
                  <a:pt x="222" y="1772"/>
                </a:cubicBezTo>
                <a:cubicBezTo>
                  <a:pt x="222" y="1772"/>
                  <a:pt x="223" y="1773"/>
                  <a:pt x="223" y="1773"/>
                </a:cubicBezTo>
                <a:cubicBezTo>
                  <a:pt x="223" y="1773"/>
                  <a:pt x="224" y="1773"/>
                  <a:pt x="224" y="1774"/>
                </a:cubicBezTo>
                <a:cubicBezTo>
                  <a:pt x="224" y="1775"/>
                  <a:pt x="224" y="1776"/>
                  <a:pt x="223" y="1776"/>
                </a:cubicBezTo>
                <a:cubicBezTo>
                  <a:pt x="223" y="1777"/>
                  <a:pt x="222" y="1778"/>
                  <a:pt x="222" y="1779"/>
                </a:cubicBezTo>
                <a:cubicBezTo>
                  <a:pt x="223" y="1780"/>
                  <a:pt x="223" y="1781"/>
                  <a:pt x="223" y="1782"/>
                </a:cubicBezTo>
                <a:cubicBezTo>
                  <a:pt x="223" y="1783"/>
                  <a:pt x="223" y="1784"/>
                  <a:pt x="223" y="1785"/>
                </a:cubicBezTo>
                <a:cubicBezTo>
                  <a:pt x="222" y="1787"/>
                  <a:pt x="221" y="1791"/>
                  <a:pt x="220" y="1793"/>
                </a:cubicBezTo>
                <a:cubicBezTo>
                  <a:pt x="220" y="1793"/>
                  <a:pt x="220" y="1794"/>
                  <a:pt x="219" y="1795"/>
                </a:cubicBezTo>
                <a:cubicBezTo>
                  <a:pt x="219" y="1796"/>
                  <a:pt x="219" y="1796"/>
                  <a:pt x="219" y="1797"/>
                </a:cubicBezTo>
                <a:cubicBezTo>
                  <a:pt x="219" y="1798"/>
                  <a:pt x="219" y="1798"/>
                  <a:pt x="219" y="1798"/>
                </a:cubicBezTo>
                <a:cubicBezTo>
                  <a:pt x="218" y="1799"/>
                  <a:pt x="219" y="1801"/>
                  <a:pt x="220" y="1802"/>
                </a:cubicBezTo>
                <a:cubicBezTo>
                  <a:pt x="220" y="1802"/>
                  <a:pt x="220" y="1803"/>
                  <a:pt x="220" y="1803"/>
                </a:cubicBezTo>
                <a:cubicBezTo>
                  <a:pt x="219" y="1804"/>
                  <a:pt x="219" y="1804"/>
                  <a:pt x="218" y="1804"/>
                </a:cubicBezTo>
                <a:cubicBezTo>
                  <a:pt x="218" y="1805"/>
                  <a:pt x="217" y="1806"/>
                  <a:pt x="217" y="1807"/>
                </a:cubicBezTo>
                <a:cubicBezTo>
                  <a:pt x="217" y="1807"/>
                  <a:pt x="217" y="1807"/>
                  <a:pt x="217" y="1808"/>
                </a:cubicBezTo>
                <a:cubicBezTo>
                  <a:pt x="216" y="1808"/>
                  <a:pt x="217" y="1808"/>
                  <a:pt x="217" y="1809"/>
                </a:cubicBezTo>
                <a:cubicBezTo>
                  <a:pt x="217" y="1809"/>
                  <a:pt x="217" y="1809"/>
                  <a:pt x="217" y="1809"/>
                </a:cubicBezTo>
                <a:cubicBezTo>
                  <a:pt x="216" y="1810"/>
                  <a:pt x="216" y="1810"/>
                  <a:pt x="216" y="1810"/>
                </a:cubicBezTo>
                <a:cubicBezTo>
                  <a:pt x="216" y="1811"/>
                  <a:pt x="216" y="1811"/>
                  <a:pt x="217" y="1811"/>
                </a:cubicBezTo>
                <a:cubicBezTo>
                  <a:pt x="217" y="1812"/>
                  <a:pt x="218" y="1812"/>
                  <a:pt x="218" y="1812"/>
                </a:cubicBezTo>
                <a:cubicBezTo>
                  <a:pt x="219" y="1812"/>
                  <a:pt x="218" y="1813"/>
                  <a:pt x="218" y="1813"/>
                </a:cubicBezTo>
                <a:cubicBezTo>
                  <a:pt x="218" y="1814"/>
                  <a:pt x="218" y="1815"/>
                  <a:pt x="218" y="1815"/>
                </a:cubicBezTo>
                <a:cubicBezTo>
                  <a:pt x="217" y="1818"/>
                  <a:pt x="216" y="1821"/>
                  <a:pt x="215" y="1823"/>
                </a:cubicBezTo>
                <a:cubicBezTo>
                  <a:pt x="215" y="1824"/>
                  <a:pt x="215" y="1825"/>
                  <a:pt x="214" y="1826"/>
                </a:cubicBezTo>
                <a:cubicBezTo>
                  <a:pt x="214" y="1827"/>
                  <a:pt x="214" y="1828"/>
                  <a:pt x="213" y="1828"/>
                </a:cubicBezTo>
                <a:cubicBezTo>
                  <a:pt x="212" y="1829"/>
                  <a:pt x="212" y="1830"/>
                  <a:pt x="212" y="1831"/>
                </a:cubicBezTo>
                <a:cubicBezTo>
                  <a:pt x="212" y="1832"/>
                  <a:pt x="211" y="1834"/>
                  <a:pt x="212" y="1835"/>
                </a:cubicBezTo>
                <a:cubicBezTo>
                  <a:pt x="212" y="1835"/>
                  <a:pt x="212" y="1835"/>
                  <a:pt x="213" y="1836"/>
                </a:cubicBezTo>
                <a:cubicBezTo>
                  <a:pt x="213" y="1836"/>
                  <a:pt x="213" y="1836"/>
                  <a:pt x="213" y="1836"/>
                </a:cubicBezTo>
                <a:cubicBezTo>
                  <a:pt x="214" y="1837"/>
                  <a:pt x="214" y="1837"/>
                  <a:pt x="213" y="1838"/>
                </a:cubicBezTo>
                <a:cubicBezTo>
                  <a:pt x="213" y="1841"/>
                  <a:pt x="209" y="1843"/>
                  <a:pt x="210" y="1846"/>
                </a:cubicBezTo>
                <a:cubicBezTo>
                  <a:pt x="210" y="1847"/>
                  <a:pt x="210" y="1847"/>
                  <a:pt x="210" y="1848"/>
                </a:cubicBezTo>
                <a:cubicBezTo>
                  <a:pt x="211" y="1849"/>
                  <a:pt x="211" y="1850"/>
                  <a:pt x="211" y="1852"/>
                </a:cubicBezTo>
                <a:cubicBezTo>
                  <a:pt x="210" y="1853"/>
                  <a:pt x="211" y="1853"/>
                  <a:pt x="210" y="1854"/>
                </a:cubicBezTo>
                <a:cubicBezTo>
                  <a:pt x="210" y="1855"/>
                  <a:pt x="211" y="1855"/>
                  <a:pt x="211" y="1856"/>
                </a:cubicBezTo>
                <a:cubicBezTo>
                  <a:pt x="211" y="1856"/>
                  <a:pt x="211" y="1857"/>
                  <a:pt x="211" y="1857"/>
                </a:cubicBezTo>
                <a:cubicBezTo>
                  <a:pt x="211" y="1859"/>
                  <a:pt x="211" y="1860"/>
                  <a:pt x="211" y="1861"/>
                </a:cubicBezTo>
                <a:cubicBezTo>
                  <a:pt x="210" y="1861"/>
                  <a:pt x="210" y="1862"/>
                  <a:pt x="209" y="1862"/>
                </a:cubicBezTo>
                <a:cubicBezTo>
                  <a:pt x="209" y="1863"/>
                  <a:pt x="209" y="1865"/>
                  <a:pt x="209" y="1866"/>
                </a:cubicBezTo>
                <a:cubicBezTo>
                  <a:pt x="208" y="1867"/>
                  <a:pt x="208" y="1868"/>
                  <a:pt x="208" y="1869"/>
                </a:cubicBezTo>
                <a:cubicBezTo>
                  <a:pt x="208" y="1871"/>
                  <a:pt x="208" y="1872"/>
                  <a:pt x="207" y="1873"/>
                </a:cubicBezTo>
                <a:cubicBezTo>
                  <a:pt x="207" y="1874"/>
                  <a:pt x="207" y="1875"/>
                  <a:pt x="207" y="1876"/>
                </a:cubicBezTo>
                <a:cubicBezTo>
                  <a:pt x="207" y="1877"/>
                  <a:pt x="209" y="1877"/>
                  <a:pt x="209" y="1878"/>
                </a:cubicBezTo>
                <a:cubicBezTo>
                  <a:pt x="209" y="1880"/>
                  <a:pt x="208" y="1881"/>
                  <a:pt x="208" y="1882"/>
                </a:cubicBezTo>
                <a:cubicBezTo>
                  <a:pt x="207" y="1883"/>
                  <a:pt x="207" y="1885"/>
                  <a:pt x="207" y="1886"/>
                </a:cubicBezTo>
                <a:cubicBezTo>
                  <a:pt x="206" y="1888"/>
                  <a:pt x="206" y="1890"/>
                  <a:pt x="206" y="1892"/>
                </a:cubicBezTo>
                <a:cubicBezTo>
                  <a:pt x="205" y="1896"/>
                  <a:pt x="205" y="1900"/>
                  <a:pt x="204" y="1904"/>
                </a:cubicBezTo>
                <a:cubicBezTo>
                  <a:pt x="204" y="1905"/>
                  <a:pt x="203" y="1906"/>
                  <a:pt x="203" y="1908"/>
                </a:cubicBezTo>
                <a:cubicBezTo>
                  <a:pt x="203" y="1909"/>
                  <a:pt x="202" y="1909"/>
                  <a:pt x="202" y="1910"/>
                </a:cubicBezTo>
                <a:cubicBezTo>
                  <a:pt x="202" y="1911"/>
                  <a:pt x="202" y="1911"/>
                  <a:pt x="202" y="1911"/>
                </a:cubicBezTo>
                <a:cubicBezTo>
                  <a:pt x="202" y="1911"/>
                  <a:pt x="202" y="1911"/>
                  <a:pt x="202" y="1911"/>
                </a:cubicBezTo>
                <a:cubicBezTo>
                  <a:pt x="202" y="1912"/>
                  <a:pt x="202" y="1913"/>
                  <a:pt x="202" y="1914"/>
                </a:cubicBezTo>
                <a:cubicBezTo>
                  <a:pt x="202" y="1915"/>
                  <a:pt x="201" y="1916"/>
                  <a:pt x="201" y="1917"/>
                </a:cubicBezTo>
                <a:cubicBezTo>
                  <a:pt x="201" y="1919"/>
                  <a:pt x="201" y="1920"/>
                  <a:pt x="201" y="1922"/>
                </a:cubicBezTo>
                <a:cubicBezTo>
                  <a:pt x="201" y="1923"/>
                  <a:pt x="201" y="1925"/>
                  <a:pt x="200" y="1925"/>
                </a:cubicBezTo>
                <a:cubicBezTo>
                  <a:pt x="200" y="1926"/>
                  <a:pt x="199" y="1925"/>
                  <a:pt x="199" y="1926"/>
                </a:cubicBezTo>
                <a:cubicBezTo>
                  <a:pt x="199" y="1926"/>
                  <a:pt x="199" y="1926"/>
                  <a:pt x="199" y="1927"/>
                </a:cubicBezTo>
                <a:cubicBezTo>
                  <a:pt x="199" y="1927"/>
                  <a:pt x="200" y="1927"/>
                  <a:pt x="200" y="1927"/>
                </a:cubicBezTo>
                <a:cubicBezTo>
                  <a:pt x="201" y="1926"/>
                  <a:pt x="202" y="1929"/>
                  <a:pt x="202" y="1930"/>
                </a:cubicBezTo>
                <a:cubicBezTo>
                  <a:pt x="201" y="1931"/>
                  <a:pt x="200" y="1930"/>
                  <a:pt x="200" y="1931"/>
                </a:cubicBezTo>
                <a:cubicBezTo>
                  <a:pt x="199" y="1931"/>
                  <a:pt x="199" y="1932"/>
                  <a:pt x="199" y="1932"/>
                </a:cubicBezTo>
                <a:cubicBezTo>
                  <a:pt x="199" y="1933"/>
                  <a:pt x="199" y="1934"/>
                  <a:pt x="198" y="1935"/>
                </a:cubicBezTo>
                <a:cubicBezTo>
                  <a:pt x="198" y="1935"/>
                  <a:pt x="197" y="1937"/>
                  <a:pt x="197" y="1937"/>
                </a:cubicBezTo>
                <a:cubicBezTo>
                  <a:pt x="198" y="1938"/>
                  <a:pt x="198" y="1938"/>
                  <a:pt x="198" y="1938"/>
                </a:cubicBezTo>
                <a:cubicBezTo>
                  <a:pt x="199" y="1939"/>
                  <a:pt x="198" y="1939"/>
                  <a:pt x="197" y="1940"/>
                </a:cubicBezTo>
                <a:cubicBezTo>
                  <a:pt x="197" y="1941"/>
                  <a:pt x="198" y="1942"/>
                  <a:pt x="198" y="1943"/>
                </a:cubicBezTo>
                <a:cubicBezTo>
                  <a:pt x="198" y="1943"/>
                  <a:pt x="198" y="1944"/>
                  <a:pt x="198" y="1945"/>
                </a:cubicBezTo>
                <a:cubicBezTo>
                  <a:pt x="198" y="1945"/>
                  <a:pt x="198" y="1945"/>
                  <a:pt x="198" y="1945"/>
                </a:cubicBezTo>
                <a:cubicBezTo>
                  <a:pt x="198" y="1946"/>
                  <a:pt x="198" y="1946"/>
                  <a:pt x="197" y="1946"/>
                </a:cubicBezTo>
                <a:cubicBezTo>
                  <a:pt x="196" y="1947"/>
                  <a:pt x="196" y="1949"/>
                  <a:pt x="196" y="1950"/>
                </a:cubicBezTo>
                <a:cubicBezTo>
                  <a:pt x="194" y="1966"/>
                  <a:pt x="193" y="1973"/>
                  <a:pt x="193" y="1973"/>
                </a:cubicBezTo>
                <a:cubicBezTo>
                  <a:pt x="193" y="1974"/>
                  <a:pt x="192" y="1982"/>
                  <a:pt x="191" y="1984"/>
                </a:cubicBezTo>
                <a:cubicBezTo>
                  <a:pt x="191" y="1985"/>
                  <a:pt x="190" y="1986"/>
                  <a:pt x="190" y="1986"/>
                </a:cubicBezTo>
                <a:cubicBezTo>
                  <a:pt x="189" y="1987"/>
                  <a:pt x="189" y="1988"/>
                  <a:pt x="189" y="1988"/>
                </a:cubicBezTo>
                <a:cubicBezTo>
                  <a:pt x="188" y="1989"/>
                  <a:pt x="188" y="1990"/>
                  <a:pt x="188" y="1990"/>
                </a:cubicBezTo>
                <a:cubicBezTo>
                  <a:pt x="188" y="1991"/>
                  <a:pt x="188" y="1991"/>
                  <a:pt x="188" y="1991"/>
                </a:cubicBezTo>
                <a:cubicBezTo>
                  <a:pt x="187" y="1992"/>
                  <a:pt x="187" y="1991"/>
                  <a:pt x="187" y="1992"/>
                </a:cubicBezTo>
                <a:cubicBezTo>
                  <a:pt x="186" y="1992"/>
                  <a:pt x="186" y="1993"/>
                  <a:pt x="186" y="1994"/>
                </a:cubicBezTo>
                <a:cubicBezTo>
                  <a:pt x="186" y="1994"/>
                  <a:pt x="186" y="1996"/>
                  <a:pt x="186" y="1997"/>
                </a:cubicBezTo>
                <a:cubicBezTo>
                  <a:pt x="186" y="1998"/>
                  <a:pt x="187" y="2000"/>
                  <a:pt x="186" y="2001"/>
                </a:cubicBezTo>
                <a:cubicBezTo>
                  <a:pt x="185" y="2001"/>
                  <a:pt x="185" y="2001"/>
                  <a:pt x="185" y="2002"/>
                </a:cubicBezTo>
                <a:cubicBezTo>
                  <a:pt x="184" y="2003"/>
                  <a:pt x="185" y="2003"/>
                  <a:pt x="185" y="2004"/>
                </a:cubicBezTo>
                <a:cubicBezTo>
                  <a:pt x="186" y="2004"/>
                  <a:pt x="186" y="2005"/>
                  <a:pt x="185" y="2006"/>
                </a:cubicBezTo>
                <a:cubicBezTo>
                  <a:pt x="185" y="2008"/>
                  <a:pt x="185" y="2009"/>
                  <a:pt x="185" y="2011"/>
                </a:cubicBezTo>
                <a:cubicBezTo>
                  <a:pt x="184" y="2016"/>
                  <a:pt x="184" y="2020"/>
                  <a:pt x="183" y="2022"/>
                </a:cubicBezTo>
                <a:cubicBezTo>
                  <a:pt x="183" y="2023"/>
                  <a:pt x="183" y="2025"/>
                  <a:pt x="183" y="2026"/>
                </a:cubicBezTo>
                <a:cubicBezTo>
                  <a:pt x="183" y="2027"/>
                  <a:pt x="183" y="2028"/>
                  <a:pt x="183" y="2028"/>
                </a:cubicBezTo>
                <a:cubicBezTo>
                  <a:pt x="183" y="2029"/>
                  <a:pt x="184" y="2029"/>
                  <a:pt x="184" y="2030"/>
                </a:cubicBezTo>
                <a:cubicBezTo>
                  <a:pt x="185" y="2031"/>
                  <a:pt x="184" y="2033"/>
                  <a:pt x="183" y="2034"/>
                </a:cubicBezTo>
                <a:cubicBezTo>
                  <a:pt x="182" y="2035"/>
                  <a:pt x="182" y="2036"/>
                  <a:pt x="182" y="2037"/>
                </a:cubicBezTo>
                <a:cubicBezTo>
                  <a:pt x="181" y="2038"/>
                  <a:pt x="182" y="2038"/>
                  <a:pt x="181" y="2039"/>
                </a:cubicBezTo>
                <a:cubicBezTo>
                  <a:pt x="181" y="2041"/>
                  <a:pt x="181" y="2044"/>
                  <a:pt x="181" y="2046"/>
                </a:cubicBezTo>
                <a:cubicBezTo>
                  <a:pt x="180" y="2051"/>
                  <a:pt x="179" y="2057"/>
                  <a:pt x="178" y="2064"/>
                </a:cubicBezTo>
                <a:cubicBezTo>
                  <a:pt x="175" y="2079"/>
                  <a:pt x="173" y="2094"/>
                  <a:pt x="172" y="2098"/>
                </a:cubicBezTo>
                <a:cubicBezTo>
                  <a:pt x="172" y="2100"/>
                  <a:pt x="172" y="2101"/>
                  <a:pt x="172" y="2103"/>
                </a:cubicBezTo>
                <a:cubicBezTo>
                  <a:pt x="172" y="2104"/>
                  <a:pt x="171" y="2105"/>
                  <a:pt x="172" y="2106"/>
                </a:cubicBezTo>
                <a:cubicBezTo>
                  <a:pt x="172" y="2107"/>
                  <a:pt x="172" y="2107"/>
                  <a:pt x="172" y="2107"/>
                </a:cubicBezTo>
                <a:cubicBezTo>
                  <a:pt x="172" y="2108"/>
                  <a:pt x="172" y="2108"/>
                  <a:pt x="171" y="2108"/>
                </a:cubicBezTo>
                <a:cubicBezTo>
                  <a:pt x="171" y="2108"/>
                  <a:pt x="171" y="2108"/>
                  <a:pt x="171" y="2108"/>
                </a:cubicBezTo>
                <a:cubicBezTo>
                  <a:pt x="171" y="2110"/>
                  <a:pt x="171" y="2111"/>
                  <a:pt x="171" y="2112"/>
                </a:cubicBezTo>
                <a:cubicBezTo>
                  <a:pt x="171" y="2113"/>
                  <a:pt x="170" y="2115"/>
                  <a:pt x="170" y="2116"/>
                </a:cubicBezTo>
                <a:cubicBezTo>
                  <a:pt x="170" y="2117"/>
                  <a:pt x="169" y="2118"/>
                  <a:pt x="169" y="2120"/>
                </a:cubicBezTo>
                <a:cubicBezTo>
                  <a:pt x="169" y="2120"/>
                  <a:pt x="169" y="2120"/>
                  <a:pt x="169" y="2120"/>
                </a:cubicBezTo>
                <a:cubicBezTo>
                  <a:pt x="171" y="2122"/>
                  <a:pt x="170" y="2123"/>
                  <a:pt x="170" y="2125"/>
                </a:cubicBezTo>
                <a:cubicBezTo>
                  <a:pt x="169" y="2125"/>
                  <a:pt x="169" y="2126"/>
                  <a:pt x="169" y="2126"/>
                </a:cubicBezTo>
                <a:cubicBezTo>
                  <a:pt x="169" y="2126"/>
                  <a:pt x="168" y="2126"/>
                  <a:pt x="168" y="2126"/>
                </a:cubicBezTo>
                <a:cubicBezTo>
                  <a:pt x="167" y="2127"/>
                  <a:pt x="167" y="2129"/>
                  <a:pt x="167" y="2130"/>
                </a:cubicBezTo>
                <a:cubicBezTo>
                  <a:pt x="167" y="2133"/>
                  <a:pt x="167" y="2134"/>
                  <a:pt x="167" y="2136"/>
                </a:cubicBezTo>
                <a:cubicBezTo>
                  <a:pt x="166" y="2138"/>
                  <a:pt x="165" y="2140"/>
                  <a:pt x="165" y="2142"/>
                </a:cubicBezTo>
                <a:cubicBezTo>
                  <a:pt x="165" y="2143"/>
                  <a:pt x="164" y="2148"/>
                  <a:pt x="163" y="2153"/>
                </a:cubicBezTo>
                <a:cubicBezTo>
                  <a:pt x="163" y="2155"/>
                  <a:pt x="163" y="2157"/>
                  <a:pt x="163" y="2158"/>
                </a:cubicBezTo>
                <a:cubicBezTo>
                  <a:pt x="163" y="2160"/>
                  <a:pt x="162" y="2161"/>
                  <a:pt x="163" y="2162"/>
                </a:cubicBezTo>
                <a:cubicBezTo>
                  <a:pt x="163" y="2163"/>
                  <a:pt x="163" y="2163"/>
                  <a:pt x="163" y="2164"/>
                </a:cubicBezTo>
                <a:cubicBezTo>
                  <a:pt x="163" y="2165"/>
                  <a:pt x="162" y="2166"/>
                  <a:pt x="162" y="2167"/>
                </a:cubicBezTo>
                <a:cubicBezTo>
                  <a:pt x="161" y="2169"/>
                  <a:pt x="161" y="2171"/>
                  <a:pt x="160" y="2174"/>
                </a:cubicBezTo>
                <a:cubicBezTo>
                  <a:pt x="160" y="2176"/>
                  <a:pt x="159" y="2179"/>
                  <a:pt x="159" y="2181"/>
                </a:cubicBezTo>
                <a:cubicBezTo>
                  <a:pt x="158" y="2184"/>
                  <a:pt x="158" y="2187"/>
                  <a:pt x="157" y="2190"/>
                </a:cubicBezTo>
                <a:cubicBezTo>
                  <a:pt x="157" y="2192"/>
                  <a:pt x="157" y="2193"/>
                  <a:pt x="157" y="2194"/>
                </a:cubicBezTo>
                <a:cubicBezTo>
                  <a:pt x="157" y="2195"/>
                  <a:pt x="156" y="2196"/>
                  <a:pt x="156" y="2198"/>
                </a:cubicBezTo>
                <a:cubicBezTo>
                  <a:pt x="157" y="2199"/>
                  <a:pt x="157" y="2201"/>
                  <a:pt x="157" y="2202"/>
                </a:cubicBezTo>
                <a:cubicBezTo>
                  <a:pt x="157" y="2204"/>
                  <a:pt x="156" y="2206"/>
                  <a:pt x="155" y="2208"/>
                </a:cubicBezTo>
                <a:cubicBezTo>
                  <a:pt x="155" y="2211"/>
                  <a:pt x="154" y="2213"/>
                  <a:pt x="153" y="2215"/>
                </a:cubicBezTo>
                <a:cubicBezTo>
                  <a:pt x="153" y="2219"/>
                  <a:pt x="152" y="2224"/>
                  <a:pt x="151" y="2229"/>
                </a:cubicBezTo>
                <a:cubicBezTo>
                  <a:pt x="151" y="2233"/>
                  <a:pt x="150" y="2236"/>
                  <a:pt x="150" y="2240"/>
                </a:cubicBezTo>
                <a:cubicBezTo>
                  <a:pt x="149" y="2243"/>
                  <a:pt x="149" y="2246"/>
                  <a:pt x="149" y="2249"/>
                </a:cubicBezTo>
                <a:cubicBezTo>
                  <a:pt x="149" y="2249"/>
                  <a:pt x="148" y="2250"/>
                  <a:pt x="148" y="2251"/>
                </a:cubicBezTo>
                <a:cubicBezTo>
                  <a:pt x="148" y="2251"/>
                  <a:pt x="148" y="2252"/>
                  <a:pt x="148" y="2252"/>
                </a:cubicBezTo>
                <a:cubicBezTo>
                  <a:pt x="148" y="2253"/>
                  <a:pt x="149" y="2253"/>
                  <a:pt x="149" y="2254"/>
                </a:cubicBezTo>
                <a:cubicBezTo>
                  <a:pt x="149" y="2254"/>
                  <a:pt x="149" y="2255"/>
                  <a:pt x="148" y="2255"/>
                </a:cubicBezTo>
                <a:cubicBezTo>
                  <a:pt x="147" y="2255"/>
                  <a:pt x="146" y="2258"/>
                  <a:pt x="146" y="2259"/>
                </a:cubicBezTo>
                <a:cubicBezTo>
                  <a:pt x="146" y="2260"/>
                  <a:pt x="144" y="2262"/>
                  <a:pt x="145" y="2263"/>
                </a:cubicBezTo>
                <a:cubicBezTo>
                  <a:pt x="145" y="2263"/>
                  <a:pt x="146" y="2263"/>
                  <a:pt x="146" y="2263"/>
                </a:cubicBezTo>
                <a:cubicBezTo>
                  <a:pt x="146" y="2263"/>
                  <a:pt x="146" y="2264"/>
                  <a:pt x="146" y="2264"/>
                </a:cubicBezTo>
                <a:cubicBezTo>
                  <a:pt x="146" y="2265"/>
                  <a:pt x="145" y="2266"/>
                  <a:pt x="145" y="2268"/>
                </a:cubicBezTo>
                <a:cubicBezTo>
                  <a:pt x="144" y="2270"/>
                  <a:pt x="144" y="2274"/>
                  <a:pt x="143" y="2277"/>
                </a:cubicBezTo>
                <a:cubicBezTo>
                  <a:pt x="143" y="2281"/>
                  <a:pt x="141" y="2292"/>
                  <a:pt x="140" y="2298"/>
                </a:cubicBezTo>
                <a:cubicBezTo>
                  <a:pt x="139" y="2299"/>
                  <a:pt x="139" y="2302"/>
                  <a:pt x="139" y="2305"/>
                </a:cubicBezTo>
                <a:cubicBezTo>
                  <a:pt x="139" y="2306"/>
                  <a:pt x="139" y="2308"/>
                  <a:pt x="138" y="2310"/>
                </a:cubicBezTo>
                <a:cubicBezTo>
                  <a:pt x="137" y="2311"/>
                  <a:pt x="137" y="2311"/>
                  <a:pt x="137" y="2312"/>
                </a:cubicBezTo>
                <a:cubicBezTo>
                  <a:pt x="136" y="2313"/>
                  <a:pt x="137" y="2314"/>
                  <a:pt x="136" y="2315"/>
                </a:cubicBezTo>
                <a:cubicBezTo>
                  <a:pt x="136" y="2317"/>
                  <a:pt x="136" y="2319"/>
                  <a:pt x="135" y="2321"/>
                </a:cubicBezTo>
                <a:cubicBezTo>
                  <a:pt x="135" y="2322"/>
                  <a:pt x="135" y="2323"/>
                  <a:pt x="134" y="2323"/>
                </a:cubicBezTo>
                <a:cubicBezTo>
                  <a:pt x="134" y="2324"/>
                  <a:pt x="134" y="2324"/>
                  <a:pt x="134" y="2324"/>
                </a:cubicBezTo>
                <a:cubicBezTo>
                  <a:pt x="134" y="2325"/>
                  <a:pt x="134" y="2325"/>
                  <a:pt x="134" y="2325"/>
                </a:cubicBezTo>
                <a:cubicBezTo>
                  <a:pt x="135" y="2326"/>
                  <a:pt x="135" y="2327"/>
                  <a:pt x="134" y="2328"/>
                </a:cubicBezTo>
                <a:cubicBezTo>
                  <a:pt x="134" y="2329"/>
                  <a:pt x="134" y="2331"/>
                  <a:pt x="134" y="2332"/>
                </a:cubicBezTo>
                <a:cubicBezTo>
                  <a:pt x="133" y="2335"/>
                  <a:pt x="133" y="2337"/>
                  <a:pt x="132" y="2340"/>
                </a:cubicBezTo>
                <a:cubicBezTo>
                  <a:pt x="131" y="2344"/>
                  <a:pt x="131" y="2349"/>
                  <a:pt x="130" y="2354"/>
                </a:cubicBezTo>
                <a:cubicBezTo>
                  <a:pt x="130" y="2355"/>
                  <a:pt x="130" y="2355"/>
                  <a:pt x="131" y="2356"/>
                </a:cubicBezTo>
                <a:cubicBezTo>
                  <a:pt x="131" y="2357"/>
                  <a:pt x="131" y="2357"/>
                  <a:pt x="131" y="2358"/>
                </a:cubicBezTo>
                <a:cubicBezTo>
                  <a:pt x="131" y="2358"/>
                  <a:pt x="131" y="2358"/>
                  <a:pt x="131" y="2358"/>
                </a:cubicBezTo>
                <a:cubicBezTo>
                  <a:pt x="131" y="2359"/>
                  <a:pt x="130" y="2360"/>
                  <a:pt x="130" y="2360"/>
                </a:cubicBezTo>
                <a:cubicBezTo>
                  <a:pt x="129" y="2361"/>
                  <a:pt x="129" y="2362"/>
                  <a:pt x="129" y="2363"/>
                </a:cubicBezTo>
                <a:cubicBezTo>
                  <a:pt x="128" y="2364"/>
                  <a:pt x="127" y="2367"/>
                  <a:pt x="128" y="2367"/>
                </a:cubicBezTo>
                <a:cubicBezTo>
                  <a:pt x="128" y="2368"/>
                  <a:pt x="129" y="2368"/>
                  <a:pt x="129" y="2368"/>
                </a:cubicBezTo>
                <a:cubicBezTo>
                  <a:pt x="129" y="2368"/>
                  <a:pt x="129" y="2369"/>
                  <a:pt x="129" y="2369"/>
                </a:cubicBezTo>
                <a:cubicBezTo>
                  <a:pt x="129" y="2369"/>
                  <a:pt x="129" y="2369"/>
                  <a:pt x="128" y="2370"/>
                </a:cubicBezTo>
                <a:cubicBezTo>
                  <a:pt x="127" y="2370"/>
                  <a:pt x="127" y="2372"/>
                  <a:pt x="126" y="2373"/>
                </a:cubicBezTo>
                <a:cubicBezTo>
                  <a:pt x="126" y="2375"/>
                  <a:pt x="125" y="2376"/>
                  <a:pt x="125" y="2378"/>
                </a:cubicBezTo>
                <a:cubicBezTo>
                  <a:pt x="125" y="2378"/>
                  <a:pt x="124" y="2378"/>
                  <a:pt x="124" y="2378"/>
                </a:cubicBezTo>
                <a:cubicBezTo>
                  <a:pt x="124" y="2379"/>
                  <a:pt x="124" y="2379"/>
                  <a:pt x="125" y="2380"/>
                </a:cubicBezTo>
                <a:cubicBezTo>
                  <a:pt x="125" y="2380"/>
                  <a:pt x="125" y="2381"/>
                  <a:pt x="125" y="2381"/>
                </a:cubicBezTo>
                <a:cubicBezTo>
                  <a:pt x="125" y="2381"/>
                  <a:pt x="125" y="2381"/>
                  <a:pt x="125" y="2382"/>
                </a:cubicBezTo>
                <a:cubicBezTo>
                  <a:pt x="125" y="2382"/>
                  <a:pt x="125" y="2382"/>
                  <a:pt x="125" y="2383"/>
                </a:cubicBezTo>
                <a:cubicBezTo>
                  <a:pt x="125" y="2383"/>
                  <a:pt x="124" y="2383"/>
                  <a:pt x="123" y="2382"/>
                </a:cubicBezTo>
                <a:cubicBezTo>
                  <a:pt x="123" y="2383"/>
                  <a:pt x="123" y="2383"/>
                  <a:pt x="123" y="2384"/>
                </a:cubicBezTo>
                <a:cubicBezTo>
                  <a:pt x="123" y="2385"/>
                  <a:pt x="124" y="2386"/>
                  <a:pt x="124" y="2387"/>
                </a:cubicBezTo>
                <a:cubicBezTo>
                  <a:pt x="124" y="2387"/>
                  <a:pt x="124" y="2388"/>
                  <a:pt x="124" y="2389"/>
                </a:cubicBezTo>
                <a:cubicBezTo>
                  <a:pt x="124" y="2390"/>
                  <a:pt x="123" y="2391"/>
                  <a:pt x="123" y="2393"/>
                </a:cubicBezTo>
                <a:cubicBezTo>
                  <a:pt x="123" y="2396"/>
                  <a:pt x="122" y="2401"/>
                  <a:pt x="121" y="2402"/>
                </a:cubicBezTo>
                <a:cubicBezTo>
                  <a:pt x="121" y="2403"/>
                  <a:pt x="120" y="2404"/>
                  <a:pt x="120" y="2405"/>
                </a:cubicBezTo>
                <a:cubicBezTo>
                  <a:pt x="120" y="2405"/>
                  <a:pt x="120" y="2405"/>
                  <a:pt x="119" y="2405"/>
                </a:cubicBezTo>
                <a:cubicBezTo>
                  <a:pt x="119" y="2405"/>
                  <a:pt x="118" y="2406"/>
                  <a:pt x="119" y="2407"/>
                </a:cubicBezTo>
                <a:cubicBezTo>
                  <a:pt x="119" y="2407"/>
                  <a:pt x="120" y="2407"/>
                  <a:pt x="120" y="2408"/>
                </a:cubicBezTo>
                <a:cubicBezTo>
                  <a:pt x="121" y="2409"/>
                  <a:pt x="120" y="2411"/>
                  <a:pt x="119" y="2412"/>
                </a:cubicBezTo>
                <a:cubicBezTo>
                  <a:pt x="118" y="2415"/>
                  <a:pt x="117" y="2418"/>
                  <a:pt x="117" y="2422"/>
                </a:cubicBezTo>
                <a:cubicBezTo>
                  <a:pt x="117" y="2423"/>
                  <a:pt x="116" y="2425"/>
                  <a:pt x="116" y="2426"/>
                </a:cubicBezTo>
                <a:cubicBezTo>
                  <a:pt x="116" y="2426"/>
                  <a:pt x="116" y="2427"/>
                  <a:pt x="116" y="2428"/>
                </a:cubicBezTo>
                <a:cubicBezTo>
                  <a:pt x="116" y="2428"/>
                  <a:pt x="115" y="2428"/>
                  <a:pt x="115" y="2429"/>
                </a:cubicBezTo>
                <a:cubicBezTo>
                  <a:pt x="115" y="2429"/>
                  <a:pt x="115" y="2429"/>
                  <a:pt x="115" y="2430"/>
                </a:cubicBezTo>
                <a:cubicBezTo>
                  <a:pt x="115" y="2430"/>
                  <a:pt x="115" y="2430"/>
                  <a:pt x="115" y="2431"/>
                </a:cubicBezTo>
                <a:cubicBezTo>
                  <a:pt x="115" y="2431"/>
                  <a:pt x="115" y="2431"/>
                  <a:pt x="116" y="2432"/>
                </a:cubicBezTo>
                <a:cubicBezTo>
                  <a:pt x="116" y="2432"/>
                  <a:pt x="116" y="2433"/>
                  <a:pt x="116" y="2434"/>
                </a:cubicBezTo>
                <a:cubicBezTo>
                  <a:pt x="117" y="2435"/>
                  <a:pt x="117" y="2437"/>
                  <a:pt x="117" y="2439"/>
                </a:cubicBezTo>
                <a:cubicBezTo>
                  <a:pt x="116" y="2441"/>
                  <a:pt x="116" y="2442"/>
                  <a:pt x="115" y="2443"/>
                </a:cubicBezTo>
                <a:cubicBezTo>
                  <a:pt x="115" y="2444"/>
                  <a:pt x="114" y="2445"/>
                  <a:pt x="114" y="2446"/>
                </a:cubicBezTo>
                <a:cubicBezTo>
                  <a:pt x="114" y="2446"/>
                  <a:pt x="113" y="2447"/>
                  <a:pt x="113" y="2447"/>
                </a:cubicBezTo>
                <a:cubicBezTo>
                  <a:pt x="113" y="2447"/>
                  <a:pt x="112" y="2448"/>
                  <a:pt x="112" y="2448"/>
                </a:cubicBezTo>
                <a:cubicBezTo>
                  <a:pt x="112" y="2448"/>
                  <a:pt x="112" y="2448"/>
                  <a:pt x="112" y="2449"/>
                </a:cubicBezTo>
                <a:cubicBezTo>
                  <a:pt x="112" y="2449"/>
                  <a:pt x="112" y="2449"/>
                  <a:pt x="113" y="2449"/>
                </a:cubicBezTo>
                <a:cubicBezTo>
                  <a:pt x="113" y="2449"/>
                  <a:pt x="113" y="2449"/>
                  <a:pt x="113" y="2450"/>
                </a:cubicBezTo>
                <a:cubicBezTo>
                  <a:pt x="113" y="2451"/>
                  <a:pt x="111" y="2452"/>
                  <a:pt x="111" y="2454"/>
                </a:cubicBezTo>
                <a:cubicBezTo>
                  <a:pt x="111" y="2454"/>
                  <a:pt x="111" y="2454"/>
                  <a:pt x="111" y="2455"/>
                </a:cubicBezTo>
                <a:cubicBezTo>
                  <a:pt x="111" y="2456"/>
                  <a:pt x="111" y="2457"/>
                  <a:pt x="111" y="2458"/>
                </a:cubicBezTo>
                <a:cubicBezTo>
                  <a:pt x="112" y="2459"/>
                  <a:pt x="112" y="2460"/>
                  <a:pt x="112" y="2460"/>
                </a:cubicBezTo>
                <a:cubicBezTo>
                  <a:pt x="112" y="2461"/>
                  <a:pt x="113" y="2462"/>
                  <a:pt x="113" y="2462"/>
                </a:cubicBezTo>
                <a:cubicBezTo>
                  <a:pt x="114" y="2463"/>
                  <a:pt x="113" y="2464"/>
                  <a:pt x="112" y="2465"/>
                </a:cubicBezTo>
                <a:cubicBezTo>
                  <a:pt x="111" y="2466"/>
                  <a:pt x="111" y="2467"/>
                  <a:pt x="110" y="2467"/>
                </a:cubicBezTo>
                <a:cubicBezTo>
                  <a:pt x="110" y="2469"/>
                  <a:pt x="109" y="2471"/>
                  <a:pt x="109" y="2473"/>
                </a:cubicBezTo>
                <a:cubicBezTo>
                  <a:pt x="108" y="2475"/>
                  <a:pt x="108" y="2476"/>
                  <a:pt x="107" y="2478"/>
                </a:cubicBezTo>
                <a:cubicBezTo>
                  <a:pt x="107" y="2479"/>
                  <a:pt x="107" y="2480"/>
                  <a:pt x="106" y="2481"/>
                </a:cubicBezTo>
                <a:cubicBezTo>
                  <a:pt x="106" y="2481"/>
                  <a:pt x="106" y="2481"/>
                  <a:pt x="106" y="2481"/>
                </a:cubicBezTo>
                <a:cubicBezTo>
                  <a:pt x="105" y="2482"/>
                  <a:pt x="105" y="2482"/>
                  <a:pt x="106" y="2482"/>
                </a:cubicBezTo>
                <a:cubicBezTo>
                  <a:pt x="106" y="2482"/>
                  <a:pt x="106" y="2482"/>
                  <a:pt x="106" y="2483"/>
                </a:cubicBezTo>
                <a:cubicBezTo>
                  <a:pt x="106" y="2483"/>
                  <a:pt x="106" y="2483"/>
                  <a:pt x="105" y="2483"/>
                </a:cubicBezTo>
                <a:cubicBezTo>
                  <a:pt x="105" y="2483"/>
                  <a:pt x="105" y="2483"/>
                  <a:pt x="106" y="2484"/>
                </a:cubicBezTo>
                <a:cubicBezTo>
                  <a:pt x="106" y="2484"/>
                  <a:pt x="106" y="2484"/>
                  <a:pt x="106" y="2484"/>
                </a:cubicBezTo>
                <a:cubicBezTo>
                  <a:pt x="106" y="2485"/>
                  <a:pt x="106" y="2485"/>
                  <a:pt x="106" y="2485"/>
                </a:cubicBezTo>
                <a:cubicBezTo>
                  <a:pt x="106" y="2485"/>
                  <a:pt x="105" y="2486"/>
                  <a:pt x="105" y="2487"/>
                </a:cubicBezTo>
                <a:cubicBezTo>
                  <a:pt x="105" y="2491"/>
                  <a:pt x="105" y="2495"/>
                  <a:pt x="105" y="2499"/>
                </a:cubicBezTo>
                <a:cubicBezTo>
                  <a:pt x="104" y="2500"/>
                  <a:pt x="104" y="2502"/>
                  <a:pt x="104" y="2503"/>
                </a:cubicBezTo>
                <a:cubicBezTo>
                  <a:pt x="104" y="2505"/>
                  <a:pt x="103" y="2505"/>
                  <a:pt x="102" y="2506"/>
                </a:cubicBezTo>
                <a:cubicBezTo>
                  <a:pt x="102" y="2506"/>
                  <a:pt x="101" y="2507"/>
                  <a:pt x="101" y="2507"/>
                </a:cubicBezTo>
                <a:cubicBezTo>
                  <a:pt x="100" y="2508"/>
                  <a:pt x="100" y="2509"/>
                  <a:pt x="99" y="2510"/>
                </a:cubicBezTo>
                <a:cubicBezTo>
                  <a:pt x="99" y="2511"/>
                  <a:pt x="98" y="2512"/>
                  <a:pt x="99" y="2513"/>
                </a:cubicBezTo>
                <a:cubicBezTo>
                  <a:pt x="101" y="2513"/>
                  <a:pt x="99" y="2516"/>
                  <a:pt x="99" y="2516"/>
                </a:cubicBezTo>
                <a:cubicBezTo>
                  <a:pt x="98" y="2518"/>
                  <a:pt x="98" y="2520"/>
                  <a:pt x="97" y="2522"/>
                </a:cubicBezTo>
                <a:cubicBezTo>
                  <a:pt x="97" y="2522"/>
                  <a:pt x="97" y="2523"/>
                  <a:pt x="97" y="2524"/>
                </a:cubicBezTo>
                <a:cubicBezTo>
                  <a:pt x="97" y="2525"/>
                  <a:pt x="98" y="2525"/>
                  <a:pt x="98" y="2526"/>
                </a:cubicBezTo>
                <a:cubicBezTo>
                  <a:pt x="98" y="2527"/>
                  <a:pt x="98" y="2527"/>
                  <a:pt x="98" y="2528"/>
                </a:cubicBezTo>
                <a:cubicBezTo>
                  <a:pt x="97" y="2528"/>
                  <a:pt x="97" y="2528"/>
                  <a:pt x="97" y="2528"/>
                </a:cubicBezTo>
                <a:cubicBezTo>
                  <a:pt x="96" y="2528"/>
                  <a:pt x="96" y="2529"/>
                  <a:pt x="96" y="2530"/>
                </a:cubicBezTo>
                <a:cubicBezTo>
                  <a:pt x="96" y="2530"/>
                  <a:pt x="96" y="2531"/>
                  <a:pt x="96" y="2531"/>
                </a:cubicBezTo>
                <a:cubicBezTo>
                  <a:pt x="96" y="2532"/>
                  <a:pt x="95" y="2533"/>
                  <a:pt x="96" y="2534"/>
                </a:cubicBezTo>
                <a:cubicBezTo>
                  <a:pt x="96" y="2534"/>
                  <a:pt x="96" y="2534"/>
                  <a:pt x="96" y="2534"/>
                </a:cubicBezTo>
                <a:cubicBezTo>
                  <a:pt x="97" y="2534"/>
                  <a:pt x="97" y="2534"/>
                  <a:pt x="97" y="2535"/>
                </a:cubicBezTo>
                <a:cubicBezTo>
                  <a:pt x="97" y="2536"/>
                  <a:pt x="97" y="2537"/>
                  <a:pt x="97" y="2538"/>
                </a:cubicBezTo>
                <a:cubicBezTo>
                  <a:pt x="96" y="2539"/>
                  <a:pt x="96" y="2540"/>
                  <a:pt x="96" y="2542"/>
                </a:cubicBezTo>
                <a:cubicBezTo>
                  <a:pt x="94" y="2545"/>
                  <a:pt x="93" y="2553"/>
                  <a:pt x="92" y="2559"/>
                </a:cubicBezTo>
                <a:cubicBezTo>
                  <a:pt x="91" y="2562"/>
                  <a:pt x="91" y="2564"/>
                  <a:pt x="90" y="2566"/>
                </a:cubicBezTo>
                <a:cubicBezTo>
                  <a:pt x="90" y="2568"/>
                  <a:pt x="90" y="2570"/>
                  <a:pt x="89" y="2572"/>
                </a:cubicBezTo>
                <a:cubicBezTo>
                  <a:pt x="89" y="2572"/>
                  <a:pt x="88" y="2573"/>
                  <a:pt x="88" y="2574"/>
                </a:cubicBezTo>
                <a:cubicBezTo>
                  <a:pt x="88" y="2574"/>
                  <a:pt x="88" y="2574"/>
                  <a:pt x="88" y="2574"/>
                </a:cubicBezTo>
                <a:cubicBezTo>
                  <a:pt x="88" y="2574"/>
                  <a:pt x="88" y="2575"/>
                  <a:pt x="88" y="2575"/>
                </a:cubicBezTo>
                <a:cubicBezTo>
                  <a:pt x="88" y="2575"/>
                  <a:pt x="89" y="2576"/>
                  <a:pt x="89" y="2576"/>
                </a:cubicBezTo>
                <a:cubicBezTo>
                  <a:pt x="89" y="2576"/>
                  <a:pt x="89" y="2576"/>
                  <a:pt x="89" y="2577"/>
                </a:cubicBezTo>
                <a:cubicBezTo>
                  <a:pt x="89" y="2577"/>
                  <a:pt x="89" y="2578"/>
                  <a:pt x="88" y="2579"/>
                </a:cubicBezTo>
                <a:cubicBezTo>
                  <a:pt x="88" y="2580"/>
                  <a:pt x="87" y="2583"/>
                  <a:pt x="86" y="2585"/>
                </a:cubicBezTo>
                <a:cubicBezTo>
                  <a:pt x="86" y="2585"/>
                  <a:pt x="86" y="2586"/>
                  <a:pt x="86" y="2587"/>
                </a:cubicBezTo>
                <a:cubicBezTo>
                  <a:pt x="86" y="2587"/>
                  <a:pt x="86" y="2588"/>
                  <a:pt x="85" y="2589"/>
                </a:cubicBezTo>
                <a:cubicBezTo>
                  <a:pt x="85" y="2589"/>
                  <a:pt x="85" y="2589"/>
                  <a:pt x="85" y="2589"/>
                </a:cubicBezTo>
                <a:cubicBezTo>
                  <a:pt x="85" y="2589"/>
                  <a:pt x="85" y="2589"/>
                  <a:pt x="86" y="2589"/>
                </a:cubicBezTo>
                <a:cubicBezTo>
                  <a:pt x="86" y="2589"/>
                  <a:pt x="87" y="2589"/>
                  <a:pt x="87" y="2590"/>
                </a:cubicBezTo>
                <a:cubicBezTo>
                  <a:pt x="87" y="2590"/>
                  <a:pt x="87" y="2590"/>
                  <a:pt x="87" y="2590"/>
                </a:cubicBezTo>
                <a:cubicBezTo>
                  <a:pt x="87" y="2592"/>
                  <a:pt x="86" y="2593"/>
                  <a:pt x="86" y="2594"/>
                </a:cubicBezTo>
                <a:cubicBezTo>
                  <a:pt x="85" y="2597"/>
                  <a:pt x="84" y="2601"/>
                  <a:pt x="84" y="2603"/>
                </a:cubicBezTo>
                <a:cubicBezTo>
                  <a:pt x="84" y="2604"/>
                  <a:pt x="83" y="2609"/>
                  <a:pt x="83" y="2613"/>
                </a:cubicBezTo>
                <a:cubicBezTo>
                  <a:pt x="82" y="2616"/>
                  <a:pt x="81" y="2626"/>
                  <a:pt x="79" y="2634"/>
                </a:cubicBezTo>
                <a:cubicBezTo>
                  <a:pt x="79" y="2636"/>
                  <a:pt x="78" y="2639"/>
                  <a:pt x="78" y="2641"/>
                </a:cubicBezTo>
                <a:cubicBezTo>
                  <a:pt x="78" y="2643"/>
                  <a:pt x="77" y="2644"/>
                  <a:pt x="77" y="2645"/>
                </a:cubicBezTo>
                <a:cubicBezTo>
                  <a:pt x="77" y="2646"/>
                  <a:pt x="77" y="2648"/>
                  <a:pt x="76" y="2648"/>
                </a:cubicBezTo>
                <a:cubicBezTo>
                  <a:pt x="76" y="2648"/>
                  <a:pt x="75" y="2648"/>
                  <a:pt x="75" y="2648"/>
                </a:cubicBezTo>
                <a:cubicBezTo>
                  <a:pt x="74" y="2649"/>
                  <a:pt x="74" y="2651"/>
                  <a:pt x="74" y="2652"/>
                </a:cubicBezTo>
                <a:cubicBezTo>
                  <a:pt x="74" y="2653"/>
                  <a:pt x="74" y="2654"/>
                  <a:pt x="74" y="2655"/>
                </a:cubicBezTo>
                <a:cubicBezTo>
                  <a:pt x="73" y="2656"/>
                  <a:pt x="73" y="2656"/>
                  <a:pt x="73" y="2656"/>
                </a:cubicBezTo>
                <a:cubicBezTo>
                  <a:pt x="73" y="2657"/>
                  <a:pt x="73" y="2657"/>
                  <a:pt x="72" y="2657"/>
                </a:cubicBezTo>
                <a:cubicBezTo>
                  <a:pt x="72" y="2657"/>
                  <a:pt x="72" y="2658"/>
                  <a:pt x="72" y="2658"/>
                </a:cubicBezTo>
                <a:cubicBezTo>
                  <a:pt x="73" y="2658"/>
                  <a:pt x="73" y="2658"/>
                  <a:pt x="73" y="2659"/>
                </a:cubicBezTo>
                <a:cubicBezTo>
                  <a:pt x="75" y="2659"/>
                  <a:pt x="74" y="2661"/>
                  <a:pt x="74" y="2663"/>
                </a:cubicBezTo>
                <a:cubicBezTo>
                  <a:pt x="74" y="2664"/>
                  <a:pt x="73" y="2667"/>
                  <a:pt x="73" y="2669"/>
                </a:cubicBezTo>
                <a:cubicBezTo>
                  <a:pt x="73" y="2670"/>
                  <a:pt x="73" y="2670"/>
                  <a:pt x="73" y="2671"/>
                </a:cubicBezTo>
                <a:cubicBezTo>
                  <a:pt x="73" y="2672"/>
                  <a:pt x="73" y="2672"/>
                  <a:pt x="73" y="2673"/>
                </a:cubicBezTo>
                <a:cubicBezTo>
                  <a:pt x="73" y="2673"/>
                  <a:pt x="72" y="2673"/>
                  <a:pt x="72" y="2674"/>
                </a:cubicBezTo>
                <a:cubicBezTo>
                  <a:pt x="71" y="2674"/>
                  <a:pt x="71" y="2676"/>
                  <a:pt x="71" y="2677"/>
                </a:cubicBezTo>
                <a:cubicBezTo>
                  <a:pt x="71" y="2678"/>
                  <a:pt x="71" y="2679"/>
                  <a:pt x="71" y="2680"/>
                </a:cubicBezTo>
                <a:cubicBezTo>
                  <a:pt x="71" y="2681"/>
                  <a:pt x="70" y="2681"/>
                  <a:pt x="70" y="2682"/>
                </a:cubicBezTo>
                <a:cubicBezTo>
                  <a:pt x="69" y="2682"/>
                  <a:pt x="68" y="2683"/>
                  <a:pt x="68" y="2683"/>
                </a:cubicBezTo>
                <a:cubicBezTo>
                  <a:pt x="68" y="2684"/>
                  <a:pt x="69" y="2684"/>
                  <a:pt x="69" y="2685"/>
                </a:cubicBezTo>
                <a:cubicBezTo>
                  <a:pt x="69" y="2686"/>
                  <a:pt x="69" y="2687"/>
                  <a:pt x="69" y="2688"/>
                </a:cubicBezTo>
                <a:cubicBezTo>
                  <a:pt x="69" y="2689"/>
                  <a:pt x="69" y="2691"/>
                  <a:pt x="69" y="2692"/>
                </a:cubicBezTo>
                <a:cubicBezTo>
                  <a:pt x="70" y="2694"/>
                  <a:pt x="69" y="2696"/>
                  <a:pt x="69" y="2698"/>
                </a:cubicBezTo>
                <a:cubicBezTo>
                  <a:pt x="68" y="2699"/>
                  <a:pt x="68" y="2701"/>
                  <a:pt x="67" y="2703"/>
                </a:cubicBezTo>
                <a:cubicBezTo>
                  <a:pt x="67" y="2704"/>
                  <a:pt x="66" y="2705"/>
                  <a:pt x="66" y="2705"/>
                </a:cubicBezTo>
                <a:cubicBezTo>
                  <a:pt x="66" y="2706"/>
                  <a:pt x="66" y="2706"/>
                  <a:pt x="66" y="2707"/>
                </a:cubicBezTo>
                <a:cubicBezTo>
                  <a:pt x="66" y="2707"/>
                  <a:pt x="67" y="2707"/>
                  <a:pt x="67" y="2707"/>
                </a:cubicBezTo>
                <a:cubicBezTo>
                  <a:pt x="67" y="2708"/>
                  <a:pt x="67" y="2708"/>
                  <a:pt x="67" y="2709"/>
                </a:cubicBezTo>
                <a:cubicBezTo>
                  <a:pt x="67" y="2709"/>
                  <a:pt x="67" y="2710"/>
                  <a:pt x="67" y="2711"/>
                </a:cubicBezTo>
                <a:cubicBezTo>
                  <a:pt x="66" y="2711"/>
                  <a:pt x="66" y="2711"/>
                  <a:pt x="65" y="2711"/>
                </a:cubicBezTo>
                <a:cubicBezTo>
                  <a:pt x="65" y="2711"/>
                  <a:pt x="64" y="2712"/>
                  <a:pt x="64" y="2712"/>
                </a:cubicBezTo>
                <a:cubicBezTo>
                  <a:pt x="64" y="2712"/>
                  <a:pt x="63" y="2713"/>
                  <a:pt x="63" y="2713"/>
                </a:cubicBezTo>
                <a:cubicBezTo>
                  <a:pt x="62" y="2714"/>
                  <a:pt x="63" y="2714"/>
                  <a:pt x="63" y="2715"/>
                </a:cubicBezTo>
                <a:cubicBezTo>
                  <a:pt x="63" y="2715"/>
                  <a:pt x="63" y="2715"/>
                  <a:pt x="63" y="2715"/>
                </a:cubicBezTo>
                <a:cubicBezTo>
                  <a:pt x="63" y="2715"/>
                  <a:pt x="62" y="2715"/>
                  <a:pt x="62" y="2715"/>
                </a:cubicBezTo>
                <a:cubicBezTo>
                  <a:pt x="62" y="2715"/>
                  <a:pt x="62" y="2715"/>
                  <a:pt x="62" y="2715"/>
                </a:cubicBezTo>
                <a:cubicBezTo>
                  <a:pt x="61" y="2715"/>
                  <a:pt x="61" y="2716"/>
                  <a:pt x="62" y="2716"/>
                </a:cubicBezTo>
                <a:cubicBezTo>
                  <a:pt x="62" y="2716"/>
                  <a:pt x="62" y="2716"/>
                  <a:pt x="62" y="2717"/>
                </a:cubicBezTo>
                <a:cubicBezTo>
                  <a:pt x="62" y="2717"/>
                  <a:pt x="63" y="2717"/>
                  <a:pt x="63" y="2717"/>
                </a:cubicBezTo>
                <a:cubicBezTo>
                  <a:pt x="63" y="2717"/>
                  <a:pt x="64" y="2716"/>
                  <a:pt x="64" y="2716"/>
                </a:cubicBezTo>
                <a:cubicBezTo>
                  <a:pt x="65" y="2716"/>
                  <a:pt x="65" y="2717"/>
                  <a:pt x="65" y="2717"/>
                </a:cubicBezTo>
                <a:cubicBezTo>
                  <a:pt x="65" y="2717"/>
                  <a:pt x="66" y="2718"/>
                  <a:pt x="66" y="2718"/>
                </a:cubicBezTo>
                <a:cubicBezTo>
                  <a:pt x="65" y="2718"/>
                  <a:pt x="65" y="2719"/>
                  <a:pt x="64" y="2719"/>
                </a:cubicBezTo>
                <a:cubicBezTo>
                  <a:pt x="63" y="2719"/>
                  <a:pt x="62" y="2720"/>
                  <a:pt x="62" y="2720"/>
                </a:cubicBezTo>
                <a:cubicBezTo>
                  <a:pt x="62" y="2721"/>
                  <a:pt x="62" y="2722"/>
                  <a:pt x="61" y="2722"/>
                </a:cubicBezTo>
                <a:cubicBezTo>
                  <a:pt x="61" y="2723"/>
                  <a:pt x="60" y="2727"/>
                  <a:pt x="60" y="2730"/>
                </a:cubicBezTo>
                <a:cubicBezTo>
                  <a:pt x="59" y="2731"/>
                  <a:pt x="59" y="2731"/>
                  <a:pt x="59" y="2732"/>
                </a:cubicBezTo>
                <a:cubicBezTo>
                  <a:pt x="59" y="2733"/>
                  <a:pt x="58" y="2734"/>
                  <a:pt x="59" y="2735"/>
                </a:cubicBezTo>
                <a:cubicBezTo>
                  <a:pt x="59" y="2735"/>
                  <a:pt x="59" y="2735"/>
                  <a:pt x="60" y="2735"/>
                </a:cubicBezTo>
                <a:cubicBezTo>
                  <a:pt x="60" y="2736"/>
                  <a:pt x="60" y="2737"/>
                  <a:pt x="60" y="2737"/>
                </a:cubicBezTo>
                <a:cubicBezTo>
                  <a:pt x="60" y="2738"/>
                  <a:pt x="60" y="2739"/>
                  <a:pt x="60" y="2740"/>
                </a:cubicBezTo>
                <a:cubicBezTo>
                  <a:pt x="60" y="2741"/>
                  <a:pt x="60" y="2743"/>
                  <a:pt x="59" y="2744"/>
                </a:cubicBezTo>
                <a:cubicBezTo>
                  <a:pt x="59" y="2745"/>
                  <a:pt x="58" y="2745"/>
                  <a:pt x="58" y="2745"/>
                </a:cubicBezTo>
                <a:cubicBezTo>
                  <a:pt x="58" y="2745"/>
                  <a:pt x="57" y="2746"/>
                  <a:pt x="57" y="2746"/>
                </a:cubicBezTo>
                <a:cubicBezTo>
                  <a:pt x="57" y="2746"/>
                  <a:pt x="56" y="2745"/>
                  <a:pt x="56" y="2746"/>
                </a:cubicBezTo>
                <a:cubicBezTo>
                  <a:pt x="56" y="2747"/>
                  <a:pt x="56" y="2748"/>
                  <a:pt x="56" y="2749"/>
                </a:cubicBezTo>
                <a:cubicBezTo>
                  <a:pt x="56" y="2749"/>
                  <a:pt x="56" y="2750"/>
                  <a:pt x="56" y="2751"/>
                </a:cubicBezTo>
                <a:cubicBezTo>
                  <a:pt x="56" y="2751"/>
                  <a:pt x="55" y="2752"/>
                  <a:pt x="55" y="2752"/>
                </a:cubicBezTo>
                <a:cubicBezTo>
                  <a:pt x="55" y="2752"/>
                  <a:pt x="56" y="2753"/>
                  <a:pt x="56" y="2753"/>
                </a:cubicBezTo>
                <a:cubicBezTo>
                  <a:pt x="56" y="2753"/>
                  <a:pt x="56" y="2754"/>
                  <a:pt x="57" y="2755"/>
                </a:cubicBezTo>
                <a:cubicBezTo>
                  <a:pt x="57" y="2755"/>
                  <a:pt x="57" y="2755"/>
                  <a:pt x="58" y="2756"/>
                </a:cubicBezTo>
                <a:cubicBezTo>
                  <a:pt x="58" y="2756"/>
                  <a:pt x="58" y="2757"/>
                  <a:pt x="57" y="2757"/>
                </a:cubicBezTo>
                <a:cubicBezTo>
                  <a:pt x="57" y="2757"/>
                  <a:pt x="57" y="2757"/>
                  <a:pt x="56" y="2757"/>
                </a:cubicBezTo>
                <a:cubicBezTo>
                  <a:pt x="56" y="2757"/>
                  <a:pt x="56" y="2758"/>
                  <a:pt x="56" y="2758"/>
                </a:cubicBezTo>
                <a:cubicBezTo>
                  <a:pt x="56" y="2760"/>
                  <a:pt x="55" y="2761"/>
                  <a:pt x="55" y="2763"/>
                </a:cubicBezTo>
                <a:cubicBezTo>
                  <a:pt x="55" y="2764"/>
                  <a:pt x="55" y="2766"/>
                  <a:pt x="55" y="2767"/>
                </a:cubicBezTo>
                <a:cubicBezTo>
                  <a:pt x="55" y="2767"/>
                  <a:pt x="54" y="2770"/>
                  <a:pt x="53" y="2774"/>
                </a:cubicBezTo>
                <a:cubicBezTo>
                  <a:pt x="53" y="2775"/>
                  <a:pt x="52" y="2776"/>
                  <a:pt x="52" y="2778"/>
                </a:cubicBezTo>
                <a:cubicBezTo>
                  <a:pt x="52" y="2779"/>
                  <a:pt x="52" y="2780"/>
                  <a:pt x="52" y="2781"/>
                </a:cubicBezTo>
                <a:cubicBezTo>
                  <a:pt x="52" y="2781"/>
                  <a:pt x="52" y="2781"/>
                  <a:pt x="53" y="2782"/>
                </a:cubicBezTo>
                <a:cubicBezTo>
                  <a:pt x="54" y="2783"/>
                  <a:pt x="53" y="2784"/>
                  <a:pt x="53" y="2785"/>
                </a:cubicBezTo>
                <a:cubicBezTo>
                  <a:pt x="53" y="2785"/>
                  <a:pt x="53" y="2786"/>
                  <a:pt x="52" y="2786"/>
                </a:cubicBezTo>
                <a:cubicBezTo>
                  <a:pt x="52" y="2787"/>
                  <a:pt x="52" y="2787"/>
                  <a:pt x="51" y="2787"/>
                </a:cubicBezTo>
                <a:cubicBezTo>
                  <a:pt x="51" y="2788"/>
                  <a:pt x="51" y="2788"/>
                  <a:pt x="50" y="2789"/>
                </a:cubicBezTo>
                <a:cubicBezTo>
                  <a:pt x="50" y="2790"/>
                  <a:pt x="50" y="2791"/>
                  <a:pt x="50" y="2791"/>
                </a:cubicBezTo>
                <a:cubicBezTo>
                  <a:pt x="50" y="2793"/>
                  <a:pt x="50" y="2795"/>
                  <a:pt x="50" y="2797"/>
                </a:cubicBezTo>
                <a:cubicBezTo>
                  <a:pt x="51" y="2798"/>
                  <a:pt x="51" y="2800"/>
                  <a:pt x="51" y="2801"/>
                </a:cubicBezTo>
                <a:cubicBezTo>
                  <a:pt x="51" y="2801"/>
                  <a:pt x="50" y="2802"/>
                  <a:pt x="49" y="2803"/>
                </a:cubicBezTo>
                <a:cubicBezTo>
                  <a:pt x="49" y="2803"/>
                  <a:pt x="49" y="2803"/>
                  <a:pt x="48" y="2804"/>
                </a:cubicBezTo>
                <a:cubicBezTo>
                  <a:pt x="48" y="2805"/>
                  <a:pt x="48" y="2806"/>
                  <a:pt x="48" y="2807"/>
                </a:cubicBezTo>
                <a:cubicBezTo>
                  <a:pt x="47" y="2809"/>
                  <a:pt x="46" y="2812"/>
                  <a:pt x="46" y="2813"/>
                </a:cubicBezTo>
                <a:cubicBezTo>
                  <a:pt x="45" y="2814"/>
                  <a:pt x="45" y="2818"/>
                  <a:pt x="44" y="2821"/>
                </a:cubicBezTo>
                <a:cubicBezTo>
                  <a:pt x="44" y="2823"/>
                  <a:pt x="44" y="2825"/>
                  <a:pt x="43" y="2827"/>
                </a:cubicBezTo>
                <a:cubicBezTo>
                  <a:pt x="43" y="2827"/>
                  <a:pt x="43" y="2827"/>
                  <a:pt x="43" y="2827"/>
                </a:cubicBezTo>
                <a:cubicBezTo>
                  <a:pt x="43" y="2828"/>
                  <a:pt x="44" y="2828"/>
                  <a:pt x="44" y="2828"/>
                </a:cubicBezTo>
                <a:cubicBezTo>
                  <a:pt x="44" y="2828"/>
                  <a:pt x="44" y="2828"/>
                  <a:pt x="44" y="2828"/>
                </a:cubicBezTo>
                <a:cubicBezTo>
                  <a:pt x="44" y="2828"/>
                  <a:pt x="44" y="2829"/>
                  <a:pt x="44" y="2829"/>
                </a:cubicBezTo>
                <a:cubicBezTo>
                  <a:pt x="44" y="2830"/>
                  <a:pt x="46" y="2831"/>
                  <a:pt x="46" y="2832"/>
                </a:cubicBezTo>
                <a:cubicBezTo>
                  <a:pt x="46" y="2832"/>
                  <a:pt x="45" y="2833"/>
                  <a:pt x="45" y="2834"/>
                </a:cubicBezTo>
                <a:cubicBezTo>
                  <a:pt x="45" y="2835"/>
                  <a:pt x="45" y="2836"/>
                  <a:pt x="44" y="2838"/>
                </a:cubicBezTo>
                <a:cubicBezTo>
                  <a:pt x="44" y="2840"/>
                  <a:pt x="43" y="2842"/>
                  <a:pt x="43" y="2843"/>
                </a:cubicBezTo>
                <a:cubicBezTo>
                  <a:pt x="43" y="2844"/>
                  <a:pt x="43" y="2845"/>
                  <a:pt x="43" y="2846"/>
                </a:cubicBezTo>
                <a:cubicBezTo>
                  <a:pt x="43" y="2847"/>
                  <a:pt x="43" y="2847"/>
                  <a:pt x="42" y="2848"/>
                </a:cubicBezTo>
                <a:cubicBezTo>
                  <a:pt x="42" y="2848"/>
                  <a:pt x="42" y="2848"/>
                  <a:pt x="41" y="2848"/>
                </a:cubicBezTo>
                <a:cubicBezTo>
                  <a:pt x="41" y="2848"/>
                  <a:pt x="41" y="2848"/>
                  <a:pt x="41" y="2848"/>
                </a:cubicBezTo>
                <a:cubicBezTo>
                  <a:pt x="40" y="2849"/>
                  <a:pt x="40" y="2850"/>
                  <a:pt x="40" y="2851"/>
                </a:cubicBezTo>
                <a:cubicBezTo>
                  <a:pt x="40" y="2852"/>
                  <a:pt x="39" y="2855"/>
                  <a:pt x="39" y="2856"/>
                </a:cubicBezTo>
                <a:cubicBezTo>
                  <a:pt x="39" y="2858"/>
                  <a:pt x="38" y="2859"/>
                  <a:pt x="39" y="2860"/>
                </a:cubicBezTo>
                <a:cubicBezTo>
                  <a:pt x="39" y="2860"/>
                  <a:pt x="39" y="2860"/>
                  <a:pt x="39" y="2861"/>
                </a:cubicBezTo>
                <a:cubicBezTo>
                  <a:pt x="40" y="2861"/>
                  <a:pt x="40" y="2861"/>
                  <a:pt x="40" y="2861"/>
                </a:cubicBezTo>
                <a:cubicBezTo>
                  <a:pt x="40" y="2861"/>
                  <a:pt x="40" y="2861"/>
                  <a:pt x="40" y="2862"/>
                </a:cubicBezTo>
                <a:cubicBezTo>
                  <a:pt x="40" y="2864"/>
                  <a:pt x="40" y="2866"/>
                  <a:pt x="39" y="2868"/>
                </a:cubicBezTo>
                <a:cubicBezTo>
                  <a:pt x="39" y="2869"/>
                  <a:pt x="39" y="2871"/>
                  <a:pt x="39" y="2873"/>
                </a:cubicBezTo>
                <a:cubicBezTo>
                  <a:pt x="38" y="2873"/>
                  <a:pt x="39" y="2874"/>
                  <a:pt x="38" y="2874"/>
                </a:cubicBezTo>
                <a:cubicBezTo>
                  <a:pt x="38" y="2874"/>
                  <a:pt x="38" y="2874"/>
                  <a:pt x="37" y="2874"/>
                </a:cubicBezTo>
                <a:cubicBezTo>
                  <a:pt x="37" y="2874"/>
                  <a:pt x="37" y="2874"/>
                  <a:pt x="37" y="2875"/>
                </a:cubicBezTo>
                <a:cubicBezTo>
                  <a:pt x="37" y="2876"/>
                  <a:pt x="39" y="2878"/>
                  <a:pt x="38" y="2879"/>
                </a:cubicBezTo>
                <a:cubicBezTo>
                  <a:pt x="37" y="2879"/>
                  <a:pt x="37" y="2879"/>
                  <a:pt x="37" y="2879"/>
                </a:cubicBezTo>
                <a:cubicBezTo>
                  <a:pt x="36" y="2879"/>
                  <a:pt x="36" y="2879"/>
                  <a:pt x="36" y="2879"/>
                </a:cubicBezTo>
                <a:cubicBezTo>
                  <a:pt x="36" y="2878"/>
                  <a:pt x="35" y="2879"/>
                  <a:pt x="35" y="2879"/>
                </a:cubicBezTo>
                <a:cubicBezTo>
                  <a:pt x="35" y="2879"/>
                  <a:pt x="34" y="2880"/>
                  <a:pt x="34" y="2880"/>
                </a:cubicBezTo>
                <a:cubicBezTo>
                  <a:pt x="34" y="2880"/>
                  <a:pt x="34" y="2881"/>
                  <a:pt x="34" y="2881"/>
                </a:cubicBezTo>
                <a:cubicBezTo>
                  <a:pt x="34" y="2881"/>
                  <a:pt x="35" y="2881"/>
                  <a:pt x="35" y="2882"/>
                </a:cubicBezTo>
                <a:cubicBezTo>
                  <a:pt x="35" y="2882"/>
                  <a:pt x="33" y="2882"/>
                  <a:pt x="33" y="2883"/>
                </a:cubicBezTo>
                <a:cubicBezTo>
                  <a:pt x="33" y="2884"/>
                  <a:pt x="33" y="2885"/>
                  <a:pt x="33" y="2886"/>
                </a:cubicBezTo>
                <a:cubicBezTo>
                  <a:pt x="32" y="2889"/>
                  <a:pt x="32" y="2892"/>
                  <a:pt x="31" y="2894"/>
                </a:cubicBezTo>
                <a:cubicBezTo>
                  <a:pt x="31" y="2897"/>
                  <a:pt x="31" y="2899"/>
                  <a:pt x="30" y="2901"/>
                </a:cubicBezTo>
                <a:cubicBezTo>
                  <a:pt x="30" y="2902"/>
                  <a:pt x="30" y="2904"/>
                  <a:pt x="30" y="2905"/>
                </a:cubicBezTo>
                <a:cubicBezTo>
                  <a:pt x="30" y="2905"/>
                  <a:pt x="29" y="2907"/>
                  <a:pt x="30" y="2907"/>
                </a:cubicBezTo>
                <a:cubicBezTo>
                  <a:pt x="31" y="2907"/>
                  <a:pt x="31" y="2908"/>
                  <a:pt x="31" y="2909"/>
                </a:cubicBezTo>
                <a:cubicBezTo>
                  <a:pt x="31" y="2909"/>
                  <a:pt x="31" y="2910"/>
                  <a:pt x="32" y="2911"/>
                </a:cubicBezTo>
                <a:cubicBezTo>
                  <a:pt x="33" y="2912"/>
                  <a:pt x="33" y="2912"/>
                  <a:pt x="33" y="2914"/>
                </a:cubicBezTo>
                <a:cubicBezTo>
                  <a:pt x="33" y="2915"/>
                  <a:pt x="32" y="2916"/>
                  <a:pt x="32" y="2917"/>
                </a:cubicBezTo>
                <a:cubicBezTo>
                  <a:pt x="32" y="2918"/>
                  <a:pt x="31" y="2920"/>
                  <a:pt x="31" y="2922"/>
                </a:cubicBezTo>
                <a:cubicBezTo>
                  <a:pt x="31" y="2922"/>
                  <a:pt x="31" y="2922"/>
                  <a:pt x="31" y="2922"/>
                </a:cubicBezTo>
                <a:cubicBezTo>
                  <a:pt x="31" y="2923"/>
                  <a:pt x="31" y="2923"/>
                  <a:pt x="31" y="2923"/>
                </a:cubicBezTo>
                <a:cubicBezTo>
                  <a:pt x="31" y="2923"/>
                  <a:pt x="31" y="2924"/>
                  <a:pt x="31" y="2924"/>
                </a:cubicBezTo>
                <a:cubicBezTo>
                  <a:pt x="31" y="2925"/>
                  <a:pt x="31" y="2926"/>
                  <a:pt x="31" y="2926"/>
                </a:cubicBezTo>
                <a:cubicBezTo>
                  <a:pt x="31" y="2927"/>
                  <a:pt x="31" y="2928"/>
                  <a:pt x="30" y="2929"/>
                </a:cubicBezTo>
                <a:cubicBezTo>
                  <a:pt x="30" y="2929"/>
                  <a:pt x="30" y="2930"/>
                  <a:pt x="30" y="2930"/>
                </a:cubicBezTo>
                <a:cubicBezTo>
                  <a:pt x="29" y="2930"/>
                  <a:pt x="29" y="2930"/>
                  <a:pt x="29" y="2930"/>
                </a:cubicBezTo>
                <a:cubicBezTo>
                  <a:pt x="28" y="2930"/>
                  <a:pt x="28" y="2931"/>
                  <a:pt x="28" y="2931"/>
                </a:cubicBezTo>
                <a:cubicBezTo>
                  <a:pt x="28" y="2931"/>
                  <a:pt x="28" y="2932"/>
                  <a:pt x="28" y="2932"/>
                </a:cubicBezTo>
                <a:cubicBezTo>
                  <a:pt x="28" y="2932"/>
                  <a:pt x="28" y="2933"/>
                  <a:pt x="28" y="2933"/>
                </a:cubicBezTo>
                <a:cubicBezTo>
                  <a:pt x="28" y="2933"/>
                  <a:pt x="29" y="2933"/>
                  <a:pt x="29" y="2933"/>
                </a:cubicBezTo>
                <a:cubicBezTo>
                  <a:pt x="30" y="2932"/>
                  <a:pt x="30" y="2934"/>
                  <a:pt x="30" y="2934"/>
                </a:cubicBezTo>
                <a:cubicBezTo>
                  <a:pt x="30" y="2936"/>
                  <a:pt x="29" y="2936"/>
                  <a:pt x="28" y="2937"/>
                </a:cubicBezTo>
                <a:cubicBezTo>
                  <a:pt x="27" y="2938"/>
                  <a:pt x="27" y="2939"/>
                  <a:pt x="27" y="2940"/>
                </a:cubicBezTo>
                <a:cubicBezTo>
                  <a:pt x="27" y="2941"/>
                  <a:pt x="27" y="2941"/>
                  <a:pt x="27" y="2942"/>
                </a:cubicBezTo>
                <a:cubicBezTo>
                  <a:pt x="27" y="2942"/>
                  <a:pt x="27" y="2942"/>
                  <a:pt x="27" y="2942"/>
                </a:cubicBezTo>
                <a:cubicBezTo>
                  <a:pt x="27" y="2942"/>
                  <a:pt x="28" y="2942"/>
                  <a:pt x="28" y="2942"/>
                </a:cubicBezTo>
                <a:cubicBezTo>
                  <a:pt x="28" y="2942"/>
                  <a:pt x="28" y="2943"/>
                  <a:pt x="28" y="2943"/>
                </a:cubicBezTo>
                <a:cubicBezTo>
                  <a:pt x="29" y="2945"/>
                  <a:pt x="28" y="2947"/>
                  <a:pt x="28" y="2948"/>
                </a:cubicBezTo>
                <a:cubicBezTo>
                  <a:pt x="27" y="2950"/>
                  <a:pt x="27" y="2952"/>
                  <a:pt x="27" y="2954"/>
                </a:cubicBezTo>
                <a:cubicBezTo>
                  <a:pt x="27" y="2956"/>
                  <a:pt x="27" y="2959"/>
                  <a:pt x="26" y="2961"/>
                </a:cubicBezTo>
                <a:cubicBezTo>
                  <a:pt x="26" y="2962"/>
                  <a:pt x="26" y="2963"/>
                  <a:pt x="26" y="2964"/>
                </a:cubicBezTo>
                <a:cubicBezTo>
                  <a:pt x="25" y="2965"/>
                  <a:pt x="25" y="2965"/>
                  <a:pt x="25" y="2965"/>
                </a:cubicBezTo>
                <a:cubicBezTo>
                  <a:pt x="25" y="2965"/>
                  <a:pt x="24" y="2965"/>
                  <a:pt x="24" y="2965"/>
                </a:cubicBezTo>
                <a:cubicBezTo>
                  <a:pt x="23" y="2966"/>
                  <a:pt x="24" y="2969"/>
                  <a:pt x="23" y="2969"/>
                </a:cubicBezTo>
                <a:cubicBezTo>
                  <a:pt x="23" y="2969"/>
                  <a:pt x="23" y="2969"/>
                  <a:pt x="22" y="2969"/>
                </a:cubicBezTo>
                <a:cubicBezTo>
                  <a:pt x="22" y="2969"/>
                  <a:pt x="22" y="2969"/>
                  <a:pt x="22" y="2969"/>
                </a:cubicBezTo>
                <a:cubicBezTo>
                  <a:pt x="22" y="2969"/>
                  <a:pt x="22" y="2970"/>
                  <a:pt x="21" y="2970"/>
                </a:cubicBezTo>
                <a:cubicBezTo>
                  <a:pt x="21" y="2974"/>
                  <a:pt x="21" y="2977"/>
                  <a:pt x="20" y="2981"/>
                </a:cubicBezTo>
                <a:cubicBezTo>
                  <a:pt x="20" y="2982"/>
                  <a:pt x="20" y="2983"/>
                  <a:pt x="20" y="2984"/>
                </a:cubicBezTo>
                <a:cubicBezTo>
                  <a:pt x="21" y="2985"/>
                  <a:pt x="21" y="2986"/>
                  <a:pt x="22" y="2986"/>
                </a:cubicBezTo>
                <a:cubicBezTo>
                  <a:pt x="22" y="2987"/>
                  <a:pt x="23" y="2988"/>
                  <a:pt x="23" y="2989"/>
                </a:cubicBezTo>
                <a:cubicBezTo>
                  <a:pt x="23" y="2990"/>
                  <a:pt x="23" y="2991"/>
                  <a:pt x="23" y="2991"/>
                </a:cubicBezTo>
                <a:cubicBezTo>
                  <a:pt x="23" y="2992"/>
                  <a:pt x="22" y="2993"/>
                  <a:pt x="22" y="2994"/>
                </a:cubicBezTo>
                <a:cubicBezTo>
                  <a:pt x="22" y="2994"/>
                  <a:pt x="22" y="2994"/>
                  <a:pt x="21" y="2994"/>
                </a:cubicBezTo>
                <a:cubicBezTo>
                  <a:pt x="21" y="2994"/>
                  <a:pt x="21" y="2994"/>
                  <a:pt x="20" y="2994"/>
                </a:cubicBezTo>
                <a:cubicBezTo>
                  <a:pt x="20" y="2995"/>
                  <a:pt x="20" y="2996"/>
                  <a:pt x="20" y="2997"/>
                </a:cubicBezTo>
                <a:cubicBezTo>
                  <a:pt x="20" y="2998"/>
                  <a:pt x="19" y="2998"/>
                  <a:pt x="18" y="2998"/>
                </a:cubicBezTo>
                <a:cubicBezTo>
                  <a:pt x="18" y="2999"/>
                  <a:pt x="17" y="3000"/>
                  <a:pt x="17" y="3001"/>
                </a:cubicBezTo>
                <a:cubicBezTo>
                  <a:pt x="17" y="3002"/>
                  <a:pt x="17" y="3002"/>
                  <a:pt x="16" y="3003"/>
                </a:cubicBezTo>
                <a:cubicBezTo>
                  <a:pt x="16" y="3004"/>
                  <a:pt x="16" y="3006"/>
                  <a:pt x="16" y="3007"/>
                </a:cubicBezTo>
                <a:cubicBezTo>
                  <a:pt x="16" y="3008"/>
                  <a:pt x="17" y="3008"/>
                  <a:pt x="17" y="3009"/>
                </a:cubicBezTo>
                <a:cubicBezTo>
                  <a:pt x="17" y="3009"/>
                  <a:pt x="17" y="3010"/>
                  <a:pt x="17" y="3011"/>
                </a:cubicBezTo>
                <a:cubicBezTo>
                  <a:pt x="16" y="3012"/>
                  <a:pt x="15" y="3016"/>
                  <a:pt x="15" y="3020"/>
                </a:cubicBezTo>
                <a:cubicBezTo>
                  <a:pt x="15" y="3022"/>
                  <a:pt x="15" y="3023"/>
                  <a:pt x="14" y="3024"/>
                </a:cubicBezTo>
                <a:cubicBezTo>
                  <a:pt x="13" y="3037"/>
                  <a:pt x="8" y="3047"/>
                  <a:pt x="7" y="3062"/>
                </a:cubicBezTo>
                <a:cubicBezTo>
                  <a:pt x="6" y="3070"/>
                  <a:pt x="0" y="3081"/>
                  <a:pt x="7" y="3088"/>
                </a:cubicBezTo>
                <a:cubicBezTo>
                  <a:pt x="11" y="3092"/>
                  <a:pt x="21" y="3091"/>
                  <a:pt x="26" y="3092"/>
                </a:cubicBezTo>
                <a:cubicBezTo>
                  <a:pt x="31" y="3093"/>
                  <a:pt x="33" y="3091"/>
                  <a:pt x="37" y="3091"/>
                </a:cubicBezTo>
                <a:cubicBezTo>
                  <a:pt x="39" y="3091"/>
                  <a:pt x="43" y="3092"/>
                  <a:pt x="44" y="3091"/>
                </a:cubicBezTo>
                <a:cubicBezTo>
                  <a:pt x="45" y="3091"/>
                  <a:pt x="46" y="3089"/>
                  <a:pt x="47" y="3088"/>
                </a:cubicBezTo>
                <a:cubicBezTo>
                  <a:pt x="50" y="3084"/>
                  <a:pt x="51" y="3083"/>
                  <a:pt x="53" y="3077"/>
                </a:cubicBezTo>
                <a:cubicBezTo>
                  <a:pt x="55" y="3073"/>
                  <a:pt x="57" y="3068"/>
                  <a:pt x="58" y="3063"/>
                </a:cubicBezTo>
                <a:cubicBezTo>
                  <a:pt x="59" y="3059"/>
                  <a:pt x="60" y="3054"/>
                  <a:pt x="61" y="3050"/>
                </a:cubicBezTo>
                <a:cubicBezTo>
                  <a:pt x="61" y="3048"/>
                  <a:pt x="61" y="3047"/>
                  <a:pt x="61" y="3045"/>
                </a:cubicBezTo>
                <a:cubicBezTo>
                  <a:pt x="61" y="3044"/>
                  <a:pt x="61" y="3043"/>
                  <a:pt x="61" y="3042"/>
                </a:cubicBezTo>
                <a:cubicBezTo>
                  <a:pt x="61" y="3041"/>
                  <a:pt x="62" y="3040"/>
                  <a:pt x="63" y="3038"/>
                </a:cubicBezTo>
                <a:cubicBezTo>
                  <a:pt x="63" y="3037"/>
                  <a:pt x="63" y="3035"/>
                  <a:pt x="63" y="3034"/>
                </a:cubicBezTo>
                <a:cubicBezTo>
                  <a:pt x="64" y="3032"/>
                  <a:pt x="65" y="3030"/>
                  <a:pt x="65" y="3028"/>
                </a:cubicBezTo>
                <a:cubicBezTo>
                  <a:pt x="65" y="3026"/>
                  <a:pt x="65" y="3024"/>
                  <a:pt x="66" y="3022"/>
                </a:cubicBezTo>
                <a:cubicBezTo>
                  <a:pt x="66" y="3019"/>
                  <a:pt x="66" y="3017"/>
                  <a:pt x="67" y="3015"/>
                </a:cubicBezTo>
                <a:cubicBezTo>
                  <a:pt x="67" y="3013"/>
                  <a:pt x="66" y="3012"/>
                  <a:pt x="66" y="3011"/>
                </a:cubicBezTo>
                <a:cubicBezTo>
                  <a:pt x="66" y="3009"/>
                  <a:pt x="66" y="3007"/>
                  <a:pt x="67" y="3005"/>
                </a:cubicBezTo>
                <a:cubicBezTo>
                  <a:pt x="74" y="2969"/>
                  <a:pt x="89" y="2880"/>
                  <a:pt x="91" y="2863"/>
                </a:cubicBezTo>
                <a:cubicBezTo>
                  <a:pt x="92" y="2859"/>
                  <a:pt x="93" y="2851"/>
                  <a:pt x="94" y="2845"/>
                </a:cubicBezTo>
                <a:cubicBezTo>
                  <a:pt x="95" y="2839"/>
                  <a:pt x="96" y="2830"/>
                  <a:pt x="97" y="2825"/>
                </a:cubicBezTo>
                <a:cubicBezTo>
                  <a:pt x="101" y="2796"/>
                  <a:pt x="102" y="2784"/>
                  <a:pt x="107" y="2755"/>
                </a:cubicBezTo>
                <a:cubicBezTo>
                  <a:pt x="107" y="2753"/>
                  <a:pt x="108" y="2750"/>
                  <a:pt x="108" y="2748"/>
                </a:cubicBezTo>
                <a:cubicBezTo>
                  <a:pt x="108" y="2746"/>
                  <a:pt x="109" y="2744"/>
                  <a:pt x="109" y="2742"/>
                </a:cubicBezTo>
                <a:cubicBezTo>
                  <a:pt x="109" y="2742"/>
                  <a:pt x="109" y="2741"/>
                  <a:pt x="109" y="2741"/>
                </a:cubicBezTo>
                <a:cubicBezTo>
                  <a:pt x="108" y="2740"/>
                  <a:pt x="109" y="2740"/>
                  <a:pt x="110" y="2739"/>
                </a:cubicBezTo>
                <a:cubicBezTo>
                  <a:pt x="110" y="2739"/>
                  <a:pt x="111" y="2738"/>
                  <a:pt x="111" y="2737"/>
                </a:cubicBezTo>
                <a:cubicBezTo>
                  <a:pt x="111" y="2737"/>
                  <a:pt x="111" y="2737"/>
                  <a:pt x="110" y="2737"/>
                </a:cubicBezTo>
                <a:cubicBezTo>
                  <a:pt x="110" y="2736"/>
                  <a:pt x="110" y="2734"/>
                  <a:pt x="110" y="2733"/>
                </a:cubicBezTo>
                <a:cubicBezTo>
                  <a:pt x="110" y="2731"/>
                  <a:pt x="110" y="2729"/>
                  <a:pt x="111" y="2728"/>
                </a:cubicBezTo>
                <a:cubicBezTo>
                  <a:pt x="111" y="2724"/>
                  <a:pt x="112" y="2720"/>
                  <a:pt x="113" y="2716"/>
                </a:cubicBezTo>
                <a:cubicBezTo>
                  <a:pt x="113" y="2712"/>
                  <a:pt x="114" y="2709"/>
                  <a:pt x="115" y="2705"/>
                </a:cubicBezTo>
                <a:cubicBezTo>
                  <a:pt x="115" y="2703"/>
                  <a:pt x="115" y="2702"/>
                  <a:pt x="115" y="2700"/>
                </a:cubicBezTo>
                <a:cubicBezTo>
                  <a:pt x="116" y="2699"/>
                  <a:pt x="116" y="2697"/>
                  <a:pt x="117" y="2696"/>
                </a:cubicBezTo>
                <a:cubicBezTo>
                  <a:pt x="118" y="2695"/>
                  <a:pt x="119" y="2694"/>
                  <a:pt x="118" y="2692"/>
                </a:cubicBezTo>
                <a:cubicBezTo>
                  <a:pt x="118" y="2692"/>
                  <a:pt x="118" y="2692"/>
                  <a:pt x="118" y="2692"/>
                </a:cubicBezTo>
                <a:cubicBezTo>
                  <a:pt x="117" y="2691"/>
                  <a:pt x="117" y="2691"/>
                  <a:pt x="117" y="2691"/>
                </a:cubicBezTo>
                <a:cubicBezTo>
                  <a:pt x="117" y="2687"/>
                  <a:pt x="118" y="2683"/>
                  <a:pt x="119" y="2679"/>
                </a:cubicBezTo>
                <a:cubicBezTo>
                  <a:pt x="120" y="2675"/>
                  <a:pt x="121" y="2670"/>
                  <a:pt x="121" y="2666"/>
                </a:cubicBezTo>
                <a:cubicBezTo>
                  <a:pt x="123" y="2658"/>
                  <a:pt x="124" y="2649"/>
                  <a:pt x="126" y="2640"/>
                </a:cubicBezTo>
                <a:cubicBezTo>
                  <a:pt x="127" y="2633"/>
                  <a:pt x="128" y="2626"/>
                  <a:pt x="130" y="2619"/>
                </a:cubicBezTo>
                <a:cubicBezTo>
                  <a:pt x="133" y="2602"/>
                  <a:pt x="136" y="2585"/>
                  <a:pt x="139" y="2568"/>
                </a:cubicBezTo>
                <a:cubicBezTo>
                  <a:pt x="139" y="2564"/>
                  <a:pt x="140" y="2560"/>
                  <a:pt x="141" y="2557"/>
                </a:cubicBezTo>
                <a:cubicBezTo>
                  <a:pt x="141" y="2555"/>
                  <a:pt x="141" y="2553"/>
                  <a:pt x="141" y="2551"/>
                </a:cubicBezTo>
                <a:cubicBezTo>
                  <a:pt x="142" y="2549"/>
                  <a:pt x="142" y="2548"/>
                  <a:pt x="142" y="2546"/>
                </a:cubicBezTo>
                <a:cubicBezTo>
                  <a:pt x="141" y="2545"/>
                  <a:pt x="142" y="2545"/>
                  <a:pt x="143" y="2544"/>
                </a:cubicBezTo>
                <a:cubicBezTo>
                  <a:pt x="143" y="2544"/>
                  <a:pt x="143" y="2542"/>
                  <a:pt x="143" y="2541"/>
                </a:cubicBezTo>
                <a:cubicBezTo>
                  <a:pt x="143" y="2541"/>
                  <a:pt x="143" y="2540"/>
                  <a:pt x="143" y="2539"/>
                </a:cubicBezTo>
                <a:cubicBezTo>
                  <a:pt x="143" y="2538"/>
                  <a:pt x="144" y="2536"/>
                  <a:pt x="144" y="2535"/>
                </a:cubicBezTo>
                <a:cubicBezTo>
                  <a:pt x="144" y="2531"/>
                  <a:pt x="146" y="2527"/>
                  <a:pt x="146" y="2524"/>
                </a:cubicBezTo>
                <a:cubicBezTo>
                  <a:pt x="146" y="2523"/>
                  <a:pt x="146" y="2523"/>
                  <a:pt x="146" y="2523"/>
                </a:cubicBezTo>
                <a:cubicBezTo>
                  <a:pt x="146" y="2522"/>
                  <a:pt x="146" y="2522"/>
                  <a:pt x="145" y="2522"/>
                </a:cubicBezTo>
                <a:cubicBezTo>
                  <a:pt x="145" y="2520"/>
                  <a:pt x="145" y="2518"/>
                  <a:pt x="145" y="2517"/>
                </a:cubicBezTo>
                <a:cubicBezTo>
                  <a:pt x="145" y="2516"/>
                  <a:pt x="145" y="2515"/>
                  <a:pt x="145" y="2515"/>
                </a:cubicBezTo>
                <a:cubicBezTo>
                  <a:pt x="146" y="2515"/>
                  <a:pt x="147" y="2517"/>
                  <a:pt x="147" y="2515"/>
                </a:cubicBezTo>
                <a:cubicBezTo>
                  <a:pt x="147" y="2515"/>
                  <a:pt x="147" y="2514"/>
                  <a:pt x="147" y="2514"/>
                </a:cubicBezTo>
                <a:cubicBezTo>
                  <a:pt x="147" y="2513"/>
                  <a:pt x="147" y="2512"/>
                  <a:pt x="148" y="2512"/>
                </a:cubicBezTo>
                <a:cubicBezTo>
                  <a:pt x="148" y="2512"/>
                  <a:pt x="148" y="2512"/>
                  <a:pt x="148" y="2512"/>
                </a:cubicBezTo>
                <a:cubicBezTo>
                  <a:pt x="148" y="2509"/>
                  <a:pt x="148" y="2507"/>
                  <a:pt x="149" y="2505"/>
                </a:cubicBezTo>
                <a:cubicBezTo>
                  <a:pt x="149" y="2503"/>
                  <a:pt x="150" y="2500"/>
                  <a:pt x="150" y="2498"/>
                </a:cubicBezTo>
                <a:cubicBezTo>
                  <a:pt x="149" y="2497"/>
                  <a:pt x="149" y="2497"/>
                  <a:pt x="149" y="2496"/>
                </a:cubicBezTo>
                <a:cubicBezTo>
                  <a:pt x="149" y="2496"/>
                  <a:pt x="149" y="2494"/>
                  <a:pt x="149" y="2493"/>
                </a:cubicBezTo>
                <a:cubicBezTo>
                  <a:pt x="150" y="2492"/>
                  <a:pt x="151" y="2491"/>
                  <a:pt x="151" y="2489"/>
                </a:cubicBezTo>
                <a:cubicBezTo>
                  <a:pt x="151" y="2488"/>
                  <a:pt x="152" y="2486"/>
                  <a:pt x="152" y="2485"/>
                </a:cubicBezTo>
                <a:cubicBezTo>
                  <a:pt x="152" y="2484"/>
                  <a:pt x="151" y="2484"/>
                  <a:pt x="151" y="2484"/>
                </a:cubicBezTo>
                <a:cubicBezTo>
                  <a:pt x="151" y="2484"/>
                  <a:pt x="151" y="2484"/>
                  <a:pt x="151" y="2483"/>
                </a:cubicBezTo>
                <a:cubicBezTo>
                  <a:pt x="151" y="2483"/>
                  <a:pt x="152" y="2482"/>
                  <a:pt x="152" y="2482"/>
                </a:cubicBezTo>
                <a:cubicBezTo>
                  <a:pt x="153" y="2481"/>
                  <a:pt x="153" y="2477"/>
                  <a:pt x="153" y="2476"/>
                </a:cubicBezTo>
                <a:cubicBezTo>
                  <a:pt x="154" y="2474"/>
                  <a:pt x="154" y="2472"/>
                  <a:pt x="155" y="2469"/>
                </a:cubicBezTo>
                <a:cubicBezTo>
                  <a:pt x="156" y="2464"/>
                  <a:pt x="157" y="2458"/>
                  <a:pt x="158" y="2452"/>
                </a:cubicBezTo>
                <a:cubicBezTo>
                  <a:pt x="159" y="2450"/>
                  <a:pt x="159" y="2447"/>
                  <a:pt x="159" y="2445"/>
                </a:cubicBezTo>
                <a:cubicBezTo>
                  <a:pt x="159" y="2444"/>
                  <a:pt x="160" y="2443"/>
                  <a:pt x="160" y="2441"/>
                </a:cubicBezTo>
                <a:cubicBezTo>
                  <a:pt x="160" y="2440"/>
                  <a:pt x="160" y="2440"/>
                  <a:pt x="160" y="2439"/>
                </a:cubicBezTo>
                <a:cubicBezTo>
                  <a:pt x="160" y="2437"/>
                  <a:pt x="160" y="2436"/>
                  <a:pt x="160" y="2435"/>
                </a:cubicBezTo>
                <a:cubicBezTo>
                  <a:pt x="160" y="2435"/>
                  <a:pt x="161" y="2434"/>
                  <a:pt x="161" y="2434"/>
                </a:cubicBezTo>
                <a:cubicBezTo>
                  <a:pt x="161" y="2433"/>
                  <a:pt x="160" y="2432"/>
                  <a:pt x="160" y="2432"/>
                </a:cubicBezTo>
                <a:cubicBezTo>
                  <a:pt x="161" y="2431"/>
                  <a:pt x="162" y="2430"/>
                  <a:pt x="162" y="2429"/>
                </a:cubicBezTo>
                <a:cubicBezTo>
                  <a:pt x="163" y="2427"/>
                  <a:pt x="163" y="2425"/>
                  <a:pt x="163" y="2423"/>
                </a:cubicBezTo>
                <a:cubicBezTo>
                  <a:pt x="164" y="2419"/>
                  <a:pt x="165" y="2416"/>
                  <a:pt x="165" y="2415"/>
                </a:cubicBezTo>
                <a:cubicBezTo>
                  <a:pt x="165" y="2414"/>
                  <a:pt x="166" y="2409"/>
                  <a:pt x="167" y="2404"/>
                </a:cubicBezTo>
                <a:cubicBezTo>
                  <a:pt x="167" y="2402"/>
                  <a:pt x="167" y="2400"/>
                  <a:pt x="167" y="2398"/>
                </a:cubicBezTo>
                <a:cubicBezTo>
                  <a:pt x="168" y="2397"/>
                  <a:pt x="168" y="2397"/>
                  <a:pt x="168" y="2396"/>
                </a:cubicBezTo>
                <a:cubicBezTo>
                  <a:pt x="168" y="2395"/>
                  <a:pt x="169" y="2394"/>
                  <a:pt x="168" y="2394"/>
                </a:cubicBezTo>
                <a:cubicBezTo>
                  <a:pt x="168" y="2393"/>
                  <a:pt x="168" y="2393"/>
                  <a:pt x="168" y="2393"/>
                </a:cubicBezTo>
                <a:cubicBezTo>
                  <a:pt x="168" y="2393"/>
                  <a:pt x="168" y="2393"/>
                  <a:pt x="168" y="2393"/>
                </a:cubicBezTo>
                <a:cubicBezTo>
                  <a:pt x="169" y="2392"/>
                  <a:pt x="169" y="2391"/>
                  <a:pt x="169" y="2390"/>
                </a:cubicBezTo>
                <a:cubicBezTo>
                  <a:pt x="169" y="2389"/>
                  <a:pt x="169" y="2387"/>
                  <a:pt x="169" y="2385"/>
                </a:cubicBezTo>
                <a:cubicBezTo>
                  <a:pt x="171" y="2379"/>
                  <a:pt x="171" y="2376"/>
                  <a:pt x="173" y="2372"/>
                </a:cubicBezTo>
                <a:cubicBezTo>
                  <a:pt x="174" y="2369"/>
                  <a:pt x="177" y="2356"/>
                  <a:pt x="177" y="2348"/>
                </a:cubicBezTo>
                <a:cubicBezTo>
                  <a:pt x="177" y="2346"/>
                  <a:pt x="178" y="2342"/>
                  <a:pt x="177" y="2341"/>
                </a:cubicBezTo>
                <a:cubicBezTo>
                  <a:pt x="177" y="2340"/>
                  <a:pt x="177" y="2339"/>
                  <a:pt x="177" y="2339"/>
                </a:cubicBezTo>
                <a:cubicBezTo>
                  <a:pt x="178" y="2338"/>
                  <a:pt x="178" y="2339"/>
                  <a:pt x="179" y="2338"/>
                </a:cubicBezTo>
                <a:cubicBezTo>
                  <a:pt x="179" y="2338"/>
                  <a:pt x="179" y="2336"/>
                  <a:pt x="179" y="2335"/>
                </a:cubicBezTo>
                <a:cubicBezTo>
                  <a:pt x="179" y="2334"/>
                  <a:pt x="180" y="2332"/>
                  <a:pt x="179" y="2331"/>
                </a:cubicBezTo>
                <a:cubicBezTo>
                  <a:pt x="179" y="2331"/>
                  <a:pt x="178" y="2331"/>
                  <a:pt x="178" y="2330"/>
                </a:cubicBezTo>
                <a:cubicBezTo>
                  <a:pt x="178" y="2330"/>
                  <a:pt x="178" y="2330"/>
                  <a:pt x="178" y="2330"/>
                </a:cubicBezTo>
                <a:cubicBezTo>
                  <a:pt x="178" y="2329"/>
                  <a:pt x="178" y="2328"/>
                  <a:pt x="178" y="2327"/>
                </a:cubicBezTo>
                <a:cubicBezTo>
                  <a:pt x="179" y="2327"/>
                  <a:pt x="179" y="2327"/>
                  <a:pt x="179" y="2327"/>
                </a:cubicBezTo>
                <a:cubicBezTo>
                  <a:pt x="179" y="2328"/>
                  <a:pt x="180" y="2328"/>
                  <a:pt x="180" y="2328"/>
                </a:cubicBezTo>
                <a:cubicBezTo>
                  <a:pt x="180" y="2328"/>
                  <a:pt x="181" y="2327"/>
                  <a:pt x="181" y="2327"/>
                </a:cubicBezTo>
                <a:cubicBezTo>
                  <a:pt x="181" y="2327"/>
                  <a:pt x="180" y="2326"/>
                  <a:pt x="180" y="2326"/>
                </a:cubicBezTo>
                <a:cubicBezTo>
                  <a:pt x="180" y="2325"/>
                  <a:pt x="179" y="2323"/>
                  <a:pt x="179" y="2322"/>
                </a:cubicBezTo>
                <a:cubicBezTo>
                  <a:pt x="179" y="2321"/>
                  <a:pt x="180" y="2320"/>
                  <a:pt x="180" y="2319"/>
                </a:cubicBezTo>
                <a:cubicBezTo>
                  <a:pt x="180" y="2318"/>
                  <a:pt x="180" y="2316"/>
                  <a:pt x="181" y="2316"/>
                </a:cubicBezTo>
                <a:cubicBezTo>
                  <a:pt x="183" y="2315"/>
                  <a:pt x="183" y="2316"/>
                  <a:pt x="183" y="2315"/>
                </a:cubicBezTo>
                <a:cubicBezTo>
                  <a:pt x="183" y="2314"/>
                  <a:pt x="182" y="2314"/>
                  <a:pt x="182" y="2313"/>
                </a:cubicBezTo>
                <a:cubicBezTo>
                  <a:pt x="183" y="2311"/>
                  <a:pt x="184" y="2309"/>
                  <a:pt x="184" y="2307"/>
                </a:cubicBezTo>
                <a:cubicBezTo>
                  <a:pt x="184" y="2306"/>
                  <a:pt x="185" y="2303"/>
                  <a:pt x="184" y="2301"/>
                </a:cubicBezTo>
                <a:cubicBezTo>
                  <a:pt x="184" y="2300"/>
                  <a:pt x="184" y="2300"/>
                  <a:pt x="184" y="2300"/>
                </a:cubicBezTo>
                <a:cubicBezTo>
                  <a:pt x="183" y="2298"/>
                  <a:pt x="183" y="2295"/>
                  <a:pt x="185" y="2295"/>
                </a:cubicBezTo>
                <a:cubicBezTo>
                  <a:pt x="185" y="2295"/>
                  <a:pt x="185" y="2295"/>
                  <a:pt x="185" y="2295"/>
                </a:cubicBezTo>
                <a:cubicBezTo>
                  <a:pt x="186" y="2295"/>
                  <a:pt x="187" y="2294"/>
                  <a:pt x="187" y="2293"/>
                </a:cubicBezTo>
                <a:cubicBezTo>
                  <a:pt x="187" y="2293"/>
                  <a:pt x="187" y="2293"/>
                  <a:pt x="187" y="2292"/>
                </a:cubicBezTo>
                <a:cubicBezTo>
                  <a:pt x="186" y="2292"/>
                  <a:pt x="186" y="2292"/>
                  <a:pt x="186" y="2291"/>
                </a:cubicBezTo>
                <a:cubicBezTo>
                  <a:pt x="187" y="2291"/>
                  <a:pt x="187" y="2291"/>
                  <a:pt x="187" y="2290"/>
                </a:cubicBezTo>
                <a:cubicBezTo>
                  <a:pt x="187" y="2290"/>
                  <a:pt x="187" y="2290"/>
                  <a:pt x="187" y="2290"/>
                </a:cubicBezTo>
                <a:cubicBezTo>
                  <a:pt x="189" y="2282"/>
                  <a:pt x="190" y="2273"/>
                  <a:pt x="192" y="2265"/>
                </a:cubicBezTo>
                <a:cubicBezTo>
                  <a:pt x="192" y="2265"/>
                  <a:pt x="193" y="2263"/>
                  <a:pt x="193" y="2261"/>
                </a:cubicBezTo>
                <a:cubicBezTo>
                  <a:pt x="193" y="2259"/>
                  <a:pt x="194" y="2256"/>
                  <a:pt x="195" y="2254"/>
                </a:cubicBezTo>
                <a:cubicBezTo>
                  <a:pt x="195" y="2252"/>
                  <a:pt x="196" y="2248"/>
                  <a:pt x="197" y="2246"/>
                </a:cubicBezTo>
                <a:cubicBezTo>
                  <a:pt x="197" y="2244"/>
                  <a:pt x="198" y="2243"/>
                  <a:pt x="198" y="2241"/>
                </a:cubicBezTo>
                <a:cubicBezTo>
                  <a:pt x="198" y="2240"/>
                  <a:pt x="199" y="2239"/>
                  <a:pt x="199" y="2237"/>
                </a:cubicBezTo>
                <a:cubicBezTo>
                  <a:pt x="199" y="2236"/>
                  <a:pt x="198" y="2235"/>
                  <a:pt x="199" y="2233"/>
                </a:cubicBezTo>
                <a:cubicBezTo>
                  <a:pt x="199" y="2231"/>
                  <a:pt x="199" y="2228"/>
                  <a:pt x="199" y="2226"/>
                </a:cubicBezTo>
                <a:cubicBezTo>
                  <a:pt x="200" y="2223"/>
                  <a:pt x="200" y="2220"/>
                  <a:pt x="201" y="2217"/>
                </a:cubicBezTo>
                <a:cubicBezTo>
                  <a:pt x="201" y="2214"/>
                  <a:pt x="202" y="2211"/>
                  <a:pt x="202" y="2208"/>
                </a:cubicBezTo>
                <a:cubicBezTo>
                  <a:pt x="202" y="2207"/>
                  <a:pt x="201" y="2207"/>
                  <a:pt x="201" y="2206"/>
                </a:cubicBezTo>
                <a:cubicBezTo>
                  <a:pt x="201" y="2206"/>
                  <a:pt x="201" y="2205"/>
                  <a:pt x="201" y="2205"/>
                </a:cubicBezTo>
                <a:cubicBezTo>
                  <a:pt x="203" y="2205"/>
                  <a:pt x="203" y="2201"/>
                  <a:pt x="203" y="2200"/>
                </a:cubicBezTo>
                <a:cubicBezTo>
                  <a:pt x="203" y="2199"/>
                  <a:pt x="204" y="2198"/>
                  <a:pt x="203" y="2197"/>
                </a:cubicBezTo>
                <a:cubicBezTo>
                  <a:pt x="203" y="2196"/>
                  <a:pt x="202" y="2195"/>
                  <a:pt x="203" y="2194"/>
                </a:cubicBezTo>
                <a:cubicBezTo>
                  <a:pt x="203" y="2195"/>
                  <a:pt x="204" y="2195"/>
                  <a:pt x="204" y="2194"/>
                </a:cubicBezTo>
                <a:cubicBezTo>
                  <a:pt x="204" y="2194"/>
                  <a:pt x="204" y="2193"/>
                  <a:pt x="205" y="2193"/>
                </a:cubicBezTo>
                <a:cubicBezTo>
                  <a:pt x="205" y="2192"/>
                  <a:pt x="204" y="2190"/>
                  <a:pt x="205" y="2189"/>
                </a:cubicBezTo>
                <a:cubicBezTo>
                  <a:pt x="206" y="2189"/>
                  <a:pt x="208" y="2189"/>
                  <a:pt x="208" y="2187"/>
                </a:cubicBezTo>
                <a:cubicBezTo>
                  <a:pt x="207" y="2187"/>
                  <a:pt x="207" y="2186"/>
                  <a:pt x="206" y="2186"/>
                </a:cubicBezTo>
                <a:cubicBezTo>
                  <a:pt x="205" y="2184"/>
                  <a:pt x="206" y="2182"/>
                  <a:pt x="206" y="2181"/>
                </a:cubicBezTo>
                <a:cubicBezTo>
                  <a:pt x="207" y="2178"/>
                  <a:pt x="207" y="2176"/>
                  <a:pt x="208" y="2174"/>
                </a:cubicBezTo>
                <a:cubicBezTo>
                  <a:pt x="208" y="2169"/>
                  <a:pt x="209" y="2164"/>
                  <a:pt x="210" y="2159"/>
                </a:cubicBezTo>
                <a:cubicBezTo>
                  <a:pt x="212" y="2146"/>
                  <a:pt x="215" y="2132"/>
                  <a:pt x="215" y="2129"/>
                </a:cubicBezTo>
                <a:cubicBezTo>
                  <a:pt x="216" y="2126"/>
                  <a:pt x="217" y="2115"/>
                  <a:pt x="219" y="2105"/>
                </a:cubicBezTo>
                <a:cubicBezTo>
                  <a:pt x="221" y="2094"/>
                  <a:pt x="224" y="2076"/>
                  <a:pt x="226" y="2065"/>
                </a:cubicBezTo>
                <a:cubicBezTo>
                  <a:pt x="228" y="2055"/>
                  <a:pt x="233" y="2026"/>
                  <a:pt x="237" y="2002"/>
                </a:cubicBezTo>
                <a:cubicBezTo>
                  <a:pt x="238" y="1995"/>
                  <a:pt x="239" y="1987"/>
                  <a:pt x="240" y="1980"/>
                </a:cubicBezTo>
                <a:cubicBezTo>
                  <a:pt x="241" y="1976"/>
                  <a:pt x="242" y="1972"/>
                  <a:pt x="242" y="1969"/>
                </a:cubicBezTo>
                <a:cubicBezTo>
                  <a:pt x="243" y="1965"/>
                  <a:pt x="244" y="1961"/>
                  <a:pt x="244" y="1958"/>
                </a:cubicBezTo>
                <a:cubicBezTo>
                  <a:pt x="244" y="1958"/>
                  <a:pt x="244" y="1958"/>
                  <a:pt x="244" y="1958"/>
                </a:cubicBezTo>
                <a:cubicBezTo>
                  <a:pt x="244" y="1956"/>
                  <a:pt x="244" y="1955"/>
                  <a:pt x="245" y="1954"/>
                </a:cubicBezTo>
                <a:cubicBezTo>
                  <a:pt x="245" y="1952"/>
                  <a:pt x="245" y="1950"/>
                  <a:pt x="245" y="1948"/>
                </a:cubicBezTo>
                <a:cubicBezTo>
                  <a:pt x="246" y="1944"/>
                  <a:pt x="247" y="1940"/>
                  <a:pt x="247" y="1936"/>
                </a:cubicBezTo>
                <a:cubicBezTo>
                  <a:pt x="248" y="1933"/>
                  <a:pt x="248" y="1930"/>
                  <a:pt x="249" y="1926"/>
                </a:cubicBezTo>
                <a:cubicBezTo>
                  <a:pt x="249" y="1924"/>
                  <a:pt x="249" y="1923"/>
                  <a:pt x="250" y="1921"/>
                </a:cubicBezTo>
                <a:cubicBezTo>
                  <a:pt x="250" y="1920"/>
                  <a:pt x="250" y="1918"/>
                  <a:pt x="250" y="1916"/>
                </a:cubicBezTo>
                <a:cubicBezTo>
                  <a:pt x="251" y="1916"/>
                  <a:pt x="251" y="1916"/>
                  <a:pt x="251" y="1915"/>
                </a:cubicBezTo>
                <a:cubicBezTo>
                  <a:pt x="251" y="1914"/>
                  <a:pt x="251" y="1913"/>
                  <a:pt x="251" y="1912"/>
                </a:cubicBezTo>
                <a:cubicBezTo>
                  <a:pt x="251" y="1910"/>
                  <a:pt x="251" y="1909"/>
                  <a:pt x="252" y="1908"/>
                </a:cubicBezTo>
                <a:cubicBezTo>
                  <a:pt x="252" y="1904"/>
                  <a:pt x="254" y="1893"/>
                  <a:pt x="256" y="1885"/>
                </a:cubicBezTo>
                <a:cubicBezTo>
                  <a:pt x="256" y="1882"/>
                  <a:pt x="256" y="1880"/>
                  <a:pt x="257" y="1877"/>
                </a:cubicBezTo>
                <a:cubicBezTo>
                  <a:pt x="257" y="1875"/>
                  <a:pt x="257" y="1872"/>
                  <a:pt x="258" y="1870"/>
                </a:cubicBezTo>
                <a:cubicBezTo>
                  <a:pt x="258" y="1870"/>
                  <a:pt x="258" y="1870"/>
                  <a:pt x="258" y="1870"/>
                </a:cubicBezTo>
                <a:cubicBezTo>
                  <a:pt x="258" y="1870"/>
                  <a:pt x="259" y="1870"/>
                  <a:pt x="259" y="1870"/>
                </a:cubicBezTo>
                <a:cubicBezTo>
                  <a:pt x="259" y="1870"/>
                  <a:pt x="260" y="1869"/>
                  <a:pt x="260" y="1869"/>
                </a:cubicBezTo>
                <a:cubicBezTo>
                  <a:pt x="260" y="1868"/>
                  <a:pt x="260" y="1868"/>
                  <a:pt x="260" y="1867"/>
                </a:cubicBezTo>
                <a:cubicBezTo>
                  <a:pt x="260" y="1866"/>
                  <a:pt x="260" y="1864"/>
                  <a:pt x="260" y="1863"/>
                </a:cubicBezTo>
                <a:cubicBezTo>
                  <a:pt x="260" y="1862"/>
                  <a:pt x="261" y="1861"/>
                  <a:pt x="260" y="1861"/>
                </a:cubicBezTo>
                <a:cubicBezTo>
                  <a:pt x="260" y="1860"/>
                  <a:pt x="260" y="1860"/>
                  <a:pt x="260" y="1860"/>
                </a:cubicBezTo>
                <a:cubicBezTo>
                  <a:pt x="260" y="1859"/>
                  <a:pt x="261" y="1859"/>
                  <a:pt x="261" y="1859"/>
                </a:cubicBezTo>
                <a:cubicBezTo>
                  <a:pt x="260" y="1858"/>
                  <a:pt x="260" y="1858"/>
                  <a:pt x="260" y="1858"/>
                </a:cubicBezTo>
                <a:cubicBezTo>
                  <a:pt x="260" y="1857"/>
                  <a:pt x="260" y="1855"/>
                  <a:pt x="261" y="1854"/>
                </a:cubicBezTo>
                <a:cubicBezTo>
                  <a:pt x="261" y="1853"/>
                  <a:pt x="262" y="1852"/>
                  <a:pt x="262" y="1850"/>
                </a:cubicBezTo>
                <a:cubicBezTo>
                  <a:pt x="262" y="1849"/>
                  <a:pt x="262" y="1846"/>
                  <a:pt x="262" y="1846"/>
                </a:cubicBezTo>
                <a:cubicBezTo>
                  <a:pt x="263" y="1844"/>
                  <a:pt x="263" y="1842"/>
                  <a:pt x="263" y="1841"/>
                </a:cubicBezTo>
                <a:cubicBezTo>
                  <a:pt x="263" y="1839"/>
                  <a:pt x="264" y="1837"/>
                  <a:pt x="264" y="1835"/>
                </a:cubicBezTo>
                <a:cubicBezTo>
                  <a:pt x="264" y="1834"/>
                  <a:pt x="264" y="1831"/>
                  <a:pt x="265" y="1831"/>
                </a:cubicBezTo>
                <a:cubicBezTo>
                  <a:pt x="266" y="1830"/>
                  <a:pt x="266" y="1830"/>
                  <a:pt x="266" y="1830"/>
                </a:cubicBezTo>
                <a:cubicBezTo>
                  <a:pt x="267" y="1830"/>
                  <a:pt x="267" y="1829"/>
                  <a:pt x="267" y="1829"/>
                </a:cubicBezTo>
                <a:cubicBezTo>
                  <a:pt x="267" y="1828"/>
                  <a:pt x="267" y="1828"/>
                  <a:pt x="266" y="1827"/>
                </a:cubicBezTo>
                <a:cubicBezTo>
                  <a:pt x="265" y="1825"/>
                  <a:pt x="266" y="1823"/>
                  <a:pt x="266" y="1821"/>
                </a:cubicBez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37" name="Freeform 12">
            <a:extLst>
              <a:ext uri="{FF2B5EF4-FFF2-40B4-BE49-F238E27FC236}">
                <a16:creationId xmlns:a16="http://schemas.microsoft.com/office/drawing/2014/main" id="{E5176E55-0990-FB89-9D22-24ED37A3DFC3}"/>
              </a:ext>
            </a:extLst>
          </p:cNvPr>
          <p:cNvSpPr>
            <a:spLocks noChangeAspect="1"/>
          </p:cNvSpPr>
          <p:nvPr userDrawn="1"/>
        </p:nvSpPr>
        <p:spPr bwMode="auto">
          <a:xfrm>
            <a:off x="8210517" y="3728121"/>
            <a:ext cx="2698089" cy="1349660"/>
          </a:xfrm>
          <a:custGeom>
            <a:avLst/>
            <a:gdLst>
              <a:gd name="T0" fmla="*/ 1236 w 2832"/>
              <a:gd name="T1" fmla="*/ 826 h 1416"/>
              <a:gd name="T2" fmla="*/ 1334 w 2832"/>
              <a:gd name="T3" fmla="*/ 777 h 1416"/>
              <a:gd name="T4" fmla="*/ 1466 w 2832"/>
              <a:gd name="T5" fmla="*/ 712 h 1416"/>
              <a:gd name="T6" fmla="*/ 1546 w 2832"/>
              <a:gd name="T7" fmla="*/ 671 h 1416"/>
              <a:gd name="T8" fmla="*/ 1610 w 2832"/>
              <a:gd name="T9" fmla="*/ 646 h 1416"/>
              <a:gd name="T10" fmla="*/ 1660 w 2832"/>
              <a:gd name="T11" fmla="*/ 617 h 1416"/>
              <a:gd name="T12" fmla="*/ 1700 w 2832"/>
              <a:gd name="T13" fmla="*/ 596 h 1416"/>
              <a:gd name="T14" fmla="*/ 1760 w 2832"/>
              <a:gd name="T15" fmla="*/ 565 h 1416"/>
              <a:gd name="T16" fmla="*/ 1841 w 2832"/>
              <a:gd name="T17" fmla="*/ 530 h 1416"/>
              <a:gd name="T18" fmla="*/ 1956 w 2832"/>
              <a:gd name="T19" fmla="*/ 467 h 1416"/>
              <a:gd name="T20" fmla="*/ 2027 w 2832"/>
              <a:gd name="T21" fmla="*/ 431 h 1416"/>
              <a:gd name="T22" fmla="*/ 2136 w 2832"/>
              <a:gd name="T23" fmla="*/ 378 h 1416"/>
              <a:gd name="T24" fmla="*/ 2195 w 2832"/>
              <a:gd name="T25" fmla="*/ 350 h 1416"/>
              <a:gd name="T26" fmla="*/ 2241 w 2832"/>
              <a:gd name="T27" fmla="*/ 327 h 1416"/>
              <a:gd name="T28" fmla="*/ 2306 w 2832"/>
              <a:gd name="T29" fmla="*/ 296 h 1416"/>
              <a:gd name="T30" fmla="*/ 2376 w 2832"/>
              <a:gd name="T31" fmla="*/ 265 h 1416"/>
              <a:gd name="T32" fmla="*/ 2483 w 2832"/>
              <a:gd name="T33" fmla="*/ 211 h 1416"/>
              <a:gd name="T34" fmla="*/ 2525 w 2832"/>
              <a:gd name="T35" fmla="*/ 192 h 1416"/>
              <a:gd name="T36" fmla="*/ 2585 w 2832"/>
              <a:gd name="T37" fmla="*/ 165 h 1416"/>
              <a:gd name="T38" fmla="*/ 2652 w 2832"/>
              <a:gd name="T39" fmla="*/ 133 h 1416"/>
              <a:gd name="T40" fmla="*/ 2698 w 2832"/>
              <a:gd name="T41" fmla="*/ 105 h 1416"/>
              <a:gd name="T42" fmla="*/ 2749 w 2832"/>
              <a:gd name="T43" fmla="*/ 77 h 1416"/>
              <a:gd name="T44" fmla="*/ 2815 w 2832"/>
              <a:gd name="T45" fmla="*/ 10 h 1416"/>
              <a:gd name="T46" fmla="*/ 2491 w 2832"/>
              <a:gd name="T47" fmla="*/ 156 h 1416"/>
              <a:gd name="T48" fmla="*/ 2298 w 2832"/>
              <a:gd name="T49" fmla="*/ 253 h 1416"/>
              <a:gd name="T50" fmla="*/ 2210 w 2832"/>
              <a:gd name="T51" fmla="*/ 295 h 1416"/>
              <a:gd name="T52" fmla="*/ 2116 w 2832"/>
              <a:gd name="T53" fmla="*/ 339 h 1416"/>
              <a:gd name="T54" fmla="*/ 2042 w 2832"/>
              <a:gd name="T55" fmla="*/ 372 h 1416"/>
              <a:gd name="T56" fmla="*/ 1964 w 2832"/>
              <a:gd name="T57" fmla="*/ 411 h 1416"/>
              <a:gd name="T58" fmla="*/ 1684 w 2832"/>
              <a:gd name="T59" fmla="*/ 549 h 1416"/>
              <a:gd name="T60" fmla="*/ 1603 w 2832"/>
              <a:gd name="T61" fmla="*/ 591 h 1416"/>
              <a:gd name="T62" fmla="*/ 1492 w 2832"/>
              <a:gd name="T63" fmla="*/ 645 h 1416"/>
              <a:gd name="T64" fmla="*/ 1404 w 2832"/>
              <a:gd name="T65" fmla="*/ 692 h 1416"/>
              <a:gd name="T66" fmla="*/ 1334 w 2832"/>
              <a:gd name="T67" fmla="*/ 723 h 1416"/>
              <a:gd name="T68" fmla="*/ 1299 w 2832"/>
              <a:gd name="T69" fmla="*/ 740 h 1416"/>
              <a:gd name="T70" fmla="*/ 1243 w 2832"/>
              <a:gd name="T71" fmla="*/ 767 h 1416"/>
              <a:gd name="T72" fmla="*/ 1174 w 2832"/>
              <a:gd name="T73" fmla="*/ 800 h 1416"/>
              <a:gd name="T74" fmla="*/ 1126 w 2832"/>
              <a:gd name="T75" fmla="*/ 824 h 1416"/>
              <a:gd name="T76" fmla="*/ 1056 w 2832"/>
              <a:gd name="T77" fmla="*/ 860 h 1416"/>
              <a:gd name="T78" fmla="*/ 987 w 2832"/>
              <a:gd name="T79" fmla="*/ 893 h 1416"/>
              <a:gd name="T80" fmla="*/ 877 w 2832"/>
              <a:gd name="T81" fmla="*/ 953 h 1416"/>
              <a:gd name="T82" fmla="*/ 760 w 2832"/>
              <a:gd name="T83" fmla="*/ 1011 h 1416"/>
              <a:gd name="T84" fmla="*/ 663 w 2832"/>
              <a:gd name="T85" fmla="*/ 1058 h 1416"/>
              <a:gd name="T86" fmla="*/ 605 w 2832"/>
              <a:gd name="T87" fmla="*/ 1083 h 1416"/>
              <a:gd name="T88" fmla="*/ 554 w 2832"/>
              <a:gd name="T89" fmla="*/ 1108 h 1416"/>
              <a:gd name="T90" fmla="*/ 502 w 2832"/>
              <a:gd name="T91" fmla="*/ 1131 h 1416"/>
              <a:gd name="T92" fmla="*/ 411 w 2832"/>
              <a:gd name="T93" fmla="*/ 1176 h 1416"/>
              <a:gd name="T94" fmla="*/ 348 w 2832"/>
              <a:gd name="T95" fmla="*/ 1207 h 1416"/>
              <a:gd name="T96" fmla="*/ 318 w 2832"/>
              <a:gd name="T97" fmla="*/ 1219 h 1416"/>
              <a:gd name="T98" fmla="*/ 272 w 2832"/>
              <a:gd name="T99" fmla="*/ 1244 h 1416"/>
              <a:gd name="T100" fmla="*/ 213 w 2832"/>
              <a:gd name="T101" fmla="*/ 1272 h 1416"/>
              <a:gd name="T102" fmla="*/ 160 w 2832"/>
              <a:gd name="T103" fmla="*/ 1298 h 1416"/>
              <a:gd name="T104" fmla="*/ 121 w 2832"/>
              <a:gd name="T105" fmla="*/ 1321 h 1416"/>
              <a:gd name="T106" fmla="*/ 60 w 2832"/>
              <a:gd name="T107" fmla="*/ 1350 h 1416"/>
              <a:gd name="T108" fmla="*/ 335 w 2832"/>
              <a:gd name="T109" fmla="*/ 1267 h 1416"/>
              <a:gd name="T110" fmla="*/ 524 w 2832"/>
              <a:gd name="T111" fmla="*/ 1175 h 1416"/>
              <a:gd name="T112" fmla="*/ 611 w 2832"/>
              <a:gd name="T113" fmla="*/ 1131 h 1416"/>
              <a:gd name="T114" fmla="*/ 715 w 2832"/>
              <a:gd name="T115" fmla="*/ 1079 h 1416"/>
              <a:gd name="T116" fmla="*/ 787 w 2832"/>
              <a:gd name="T117" fmla="*/ 1048 h 1416"/>
              <a:gd name="T118" fmla="*/ 1016 w 2832"/>
              <a:gd name="T119" fmla="*/ 935 h 1416"/>
              <a:gd name="T120" fmla="*/ 1146 w 2832"/>
              <a:gd name="T121" fmla="*/ 871 h 1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832" h="1416">
                <a:moveTo>
                  <a:pt x="1180" y="854"/>
                </a:moveTo>
                <a:lnTo>
                  <a:pt x="1180" y="854"/>
                </a:lnTo>
                <a:cubicBezTo>
                  <a:pt x="1180" y="853"/>
                  <a:pt x="1181" y="853"/>
                  <a:pt x="1181" y="852"/>
                </a:cubicBezTo>
                <a:cubicBezTo>
                  <a:pt x="1184" y="852"/>
                  <a:pt x="1187" y="851"/>
                  <a:pt x="1189" y="851"/>
                </a:cubicBezTo>
                <a:cubicBezTo>
                  <a:pt x="1190" y="850"/>
                  <a:pt x="1192" y="850"/>
                  <a:pt x="1193" y="850"/>
                </a:cubicBezTo>
                <a:cubicBezTo>
                  <a:pt x="1194" y="850"/>
                  <a:pt x="1195" y="850"/>
                  <a:pt x="1196" y="849"/>
                </a:cubicBezTo>
                <a:cubicBezTo>
                  <a:pt x="1197" y="849"/>
                  <a:pt x="1197" y="848"/>
                  <a:pt x="1197" y="847"/>
                </a:cubicBezTo>
                <a:cubicBezTo>
                  <a:pt x="1198" y="846"/>
                  <a:pt x="1198" y="845"/>
                  <a:pt x="1199" y="845"/>
                </a:cubicBezTo>
                <a:cubicBezTo>
                  <a:pt x="1201" y="845"/>
                  <a:pt x="1201" y="846"/>
                  <a:pt x="1202" y="846"/>
                </a:cubicBezTo>
                <a:cubicBezTo>
                  <a:pt x="1203" y="846"/>
                  <a:pt x="1203" y="844"/>
                  <a:pt x="1204" y="844"/>
                </a:cubicBezTo>
                <a:cubicBezTo>
                  <a:pt x="1204" y="844"/>
                  <a:pt x="1205" y="844"/>
                  <a:pt x="1205" y="844"/>
                </a:cubicBezTo>
                <a:cubicBezTo>
                  <a:pt x="1205" y="844"/>
                  <a:pt x="1206" y="844"/>
                  <a:pt x="1207" y="844"/>
                </a:cubicBezTo>
                <a:cubicBezTo>
                  <a:pt x="1207" y="844"/>
                  <a:pt x="1207" y="844"/>
                  <a:pt x="1207" y="844"/>
                </a:cubicBezTo>
                <a:cubicBezTo>
                  <a:pt x="1207" y="844"/>
                  <a:pt x="1208" y="844"/>
                  <a:pt x="1208" y="844"/>
                </a:cubicBezTo>
                <a:cubicBezTo>
                  <a:pt x="1208" y="844"/>
                  <a:pt x="1209" y="844"/>
                  <a:pt x="1209" y="843"/>
                </a:cubicBezTo>
                <a:cubicBezTo>
                  <a:pt x="1210" y="843"/>
                  <a:pt x="1211" y="842"/>
                  <a:pt x="1212" y="842"/>
                </a:cubicBezTo>
                <a:cubicBezTo>
                  <a:pt x="1213" y="841"/>
                  <a:pt x="1214" y="841"/>
                  <a:pt x="1215" y="840"/>
                </a:cubicBezTo>
                <a:cubicBezTo>
                  <a:pt x="1217" y="839"/>
                  <a:pt x="1220" y="838"/>
                  <a:pt x="1222" y="836"/>
                </a:cubicBezTo>
                <a:cubicBezTo>
                  <a:pt x="1223" y="835"/>
                  <a:pt x="1221" y="835"/>
                  <a:pt x="1221" y="833"/>
                </a:cubicBezTo>
                <a:cubicBezTo>
                  <a:pt x="1220" y="833"/>
                  <a:pt x="1221" y="833"/>
                  <a:pt x="1221" y="833"/>
                </a:cubicBezTo>
                <a:cubicBezTo>
                  <a:pt x="1222" y="832"/>
                  <a:pt x="1222" y="832"/>
                  <a:pt x="1223" y="832"/>
                </a:cubicBezTo>
                <a:cubicBezTo>
                  <a:pt x="1224" y="832"/>
                  <a:pt x="1224" y="831"/>
                  <a:pt x="1225" y="831"/>
                </a:cubicBezTo>
                <a:cubicBezTo>
                  <a:pt x="1227" y="830"/>
                  <a:pt x="1229" y="829"/>
                  <a:pt x="1231" y="829"/>
                </a:cubicBezTo>
                <a:cubicBezTo>
                  <a:pt x="1232" y="828"/>
                  <a:pt x="1237" y="828"/>
                  <a:pt x="1236" y="826"/>
                </a:cubicBezTo>
                <a:cubicBezTo>
                  <a:pt x="1236" y="825"/>
                  <a:pt x="1236" y="825"/>
                  <a:pt x="1236" y="825"/>
                </a:cubicBezTo>
                <a:cubicBezTo>
                  <a:pt x="1236" y="824"/>
                  <a:pt x="1239" y="824"/>
                  <a:pt x="1240" y="823"/>
                </a:cubicBezTo>
                <a:cubicBezTo>
                  <a:pt x="1248" y="821"/>
                  <a:pt x="1255" y="818"/>
                  <a:pt x="1264" y="813"/>
                </a:cubicBezTo>
                <a:cubicBezTo>
                  <a:pt x="1266" y="812"/>
                  <a:pt x="1268" y="810"/>
                  <a:pt x="1270" y="810"/>
                </a:cubicBezTo>
                <a:cubicBezTo>
                  <a:pt x="1271" y="809"/>
                  <a:pt x="1271" y="810"/>
                  <a:pt x="1272" y="810"/>
                </a:cubicBezTo>
                <a:cubicBezTo>
                  <a:pt x="1273" y="810"/>
                  <a:pt x="1274" y="810"/>
                  <a:pt x="1275" y="809"/>
                </a:cubicBezTo>
                <a:cubicBezTo>
                  <a:pt x="1276" y="808"/>
                  <a:pt x="1277" y="807"/>
                  <a:pt x="1278" y="807"/>
                </a:cubicBezTo>
                <a:cubicBezTo>
                  <a:pt x="1279" y="807"/>
                  <a:pt x="1280" y="808"/>
                  <a:pt x="1281" y="807"/>
                </a:cubicBezTo>
                <a:cubicBezTo>
                  <a:pt x="1282" y="807"/>
                  <a:pt x="1283" y="806"/>
                  <a:pt x="1283" y="805"/>
                </a:cubicBezTo>
                <a:cubicBezTo>
                  <a:pt x="1284" y="803"/>
                  <a:pt x="1284" y="803"/>
                  <a:pt x="1286" y="802"/>
                </a:cubicBezTo>
                <a:cubicBezTo>
                  <a:pt x="1288" y="801"/>
                  <a:pt x="1289" y="800"/>
                  <a:pt x="1291" y="799"/>
                </a:cubicBezTo>
                <a:cubicBezTo>
                  <a:pt x="1295" y="797"/>
                  <a:pt x="1300" y="795"/>
                  <a:pt x="1301" y="794"/>
                </a:cubicBezTo>
                <a:cubicBezTo>
                  <a:pt x="1302" y="794"/>
                  <a:pt x="1302" y="793"/>
                  <a:pt x="1303" y="793"/>
                </a:cubicBezTo>
                <a:cubicBezTo>
                  <a:pt x="1304" y="793"/>
                  <a:pt x="1305" y="793"/>
                  <a:pt x="1306" y="794"/>
                </a:cubicBezTo>
                <a:cubicBezTo>
                  <a:pt x="1306" y="794"/>
                  <a:pt x="1307" y="794"/>
                  <a:pt x="1308" y="793"/>
                </a:cubicBezTo>
                <a:cubicBezTo>
                  <a:pt x="1309" y="793"/>
                  <a:pt x="1311" y="792"/>
                  <a:pt x="1312" y="792"/>
                </a:cubicBezTo>
                <a:cubicBezTo>
                  <a:pt x="1313" y="792"/>
                  <a:pt x="1313" y="791"/>
                  <a:pt x="1314" y="791"/>
                </a:cubicBezTo>
                <a:cubicBezTo>
                  <a:pt x="1314" y="791"/>
                  <a:pt x="1314" y="790"/>
                  <a:pt x="1314" y="790"/>
                </a:cubicBezTo>
                <a:cubicBezTo>
                  <a:pt x="1315" y="787"/>
                  <a:pt x="1319" y="786"/>
                  <a:pt x="1321" y="785"/>
                </a:cubicBezTo>
                <a:cubicBezTo>
                  <a:pt x="1323" y="785"/>
                  <a:pt x="1325" y="784"/>
                  <a:pt x="1327" y="783"/>
                </a:cubicBezTo>
                <a:cubicBezTo>
                  <a:pt x="1327" y="783"/>
                  <a:pt x="1328" y="782"/>
                  <a:pt x="1328" y="782"/>
                </a:cubicBezTo>
                <a:cubicBezTo>
                  <a:pt x="1328" y="781"/>
                  <a:pt x="1328" y="781"/>
                  <a:pt x="1328" y="781"/>
                </a:cubicBezTo>
                <a:cubicBezTo>
                  <a:pt x="1329" y="780"/>
                  <a:pt x="1330" y="779"/>
                  <a:pt x="1331" y="778"/>
                </a:cubicBezTo>
                <a:cubicBezTo>
                  <a:pt x="1332" y="778"/>
                  <a:pt x="1333" y="778"/>
                  <a:pt x="1334" y="777"/>
                </a:cubicBezTo>
                <a:cubicBezTo>
                  <a:pt x="1336" y="777"/>
                  <a:pt x="1338" y="776"/>
                  <a:pt x="1339" y="775"/>
                </a:cubicBezTo>
                <a:cubicBezTo>
                  <a:pt x="1341" y="774"/>
                  <a:pt x="1343" y="772"/>
                  <a:pt x="1345" y="771"/>
                </a:cubicBezTo>
                <a:cubicBezTo>
                  <a:pt x="1351" y="768"/>
                  <a:pt x="1357" y="765"/>
                  <a:pt x="1359" y="764"/>
                </a:cubicBezTo>
                <a:cubicBezTo>
                  <a:pt x="1360" y="763"/>
                  <a:pt x="1363" y="762"/>
                  <a:pt x="1363" y="761"/>
                </a:cubicBezTo>
                <a:cubicBezTo>
                  <a:pt x="1363" y="760"/>
                  <a:pt x="1364" y="760"/>
                  <a:pt x="1364" y="760"/>
                </a:cubicBezTo>
                <a:cubicBezTo>
                  <a:pt x="1365" y="759"/>
                  <a:pt x="1367" y="759"/>
                  <a:pt x="1368" y="759"/>
                </a:cubicBezTo>
                <a:cubicBezTo>
                  <a:pt x="1369" y="759"/>
                  <a:pt x="1371" y="758"/>
                  <a:pt x="1372" y="758"/>
                </a:cubicBezTo>
                <a:cubicBezTo>
                  <a:pt x="1375" y="756"/>
                  <a:pt x="1378" y="754"/>
                  <a:pt x="1382" y="752"/>
                </a:cubicBezTo>
                <a:cubicBezTo>
                  <a:pt x="1384" y="751"/>
                  <a:pt x="1387" y="750"/>
                  <a:pt x="1390" y="749"/>
                </a:cubicBezTo>
                <a:cubicBezTo>
                  <a:pt x="1392" y="748"/>
                  <a:pt x="1396" y="747"/>
                  <a:pt x="1398" y="745"/>
                </a:cubicBezTo>
                <a:cubicBezTo>
                  <a:pt x="1398" y="744"/>
                  <a:pt x="1398" y="744"/>
                  <a:pt x="1398" y="744"/>
                </a:cubicBezTo>
                <a:cubicBezTo>
                  <a:pt x="1399" y="743"/>
                  <a:pt x="1399" y="743"/>
                  <a:pt x="1399" y="743"/>
                </a:cubicBezTo>
                <a:cubicBezTo>
                  <a:pt x="1400" y="743"/>
                  <a:pt x="1401" y="743"/>
                  <a:pt x="1402" y="743"/>
                </a:cubicBezTo>
                <a:cubicBezTo>
                  <a:pt x="1403" y="743"/>
                  <a:pt x="1405" y="742"/>
                  <a:pt x="1406" y="742"/>
                </a:cubicBezTo>
                <a:cubicBezTo>
                  <a:pt x="1408" y="741"/>
                  <a:pt x="1410" y="739"/>
                  <a:pt x="1412" y="738"/>
                </a:cubicBezTo>
                <a:cubicBezTo>
                  <a:pt x="1414" y="737"/>
                  <a:pt x="1415" y="736"/>
                  <a:pt x="1417" y="735"/>
                </a:cubicBezTo>
                <a:cubicBezTo>
                  <a:pt x="1418" y="735"/>
                  <a:pt x="1419" y="734"/>
                  <a:pt x="1419" y="734"/>
                </a:cubicBezTo>
                <a:cubicBezTo>
                  <a:pt x="1420" y="733"/>
                  <a:pt x="1420" y="732"/>
                  <a:pt x="1420" y="732"/>
                </a:cubicBezTo>
                <a:cubicBezTo>
                  <a:pt x="1421" y="731"/>
                  <a:pt x="1421" y="731"/>
                  <a:pt x="1422" y="730"/>
                </a:cubicBezTo>
                <a:cubicBezTo>
                  <a:pt x="1425" y="729"/>
                  <a:pt x="1428" y="728"/>
                  <a:pt x="1431" y="726"/>
                </a:cubicBezTo>
                <a:cubicBezTo>
                  <a:pt x="1433" y="724"/>
                  <a:pt x="1436" y="724"/>
                  <a:pt x="1439" y="722"/>
                </a:cubicBezTo>
                <a:cubicBezTo>
                  <a:pt x="1443" y="721"/>
                  <a:pt x="1446" y="719"/>
                  <a:pt x="1449" y="718"/>
                </a:cubicBezTo>
                <a:cubicBezTo>
                  <a:pt x="1452" y="716"/>
                  <a:pt x="1455" y="717"/>
                  <a:pt x="1458" y="715"/>
                </a:cubicBezTo>
                <a:cubicBezTo>
                  <a:pt x="1461" y="714"/>
                  <a:pt x="1463" y="713"/>
                  <a:pt x="1466" y="712"/>
                </a:cubicBezTo>
                <a:cubicBezTo>
                  <a:pt x="1467" y="711"/>
                  <a:pt x="1469" y="710"/>
                  <a:pt x="1470" y="710"/>
                </a:cubicBezTo>
                <a:cubicBezTo>
                  <a:pt x="1471" y="709"/>
                  <a:pt x="1472" y="708"/>
                  <a:pt x="1473" y="708"/>
                </a:cubicBezTo>
                <a:cubicBezTo>
                  <a:pt x="1473" y="707"/>
                  <a:pt x="1474" y="707"/>
                  <a:pt x="1474" y="707"/>
                </a:cubicBezTo>
                <a:cubicBezTo>
                  <a:pt x="1476" y="707"/>
                  <a:pt x="1479" y="706"/>
                  <a:pt x="1481" y="706"/>
                </a:cubicBezTo>
                <a:cubicBezTo>
                  <a:pt x="1484" y="704"/>
                  <a:pt x="1486" y="703"/>
                  <a:pt x="1489" y="702"/>
                </a:cubicBezTo>
                <a:cubicBezTo>
                  <a:pt x="1491" y="701"/>
                  <a:pt x="1492" y="700"/>
                  <a:pt x="1494" y="699"/>
                </a:cubicBezTo>
                <a:cubicBezTo>
                  <a:pt x="1495" y="698"/>
                  <a:pt x="1495" y="697"/>
                  <a:pt x="1497" y="696"/>
                </a:cubicBezTo>
                <a:cubicBezTo>
                  <a:pt x="1498" y="696"/>
                  <a:pt x="1498" y="696"/>
                  <a:pt x="1498" y="696"/>
                </a:cubicBezTo>
                <a:cubicBezTo>
                  <a:pt x="1499" y="696"/>
                  <a:pt x="1499" y="696"/>
                  <a:pt x="1500" y="695"/>
                </a:cubicBezTo>
                <a:cubicBezTo>
                  <a:pt x="1501" y="694"/>
                  <a:pt x="1503" y="694"/>
                  <a:pt x="1504" y="692"/>
                </a:cubicBezTo>
                <a:cubicBezTo>
                  <a:pt x="1504" y="692"/>
                  <a:pt x="1505" y="692"/>
                  <a:pt x="1505" y="691"/>
                </a:cubicBezTo>
                <a:cubicBezTo>
                  <a:pt x="1505" y="691"/>
                  <a:pt x="1506" y="691"/>
                  <a:pt x="1506" y="691"/>
                </a:cubicBezTo>
                <a:cubicBezTo>
                  <a:pt x="1508" y="690"/>
                  <a:pt x="1509" y="689"/>
                  <a:pt x="1511" y="688"/>
                </a:cubicBezTo>
                <a:cubicBezTo>
                  <a:pt x="1514" y="688"/>
                  <a:pt x="1516" y="687"/>
                  <a:pt x="1518" y="686"/>
                </a:cubicBezTo>
                <a:cubicBezTo>
                  <a:pt x="1521" y="686"/>
                  <a:pt x="1523" y="685"/>
                  <a:pt x="1526" y="685"/>
                </a:cubicBezTo>
                <a:cubicBezTo>
                  <a:pt x="1528" y="684"/>
                  <a:pt x="1529" y="682"/>
                  <a:pt x="1531" y="681"/>
                </a:cubicBezTo>
                <a:cubicBezTo>
                  <a:pt x="1531" y="681"/>
                  <a:pt x="1532" y="681"/>
                  <a:pt x="1532" y="681"/>
                </a:cubicBezTo>
                <a:cubicBezTo>
                  <a:pt x="1532" y="681"/>
                  <a:pt x="1533" y="681"/>
                  <a:pt x="1533" y="681"/>
                </a:cubicBezTo>
                <a:cubicBezTo>
                  <a:pt x="1533" y="681"/>
                  <a:pt x="1534" y="681"/>
                  <a:pt x="1534" y="680"/>
                </a:cubicBezTo>
                <a:cubicBezTo>
                  <a:pt x="1536" y="680"/>
                  <a:pt x="1537" y="679"/>
                  <a:pt x="1539" y="679"/>
                </a:cubicBezTo>
                <a:cubicBezTo>
                  <a:pt x="1540" y="678"/>
                  <a:pt x="1541" y="678"/>
                  <a:pt x="1542" y="678"/>
                </a:cubicBezTo>
                <a:cubicBezTo>
                  <a:pt x="1543" y="677"/>
                  <a:pt x="1544" y="677"/>
                  <a:pt x="1544" y="676"/>
                </a:cubicBezTo>
                <a:cubicBezTo>
                  <a:pt x="1545" y="675"/>
                  <a:pt x="1543" y="675"/>
                  <a:pt x="1543" y="674"/>
                </a:cubicBezTo>
                <a:cubicBezTo>
                  <a:pt x="1543" y="672"/>
                  <a:pt x="1545" y="672"/>
                  <a:pt x="1546" y="671"/>
                </a:cubicBezTo>
                <a:cubicBezTo>
                  <a:pt x="1548" y="671"/>
                  <a:pt x="1549" y="670"/>
                  <a:pt x="1551" y="669"/>
                </a:cubicBezTo>
                <a:cubicBezTo>
                  <a:pt x="1553" y="668"/>
                  <a:pt x="1555" y="667"/>
                  <a:pt x="1556" y="667"/>
                </a:cubicBezTo>
                <a:cubicBezTo>
                  <a:pt x="1558" y="666"/>
                  <a:pt x="1559" y="665"/>
                  <a:pt x="1560" y="667"/>
                </a:cubicBezTo>
                <a:cubicBezTo>
                  <a:pt x="1560" y="667"/>
                  <a:pt x="1561" y="668"/>
                  <a:pt x="1562" y="667"/>
                </a:cubicBezTo>
                <a:cubicBezTo>
                  <a:pt x="1562" y="667"/>
                  <a:pt x="1563" y="667"/>
                  <a:pt x="1563" y="667"/>
                </a:cubicBezTo>
                <a:cubicBezTo>
                  <a:pt x="1563" y="667"/>
                  <a:pt x="1563" y="667"/>
                  <a:pt x="1564" y="667"/>
                </a:cubicBezTo>
                <a:cubicBezTo>
                  <a:pt x="1564" y="667"/>
                  <a:pt x="1564" y="667"/>
                  <a:pt x="1565" y="667"/>
                </a:cubicBezTo>
                <a:cubicBezTo>
                  <a:pt x="1566" y="666"/>
                  <a:pt x="1566" y="666"/>
                  <a:pt x="1567" y="665"/>
                </a:cubicBezTo>
                <a:cubicBezTo>
                  <a:pt x="1567" y="665"/>
                  <a:pt x="1568" y="665"/>
                  <a:pt x="1568" y="665"/>
                </a:cubicBezTo>
                <a:cubicBezTo>
                  <a:pt x="1568" y="665"/>
                  <a:pt x="1568" y="665"/>
                  <a:pt x="1569" y="665"/>
                </a:cubicBezTo>
                <a:cubicBezTo>
                  <a:pt x="1570" y="665"/>
                  <a:pt x="1571" y="664"/>
                  <a:pt x="1572" y="663"/>
                </a:cubicBezTo>
                <a:cubicBezTo>
                  <a:pt x="1573" y="662"/>
                  <a:pt x="1575" y="662"/>
                  <a:pt x="1576" y="661"/>
                </a:cubicBezTo>
                <a:cubicBezTo>
                  <a:pt x="1578" y="660"/>
                  <a:pt x="1580" y="660"/>
                  <a:pt x="1581" y="659"/>
                </a:cubicBezTo>
                <a:cubicBezTo>
                  <a:pt x="1582" y="659"/>
                  <a:pt x="1583" y="659"/>
                  <a:pt x="1584" y="658"/>
                </a:cubicBezTo>
                <a:cubicBezTo>
                  <a:pt x="1584" y="658"/>
                  <a:pt x="1585" y="657"/>
                  <a:pt x="1585" y="657"/>
                </a:cubicBezTo>
                <a:cubicBezTo>
                  <a:pt x="1587" y="656"/>
                  <a:pt x="1588" y="655"/>
                  <a:pt x="1590" y="654"/>
                </a:cubicBezTo>
                <a:cubicBezTo>
                  <a:pt x="1591" y="653"/>
                  <a:pt x="1593" y="652"/>
                  <a:pt x="1594" y="651"/>
                </a:cubicBezTo>
                <a:cubicBezTo>
                  <a:pt x="1596" y="650"/>
                  <a:pt x="1597" y="649"/>
                  <a:pt x="1598" y="648"/>
                </a:cubicBezTo>
                <a:cubicBezTo>
                  <a:pt x="1600" y="648"/>
                  <a:pt x="1602" y="647"/>
                  <a:pt x="1604" y="646"/>
                </a:cubicBezTo>
                <a:cubicBezTo>
                  <a:pt x="1605" y="646"/>
                  <a:pt x="1606" y="646"/>
                  <a:pt x="1606" y="645"/>
                </a:cubicBezTo>
                <a:cubicBezTo>
                  <a:pt x="1607" y="645"/>
                  <a:pt x="1608" y="644"/>
                  <a:pt x="1609" y="644"/>
                </a:cubicBezTo>
                <a:cubicBezTo>
                  <a:pt x="1609" y="644"/>
                  <a:pt x="1609" y="644"/>
                  <a:pt x="1609" y="645"/>
                </a:cubicBezTo>
                <a:cubicBezTo>
                  <a:pt x="1609" y="645"/>
                  <a:pt x="1609" y="645"/>
                  <a:pt x="1610" y="645"/>
                </a:cubicBezTo>
                <a:cubicBezTo>
                  <a:pt x="1610" y="646"/>
                  <a:pt x="1610" y="646"/>
                  <a:pt x="1610" y="646"/>
                </a:cubicBezTo>
                <a:cubicBezTo>
                  <a:pt x="1611" y="646"/>
                  <a:pt x="1611" y="645"/>
                  <a:pt x="1611" y="645"/>
                </a:cubicBezTo>
                <a:cubicBezTo>
                  <a:pt x="1611" y="645"/>
                  <a:pt x="1612" y="644"/>
                  <a:pt x="1612" y="644"/>
                </a:cubicBezTo>
                <a:cubicBezTo>
                  <a:pt x="1612" y="644"/>
                  <a:pt x="1612" y="644"/>
                  <a:pt x="1612" y="644"/>
                </a:cubicBezTo>
                <a:cubicBezTo>
                  <a:pt x="1612" y="644"/>
                  <a:pt x="1612" y="644"/>
                  <a:pt x="1613" y="644"/>
                </a:cubicBezTo>
                <a:cubicBezTo>
                  <a:pt x="1613" y="644"/>
                  <a:pt x="1613" y="644"/>
                  <a:pt x="1613" y="644"/>
                </a:cubicBezTo>
                <a:cubicBezTo>
                  <a:pt x="1614" y="644"/>
                  <a:pt x="1614" y="643"/>
                  <a:pt x="1614" y="643"/>
                </a:cubicBezTo>
                <a:cubicBezTo>
                  <a:pt x="1615" y="643"/>
                  <a:pt x="1615" y="643"/>
                  <a:pt x="1616" y="642"/>
                </a:cubicBezTo>
                <a:cubicBezTo>
                  <a:pt x="1617" y="642"/>
                  <a:pt x="1619" y="641"/>
                  <a:pt x="1620" y="640"/>
                </a:cubicBezTo>
                <a:cubicBezTo>
                  <a:pt x="1623" y="639"/>
                  <a:pt x="1627" y="637"/>
                  <a:pt x="1629" y="636"/>
                </a:cubicBezTo>
                <a:cubicBezTo>
                  <a:pt x="1631" y="635"/>
                  <a:pt x="1633" y="634"/>
                  <a:pt x="1634" y="633"/>
                </a:cubicBezTo>
                <a:cubicBezTo>
                  <a:pt x="1635" y="632"/>
                  <a:pt x="1635" y="632"/>
                  <a:pt x="1636" y="631"/>
                </a:cubicBezTo>
                <a:cubicBezTo>
                  <a:pt x="1636" y="630"/>
                  <a:pt x="1637" y="630"/>
                  <a:pt x="1638" y="629"/>
                </a:cubicBezTo>
                <a:cubicBezTo>
                  <a:pt x="1638" y="629"/>
                  <a:pt x="1638" y="629"/>
                  <a:pt x="1638" y="629"/>
                </a:cubicBezTo>
                <a:cubicBezTo>
                  <a:pt x="1638" y="629"/>
                  <a:pt x="1639" y="629"/>
                  <a:pt x="1639" y="629"/>
                </a:cubicBezTo>
                <a:cubicBezTo>
                  <a:pt x="1640" y="630"/>
                  <a:pt x="1640" y="630"/>
                  <a:pt x="1641" y="629"/>
                </a:cubicBezTo>
                <a:cubicBezTo>
                  <a:pt x="1641" y="629"/>
                  <a:pt x="1642" y="629"/>
                  <a:pt x="1642" y="629"/>
                </a:cubicBezTo>
                <a:cubicBezTo>
                  <a:pt x="1642" y="629"/>
                  <a:pt x="1642" y="628"/>
                  <a:pt x="1642" y="628"/>
                </a:cubicBezTo>
                <a:cubicBezTo>
                  <a:pt x="1643" y="627"/>
                  <a:pt x="1643" y="626"/>
                  <a:pt x="1644" y="626"/>
                </a:cubicBezTo>
                <a:cubicBezTo>
                  <a:pt x="1644" y="625"/>
                  <a:pt x="1644" y="625"/>
                  <a:pt x="1645" y="624"/>
                </a:cubicBezTo>
                <a:cubicBezTo>
                  <a:pt x="1646" y="624"/>
                  <a:pt x="1647" y="624"/>
                  <a:pt x="1648" y="624"/>
                </a:cubicBezTo>
                <a:cubicBezTo>
                  <a:pt x="1649" y="623"/>
                  <a:pt x="1648" y="622"/>
                  <a:pt x="1649" y="622"/>
                </a:cubicBezTo>
                <a:cubicBezTo>
                  <a:pt x="1649" y="621"/>
                  <a:pt x="1651" y="620"/>
                  <a:pt x="1652" y="620"/>
                </a:cubicBezTo>
                <a:cubicBezTo>
                  <a:pt x="1654" y="619"/>
                  <a:pt x="1656" y="618"/>
                  <a:pt x="1657" y="618"/>
                </a:cubicBezTo>
                <a:cubicBezTo>
                  <a:pt x="1658" y="618"/>
                  <a:pt x="1659" y="617"/>
                  <a:pt x="1660" y="617"/>
                </a:cubicBezTo>
                <a:cubicBezTo>
                  <a:pt x="1661" y="617"/>
                  <a:pt x="1661" y="618"/>
                  <a:pt x="1662" y="618"/>
                </a:cubicBezTo>
                <a:cubicBezTo>
                  <a:pt x="1663" y="617"/>
                  <a:pt x="1664" y="617"/>
                  <a:pt x="1664" y="616"/>
                </a:cubicBezTo>
                <a:cubicBezTo>
                  <a:pt x="1664" y="616"/>
                  <a:pt x="1664" y="616"/>
                  <a:pt x="1664" y="615"/>
                </a:cubicBezTo>
                <a:cubicBezTo>
                  <a:pt x="1664" y="615"/>
                  <a:pt x="1665" y="615"/>
                  <a:pt x="1665" y="615"/>
                </a:cubicBezTo>
                <a:cubicBezTo>
                  <a:pt x="1665" y="616"/>
                  <a:pt x="1665" y="616"/>
                  <a:pt x="1666" y="616"/>
                </a:cubicBezTo>
                <a:cubicBezTo>
                  <a:pt x="1666" y="616"/>
                  <a:pt x="1667" y="616"/>
                  <a:pt x="1667" y="615"/>
                </a:cubicBezTo>
                <a:cubicBezTo>
                  <a:pt x="1667" y="615"/>
                  <a:pt x="1667" y="614"/>
                  <a:pt x="1667" y="613"/>
                </a:cubicBezTo>
                <a:cubicBezTo>
                  <a:pt x="1668" y="613"/>
                  <a:pt x="1668" y="613"/>
                  <a:pt x="1669" y="612"/>
                </a:cubicBezTo>
                <a:cubicBezTo>
                  <a:pt x="1669" y="612"/>
                  <a:pt x="1669" y="612"/>
                  <a:pt x="1669" y="612"/>
                </a:cubicBezTo>
                <a:cubicBezTo>
                  <a:pt x="1670" y="613"/>
                  <a:pt x="1671" y="612"/>
                  <a:pt x="1672" y="612"/>
                </a:cubicBezTo>
                <a:cubicBezTo>
                  <a:pt x="1673" y="612"/>
                  <a:pt x="1673" y="613"/>
                  <a:pt x="1674" y="612"/>
                </a:cubicBezTo>
                <a:cubicBezTo>
                  <a:pt x="1675" y="612"/>
                  <a:pt x="1676" y="612"/>
                  <a:pt x="1676" y="612"/>
                </a:cubicBezTo>
                <a:cubicBezTo>
                  <a:pt x="1676" y="611"/>
                  <a:pt x="1677" y="611"/>
                  <a:pt x="1677" y="611"/>
                </a:cubicBezTo>
                <a:cubicBezTo>
                  <a:pt x="1677" y="611"/>
                  <a:pt x="1677" y="610"/>
                  <a:pt x="1677" y="609"/>
                </a:cubicBezTo>
                <a:cubicBezTo>
                  <a:pt x="1678" y="609"/>
                  <a:pt x="1678" y="609"/>
                  <a:pt x="1678" y="609"/>
                </a:cubicBezTo>
                <a:cubicBezTo>
                  <a:pt x="1678" y="609"/>
                  <a:pt x="1678" y="608"/>
                  <a:pt x="1678" y="608"/>
                </a:cubicBezTo>
                <a:cubicBezTo>
                  <a:pt x="1678" y="608"/>
                  <a:pt x="1678" y="608"/>
                  <a:pt x="1679" y="607"/>
                </a:cubicBezTo>
                <a:cubicBezTo>
                  <a:pt x="1679" y="607"/>
                  <a:pt x="1679" y="607"/>
                  <a:pt x="1680" y="606"/>
                </a:cubicBezTo>
                <a:cubicBezTo>
                  <a:pt x="1681" y="606"/>
                  <a:pt x="1682" y="606"/>
                  <a:pt x="1682" y="605"/>
                </a:cubicBezTo>
                <a:cubicBezTo>
                  <a:pt x="1684" y="605"/>
                  <a:pt x="1686" y="604"/>
                  <a:pt x="1688" y="603"/>
                </a:cubicBezTo>
                <a:cubicBezTo>
                  <a:pt x="1689" y="603"/>
                  <a:pt x="1692" y="602"/>
                  <a:pt x="1694" y="602"/>
                </a:cubicBezTo>
                <a:cubicBezTo>
                  <a:pt x="1694" y="603"/>
                  <a:pt x="1695" y="602"/>
                  <a:pt x="1697" y="601"/>
                </a:cubicBezTo>
                <a:cubicBezTo>
                  <a:pt x="1697" y="601"/>
                  <a:pt x="1698" y="601"/>
                  <a:pt x="1699" y="600"/>
                </a:cubicBezTo>
                <a:cubicBezTo>
                  <a:pt x="1700" y="599"/>
                  <a:pt x="1699" y="597"/>
                  <a:pt x="1700" y="596"/>
                </a:cubicBezTo>
                <a:cubicBezTo>
                  <a:pt x="1701" y="596"/>
                  <a:pt x="1703" y="596"/>
                  <a:pt x="1704" y="596"/>
                </a:cubicBezTo>
                <a:cubicBezTo>
                  <a:pt x="1705" y="596"/>
                  <a:pt x="1707" y="595"/>
                  <a:pt x="1708" y="595"/>
                </a:cubicBezTo>
                <a:cubicBezTo>
                  <a:pt x="1709" y="595"/>
                  <a:pt x="1711" y="596"/>
                  <a:pt x="1711" y="594"/>
                </a:cubicBezTo>
                <a:cubicBezTo>
                  <a:pt x="1711" y="594"/>
                  <a:pt x="1711" y="594"/>
                  <a:pt x="1711" y="593"/>
                </a:cubicBezTo>
                <a:cubicBezTo>
                  <a:pt x="1711" y="593"/>
                  <a:pt x="1711" y="592"/>
                  <a:pt x="1712" y="592"/>
                </a:cubicBezTo>
                <a:cubicBezTo>
                  <a:pt x="1712" y="591"/>
                  <a:pt x="1713" y="591"/>
                  <a:pt x="1714" y="590"/>
                </a:cubicBezTo>
                <a:cubicBezTo>
                  <a:pt x="1715" y="590"/>
                  <a:pt x="1717" y="589"/>
                  <a:pt x="1717" y="587"/>
                </a:cubicBezTo>
                <a:cubicBezTo>
                  <a:pt x="1717" y="587"/>
                  <a:pt x="1718" y="587"/>
                  <a:pt x="1718" y="587"/>
                </a:cubicBezTo>
                <a:cubicBezTo>
                  <a:pt x="1718" y="587"/>
                  <a:pt x="1719" y="587"/>
                  <a:pt x="1719" y="586"/>
                </a:cubicBezTo>
                <a:cubicBezTo>
                  <a:pt x="1719" y="586"/>
                  <a:pt x="1720" y="586"/>
                  <a:pt x="1720" y="586"/>
                </a:cubicBezTo>
                <a:cubicBezTo>
                  <a:pt x="1720" y="586"/>
                  <a:pt x="1721" y="586"/>
                  <a:pt x="1721" y="586"/>
                </a:cubicBezTo>
                <a:cubicBezTo>
                  <a:pt x="1721" y="586"/>
                  <a:pt x="1722" y="586"/>
                  <a:pt x="1722" y="586"/>
                </a:cubicBezTo>
                <a:cubicBezTo>
                  <a:pt x="1723" y="586"/>
                  <a:pt x="1724" y="585"/>
                  <a:pt x="1725" y="584"/>
                </a:cubicBezTo>
                <a:cubicBezTo>
                  <a:pt x="1727" y="584"/>
                  <a:pt x="1728" y="583"/>
                  <a:pt x="1730" y="582"/>
                </a:cubicBezTo>
                <a:cubicBezTo>
                  <a:pt x="1731" y="582"/>
                  <a:pt x="1733" y="581"/>
                  <a:pt x="1734" y="580"/>
                </a:cubicBezTo>
                <a:cubicBezTo>
                  <a:pt x="1735" y="580"/>
                  <a:pt x="1735" y="579"/>
                  <a:pt x="1736" y="579"/>
                </a:cubicBezTo>
                <a:cubicBezTo>
                  <a:pt x="1736" y="578"/>
                  <a:pt x="1736" y="578"/>
                  <a:pt x="1737" y="578"/>
                </a:cubicBezTo>
                <a:cubicBezTo>
                  <a:pt x="1737" y="577"/>
                  <a:pt x="1737" y="576"/>
                  <a:pt x="1738" y="576"/>
                </a:cubicBezTo>
                <a:cubicBezTo>
                  <a:pt x="1738" y="576"/>
                  <a:pt x="1738" y="576"/>
                  <a:pt x="1739" y="576"/>
                </a:cubicBezTo>
                <a:cubicBezTo>
                  <a:pt x="1739" y="576"/>
                  <a:pt x="1739" y="576"/>
                  <a:pt x="1739" y="576"/>
                </a:cubicBezTo>
                <a:cubicBezTo>
                  <a:pt x="1739" y="576"/>
                  <a:pt x="1740" y="576"/>
                  <a:pt x="1740" y="576"/>
                </a:cubicBezTo>
                <a:cubicBezTo>
                  <a:pt x="1741" y="576"/>
                  <a:pt x="1743" y="574"/>
                  <a:pt x="1744" y="574"/>
                </a:cubicBezTo>
                <a:cubicBezTo>
                  <a:pt x="1746" y="573"/>
                  <a:pt x="1747" y="572"/>
                  <a:pt x="1749" y="571"/>
                </a:cubicBezTo>
                <a:cubicBezTo>
                  <a:pt x="1752" y="569"/>
                  <a:pt x="1756" y="567"/>
                  <a:pt x="1760" y="565"/>
                </a:cubicBezTo>
                <a:cubicBezTo>
                  <a:pt x="1762" y="565"/>
                  <a:pt x="1764" y="564"/>
                  <a:pt x="1766" y="564"/>
                </a:cubicBezTo>
                <a:cubicBezTo>
                  <a:pt x="1766" y="564"/>
                  <a:pt x="1767" y="564"/>
                  <a:pt x="1768" y="563"/>
                </a:cubicBezTo>
                <a:cubicBezTo>
                  <a:pt x="1768" y="563"/>
                  <a:pt x="1768" y="562"/>
                  <a:pt x="1769" y="562"/>
                </a:cubicBezTo>
                <a:cubicBezTo>
                  <a:pt x="1770" y="561"/>
                  <a:pt x="1771" y="560"/>
                  <a:pt x="1772" y="560"/>
                </a:cubicBezTo>
                <a:cubicBezTo>
                  <a:pt x="1775" y="559"/>
                  <a:pt x="1777" y="558"/>
                  <a:pt x="1779" y="557"/>
                </a:cubicBezTo>
                <a:cubicBezTo>
                  <a:pt x="1779" y="557"/>
                  <a:pt x="1780" y="557"/>
                  <a:pt x="1780" y="557"/>
                </a:cubicBezTo>
                <a:cubicBezTo>
                  <a:pt x="1781" y="557"/>
                  <a:pt x="1782" y="557"/>
                  <a:pt x="1783" y="556"/>
                </a:cubicBezTo>
                <a:cubicBezTo>
                  <a:pt x="1783" y="556"/>
                  <a:pt x="1784" y="556"/>
                  <a:pt x="1784" y="555"/>
                </a:cubicBezTo>
                <a:cubicBezTo>
                  <a:pt x="1784" y="554"/>
                  <a:pt x="1783" y="554"/>
                  <a:pt x="1783" y="554"/>
                </a:cubicBezTo>
                <a:cubicBezTo>
                  <a:pt x="1783" y="553"/>
                  <a:pt x="1784" y="554"/>
                  <a:pt x="1785" y="553"/>
                </a:cubicBezTo>
                <a:cubicBezTo>
                  <a:pt x="1786" y="553"/>
                  <a:pt x="1786" y="552"/>
                  <a:pt x="1787" y="552"/>
                </a:cubicBezTo>
                <a:cubicBezTo>
                  <a:pt x="1788" y="552"/>
                  <a:pt x="1789" y="553"/>
                  <a:pt x="1791" y="552"/>
                </a:cubicBezTo>
                <a:cubicBezTo>
                  <a:pt x="1791" y="552"/>
                  <a:pt x="1791" y="551"/>
                  <a:pt x="1792" y="550"/>
                </a:cubicBezTo>
                <a:cubicBezTo>
                  <a:pt x="1793" y="550"/>
                  <a:pt x="1793" y="550"/>
                  <a:pt x="1794" y="550"/>
                </a:cubicBezTo>
                <a:cubicBezTo>
                  <a:pt x="1795" y="550"/>
                  <a:pt x="1795" y="549"/>
                  <a:pt x="1795" y="548"/>
                </a:cubicBezTo>
                <a:cubicBezTo>
                  <a:pt x="1795" y="548"/>
                  <a:pt x="1796" y="547"/>
                  <a:pt x="1797" y="547"/>
                </a:cubicBezTo>
                <a:cubicBezTo>
                  <a:pt x="1797" y="547"/>
                  <a:pt x="1797" y="547"/>
                  <a:pt x="1798" y="547"/>
                </a:cubicBezTo>
                <a:cubicBezTo>
                  <a:pt x="1799" y="547"/>
                  <a:pt x="1801" y="546"/>
                  <a:pt x="1802" y="545"/>
                </a:cubicBezTo>
                <a:cubicBezTo>
                  <a:pt x="1816" y="538"/>
                  <a:pt x="1822" y="534"/>
                  <a:pt x="1823" y="534"/>
                </a:cubicBezTo>
                <a:cubicBezTo>
                  <a:pt x="1823" y="533"/>
                  <a:pt x="1831" y="530"/>
                  <a:pt x="1832" y="529"/>
                </a:cubicBezTo>
                <a:cubicBezTo>
                  <a:pt x="1834" y="529"/>
                  <a:pt x="1836" y="529"/>
                  <a:pt x="1838" y="528"/>
                </a:cubicBezTo>
                <a:cubicBezTo>
                  <a:pt x="1839" y="528"/>
                  <a:pt x="1840" y="527"/>
                  <a:pt x="1840" y="527"/>
                </a:cubicBezTo>
                <a:cubicBezTo>
                  <a:pt x="1841" y="527"/>
                  <a:pt x="1840" y="529"/>
                  <a:pt x="1841" y="529"/>
                </a:cubicBezTo>
                <a:cubicBezTo>
                  <a:pt x="1841" y="530"/>
                  <a:pt x="1841" y="530"/>
                  <a:pt x="1841" y="530"/>
                </a:cubicBezTo>
                <a:cubicBezTo>
                  <a:pt x="1842" y="530"/>
                  <a:pt x="1842" y="529"/>
                  <a:pt x="1843" y="529"/>
                </a:cubicBezTo>
                <a:cubicBezTo>
                  <a:pt x="1843" y="528"/>
                  <a:pt x="1844" y="527"/>
                  <a:pt x="1845" y="527"/>
                </a:cubicBezTo>
                <a:cubicBezTo>
                  <a:pt x="1846" y="526"/>
                  <a:pt x="1847" y="525"/>
                  <a:pt x="1848" y="524"/>
                </a:cubicBezTo>
                <a:cubicBezTo>
                  <a:pt x="1849" y="524"/>
                  <a:pt x="1849" y="524"/>
                  <a:pt x="1849" y="524"/>
                </a:cubicBezTo>
                <a:cubicBezTo>
                  <a:pt x="1850" y="524"/>
                  <a:pt x="1850" y="524"/>
                  <a:pt x="1851" y="525"/>
                </a:cubicBezTo>
                <a:cubicBezTo>
                  <a:pt x="1851" y="525"/>
                  <a:pt x="1852" y="525"/>
                  <a:pt x="1852" y="524"/>
                </a:cubicBezTo>
                <a:cubicBezTo>
                  <a:pt x="1852" y="524"/>
                  <a:pt x="1852" y="524"/>
                  <a:pt x="1852" y="524"/>
                </a:cubicBezTo>
                <a:cubicBezTo>
                  <a:pt x="1852" y="521"/>
                  <a:pt x="1856" y="519"/>
                  <a:pt x="1858" y="518"/>
                </a:cubicBezTo>
                <a:cubicBezTo>
                  <a:pt x="1862" y="516"/>
                  <a:pt x="1867" y="514"/>
                  <a:pt x="1868" y="513"/>
                </a:cubicBezTo>
                <a:cubicBezTo>
                  <a:pt x="1870" y="512"/>
                  <a:pt x="1872" y="511"/>
                  <a:pt x="1874" y="509"/>
                </a:cubicBezTo>
                <a:cubicBezTo>
                  <a:pt x="1875" y="508"/>
                  <a:pt x="1876" y="507"/>
                  <a:pt x="1877" y="507"/>
                </a:cubicBezTo>
                <a:cubicBezTo>
                  <a:pt x="1879" y="507"/>
                  <a:pt x="1880" y="507"/>
                  <a:pt x="1881" y="506"/>
                </a:cubicBezTo>
                <a:cubicBezTo>
                  <a:pt x="1882" y="506"/>
                  <a:pt x="1883" y="505"/>
                  <a:pt x="1884" y="505"/>
                </a:cubicBezTo>
                <a:cubicBezTo>
                  <a:pt x="1887" y="503"/>
                  <a:pt x="1891" y="501"/>
                  <a:pt x="1894" y="499"/>
                </a:cubicBezTo>
                <a:cubicBezTo>
                  <a:pt x="1898" y="497"/>
                  <a:pt x="1902" y="495"/>
                  <a:pt x="1906" y="493"/>
                </a:cubicBezTo>
                <a:cubicBezTo>
                  <a:pt x="1919" y="487"/>
                  <a:pt x="1932" y="480"/>
                  <a:pt x="1936" y="478"/>
                </a:cubicBezTo>
                <a:cubicBezTo>
                  <a:pt x="1938" y="477"/>
                  <a:pt x="1939" y="476"/>
                  <a:pt x="1940" y="475"/>
                </a:cubicBezTo>
                <a:cubicBezTo>
                  <a:pt x="1942" y="475"/>
                  <a:pt x="1943" y="475"/>
                  <a:pt x="1944" y="473"/>
                </a:cubicBezTo>
                <a:cubicBezTo>
                  <a:pt x="1944" y="473"/>
                  <a:pt x="1944" y="474"/>
                  <a:pt x="1944" y="474"/>
                </a:cubicBezTo>
                <a:cubicBezTo>
                  <a:pt x="1944" y="474"/>
                  <a:pt x="1945" y="474"/>
                  <a:pt x="1945" y="474"/>
                </a:cubicBezTo>
                <a:cubicBezTo>
                  <a:pt x="1946" y="474"/>
                  <a:pt x="1946" y="473"/>
                  <a:pt x="1946" y="473"/>
                </a:cubicBezTo>
                <a:cubicBezTo>
                  <a:pt x="1946" y="472"/>
                  <a:pt x="1946" y="472"/>
                  <a:pt x="1946" y="472"/>
                </a:cubicBezTo>
                <a:cubicBezTo>
                  <a:pt x="1947" y="470"/>
                  <a:pt x="1950" y="470"/>
                  <a:pt x="1952" y="469"/>
                </a:cubicBezTo>
                <a:cubicBezTo>
                  <a:pt x="1953" y="469"/>
                  <a:pt x="1955" y="468"/>
                  <a:pt x="1956" y="467"/>
                </a:cubicBezTo>
                <a:cubicBezTo>
                  <a:pt x="1956" y="467"/>
                  <a:pt x="1956" y="467"/>
                  <a:pt x="1956" y="467"/>
                </a:cubicBezTo>
                <a:cubicBezTo>
                  <a:pt x="1956" y="467"/>
                  <a:pt x="1957" y="466"/>
                  <a:pt x="1957" y="466"/>
                </a:cubicBezTo>
                <a:cubicBezTo>
                  <a:pt x="1957" y="466"/>
                  <a:pt x="1957" y="465"/>
                  <a:pt x="1958" y="465"/>
                </a:cubicBezTo>
                <a:cubicBezTo>
                  <a:pt x="1958" y="464"/>
                  <a:pt x="1960" y="464"/>
                  <a:pt x="1960" y="465"/>
                </a:cubicBezTo>
                <a:cubicBezTo>
                  <a:pt x="1960" y="466"/>
                  <a:pt x="1960" y="466"/>
                  <a:pt x="1960" y="466"/>
                </a:cubicBezTo>
                <a:cubicBezTo>
                  <a:pt x="1960" y="467"/>
                  <a:pt x="1961" y="467"/>
                  <a:pt x="1961" y="466"/>
                </a:cubicBezTo>
                <a:cubicBezTo>
                  <a:pt x="1961" y="466"/>
                  <a:pt x="1961" y="466"/>
                  <a:pt x="1961" y="466"/>
                </a:cubicBezTo>
                <a:cubicBezTo>
                  <a:pt x="1962" y="464"/>
                  <a:pt x="1964" y="464"/>
                  <a:pt x="1966" y="463"/>
                </a:cubicBezTo>
                <a:cubicBezTo>
                  <a:pt x="1967" y="462"/>
                  <a:pt x="1969" y="460"/>
                  <a:pt x="1971" y="460"/>
                </a:cubicBezTo>
                <a:cubicBezTo>
                  <a:pt x="1971" y="460"/>
                  <a:pt x="1971" y="460"/>
                  <a:pt x="1971" y="460"/>
                </a:cubicBezTo>
                <a:cubicBezTo>
                  <a:pt x="1972" y="460"/>
                  <a:pt x="1972" y="460"/>
                  <a:pt x="1973" y="460"/>
                </a:cubicBezTo>
                <a:cubicBezTo>
                  <a:pt x="1974" y="459"/>
                  <a:pt x="1975" y="459"/>
                  <a:pt x="1976" y="458"/>
                </a:cubicBezTo>
                <a:cubicBezTo>
                  <a:pt x="1977" y="457"/>
                  <a:pt x="1982" y="455"/>
                  <a:pt x="1986" y="453"/>
                </a:cubicBezTo>
                <a:cubicBezTo>
                  <a:pt x="1988" y="452"/>
                  <a:pt x="1990" y="451"/>
                  <a:pt x="1991" y="450"/>
                </a:cubicBezTo>
                <a:cubicBezTo>
                  <a:pt x="1992" y="450"/>
                  <a:pt x="1993" y="449"/>
                  <a:pt x="1994" y="449"/>
                </a:cubicBezTo>
                <a:cubicBezTo>
                  <a:pt x="1994" y="448"/>
                  <a:pt x="1994" y="447"/>
                  <a:pt x="1995" y="447"/>
                </a:cubicBezTo>
                <a:cubicBezTo>
                  <a:pt x="1995" y="446"/>
                  <a:pt x="1996" y="446"/>
                  <a:pt x="1997" y="446"/>
                </a:cubicBezTo>
                <a:cubicBezTo>
                  <a:pt x="1997" y="446"/>
                  <a:pt x="1998" y="446"/>
                  <a:pt x="1998" y="446"/>
                </a:cubicBezTo>
                <a:cubicBezTo>
                  <a:pt x="1998" y="446"/>
                  <a:pt x="1999" y="446"/>
                  <a:pt x="1999" y="446"/>
                </a:cubicBezTo>
                <a:cubicBezTo>
                  <a:pt x="2001" y="445"/>
                  <a:pt x="2002" y="445"/>
                  <a:pt x="2003" y="444"/>
                </a:cubicBezTo>
                <a:cubicBezTo>
                  <a:pt x="2006" y="443"/>
                  <a:pt x="2009" y="441"/>
                  <a:pt x="2012" y="440"/>
                </a:cubicBezTo>
                <a:cubicBezTo>
                  <a:pt x="2015" y="439"/>
                  <a:pt x="2017" y="437"/>
                  <a:pt x="2020" y="436"/>
                </a:cubicBezTo>
                <a:cubicBezTo>
                  <a:pt x="2022" y="435"/>
                  <a:pt x="2025" y="434"/>
                  <a:pt x="2027" y="432"/>
                </a:cubicBezTo>
                <a:cubicBezTo>
                  <a:pt x="2027" y="432"/>
                  <a:pt x="2027" y="432"/>
                  <a:pt x="2027" y="431"/>
                </a:cubicBezTo>
                <a:cubicBezTo>
                  <a:pt x="2028" y="431"/>
                  <a:pt x="2028" y="431"/>
                  <a:pt x="2028" y="431"/>
                </a:cubicBezTo>
                <a:cubicBezTo>
                  <a:pt x="2028" y="431"/>
                  <a:pt x="2029" y="430"/>
                  <a:pt x="2029" y="430"/>
                </a:cubicBezTo>
                <a:cubicBezTo>
                  <a:pt x="2029" y="430"/>
                  <a:pt x="2029" y="430"/>
                  <a:pt x="2030" y="430"/>
                </a:cubicBezTo>
                <a:cubicBezTo>
                  <a:pt x="2032" y="429"/>
                  <a:pt x="2034" y="428"/>
                  <a:pt x="2036" y="427"/>
                </a:cubicBezTo>
                <a:cubicBezTo>
                  <a:pt x="2038" y="426"/>
                  <a:pt x="2040" y="426"/>
                  <a:pt x="2042" y="425"/>
                </a:cubicBezTo>
                <a:cubicBezTo>
                  <a:pt x="2046" y="423"/>
                  <a:pt x="2051" y="420"/>
                  <a:pt x="2055" y="418"/>
                </a:cubicBezTo>
                <a:cubicBezTo>
                  <a:pt x="2062" y="414"/>
                  <a:pt x="2070" y="410"/>
                  <a:pt x="2077" y="406"/>
                </a:cubicBezTo>
                <a:cubicBezTo>
                  <a:pt x="2077" y="406"/>
                  <a:pt x="2077" y="406"/>
                  <a:pt x="2077" y="406"/>
                </a:cubicBezTo>
                <a:cubicBezTo>
                  <a:pt x="2077" y="407"/>
                  <a:pt x="2078" y="407"/>
                  <a:pt x="2078" y="407"/>
                </a:cubicBezTo>
                <a:cubicBezTo>
                  <a:pt x="2078" y="407"/>
                  <a:pt x="2078" y="406"/>
                  <a:pt x="2078" y="406"/>
                </a:cubicBezTo>
                <a:cubicBezTo>
                  <a:pt x="2079" y="406"/>
                  <a:pt x="2080" y="406"/>
                  <a:pt x="2081" y="405"/>
                </a:cubicBezTo>
                <a:cubicBezTo>
                  <a:pt x="2082" y="405"/>
                  <a:pt x="2083" y="405"/>
                  <a:pt x="2084" y="404"/>
                </a:cubicBezTo>
                <a:cubicBezTo>
                  <a:pt x="2085" y="404"/>
                  <a:pt x="2086" y="405"/>
                  <a:pt x="2086" y="404"/>
                </a:cubicBezTo>
                <a:cubicBezTo>
                  <a:pt x="2087" y="404"/>
                  <a:pt x="2087" y="402"/>
                  <a:pt x="2087" y="402"/>
                </a:cubicBezTo>
                <a:cubicBezTo>
                  <a:pt x="2088" y="401"/>
                  <a:pt x="2089" y="401"/>
                  <a:pt x="2090" y="401"/>
                </a:cubicBezTo>
                <a:cubicBezTo>
                  <a:pt x="2092" y="400"/>
                  <a:pt x="2096" y="398"/>
                  <a:pt x="2098" y="397"/>
                </a:cubicBezTo>
                <a:cubicBezTo>
                  <a:pt x="2102" y="395"/>
                  <a:pt x="2112" y="390"/>
                  <a:pt x="2117" y="387"/>
                </a:cubicBezTo>
                <a:cubicBezTo>
                  <a:pt x="2118" y="387"/>
                  <a:pt x="2121" y="386"/>
                  <a:pt x="2123" y="384"/>
                </a:cubicBezTo>
                <a:cubicBezTo>
                  <a:pt x="2125" y="383"/>
                  <a:pt x="2126" y="383"/>
                  <a:pt x="2127" y="382"/>
                </a:cubicBezTo>
                <a:cubicBezTo>
                  <a:pt x="2128" y="383"/>
                  <a:pt x="2128" y="383"/>
                  <a:pt x="2129" y="383"/>
                </a:cubicBezTo>
                <a:cubicBezTo>
                  <a:pt x="2129" y="383"/>
                  <a:pt x="2129" y="383"/>
                  <a:pt x="2130" y="382"/>
                </a:cubicBezTo>
                <a:cubicBezTo>
                  <a:pt x="2130" y="382"/>
                  <a:pt x="2131" y="382"/>
                  <a:pt x="2132" y="382"/>
                </a:cubicBezTo>
                <a:cubicBezTo>
                  <a:pt x="2132" y="381"/>
                  <a:pt x="2132" y="381"/>
                  <a:pt x="2132" y="381"/>
                </a:cubicBezTo>
                <a:cubicBezTo>
                  <a:pt x="2133" y="380"/>
                  <a:pt x="2135" y="378"/>
                  <a:pt x="2136" y="378"/>
                </a:cubicBezTo>
                <a:cubicBezTo>
                  <a:pt x="2138" y="378"/>
                  <a:pt x="2139" y="379"/>
                  <a:pt x="2141" y="379"/>
                </a:cubicBezTo>
                <a:cubicBezTo>
                  <a:pt x="2141" y="380"/>
                  <a:pt x="2142" y="380"/>
                  <a:pt x="2142" y="379"/>
                </a:cubicBezTo>
                <a:cubicBezTo>
                  <a:pt x="2142" y="378"/>
                  <a:pt x="2143" y="377"/>
                  <a:pt x="2143" y="376"/>
                </a:cubicBezTo>
                <a:cubicBezTo>
                  <a:pt x="2143" y="376"/>
                  <a:pt x="2144" y="376"/>
                  <a:pt x="2144" y="375"/>
                </a:cubicBezTo>
                <a:cubicBezTo>
                  <a:pt x="2144" y="375"/>
                  <a:pt x="2144" y="375"/>
                  <a:pt x="2144" y="375"/>
                </a:cubicBezTo>
                <a:cubicBezTo>
                  <a:pt x="2145" y="375"/>
                  <a:pt x="2145" y="375"/>
                  <a:pt x="2145" y="374"/>
                </a:cubicBezTo>
                <a:cubicBezTo>
                  <a:pt x="2146" y="373"/>
                  <a:pt x="2148" y="373"/>
                  <a:pt x="2149" y="372"/>
                </a:cubicBezTo>
                <a:cubicBezTo>
                  <a:pt x="2151" y="371"/>
                  <a:pt x="2154" y="370"/>
                  <a:pt x="2156" y="369"/>
                </a:cubicBezTo>
                <a:cubicBezTo>
                  <a:pt x="2160" y="367"/>
                  <a:pt x="2165" y="365"/>
                  <a:pt x="2169" y="363"/>
                </a:cubicBezTo>
                <a:cubicBezTo>
                  <a:pt x="2170" y="363"/>
                  <a:pt x="2170" y="362"/>
                  <a:pt x="2170" y="362"/>
                </a:cubicBezTo>
                <a:cubicBezTo>
                  <a:pt x="2170" y="361"/>
                  <a:pt x="2170" y="361"/>
                  <a:pt x="2170" y="361"/>
                </a:cubicBezTo>
                <a:cubicBezTo>
                  <a:pt x="2170" y="361"/>
                  <a:pt x="2171" y="361"/>
                  <a:pt x="2171" y="361"/>
                </a:cubicBezTo>
                <a:cubicBezTo>
                  <a:pt x="2171" y="361"/>
                  <a:pt x="2171" y="360"/>
                  <a:pt x="2171" y="360"/>
                </a:cubicBezTo>
                <a:cubicBezTo>
                  <a:pt x="2171" y="360"/>
                  <a:pt x="2173" y="359"/>
                  <a:pt x="2174" y="359"/>
                </a:cubicBezTo>
                <a:cubicBezTo>
                  <a:pt x="2175" y="359"/>
                  <a:pt x="2176" y="359"/>
                  <a:pt x="2177" y="358"/>
                </a:cubicBezTo>
                <a:cubicBezTo>
                  <a:pt x="2178" y="358"/>
                  <a:pt x="2180" y="357"/>
                  <a:pt x="2181" y="357"/>
                </a:cubicBezTo>
                <a:cubicBezTo>
                  <a:pt x="2181" y="357"/>
                  <a:pt x="2181" y="357"/>
                  <a:pt x="2181" y="357"/>
                </a:cubicBezTo>
                <a:cubicBezTo>
                  <a:pt x="2181" y="356"/>
                  <a:pt x="2181" y="356"/>
                  <a:pt x="2181" y="356"/>
                </a:cubicBezTo>
                <a:cubicBezTo>
                  <a:pt x="2182" y="356"/>
                  <a:pt x="2182" y="355"/>
                  <a:pt x="2183" y="355"/>
                </a:cubicBezTo>
                <a:cubicBezTo>
                  <a:pt x="2183" y="355"/>
                  <a:pt x="2183" y="355"/>
                  <a:pt x="2184" y="355"/>
                </a:cubicBezTo>
                <a:cubicBezTo>
                  <a:pt x="2185" y="355"/>
                  <a:pt x="2186" y="354"/>
                  <a:pt x="2186" y="354"/>
                </a:cubicBezTo>
                <a:cubicBezTo>
                  <a:pt x="2187" y="354"/>
                  <a:pt x="2189" y="353"/>
                  <a:pt x="2190" y="353"/>
                </a:cubicBezTo>
                <a:cubicBezTo>
                  <a:pt x="2190" y="353"/>
                  <a:pt x="2191" y="354"/>
                  <a:pt x="2192" y="353"/>
                </a:cubicBezTo>
                <a:cubicBezTo>
                  <a:pt x="2193" y="353"/>
                  <a:pt x="2193" y="349"/>
                  <a:pt x="2195" y="350"/>
                </a:cubicBezTo>
                <a:cubicBezTo>
                  <a:pt x="2195" y="350"/>
                  <a:pt x="2195" y="351"/>
                  <a:pt x="2195" y="351"/>
                </a:cubicBezTo>
                <a:cubicBezTo>
                  <a:pt x="2195" y="351"/>
                  <a:pt x="2195" y="351"/>
                  <a:pt x="2195" y="352"/>
                </a:cubicBezTo>
                <a:cubicBezTo>
                  <a:pt x="2195" y="352"/>
                  <a:pt x="2196" y="352"/>
                  <a:pt x="2196" y="352"/>
                </a:cubicBezTo>
                <a:cubicBezTo>
                  <a:pt x="2196" y="351"/>
                  <a:pt x="2197" y="351"/>
                  <a:pt x="2197" y="350"/>
                </a:cubicBezTo>
                <a:cubicBezTo>
                  <a:pt x="2197" y="350"/>
                  <a:pt x="2197" y="350"/>
                  <a:pt x="2198" y="350"/>
                </a:cubicBezTo>
                <a:cubicBezTo>
                  <a:pt x="2199" y="348"/>
                  <a:pt x="2202" y="347"/>
                  <a:pt x="2204" y="345"/>
                </a:cubicBezTo>
                <a:cubicBezTo>
                  <a:pt x="2206" y="344"/>
                  <a:pt x="2208" y="344"/>
                  <a:pt x="2210" y="343"/>
                </a:cubicBezTo>
                <a:cubicBezTo>
                  <a:pt x="2211" y="342"/>
                  <a:pt x="2212" y="342"/>
                  <a:pt x="2213" y="341"/>
                </a:cubicBezTo>
                <a:cubicBezTo>
                  <a:pt x="2214" y="341"/>
                  <a:pt x="2214" y="342"/>
                  <a:pt x="2215" y="342"/>
                </a:cubicBezTo>
                <a:cubicBezTo>
                  <a:pt x="2216" y="342"/>
                  <a:pt x="2216" y="343"/>
                  <a:pt x="2217" y="343"/>
                </a:cubicBezTo>
                <a:cubicBezTo>
                  <a:pt x="2217" y="343"/>
                  <a:pt x="2217" y="343"/>
                  <a:pt x="2217" y="343"/>
                </a:cubicBezTo>
                <a:cubicBezTo>
                  <a:pt x="2218" y="343"/>
                  <a:pt x="2218" y="342"/>
                  <a:pt x="2218" y="342"/>
                </a:cubicBezTo>
                <a:cubicBezTo>
                  <a:pt x="2218" y="341"/>
                  <a:pt x="2218" y="341"/>
                  <a:pt x="2218" y="340"/>
                </a:cubicBezTo>
                <a:cubicBezTo>
                  <a:pt x="2220" y="339"/>
                  <a:pt x="2220" y="338"/>
                  <a:pt x="2222" y="338"/>
                </a:cubicBezTo>
                <a:cubicBezTo>
                  <a:pt x="2223" y="337"/>
                  <a:pt x="2224" y="337"/>
                  <a:pt x="2226" y="337"/>
                </a:cubicBezTo>
                <a:cubicBezTo>
                  <a:pt x="2228" y="336"/>
                  <a:pt x="2230" y="334"/>
                  <a:pt x="2231" y="333"/>
                </a:cubicBezTo>
                <a:cubicBezTo>
                  <a:pt x="2232" y="333"/>
                  <a:pt x="2233" y="332"/>
                  <a:pt x="2234" y="332"/>
                </a:cubicBezTo>
                <a:cubicBezTo>
                  <a:pt x="2235" y="332"/>
                  <a:pt x="2235" y="331"/>
                  <a:pt x="2235" y="331"/>
                </a:cubicBezTo>
                <a:cubicBezTo>
                  <a:pt x="2236" y="331"/>
                  <a:pt x="2236" y="331"/>
                  <a:pt x="2237" y="331"/>
                </a:cubicBezTo>
                <a:cubicBezTo>
                  <a:pt x="2237" y="331"/>
                  <a:pt x="2238" y="331"/>
                  <a:pt x="2238" y="331"/>
                </a:cubicBezTo>
                <a:cubicBezTo>
                  <a:pt x="2238" y="331"/>
                  <a:pt x="2238" y="331"/>
                  <a:pt x="2238" y="331"/>
                </a:cubicBezTo>
                <a:cubicBezTo>
                  <a:pt x="2239" y="331"/>
                  <a:pt x="2239" y="331"/>
                  <a:pt x="2239" y="331"/>
                </a:cubicBezTo>
                <a:cubicBezTo>
                  <a:pt x="2239" y="330"/>
                  <a:pt x="2239" y="330"/>
                  <a:pt x="2240" y="329"/>
                </a:cubicBezTo>
                <a:cubicBezTo>
                  <a:pt x="2240" y="328"/>
                  <a:pt x="2240" y="328"/>
                  <a:pt x="2241" y="327"/>
                </a:cubicBezTo>
                <a:cubicBezTo>
                  <a:pt x="2242" y="327"/>
                  <a:pt x="2242" y="326"/>
                  <a:pt x="2242" y="326"/>
                </a:cubicBezTo>
                <a:cubicBezTo>
                  <a:pt x="2245" y="325"/>
                  <a:pt x="2247" y="324"/>
                  <a:pt x="2250" y="322"/>
                </a:cubicBezTo>
                <a:cubicBezTo>
                  <a:pt x="2252" y="322"/>
                  <a:pt x="2253" y="323"/>
                  <a:pt x="2255" y="323"/>
                </a:cubicBezTo>
                <a:cubicBezTo>
                  <a:pt x="2255" y="323"/>
                  <a:pt x="2256" y="323"/>
                  <a:pt x="2256" y="323"/>
                </a:cubicBezTo>
                <a:cubicBezTo>
                  <a:pt x="2257" y="322"/>
                  <a:pt x="2256" y="321"/>
                  <a:pt x="2257" y="320"/>
                </a:cubicBezTo>
                <a:cubicBezTo>
                  <a:pt x="2258" y="320"/>
                  <a:pt x="2258" y="320"/>
                  <a:pt x="2259" y="320"/>
                </a:cubicBezTo>
                <a:cubicBezTo>
                  <a:pt x="2261" y="320"/>
                  <a:pt x="2262" y="318"/>
                  <a:pt x="2264" y="317"/>
                </a:cubicBezTo>
                <a:cubicBezTo>
                  <a:pt x="2264" y="316"/>
                  <a:pt x="2265" y="315"/>
                  <a:pt x="2266" y="315"/>
                </a:cubicBezTo>
                <a:cubicBezTo>
                  <a:pt x="2267" y="314"/>
                  <a:pt x="2269" y="313"/>
                  <a:pt x="2271" y="312"/>
                </a:cubicBezTo>
                <a:cubicBezTo>
                  <a:pt x="2271" y="312"/>
                  <a:pt x="2272" y="312"/>
                  <a:pt x="2272" y="312"/>
                </a:cubicBezTo>
                <a:cubicBezTo>
                  <a:pt x="2274" y="311"/>
                  <a:pt x="2276" y="311"/>
                  <a:pt x="2278" y="310"/>
                </a:cubicBezTo>
                <a:cubicBezTo>
                  <a:pt x="2279" y="310"/>
                  <a:pt x="2281" y="309"/>
                  <a:pt x="2282" y="309"/>
                </a:cubicBezTo>
                <a:cubicBezTo>
                  <a:pt x="2283" y="308"/>
                  <a:pt x="2285" y="309"/>
                  <a:pt x="2287" y="309"/>
                </a:cubicBezTo>
                <a:cubicBezTo>
                  <a:pt x="2287" y="309"/>
                  <a:pt x="2287" y="309"/>
                  <a:pt x="2287" y="309"/>
                </a:cubicBezTo>
                <a:cubicBezTo>
                  <a:pt x="2288" y="309"/>
                  <a:pt x="2288" y="308"/>
                  <a:pt x="2288" y="308"/>
                </a:cubicBezTo>
                <a:cubicBezTo>
                  <a:pt x="2288" y="308"/>
                  <a:pt x="2288" y="308"/>
                  <a:pt x="2288" y="308"/>
                </a:cubicBezTo>
                <a:cubicBezTo>
                  <a:pt x="2288" y="307"/>
                  <a:pt x="2288" y="307"/>
                  <a:pt x="2288" y="307"/>
                </a:cubicBezTo>
                <a:cubicBezTo>
                  <a:pt x="2288" y="307"/>
                  <a:pt x="2289" y="308"/>
                  <a:pt x="2289" y="308"/>
                </a:cubicBezTo>
                <a:cubicBezTo>
                  <a:pt x="2289" y="307"/>
                  <a:pt x="2289" y="307"/>
                  <a:pt x="2289" y="306"/>
                </a:cubicBezTo>
                <a:cubicBezTo>
                  <a:pt x="2289" y="306"/>
                  <a:pt x="2289" y="306"/>
                  <a:pt x="2290" y="306"/>
                </a:cubicBezTo>
                <a:cubicBezTo>
                  <a:pt x="2290" y="306"/>
                  <a:pt x="2290" y="306"/>
                  <a:pt x="2291" y="306"/>
                </a:cubicBezTo>
                <a:cubicBezTo>
                  <a:pt x="2291" y="306"/>
                  <a:pt x="2292" y="306"/>
                  <a:pt x="2292" y="305"/>
                </a:cubicBezTo>
                <a:cubicBezTo>
                  <a:pt x="2293" y="302"/>
                  <a:pt x="2298" y="300"/>
                  <a:pt x="2301" y="299"/>
                </a:cubicBezTo>
                <a:cubicBezTo>
                  <a:pt x="2302" y="298"/>
                  <a:pt x="2304" y="296"/>
                  <a:pt x="2306" y="296"/>
                </a:cubicBezTo>
                <a:cubicBezTo>
                  <a:pt x="2306" y="296"/>
                  <a:pt x="2306" y="296"/>
                  <a:pt x="2307" y="296"/>
                </a:cubicBezTo>
                <a:cubicBezTo>
                  <a:pt x="2307" y="296"/>
                  <a:pt x="2308" y="296"/>
                  <a:pt x="2308" y="296"/>
                </a:cubicBezTo>
                <a:cubicBezTo>
                  <a:pt x="2309" y="296"/>
                  <a:pt x="2309" y="297"/>
                  <a:pt x="2309" y="297"/>
                </a:cubicBezTo>
                <a:cubicBezTo>
                  <a:pt x="2311" y="297"/>
                  <a:pt x="2312" y="296"/>
                  <a:pt x="2313" y="296"/>
                </a:cubicBezTo>
                <a:cubicBezTo>
                  <a:pt x="2314" y="296"/>
                  <a:pt x="2317" y="295"/>
                  <a:pt x="2317" y="294"/>
                </a:cubicBezTo>
                <a:cubicBezTo>
                  <a:pt x="2317" y="293"/>
                  <a:pt x="2319" y="293"/>
                  <a:pt x="2320" y="293"/>
                </a:cubicBezTo>
                <a:cubicBezTo>
                  <a:pt x="2321" y="292"/>
                  <a:pt x="2323" y="292"/>
                  <a:pt x="2324" y="291"/>
                </a:cubicBezTo>
                <a:cubicBezTo>
                  <a:pt x="2325" y="290"/>
                  <a:pt x="2326" y="290"/>
                  <a:pt x="2326" y="289"/>
                </a:cubicBezTo>
                <a:cubicBezTo>
                  <a:pt x="2327" y="289"/>
                  <a:pt x="2327" y="288"/>
                  <a:pt x="2328" y="287"/>
                </a:cubicBezTo>
                <a:cubicBezTo>
                  <a:pt x="2328" y="287"/>
                  <a:pt x="2329" y="287"/>
                  <a:pt x="2329" y="287"/>
                </a:cubicBezTo>
                <a:cubicBezTo>
                  <a:pt x="2329" y="288"/>
                  <a:pt x="2329" y="288"/>
                  <a:pt x="2330" y="288"/>
                </a:cubicBezTo>
                <a:cubicBezTo>
                  <a:pt x="2330" y="289"/>
                  <a:pt x="2332" y="287"/>
                  <a:pt x="2333" y="287"/>
                </a:cubicBezTo>
                <a:cubicBezTo>
                  <a:pt x="2333" y="286"/>
                  <a:pt x="2336" y="285"/>
                  <a:pt x="2336" y="284"/>
                </a:cubicBezTo>
                <a:cubicBezTo>
                  <a:pt x="2336" y="284"/>
                  <a:pt x="2336" y="284"/>
                  <a:pt x="2336" y="283"/>
                </a:cubicBezTo>
                <a:cubicBezTo>
                  <a:pt x="2336" y="283"/>
                  <a:pt x="2337" y="282"/>
                  <a:pt x="2338" y="282"/>
                </a:cubicBezTo>
                <a:cubicBezTo>
                  <a:pt x="2339" y="282"/>
                  <a:pt x="2340" y="281"/>
                  <a:pt x="2341" y="281"/>
                </a:cubicBezTo>
                <a:cubicBezTo>
                  <a:pt x="2344" y="280"/>
                  <a:pt x="2352" y="277"/>
                  <a:pt x="2358" y="274"/>
                </a:cubicBezTo>
                <a:cubicBezTo>
                  <a:pt x="2360" y="273"/>
                  <a:pt x="2362" y="272"/>
                  <a:pt x="2364" y="271"/>
                </a:cubicBezTo>
                <a:cubicBezTo>
                  <a:pt x="2365" y="270"/>
                  <a:pt x="2368" y="268"/>
                  <a:pt x="2370" y="268"/>
                </a:cubicBezTo>
                <a:cubicBezTo>
                  <a:pt x="2370" y="268"/>
                  <a:pt x="2370" y="268"/>
                  <a:pt x="2370" y="268"/>
                </a:cubicBezTo>
                <a:cubicBezTo>
                  <a:pt x="2371" y="268"/>
                  <a:pt x="2372" y="268"/>
                  <a:pt x="2372" y="267"/>
                </a:cubicBezTo>
                <a:cubicBezTo>
                  <a:pt x="2373" y="267"/>
                  <a:pt x="2373" y="266"/>
                  <a:pt x="2374" y="266"/>
                </a:cubicBezTo>
                <a:cubicBezTo>
                  <a:pt x="2374" y="265"/>
                  <a:pt x="2374" y="265"/>
                  <a:pt x="2374" y="265"/>
                </a:cubicBezTo>
                <a:cubicBezTo>
                  <a:pt x="2375" y="265"/>
                  <a:pt x="2375" y="265"/>
                  <a:pt x="2376" y="265"/>
                </a:cubicBezTo>
                <a:cubicBezTo>
                  <a:pt x="2379" y="264"/>
                  <a:pt x="2383" y="263"/>
                  <a:pt x="2385" y="261"/>
                </a:cubicBezTo>
                <a:cubicBezTo>
                  <a:pt x="2385" y="261"/>
                  <a:pt x="2385" y="261"/>
                  <a:pt x="2385" y="261"/>
                </a:cubicBezTo>
                <a:cubicBezTo>
                  <a:pt x="2385" y="259"/>
                  <a:pt x="2388" y="258"/>
                  <a:pt x="2389" y="258"/>
                </a:cubicBezTo>
                <a:cubicBezTo>
                  <a:pt x="2392" y="257"/>
                  <a:pt x="2395" y="255"/>
                  <a:pt x="2397" y="254"/>
                </a:cubicBezTo>
                <a:cubicBezTo>
                  <a:pt x="2399" y="253"/>
                  <a:pt x="2403" y="251"/>
                  <a:pt x="2406" y="250"/>
                </a:cubicBezTo>
                <a:cubicBezTo>
                  <a:pt x="2410" y="248"/>
                  <a:pt x="2418" y="244"/>
                  <a:pt x="2425" y="240"/>
                </a:cubicBezTo>
                <a:cubicBezTo>
                  <a:pt x="2428" y="239"/>
                  <a:pt x="2430" y="238"/>
                  <a:pt x="2432" y="237"/>
                </a:cubicBezTo>
                <a:cubicBezTo>
                  <a:pt x="2433" y="237"/>
                  <a:pt x="2437" y="234"/>
                  <a:pt x="2438" y="235"/>
                </a:cubicBezTo>
                <a:cubicBezTo>
                  <a:pt x="2438" y="235"/>
                  <a:pt x="2438" y="235"/>
                  <a:pt x="2438" y="235"/>
                </a:cubicBezTo>
                <a:cubicBezTo>
                  <a:pt x="2438" y="236"/>
                  <a:pt x="2439" y="236"/>
                  <a:pt x="2439" y="236"/>
                </a:cubicBezTo>
                <a:cubicBezTo>
                  <a:pt x="2440" y="236"/>
                  <a:pt x="2440" y="236"/>
                  <a:pt x="2441" y="235"/>
                </a:cubicBezTo>
                <a:cubicBezTo>
                  <a:pt x="2441" y="235"/>
                  <a:pt x="2442" y="234"/>
                  <a:pt x="2443" y="234"/>
                </a:cubicBezTo>
                <a:cubicBezTo>
                  <a:pt x="2444" y="233"/>
                  <a:pt x="2445" y="232"/>
                  <a:pt x="2447" y="232"/>
                </a:cubicBezTo>
                <a:cubicBezTo>
                  <a:pt x="2448" y="232"/>
                  <a:pt x="2448" y="232"/>
                  <a:pt x="2449" y="231"/>
                </a:cubicBezTo>
                <a:cubicBezTo>
                  <a:pt x="2450" y="231"/>
                  <a:pt x="2450" y="230"/>
                  <a:pt x="2450" y="229"/>
                </a:cubicBezTo>
                <a:cubicBezTo>
                  <a:pt x="2451" y="228"/>
                  <a:pt x="2451" y="228"/>
                  <a:pt x="2452" y="228"/>
                </a:cubicBezTo>
                <a:cubicBezTo>
                  <a:pt x="2453" y="227"/>
                  <a:pt x="2456" y="226"/>
                  <a:pt x="2458" y="225"/>
                </a:cubicBezTo>
                <a:cubicBezTo>
                  <a:pt x="2459" y="224"/>
                  <a:pt x="2460" y="222"/>
                  <a:pt x="2462" y="223"/>
                </a:cubicBezTo>
                <a:cubicBezTo>
                  <a:pt x="2463" y="222"/>
                  <a:pt x="2464" y="222"/>
                  <a:pt x="2465" y="221"/>
                </a:cubicBezTo>
                <a:cubicBezTo>
                  <a:pt x="2466" y="221"/>
                  <a:pt x="2467" y="220"/>
                  <a:pt x="2468" y="220"/>
                </a:cubicBezTo>
                <a:cubicBezTo>
                  <a:pt x="2470" y="220"/>
                  <a:pt x="2470" y="220"/>
                  <a:pt x="2471" y="220"/>
                </a:cubicBezTo>
                <a:cubicBezTo>
                  <a:pt x="2473" y="220"/>
                  <a:pt x="2474" y="218"/>
                  <a:pt x="2475" y="217"/>
                </a:cubicBezTo>
                <a:cubicBezTo>
                  <a:pt x="2477" y="216"/>
                  <a:pt x="2478" y="214"/>
                  <a:pt x="2480" y="213"/>
                </a:cubicBezTo>
                <a:cubicBezTo>
                  <a:pt x="2481" y="212"/>
                  <a:pt x="2482" y="212"/>
                  <a:pt x="2483" y="211"/>
                </a:cubicBezTo>
                <a:cubicBezTo>
                  <a:pt x="2485" y="211"/>
                  <a:pt x="2486" y="210"/>
                  <a:pt x="2488" y="210"/>
                </a:cubicBezTo>
                <a:cubicBezTo>
                  <a:pt x="2489" y="210"/>
                  <a:pt x="2490" y="210"/>
                  <a:pt x="2492" y="209"/>
                </a:cubicBezTo>
                <a:cubicBezTo>
                  <a:pt x="2492" y="209"/>
                  <a:pt x="2492" y="208"/>
                  <a:pt x="2492" y="208"/>
                </a:cubicBezTo>
                <a:cubicBezTo>
                  <a:pt x="2492" y="207"/>
                  <a:pt x="2493" y="207"/>
                  <a:pt x="2494" y="206"/>
                </a:cubicBezTo>
                <a:cubicBezTo>
                  <a:pt x="2494" y="206"/>
                  <a:pt x="2497" y="205"/>
                  <a:pt x="2496" y="207"/>
                </a:cubicBezTo>
                <a:cubicBezTo>
                  <a:pt x="2496" y="207"/>
                  <a:pt x="2497" y="207"/>
                  <a:pt x="2497" y="207"/>
                </a:cubicBezTo>
                <a:cubicBezTo>
                  <a:pt x="2497" y="207"/>
                  <a:pt x="2498" y="207"/>
                  <a:pt x="2498" y="208"/>
                </a:cubicBezTo>
                <a:cubicBezTo>
                  <a:pt x="2498" y="208"/>
                  <a:pt x="2499" y="208"/>
                  <a:pt x="2499" y="208"/>
                </a:cubicBezTo>
                <a:cubicBezTo>
                  <a:pt x="2499" y="208"/>
                  <a:pt x="2499" y="207"/>
                  <a:pt x="2500" y="207"/>
                </a:cubicBezTo>
                <a:cubicBezTo>
                  <a:pt x="2500" y="207"/>
                  <a:pt x="2501" y="207"/>
                  <a:pt x="2501" y="207"/>
                </a:cubicBezTo>
                <a:cubicBezTo>
                  <a:pt x="2502" y="208"/>
                  <a:pt x="2502" y="208"/>
                  <a:pt x="2503" y="207"/>
                </a:cubicBezTo>
                <a:cubicBezTo>
                  <a:pt x="2503" y="206"/>
                  <a:pt x="2503" y="206"/>
                  <a:pt x="2502" y="205"/>
                </a:cubicBezTo>
                <a:cubicBezTo>
                  <a:pt x="2502" y="205"/>
                  <a:pt x="2502" y="205"/>
                  <a:pt x="2502" y="205"/>
                </a:cubicBezTo>
                <a:cubicBezTo>
                  <a:pt x="2502" y="204"/>
                  <a:pt x="2502" y="204"/>
                  <a:pt x="2503" y="204"/>
                </a:cubicBezTo>
                <a:cubicBezTo>
                  <a:pt x="2503" y="204"/>
                  <a:pt x="2503" y="203"/>
                  <a:pt x="2504" y="204"/>
                </a:cubicBezTo>
                <a:cubicBezTo>
                  <a:pt x="2504" y="204"/>
                  <a:pt x="2504" y="204"/>
                  <a:pt x="2504" y="204"/>
                </a:cubicBezTo>
                <a:cubicBezTo>
                  <a:pt x="2506" y="204"/>
                  <a:pt x="2507" y="204"/>
                  <a:pt x="2508" y="203"/>
                </a:cubicBezTo>
                <a:cubicBezTo>
                  <a:pt x="2510" y="202"/>
                  <a:pt x="2511" y="202"/>
                  <a:pt x="2512" y="201"/>
                </a:cubicBezTo>
                <a:cubicBezTo>
                  <a:pt x="2513" y="201"/>
                  <a:pt x="2514" y="200"/>
                  <a:pt x="2515" y="200"/>
                </a:cubicBezTo>
                <a:cubicBezTo>
                  <a:pt x="2516" y="200"/>
                  <a:pt x="2517" y="199"/>
                  <a:pt x="2517" y="198"/>
                </a:cubicBezTo>
                <a:cubicBezTo>
                  <a:pt x="2518" y="198"/>
                  <a:pt x="2519" y="198"/>
                  <a:pt x="2520" y="197"/>
                </a:cubicBezTo>
                <a:cubicBezTo>
                  <a:pt x="2520" y="197"/>
                  <a:pt x="2520" y="197"/>
                  <a:pt x="2520" y="196"/>
                </a:cubicBezTo>
                <a:cubicBezTo>
                  <a:pt x="2520" y="196"/>
                  <a:pt x="2521" y="195"/>
                  <a:pt x="2522" y="195"/>
                </a:cubicBezTo>
                <a:cubicBezTo>
                  <a:pt x="2523" y="194"/>
                  <a:pt x="2524" y="193"/>
                  <a:pt x="2525" y="192"/>
                </a:cubicBezTo>
                <a:cubicBezTo>
                  <a:pt x="2525" y="192"/>
                  <a:pt x="2526" y="192"/>
                  <a:pt x="2526" y="192"/>
                </a:cubicBezTo>
                <a:cubicBezTo>
                  <a:pt x="2526" y="192"/>
                  <a:pt x="2527" y="192"/>
                  <a:pt x="2527" y="193"/>
                </a:cubicBezTo>
                <a:cubicBezTo>
                  <a:pt x="2527" y="193"/>
                  <a:pt x="2527" y="193"/>
                  <a:pt x="2527" y="194"/>
                </a:cubicBezTo>
                <a:cubicBezTo>
                  <a:pt x="2527" y="194"/>
                  <a:pt x="2528" y="194"/>
                  <a:pt x="2528" y="194"/>
                </a:cubicBezTo>
                <a:cubicBezTo>
                  <a:pt x="2529" y="194"/>
                  <a:pt x="2529" y="194"/>
                  <a:pt x="2530" y="194"/>
                </a:cubicBezTo>
                <a:cubicBezTo>
                  <a:pt x="2531" y="195"/>
                  <a:pt x="2531" y="192"/>
                  <a:pt x="2532" y="192"/>
                </a:cubicBezTo>
                <a:cubicBezTo>
                  <a:pt x="2533" y="191"/>
                  <a:pt x="2535" y="191"/>
                  <a:pt x="2536" y="190"/>
                </a:cubicBezTo>
                <a:cubicBezTo>
                  <a:pt x="2536" y="190"/>
                  <a:pt x="2536" y="189"/>
                  <a:pt x="2536" y="188"/>
                </a:cubicBezTo>
                <a:cubicBezTo>
                  <a:pt x="2537" y="188"/>
                  <a:pt x="2537" y="188"/>
                  <a:pt x="2537" y="187"/>
                </a:cubicBezTo>
                <a:cubicBezTo>
                  <a:pt x="2537" y="187"/>
                  <a:pt x="2538" y="187"/>
                  <a:pt x="2538" y="187"/>
                </a:cubicBezTo>
                <a:cubicBezTo>
                  <a:pt x="2540" y="188"/>
                  <a:pt x="2542" y="186"/>
                  <a:pt x="2543" y="185"/>
                </a:cubicBezTo>
                <a:cubicBezTo>
                  <a:pt x="2545" y="184"/>
                  <a:pt x="2547" y="182"/>
                  <a:pt x="2547" y="182"/>
                </a:cubicBezTo>
                <a:cubicBezTo>
                  <a:pt x="2548" y="182"/>
                  <a:pt x="2551" y="181"/>
                  <a:pt x="2554" y="180"/>
                </a:cubicBezTo>
                <a:cubicBezTo>
                  <a:pt x="2556" y="179"/>
                  <a:pt x="2557" y="179"/>
                  <a:pt x="2558" y="178"/>
                </a:cubicBezTo>
                <a:cubicBezTo>
                  <a:pt x="2559" y="178"/>
                  <a:pt x="2560" y="178"/>
                  <a:pt x="2560" y="177"/>
                </a:cubicBezTo>
                <a:cubicBezTo>
                  <a:pt x="2561" y="176"/>
                  <a:pt x="2561" y="176"/>
                  <a:pt x="2561" y="175"/>
                </a:cubicBezTo>
                <a:cubicBezTo>
                  <a:pt x="2561" y="175"/>
                  <a:pt x="2562" y="174"/>
                  <a:pt x="2562" y="174"/>
                </a:cubicBezTo>
                <a:cubicBezTo>
                  <a:pt x="2562" y="173"/>
                  <a:pt x="2563" y="173"/>
                  <a:pt x="2564" y="173"/>
                </a:cubicBezTo>
                <a:cubicBezTo>
                  <a:pt x="2565" y="173"/>
                  <a:pt x="2566" y="173"/>
                  <a:pt x="2567" y="173"/>
                </a:cubicBezTo>
                <a:cubicBezTo>
                  <a:pt x="2568" y="174"/>
                  <a:pt x="2573" y="171"/>
                  <a:pt x="2575" y="168"/>
                </a:cubicBezTo>
                <a:cubicBezTo>
                  <a:pt x="2575" y="167"/>
                  <a:pt x="2577" y="165"/>
                  <a:pt x="2578" y="166"/>
                </a:cubicBezTo>
                <a:cubicBezTo>
                  <a:pt x="2579" y="166"/>
                  <a:pt x="2579" y="166"/>
                  <a:pt x="2579" y="166"/>
                </a:cubicBezTo>
                <a:cubicBezTo>
                  <a:pt x="2579" y="166"/>
                  <a:pt x="2580" y="166"/>
                  <a:pt x="2580" y="166"/>
                </a:cubicBezTo>
                <a:cubicBezTo>
                  <a:pt x="2582" y="166"/>
                  <a:pt x="2583" y="165"/>
                  <a:pt x="2585" y="165"/>
                </a:cubicBezTo>
                <a:cubicBezTo>
                  <a:pt x="2587" y="164"/>
                  <a:pt x="2589" y="163"/>
                  <a:pt x="2590" y="163"/>
                </a:cubicBezTo>
                <a:cubicBezTo>
                  <a:pt x="2591" y="162"/>
                  <a:pt x="2595" y="161"/>
                  <a:pt x="2598" y="159"/>
                </a:cubicBezTo>
                <a:cubicBezTo>
                  <a:pt x="2600" y="158"/>
                  <a:pt x="2605" y="157"/>
                  <a:pt x="2604" y="154"/>
                </a:cubicBezTo>
                <a:cubicBezTo>
                  <a:pt x="2604" y="153"/>
                  <a:pt x="2604" y="153"/>
                  <a:pt x="2604" y="153"/>
                </a:cubicBezTo>
                <a:cubicBezTo>
                  <a:pt x="2605" y="153"/>
                  <a:pt x="2605" y="153"/>
                  <a:pt x="2605" y="153"/>
                </a:cubicBezTo>
                <a:cubicBezTo>
                  <a:pt x="2606" y="152"/>
                  <a:pt x="2607" y="151"/>
                  <a:pt x="2608" y="151"/>
                </a:cubicBezTo>
                <a:cubicBezTo>
                  <a:pt x="2609" y="150"/>
                  <a:pt x="2610" y="150"/>
                  <a:pt x="2611" y="150"/>
                </a:cubicBezTo>
                <a:cubicBezTo>
                  <a:pt x="2613" y="149"/>
                  <a:pt x="2615" y="148"/>
                  <a:pt x="2616" y="148"/>
                </a:cubicBezTo>
                <a:cubicBezTo>
                  <a:pt x="2617" y="147"/>
                  <a:pt x="2619" y="146"/>
                  <a:pt x="2620" y="146"/>
                </a:cubicBezTo>
                <a:cubicBezTo>
                  <a:pt x="2620" y="146"/>
                  <a:pt x="2620" y="146"/>
                  <a:pt x="2621" y="146"/>
                </a:cubicBezTo>
                <a:cubicBezTo>
                  <a:pt x="2622" y="146"/>
                  <a:pt x="2623" y="146"/>
                  <a:pt x="2624" y="145"/>
                </a:cubicBezTo>
                <a:cubicBezTo>
                  <a:pt x="2626" y="144"/>
                  <a:pt x="2628" y="143"/>
                  <a:pt x="2630" y="143"/>
                </a:cubicBezTo>
                <a:cubicBezTo>
                  <a:pt x="2631" y="142"/>
                  <a:pt x="2632" y="142"/>
                  <a:pt x="2633" y="141"/>
                </a:cubicBezTo>
                <a:cubicBezTo>
                  <a:pt x="2633" y="140"/>
                  <a:pt x="2633" y="139"/>
                  <a:pt x="2635" y="138"/>
                </a:cubicBezTo>
                <a:cubicBezTo>
                  <a:pt x="2636" y="137"/>
                  <a:pt x="2637" y="137"/>
                  <a:pt x="2639" y="136"/>
                </a:cubicBezTo>
                <a:cubicBezTo>
                  <a:pt x="2640" y="135"/>
                  <a:pt x="2642" y="134"/>
                  <a:pt x="2644" y="133"/>
                </a:cubicBezTo>
                <a:cubicBezTo>
                  <a:pt x="2644" y="134"/>
                  <a:pt x="2644" y="134"/>
                  <a:pt x="2644" y="134"/>
                </a:cubicBezTo>
                <a:cubicBezTo>
                  <a:pt x="2644" y="135"/>
                  <a:pt x="2645" y="135"/>
                  <a:pt x="2645" y="135"/>
                </a:cubicBezTo>
                <a:cubicBezTo>
                  <a:pt x="2645" y="135"/>
                  <a:pt x="2645" y="134"/>
                  <a:pt x="2645" y="134"/>
                </a:cubicBezTo>
                <a:cubicBezTo>
                  <a:pt x="2646" y="133"/>
                  <a:pt x="2647" y="130"/>
                  <a:pt x="2648" y="131"/>
                </a:cubicBezTo>
                <a:cubicBezTo>
                  <a:pt x="2649" y="132"/>
                  <a:pt x="2649" y="132"/>
                  <a:pt x="2649" y="132"/>
                </a:cubicBezTo>
                <a:cubicBezTo>
                  <a:pt x="2649" y="133"/>
                  <a:pt x="2649" y="133"/>
                  <a:pt x="2649" y="133"/>
                </a:cubicBezTo>
                <a:cubicBezTo>
                  <a:pt x="2649" y="134"/>
                  <a:pt x="2650" y="134"/>
                  <a:pt x="2651" y="134"/>
                </a:cubicBezTo>
                <a:cubicBezTo>
                  <a:pt x="2651" y="134"/>
                  <a:pt x="2652" y="134"/>
                  <a:pt x="2652" y="133"/>
                </a:cubicBezTo>
                <a:cubicBezTo>
                  <a:pt x="2652" y="133"/>
                  <a:pt x="2652" y="132"/>
                  <a:pt x="2653" y="131"/>
                </a:cubicBezTo>
                <a:cubicBezTo>
                  <a:pt x="2653" y="131"/>
                  <a:pt x="2653" y="131"/>
                  <a:pt x="2653" y="131"/>
                </a:cubicBezTo>
                <a:cubicBezTo>
                  <a:pt x="2653" y="132"/>
                  <a:pt x="2653" y="132"/>
                  <a:pt x="2653" y="132"/>
                </a:cubicBezTo>
                <a:cubicBezTo>
                  <a:pt x="2654" y="133"/>
                  <a:pt x="2657" y="131"/>
                  <a:pt x="2658" y="130"/>
                </a:cubicBezTo>
                <a:cubicBezTo>
                  <a:pt x="2660" y="129"/>
                  <a:pt x="2663" y="128"/>
                  <a:pt x="2665" y="127"/>
                </a:cubicBezTo>
                <a:cubicBezTo>
                  <a:pt x="2667" y="126"/>
                  <a:pt x="2669" y="125"/>
                  <a:pt x="2671" y="124"/>
                </a:cubicBezTo>
                <a:cubicBezTo>
                  <a:pt x="2673" y="123"/>
                  <a:pt x="2675" y="122"/>
                  <a:pt x="2676" y="121"/>
                </a:cubicBezTo>
                <a:cubicBezTo>
                  <a:pt x="2676" y="121"/>
                  <a:pt x="2676" y="120"/>
                  <a:pt x="2676" y="120"/>
                </a:cubicBezTo>
                <a:cubicBezTo>
                  <a:pt x="2676" y="119"/>
                  <a:pt x="2677" y="119"/>
                  <a:pt x="2677" y="118"/>
                </a:cubicBezTo>
                <a:cubicBezTo>
                  <a:pt x="2678" y="118"/>
                  <a:pt x="2678" y="117"/>
                  <a:pt x="2679" y="116"/>
                </a:cubicBezTo>
                <a:cubicBezTo>
                  <a:pt x="2679" y="115"/>
                  <a:pt x="2679" y="115"/>
                  <a:pt x="2680" y="114"/>
                </a:cubicBezTo>
                <a:cubicBezTo>
                  <a:pt x="2681" y="114"/>
                  <a:pt x="2682" y="113"/>
                  <a:pt x="2683" y="113"/>
                </a:cubicBezTo>
                <a:cubicBezTo>
                  <a:pt x="2683" y="113"/>
                  <a:pt x="2686" y="111"/>
                  <a:pt x="2687" y="111"/>
                </a:cubicBezTo>
                <a:cubicBezTo>
                  <a:pt x="2687" y="111"/>
                  <a:pt x="2687" y="112"/>
                  <a:pt x="2687" y="112"/>
                </a:cubicBezTo>
                <a:cubicBezTo>
                  <a:pt x="2688" y="112"/>
                  <a:pt x="2688" y="112"/>
                  <a:pt x="2689" y="112"/>
                </a:cubicBezTo>
                <a:cubicBezTo>
                  <a:pt x="2689" y="112"/>
                  <a:pt x="2689" y="111"/>
                  <a:pt x="2689" y="111"/>
                </a:cubicBezTo>
                <a:cubicBezTo>
                  <a:pt x="2689" y="110"/>
                  <a:pt x="2689" y="110"/>
                  <a:pt x="2689" y="110"/>
                </a:cubicBezTo>
                <a:cubicBezTo>
                  <a:pt x="2690" y="109"/>
                  <a:pt x="2692" y="108"/>
                  <a:pt x="2694" y="107"/>
                </a:cubicBezTo>
                <a:cubicBezTo>
                  <a:pt x="2694" y="107"/>
                  <a:pt x="2694" y="107"/>
                  <a:pt x="2694" y="107"/>
                </a:cubicBezTo>
                <a:cubicBezTo>
                  <a:pt x="2694" y="107"/>
                  <a:pt x="2694" y="107"/>
                  <a:pt x="2695" y="108"/>
                </a:cubicBezTo>
                <a:cubicBezTo>
                  <a:pt x="2695" y="109"/>
                  <a:pt x="2698" y="111"/>
                  <a:pt x="2699" y="108"/>
                </a:cubicBezTo>
                <a:cubicBezTo>
                  <a:pt x="2699" y="108"/>
                  <a:pt x="2698" y="108"/>
                  <a:pt x="2698" y="107"/>
                </a:cubicBezTo>
                <a:cubicBezTo>
                  <a:pt x="2698" y="107"/>
                  <a:pt x="2698" y="106"/>
                  <a:pt x="2698" y="106"/>
                </a:cubicBezTo>
                <a:cubicBezTo>
                  <a:pt x="2698" y="106"/>
                  <a:pt x="2697" y="105"/>
                  <a:pt x="2698" y="105"/>
                </a:cubicBezTo>
                <a:cubicBezTo>
                  <a:pt x="2698" y="104"/>
                  <a:pt x="2699" y="104"/>
                  <a:pt x="2700" y="104"/>
                </a:cubicBezTo>
                <a:cubicBezTo>
                  <a:pt x="2701" y="104"/>
                  <a:pt x="2701" y="105"/>
                  <a:pt x="2702" y="105"/>
                </a:cubicBezTo>
                <a:cubicBezTo>
                  <a:pt x="2702" y="105"/>
                  <a:pt x="2703" y="104"/>
                  <a:pt x="2703" y="104"/>
                </a:cubicBezTo>
                <a:cubicBezTo>
                  <a:pt x="2705" y="103"/>
                  <a:pt x="2706" y="103"/>
                  <a:pt x="2707" y="102"/>
                </a:cubicBezTo>
                <a:cubicBezTo>
                  <a:pt x="2708" y="102"/>
                  <a:pt x="2708" y="101"/>
                  <a:pt x="2708" y="100"/>
                </a:cubicBezTo>
                <a:cubicBezTo>
                  <a:pt x="2710" y="98"/>
                  <a:pt x="2713" y="97"/>
                  <a:pt x="2716" y="96"/>
                </a:cubicBezTo>
                <a:cubicBezTo>
                  <a:pt x="2717" y="95"/>
                  <a:pt x="2724" y="90"/>
                  <a:pt x="2725" y="91"/>
                </a:cubicBezTo>
                <a:cubicBezTo>
                  <a:pt x="2725" y="92"/>
                  <a:pt x="2725" y="92"/>
                  <a:pt x="2725" y="92"/>
                </a:cubicBezTo>
                <a:cubicBezTo>
                  <a:pt x="2725" y="92"/>
                  <a:pt x="2726" y="92"/>
                  <a:pt x="2726" y="92"/>
                </a:cubicBezTo>
                <a:cubicBezTo>
                  <a:pt x="2726" y="92"/>
                  <a:pt x="2729" y="90"/>
                  <a:pt x="2728" y="92"/>
                </a:cubicBezTo>
                <a:cubicBezTo>
                  <a:pt x="2728" y="92"/>
                  <a:pt x="2728" y="93"/>
                  <a:pt x="2728" y="93"/>
                </a:cubicBezTo>
                <a:cubicBezTo>
                  <a:pt x="2729" y="93"/>
                  <a:pt x="2729" y="93"/>
                  <a:pt x="2730" y="93"/>
                </a:cubicBezTo>
                <a:cubicBezTo>
                  <a:pt x="2730" y="92"/>
                  <a:pt x="2730" y="92"/>
                  <a:pt x="2730" y="91"/>
                </a:cubicBezTo>
                <a:cubicBezTo>
                  <a:pt x="2731" y="91"/>
                  <a:pt x="2732" y="91"/>
                  <a:pt x="2732" y="91"/>
                </a:cubicBezTo>
                <a:cubicBezTo>
                  <a:pt x="2733" y="91"/>
                  <a:pt x="2733" y="90"/>
                  <a:pt x="2734" y="90"/>
                </a:cubicBezTo>
                <a:cubicBezTo>
                  <a:pt x="2736" y="88"/>
                  <a:pt x="2737" y="87"/>
                  <a:pt x="2739" y="86"/>
                </a:cubicBezTo>
                <a:cubicBezTo>
                  <a:pt x="2740" y="86"/>
                  <a:pt x="2741" y="85"/>
                  <a:pt x="2741" y="85"/>
                </a:cubicBezTo>
                <a:cubicBezTo>
                  <a:pt x="2742" y="85"/>
                  <a:pt x="2743" y="85"/>
                  <a:pt x="2744" y="84"/>
                </a:cubicBezTo>
                <a:cubicBezTo>
                  <a:pt x="2744" y="84"/>
                  <a:pt x="2744" y="84"/>
                  <a:pt x="2745" y="83"/>
                </a:cubicBezTo>
                <a:cubicBezTo>
                  <a:pt x="2745" y="83"/>
                  <a:pt x="2745" y="82"/>
                  <a:pt x="2745" y="81"/>
                </a:cubicBezTo>
                <a:cubicBezTo>
                  <a:pt x="2746" y="81"/>
                  <a:pt x="2747" y="80"/>
                  <a:pt x="2746" y="79"/>
                </a:cubicBezTo>
                <a:cubicBezTo>
                  <a:pt x="2746" y="79"/>
                  <a:pt x="2746" y="79"/>
                  <a:pt x="2746" y="79"/>
                </a:cubicBezTo>
                <a:cubicBezTo>
                  <a:pt x="2746" y="79"/>
                  <a:pt x="2746" y="78"/>
                  <a:pt x="2747" y="78"/>
                </a:cubicBezTo>
                <a:cubicBezTo>
                  <a:pt x="2747" y="78"/>
                  <a:pt x="2748" y="78"/>
                  <a:pt x="2749" y="77"/>
                </a:cubicBezTo>
                <a:cubicBezTo>
                  <a:pt x="2749" y="77"/>
                  <a:pt x="2750" y="76"/>
                  <a:pt x="2751" y="77"/>
                </a:cubicBezTo>
                <a:cubicBezTo>
                  <a:pt x="2751" y="77"/>
                  <a:pt x="2751" y="78"/>
                  <a:pt x="2752" y="78"/>
                </a:cubicBezTo>
                <a:cubicBezTo>
                  <a:pt x="2753" y="79"/>
                  <a:pt x="2754" y="77"/>
                  <a:pt x="2755" y="77"/>
                </a:cubicBezTo>
                <a:cubicBezTo>
                  <a:pt x="2756" y="76"/>
                  <a:pt x="2757" y="77"/>
                  <a:pt x="2759" y="77"/>
                </a:cubicBezTo>
                <a:cubicBezTo>
                  <a:pt x="2760" y="77"/>
                  <a:pt x="2762" y="76"/>
                  <a:pt x="2763" y="75"/>
                </a:cubicBezTo>
                <a:cubicBezTo>
                  <a:pt x="2764" y="75"/>
                  <a:pt x="2765" y="74"/>
                  <a:pt x="2765" y="73"/>
                </a:cubicBezTo>
                <a:cubicBezTo>
                  <a:pt x="2766" y="73"/>
                  <a:pt x="2766" y="72"/>
                  <a:pt x="2766" y="72"/>
                </a:cubicBezTo>
                <a:cubicBezTo>
                  <a:pt x="2767" y="71"/>
                  <a:pt x="2770" y="70"/>
                  <a:pt x="2771" y="70"/>
                </a:cubicBezTo>
                <a:cubicBezTo>
                  <a:pt x="2773" y="69"/>
                  <a:pt x="2775" y="68"/>
                  <a:pt x="2777" y="67"/>
                </a:cubicBezTo>
                <a:cubicBezTo>
                  <a:pt x="2778" y="66"/>
                  <a:pt x="2779" y="65"/>
                  <a:pt x="2780" y="65"/>
                </a:cubicBezTo>
                <a:cubicBezTo>
                  <a:pt x="2793" y="58"/>
                  <a:pt x="2807" y="57"/>
                  <a:pt x="2819" y="49"/>
                </a:cubicBezTo>
                <a:cubicBezTo>
                  <a:pt x="2823" y="47"/>
                  <a:pt x="2826" y="45"/>
                  <a:pt x="2828" y="42"/>
                </a:cubicBezTo>
                <a:cubicBezTo>
                  <a:pt x="2829" y="41"/>
                  <a:pt x="2831" y="39"/>
                  <a:pt x="2831" y="38"/>
                </a:cubicBezTo>
                <a:cubicBezTo>
                  <a:pt x="2832" y="36"/>
                  <a:pt x="2831" y="35"/>
                  <a:pt x="2830" y="34"/>
                </a:cubicBezTo>
                <a:cubicBezTo>
                  <a:pt x="2830" y="34"/>
                  <a:pt x="2829" y="34"/>
                  <a:pt x="2829" y="33"/>
                </a:cubicBezTo>
                <a:cubicBezTo>
                  <a:pt x="2829" y="33"/>
                  <a:pt x="2829" y="33"/>
                  <a:pt x="2829" y="32"/>
                </a:cubicBezTo>
                <a:cubicBezTo>
                  <a:pt x="2829" y="31"/>
                  <a:pt x="2828" y="31"/>
                  <a:pt x="2827" y="31"/>
                </a:cubicBezTo>
                <a:cubicBezTo>
                  <a:pt x="2827" y="30"/>
                  <a:pt x="2828" y="29"/>
                  <a:pt x="2828" y="28"/>
                </a:cubicBezTo>
                <a:cubicBezTo>
                  <a:pt x="2828" y="26"/>
                  <a:pt x="2826" y="26"/>
                  <a:pt x="2826" y="25"/>
                </a:cubicBezTo>
                <a:cubicBezTo>
                  <a:pt x="2826" y="25"/>
                  <a:pt x="2826" y="25"/>
                  <a:pt x="2826" y="24"/>
                </a:cubicBezTo>
                <a:cubicBezTo>
                  <a:pt x="2826" y="23"/>
                  <a:pt x="2825" y="22"/>
                  <a:pt x="2824" y="21"/>
                </a:cubicBezTo>
                <a:cubicBezTo>
                  <a:pt x="2824" y="20"/>
                  <a:pt x="2823" y="19"/>
                  <a:pt x="2823" y="18"/>
                </a:cubicBezTo>
                <a:cubicBezTo>
                  <a:pt x="2821" y="16"/>
                  <a:pt x="2819" y="14"/>
                  <a:pt x="2817" y="12"/>
                </a:cubicBezTo>
                <a:cubicBezTo>
                  <a:pt x="2816" y="12"/>
                  <a:pt x="2816" y="11"/>
                  <a:pt x="2815" y="10"/>
                </a:cubicBezTo>
                <a:cubicBezTo>
                  <a:pt x="2814" y="10"/>
                  <a:pt x="2814" y="9"/>
                  <a:pt x="2813" y="9"/>
                </a:cubicBezTo>
                <a:cubicBezTo>
                  <a:pt x="2813" y="9"/>
                  <a:pt x="2812" y="9"/>
                  <a:pt x="2812" y="8"/>
                </a:cubicBezTo>
                <a:cubicBezTo>
                  <a:pt x="2811" y="7"/>
                  <a:pt x="2811" y="5"/>
                  <a:pt x="2810" y="4"/>
                </a:cubicBezTo>
                <a:cubicBezTo>
                  <a:pt x="2808" y="2"/>
                  <a:pt x="2807" y="1"/>
                  <a:pt x="2806" y="0"/>
                </a:cubicBezTo>
                <a:cubicBezTo>
                  <a:pt x="2805" y="0"/>
                  <a:pt x="2805" y="0"/>
                  <a:pt x="2805" y="0"/>
                </a:cubicBezTo>
                <a:cubicBezTo>
                  <a:pt x="2804" y="0"/>
                  <a:pt x="2804" y="0"/>
                  <a:pt x="2803" y="0"/>
                </a:cubicBezTo>
                <a:cubicBezTo>
                  <a:pt x="2795" y="1"/>
                  <a:pt x="2788" y="6"/>
                  <a:pt x="2780" y="9"/>
                </a:cubicBezTo>
                <a:cubicBezTo>
                  <a:pt x="2775" y="11"/>
                  <a:pt x="2771" y="13"/>
                  <a:pt x="2766" y="15"/>
                </a:cubicBezTo>
                <a:cubicBezTo>
                  <a:pt x="2764" y="16"/>
                  <a:pt x="2761" y="17"/>
                  <a:pt x="2759" y="18"/>
                </a:cubicBezTo>
                <a:cubicBezTo>
                  <a:pt x="2757" y="19"/>
                  <a:pt x="2755" y="21"/>
                  <a:pt x="2753" y="22"/>
                </a:cubicBezTo>
                <a:cubicBezTo>
                  <a:pt x="2751" y="23"/>
                  <a:pt x="2750" y="24"/>
                  <a:pt x="2748" y="25"/>
                </a:cubicBezTo>
                <a:cubicBezTo>
                  <a:pt x="2746" y="26"/>
                  <a:pt x="2742" y="27"/>
                  <a:pt x="2740" y="29"/>
                </a:cubicBezTo>
                <a:cubicBezTo>
                  <a:pt x="2740" y="30"/>
                  <a:pt x="2739" y="31"/>
                  <a:pt x="2738" y="32"/>
                </a:cubicBezTo>
                <a:cubicBezTo>
                  <a:pt x="2736" y="33"/>
                  <a:pt x="2735" y="33"/>
                  <a:pt x="2734" y="34"/>
                </a:cubicBezTo>
                <a:cubicBezTo>
                  <a:pt x="2700" y="49"/>
                  <a:pt x="2619" y="88"/>
                  <a:pt x="2604" y="96"/>
                </a:cubicBezTo>
                <a:cubicBezTo>
                  <a:pt x="2601" y="98"/>
                  <a:pt x="2594" y="102"/>
                  <a:pt x="2589" y="105"/>
                </a:cubicBezTo>
                <a:cubicBezTo>
                  <a:pt x="2583" y="108"/>
                  <a:pt x="2575" y="112"/>
                  <a:pt x="2570" y="114"/>
                </a:cubicBezTo>
                <a:cubicBezTo>
                  <a:pt x="2544" y="128"/>
                  <a:pt x="2534" y="134"/>
                  <a:pt x="2508" y="147"/>
                </a:cubicBezTo>
                <a:cubicBezTo>
                  <a:pt x="2505" y="148"/>
                  <a:pt x="2503" y="149"/>
                  <a:pt x="2501" y="150"/>
                </a:cubicBezTo>
                <a:cubicBezTo>
                  <a:pt x="2500" y="151"/>
                  <a:pt x="2499" y="151"/>
                  <a:pt x="2498" y="151"/>
                </a:cubicBezTo>
                <a:cubicBezTo>
                  <a:pt x="2497" y="152"/>
                  <a:pt x="2497" y="153"/>
                  <a:pt x="2496" y="153"/>
                </a:cubicBezTo>
                <a:cubicBezTo>
                  <a:pt x="2495" y="154"/>
                  <a:pt x="2495" y="154"/>
                  <a:pt x="2494" y="154"/>
                </a:cubicBezTo>
                <a:cubicBezTo>
                  <a:pt x="2493" y="154"/>
                  <a:pt x="2491" y="154"/>
                  <a:pt x="2491" y="155"/>
                </a:cubicBezTo>
                <a:cubicBezTo>
                  <a:pt x="2491" y="155"/>
                  <a:pt x="2491" y="156"/>
                  <a:pt x="2491" y="156"/>
                </a:cubicBezTo>
                <a:cubicBezTo>
                  <a:pt x="2490" y="157"/>
                  <a:pt x="2488" y="158"/>
                  <a:pt x="2487" y="158"/>
                </a:cubicBezTo>
                <a:cubicBezTo>
                  <a:pt x="2485" y="159"/>
                  <a:pt x="2484" y="160"/>
                  <a:pt x="2482" y="160"/>
                </a:cubicBezTo>
                <a:cubicBezTo>
                  <a:pt x="2479" y="162"/>
                  <a:pt x="2476" y="163"/>
                  <a:pt x="2473" y="165"/>
                </a:cubicBezTo>
                <a:cubicBezTo>
                  <a:pt x="2463" y="169"/>
                  <a:pt x="2455" y="174"/>
                  <a:pt x="2454" y="174"/>
                </a:cubicBezTo>
                <a:cubicBezTo>
                  <a:pt x="2454" y="175"/>
                  <a:pt x="2454" y="175"/>
                  <a:pt x="2453" y="175"/>
                </a:cubicBezTo>
                <a:cubicBezTo>
                  <a:pt x="2452" y="175"/>
                  <a:pt x="2451" y="174"/>
                  <a:pt x="2450" y="175"/>
                </a:cubicBezTo>
                <a:cubicBezTo>
                  <a:pt x="2449" y="177"/>
                  <a:pt x="2448" y="177"/>
                  <a:pt x="2446" y="178"/>
                </a:cubicBezTo>
                <a:cubicBezTo>
                  <a:pt x="2445" y="179"/>
                  <a:pt x="2443" y="180"/>
                  <a:pt x="2441" y="180"/>
                </a:cubicBezTo>
                <a:cubicBezTo>
                  <a:pt x="2438" y="182"/>
                  <a:pt x="2434" y="184"/>
                  <a:pt x="2431" y="185"/>
                </a:cubicBezTo>
                <a:cubicBezTo>
                  <a:pt x="2415" y="193"/>
                  <a:pt x="2399" y="200"/>
                  <a:pt x="2384" y="208"/>
                </a:cubicBezTo>
                <a:cubicBezTo>
                  <a:pt x="2377" y="211"/>
                  <a:pt x="2370" y="215"/>
                  <a:pt x="2363" y="218"/>
                </a:cubicBezTo>
                <a:cubicBezTo>
                  <a:pt x="2358" y="220"/>
                  <a:pt x="2353" y="223"/>
                  <a:pt x="2348" y="225"/>
                </a:cubicBezTo>
                <a:cubicBezTo>
                  <a:pt x="2343" y="228"/>
                  <a:pt x="2338" y="230"/>
                  <a:pt x="2333" y="232"/>
                </a:cubicBezTo>
                <a:cubicBezTo>
                  <a:pt x="2331" y="234"/>
                  <a:pt x="2329" y="235"/>
                  <a:pt x="2327" y="236"/>
                </a:cubicBezTo>
                <a:cubicBezTo>
                  <a:pt x="2326" y="236"/>
                  <a:pt x="2325" y="237"/>
                  <a:pt x="2324" y="237"/>
                </a:cubicBezTo>
                <a:cubicBezTo>
                  <a:pt x="2323" y="237"/>
                  <a:pt x="2322" y="238"/>
                  <a:pt x="2321" y="238"/>
                </a:cubicBezTo>
                <a:cubicBezTo>
                  <a:pt x="2321" y="239"/>
                  <a:pt x="2321" y="239"/>
                  <a:pt x="2320" y="239"/>
                </a:cubicBezTo>
                <a:cubicBezTo>
                  <a:pt x="2320" y="239"/>
                  <a:pt x="2320" y="239"/>
                  <a:pt x="2320" y="239"/>
                </a:cubicBezTo>
                <a:cubicBezTo>
                  <a:pt x="2319" y="240"/>
                  <a:pt x="2319" y="241"/>
                  <a:pt x="2318" y="242"/>
                </a:cubicBezTo>
                <a:cubicBezTo>
                  <a:pt x="2317" y="242"/>
                  <a:pt x="2316" y="242"/>
                  <a:pt x="2315" y="242"/>
                </a:cubicBezTo>
                <a:cubicBezTo>
                  <a:pt x="2313" y="242"/>
                  <a:pt x="2312" y="243"/>
                  <a:pt x="2311" y="244"/>
                </a:cubicBezTo>
                <a:cubicBezTo>
                  <a:pt x="2309" y="245"/>
                  <a:pt x="2307" y="246"/>
                  <a:pt x="2305" y="247"/>
                </a:cubicBezTo>
                <a:cubicBezTo>
                  <a:pt x="2303" y="248"/>
                  <a:pt x="2297" y="250"/>
                  <a:pt x="2297" y="251"/>
                </a:cubicBezTo>
                <a:cubicBezTo>
                  <a:pt x="2298" y="252"/>
                  <a:pt x="2298" y="252"/>
                  <a:pt x="2298" y="253"/>
                </a:cubicBezTo>
                <a:cubicBezTo>
                  <a:pt x="2298" y="253"/>
                  <a:pt x="2295" y="254"/>
                  <a:pt x="2295" y="255"/>
                </a:cubicBezTo>
                <a:cubicBezTo>
                  <a:pt x="2294" y="255"/>
                  <a:pt x="2291" y="257"/>
                  <a:pt x="2290" y="256"/>
                </a:cubicBezTo>
                <a:cubicBezTo>
                  <a:pt x="2290" y="255"/>
                  <a:pt x="2289" y="256"/>
                  <a:pt x="2289" y="256"/>
                </a:cubicBezTo>
                <a:cubicBezTo>
                  <a:pt x="2289" y="257"/>
                  <a:pt x="2289" y="257"/>
                  <a:pt x="2288" y="258"/>
                </a:cubicBezTo>
                <a:cubicBezTo>
                  <a:pt x="2288" y="258"/>
                  <a:pt x="2287" y="259"/>
                  <a:pt x="2286" y="259"/>
                </a:cubicBezTo>
                <a:cubicBezTo>
                  <a:pt x="2286" y="259"/>
                  <a:pt x="2285" y="258"/>
                  <a:pt x="2284" y="258"/>
                </a:cubicBezTo>
                <a:cubicBezTo>
                  <a:pt x="2282" y="258"/>
                  <a:pt x="2280" y="259"/>
                  <a:pt x="2278" y="260"/>
                </a:cubicBezTo>
                <a:cubicBezTo>
                  <a:pt x="2276" y="261"/>
                  <a:pt x="2274" y="262"/>
                  <a:pt x="2274" y="264"/>
                </a:cubicBezTo>
                <a:cubicBezTo>
                  <a:pt x="2273" y="265"/>
                  <a:pt x="2272" y="265"/>
                  <a:pt x="2271" y="265"/>
                </a:cubicBezTo>
                <a:cubicBezTo>
                  <a:pt x="2269" y="265"/>
                  <a:pt x="2268" y="266"/>
                  <a:pt x="2266" y="266"/>
                </a:cubicBezTo>
                <a:cubicBezTo>
                  <a:pt x="2265" y="267"/>
                  <a:pt x="2264" y="268"/>
                  <a:pt x="2263" y="269"/>
                </a:cubicBezTo>
                <a:cubicBezTo>
                  <a:pt x="2262" y="270"/>
                  <a:pt x="2262" y="271"/>
                  <a:pt x="2261" y="271"/>
                </a:cubicBezTo>
                <a:cubicBezTo>
                  <a:pt x="2260" y="271"/>
                  <a:pt x="2259" y="272"/>
                  <a:pt x="2259" y="271"/>
                </a:cubicBezTo>
                <a:cubicBezTo>
                  <a:pt x="2258" y="271"/>
                  <a:pt x="2257" y="271"/>
                  <a:pt x="2257" y="271"/>
                </a:cubicBezTo>
                <a:cubicBezTo>
                  <a:pt x="2256" y="271"/>
                  <a:pt x="2254" y="272"/>
                  <a:pt x="2253" y="273"/>
                </a:cubicBezTo>
                <a:cubicBezTo>
                  <a:pt x="2251" y="273"/>
                  <a:pt x="2249" y="274"/>
                  <a:pt x="2248" y="275"/>
                </a:cubicBezTo>
                <a:cubicBezTo>
                  <a:pt x="2243" y="277"/>
                  <a:pt x="2238" y="279"/>
                  <a:pt x="2232" y="282"/>
                </a:cubicBezTo>
                <a:cubicBezTo>
                  <a:pt x="2230" y="283"/>
                  <a:pt x="2228" y="284"/>
                  <a:pt x="2226" y="285"/>
                </a:cubicBezTo>
                <a:cubicBezTo>
                  <a:pt x="2224" y="286"/>
                  <a:pt x="2223" y="287"/>
                  <a:pt x="2222" y="288"/>
                </a:cubicBezTo>
                <a:cubicBezTo>
                  <a:pt x="2221" y="289"/>
                  <a:pt x="2221" y="291"/>
                  <a:pt x="2220" y="291"/>
                </a:cubicBezTo>
                <a:cubicBezTo>
                  <a:pt x="2219" y="292"/>
                  <a:pt x="2218" y="292"/>
                  <a:pt x="2217" y="292"/>
                </a:cubicBezTo>
                <a:cubicBezTo>
                  <a:pt x="2217" y="292"/>
                  <a:pt x="2215" y="293"/>
                  <a:pt x="2213" y="294"/>
                </a:cubicBezTo>
                <a:cubicBezTo>
                  <a:pt x="2213" y="295"/>
                  <a:pt x="2212" y="295"/>
                  <a:pt x="2211" y="296"/>
                </a:cubicBezTo>
                <a:cubicBezTo>
                  <a:pt x="2210" y="296"/>
                  <a:pt x="2210" y="295"/>
                  <a:pt x="2210" y="295"/>
                </a:cubicBezTo>
                <a:cubicBezTo>
                  <a:pt x="2210" y="295"/>
                  <a:pt x="2210" y="295"/>
                  <a:pt x="2210" y="294"/>
                </a:cubicBezTo>
                <a:cubicBezTo>
                  <a:pt x="2210" y="294"/>
                  <a:pt x="2209" y="294"/>
                  <a:pt x="2209" y="294"/>
                </a:cubicBezTo>
                <a:cubicBezTo>
                  <a:pt x="2207" y="294"/>
                  <a:pt x="2206" y="295"/>
                  <a:pt x="2205" y="296"/>
                </a:cubicBezTo>
                <a:cubicBezTo>
                  <a:pt x="2202" y="297"/>
                  <a:pt x="2199" y="298"/>
                  <a:pt x="2198" y="299"/>
                </a:cubicBezTo>
                <a:cubicBezTo>
                  <a:pt x="2197" y="299"/>
                  <a:pt x="2193" y="301"/>
                  <a:pt x="2188" y="304"/>
                </a:cubicBezTo>
                <a:cubicBezTo>
                  <a:pt x="2186" y="304"/>
                  <a:pt x="2185" y="305"/>
                  <a:pt x="2183" y="306"/>
                </a:cubicBezTo>
                <a:cubicBezTo>
                  <a:pt x="2182" y="307"/>
                  <a:pt x="2180" y="308"/>
                  <a:pt x="2180" y="308"/>
                </a:cubicBezTo>
                <a:cubicBezTo>
                  <a:pt x="2179" y="309"/>
                  <a:pt x="2180" y="310"/>
                  <a:pt x="2179" y="310"/>
                </a:cubicBezTo>
                <a:cubicBezTo>
                  <a:pt x="2179" y="311"/>
                  <a:pt x="2178" y="311"/>
                  <a:pt x="2177" y="310"/>
                </a:cubicBezTo>
                <a:cubicBezTo>
                  <a:pt x="2177" y="310"/>
                  <a:pt x="2177" y="310"/>
                  <a:pt x="2177" y="310"/>
                </a:cubicBezTo>
                <a:cubicBezTo>
                  <a:pt x="2176" y="309"/>
                  <a:pt x="2172" y="312"/>
                  <a:pt x="2171" y="312"/>
                </a:cubicBezTo>
                <a:cubicBezTo>
                  <a:pt x="2166" y="315"/>
                  <a:pt x="2163" y="316"/>
                  <a:pt x="2158" y="317"/>
                </a:cubicBezTo>
                <a:cubicBezTo>
                  <a:pt x="2155" y="318"/>
                  <a:pt x="2143" y="324"/>
                  <a:pt x="2136" y="328"/>
                </a:cubicBezTo>
                <a:cubicBezTo>
                  <a:pt x="2135" y="328"/>
                  <a:pt x="2134" y="329"/>
                  <a:pt x="2134" y="329"/>
                </a:cubicBezTo>
                <a:cubicBezTo>
                  <a:pt x="2133" y="330"/>
                  <a:pt x="2133" y="330"/>
                  <a:pt x="2132" y="330"/>
                </a:cubicBezTo>
                <a:cubicBezTo>
                  <a:pt x="2132" y="331"/>
                  <a:pt x="2132" y="331"/>
                  <a:pt x="2131" y="331"/>
                </a:cubicBezTo>
                <a:cubicBezTo>
                  <a:pt x="2131" y="331"/>
                  <a:pt x="2131" y="331"/>
                  <a:pt x="2131" y="331"/>
                </a:cubicBezTo>
                <a:cubicBezTo>
                  <a:pt x="2130" y="332"/>
                  <a:pt x="2130" y="332"/>
                  <a:pt x="2130" y="332"/>
                </a:cubicBezTo>
                <a:cubicBezTo>
                  <a:pt x="2129" y="333"/>
                  <a:pt x="2128" y="332"/>
                  <a:pt x="2127" y="333"/>
                </a:cubicBezTo>
                <a:cubicBezTo>
                  <a:pt x="2126" y="333"/>
                  <a:pt x="2126" y="333"/>
                  <a:pt x="2125" y="334"/>
                </a:cubicBezTo>
                <a:cubicBezTo>
                  <a:pt x="2124" y="335"/>
                  <a:pt x="2122" y="335"/>
                  <a:pt x="2122" y="336"/>
                </a:cubicBezTo>
                <a:cubicBezTo>
                  <a:pt x="2121" y="337"/>
                  <a:pt x="2121" y="338"/>
                  <a:pt x="2120" y="338"/>
                </a:cubicBezTo>
                <a:cubicBezTo>
                  <a:pt x="2119" y="339"/>
                  <a:pt x="2117" y="338"/>
                  <a:pt x="2117" y="338"/>
                </a:cubicBezTo>
                <a:cubicBezTo>
                  <a:pt x="2116" y="338"/>
                  <a:pt x="2116" y="338"/>
                  <a:pt x="2116" y="339"/>
                </a:cubicBezTo>
                <a:cubicBezTo>
                  <a:pt x="2116" y="339"/>
                  <a:pt x="2116" y="339"/>
                  <a:pt x="2115" y="339"/>
                </a:cubicBezTo>
                <a:cubicBezTo>
                  <a:pt x="2115" y="339"/>
                  <a:pt x="2115" y="339"/>
                  <a:pt x="2115" y="339"/>
                </a:cubicBezTo>
                <a:cubicBezTo>
                  <a:pt x="2115" y="341"/>
                  <a:pt x="2113" y="342"/>
                  <a:pt x="2111" y="343"/>
                </a:cubicBezTo>
                <a:cubicBezTo>
                  <a:pt x="2111" y="343"/>
                  <a:pt x="2110" y="343"/>
                  <a:pt x="2109" y="343"/>
                </a:cubicBezTo>
                <a:cubicBezTo>
                  <a:pt x="2109" y="343"/>
                  <a:pt x="2108" y="342"/>
                  <a:pt x="2108" y="342"/>
                </a:cubicBezTo>
                <a:cubicBezTo>
                  <a:pt x="2107" y="342"/>
                  <a:pt x="2107" y="343"/>
                  <a:pt x="2107" y="343"/>
                </a:cubicBezTo>
                <a:cubicBezTo>
                  <a:pt x="2106" y="345"/>
                  <a:pt x="2104" y="344"/>
                  <a:pt x="2103" y="344"/>
                </a:cubicBezTo>
                <a:cubicBezTo>
                  <a:pt x="2102" y="345"/>
                  <a:pt x="2100" y="345"/>
                  <a:pt x="2099" y="346"/>
                </a:cubicBezTo>
                <a:cubicBezTo>
                  <a:pt x="2098" y="346"/>
                  <a:pt x="2093" y="348"/>
                  <a:pt x="2093" y="349"/>
                </a:cubicBezTo>
                <a:cubicBezTo>
                  <a:pt x="2093" y="350"/>
                  <a:pt x="2094" y="350"/>
                  <a:pt x="2094" y="350"/>
                </a:cubicBezTo>
                <a:cubicBezTo>
                  <a:pt x="2094" y="351"/>
                  <a:pt x="2092" y="352"/>
                  <a:pt x="2091" y="352"/>
                </a:cubicBezTo>
                <a:cubicBezTo>
                  <a:pt x="2090" y="353"/>
                  <a:pt x="2089" y="353"/>
                  <a:pt x="2088" y="353"/>
                </a:cubicBezTo>
                <a:cubicBezTo>
                  <a:pt x="2087" y="353"/>
                  <a:pt x="2087" y="353"/>
                  <a:pt x="2086" y="353"/>
                </a:cubicBezTo>
                <a:cubicBezTo>
                  <a:pt x="2085" y="353"/>
                  <a:pt x="2085" y="354"/>
                  <a:pt x="2085" y="354"/>
                </a:cubicBezTo>
                <a:cubicBezTo>
                  <a:pt x="2085" y="354"/>
                  <a:pt x="2085" y="354"/>
                  <a:pt x="2085" y="355"/>
                </a:cubicBezTo>
                <a:cubicBezTo>
                  <a:pt x="2085" y="355"/>
                  <a:pt x="2085" y="355"/>
                  <a:pt x="2085" y="355"/>
                </a:cubicBezTo>
                <a:cubicBezTo>
                  <a:pt x="2084" y="355"/>
                  <a:pt x="2084" y="356"/>
                  <a:pt x="2083" y="356"/>
                </a:cubicBezTo>
                <a:cubicBezTo>
                  <a:pt x="2082" y="356"/>
                  <a:pt x="2082" y="356"/>
                  <a:pt x="2081" y="355"/>
                </a:cubicBezTo>
                <a:cubicBezTo>
                  <a:pt x="2081" y="355"/>
                  <a:pt x="2081" y="355"/>
                  <a:pt x="2080" y="355"/>
                </a:cubicBezTo>
                <a:cubicBezTo>
                  <a:pt x="2080" y="355"/>
                  <a:pt x="2079" y="356"/>
                  <a:pt x="2078" y="356"/>
                </a:cubicBezTo>
                <a:cubicBezTo>
                  <a:pt x="2074" y="358"/>
                  <a:pt x="2063" y="363"/>
                  <a:pt x="2060" y="364"/>
                </a:cubicBezTo>
                <a:cubicBezTo>
                  <a:pt x="2060" y="364"/>
                  <a:pt x="2058" y="365"/>
                  <a:pt x="2056" y="366"/>
                </a:cubicBezTo>
                <a:cubicBezTo>
                  <a:pt x="2055" y="367"/>
                  <a:pt x="2052" y="368"/>
                  <a:pt x="2049" y="369"/>
                </a:cubicBezTo>
                <a:cubicBezTo>
                  <a:pt x="2047" y="369"/>
                  <a:pt x="2044" y="371"/>
                  <a:pt x="2042" y="372"/>
                </a:cubicBezTo>
                <a:cubicBezTo>
                  <a:pt x="2039" y="373"/>
                  <a:pt x="2034" y="373"/>
                  <a:pt x="2032" y="376"/>
                </a:cubicBezTo>
                <a:cubicBezTo>
                  <a:pt x="2032" y="377"/>
                  <a:pt x="2031" y="377"/>
                  <a:pt x="2030" y="378"/>
                </a:cubicBezTo>
                <a:cubicBezTo>
                  <a:pt x="2028" y="379"/>
                  <a:pt x="2026" y="380"/>
                  <a:pt x="2024" y="381"/>
                </a:cubicBezTo>
                <a:cubicBezTo>
                  <a:pt x="2020" y="383"/>
                  <a:pt x="2015" y="386"/>
                  <a:pt x="2012" y="387"/>
                </a:cubicBezTo>
                <a:cubicBezTo>
                  <a:pt x="2011" y="388"/>
                  <a:pt x="2009" y="389"/>
                  <a:pt x="2008" y="389"/>
                </a:cubicBezTo>
                <a:cubicBezTo>
                  <a:pt x="2008" y="390"/>
                  <a:pt x="2007" y="390"/>
                  <a:pt x="2007" y="391"/>
                </a:cubicBezTo>
                <a:cubicBezTo>
                  <a:pt x="2008" y="391"/>
                  <a:pt x="2009" y="391"/>
                  <a:pt x="2009" y="392"/>
                </a:cubicBezTo>
                <a:cubicBezTo>
                  <a:pt x="2008" y="392"/>
                  <a:pt x="2007" y="392"/>
                  <a:pt x="2007" y="393"/>
                </a:cubicBezTo>
                <a:cubicBezTo>
                  <a:pt x="2006" y="393"/>
                  <a:pt x="2006" y="393"/>
                  <a:pt x="2006" y="392"/>
                </a:cubicBezTo>
                <a:cubicBezTo>
                  <a:pt x="2006" y="392"/>
                  <a:pt x="2006" y="392"/>
                  <a:pt x="2006" y="392"/>
                </a:cubicBezTo>
                <a:cubicBezTo>
                  <a:pt x="2006" y="392"/>
                  <a:pt x="2005" y="392"/>
                  <a:pt x="2005" y="392"/>
                </a:cubicBezTo>
                <a:cubicBezTo>
                  <a:pt x="2004" y="392"/>
                  <a:pt x="2003" y="393"/>
                  <a:pt x="2002" y="393"/>
                </a:cubicBezTo>
                <a:cubicBezTo>
                  <a:pt x="2001" y="394"/>
                  <a:pt x="1999" y="395"/>
                  <a:pt x="1999" y="395"/>
                </a:cubicBezTo>
                <a:cubicBezTo>
                  <a:pt x="1998" y="395"/>
                  <a:pt x="1997" y="396"/>
                  <a:pt x="1998" y="396"/>
                </a:cubicBezTo>
                <a:cubicBezTo>
                  <a:pt x="1998" y="398"/>
                  <a:pt x="1998" y="398"/>
                  <a:pt x="1997" y="398"/>
                </a:cubicBezTo>
                <a:cubicBezTo>
                  <a:pt x="1996" y="398"/>
                  <a:pt x="1996" y="398"/>
                  <a:pt x="1995" y="397"/>
                </a:cubicBezTo>
                <a:cubicBezTo>
                  <a:pt x="1995" y="397"/>
                  <a:pt x="1994" y="397"/>
                  <a:pt x="1994" y="397"/>
                </a:cubicBezTo>
                <a:cubicBezTo>
                  <a:pt x="1993" y="397"/>
                  <a:pt x="1991" y="398"/>
                  <a:pt x="1990" y="398"/>
                </a:cubicBezTo>
                <a:cubicBezTo>
                  <a:pt x="1990" y="398"/>
                  <a:pt x="1990" y="397"/>
                  <a:pt x="1990" y="397"/>
                </a:cubicBezTo>
                <a:cubicBezTo>
                  <a:pt x="1989" y="397"/>
                  <a:pt x="1989" y="397"/>
                  <a:pt x="1989" y="398"/>
                </a:cubicBezTo>
                <a:cubicBezTo>
                  <a:pt x="1988" y="398"/>
                  <a:pt x="1988" y="399"/>
                  <a:pt x="1987" y="400"/>
                </a:cubicBezTo>
                <a:cubicBezTo>
                  <a:pt x="1986" y="401"/>
                  <a:pt x="1985" y="401"/>
                  <a:pt x="1984" y="401"/>
                </a:cubicBezTo>
                <a:cubicBezTo>
                  <a:pt x="1982" y="402"/>
                  <a:pt x="1980" y="404"/>
                  <a:pt x="1978" y="405"/>
                </a:cubicBezTo>
                <a:cubicBezTo>
                  <a:pt x="1973" y="407"/>
                  <a:pt x="1969" y="409"/>
                  <a:pt x="1964" y="411"/>
                </a:cubicBezTo>
                <a:cubicBezTo>
                  <a:pt x="1951" y="417"/>
                  <a:pt x="1939" y="423"/>
                  <a:pt x="1936" y="425"/>
                </a:cubicBezTo>
                <a:cubicBezTo>
                  <a:pt x="1934" y="426"/>
                  <a:pt x="1924" y="431"/>
                  <a:pt x="1914" y="436"/>
                </a:cubicBezTo>
                <a:cubicBezTo>
                  <a:pt x="1905" y="441"/>
                  <a:pt x="1889" y="449"/>
                  <a:pt x="1879" y="453"/>
                </a:cubicBezTo>
                <a:cubicBezTo>
                  <a:pt x="1869" y="458"/>
                  <a:pt x="1843" y="471"/>
                  <a:pt x="1821" y="481"/>
                </a:cubicBezTo>
                <a:cubicBezTo>
                  <a:pt x="1813" y="485"/>
                  <a:pt x="1806" y="489"/>
                  <a:pt x="1799" y="492"/>
                </a:cubicBezTo>
                <a:cubicBezTo>
                  <a:pt x="1795" y="494"/>
                  <a:pt x="1791" y="496"/>
                  <a:pt x="1787" y="498"/>
                </a:cubicBezTo>
                <a:cubicBezTo>
                  <a:pt x="1786" y="499"/>
                  <a:pt x="1784" y="500"/>
                  <a:pt x="1782" y="501"/>
                </a:cubicBezTo>
                <a:cubicBezTo>
                  <a:pt x="1781" y="501"/>
                  <a:pt x="1781" y="503"/>
                  <a:pt x="1780" y="503"/>
                </a:cubicBezTo>
                <a:cubicBezTo>
                  <a:pt x="1778" y="502"/>
                  <a:pt x="1777" y="504"/>
                  <a:pt x="1775" y="504"/>
                </a:cubicBezTo>
                <a:cubicBezTo>
                  <a:pt x="1774" y="505"/>
                  <a:pt x="1772" y="506"/>
                  <a:pt x="1771" y="507"/>
                </a:cubicBezTo>
                <a:cubicBezTo>
                  <a:pt x="1768" y="508"/>
                  <a:pt x="1764" y="510"/>
                  <a:pt x="1761" y="511"/>
                </a:cubicBezTo>
                <a:cubicBezTo>
                  <a:pt x="1758" y="513"/>
                  <a:pt x="1755" y="515"/>
                  <a:pt x="1751" y="516"/>
                </a:cubicBezTo>
                <a:cubicBezTo>
                  <a:pt x="1749" y="518"/>
                  <a:pt x="1745" y="519"/>
                  <a:pt x="1744" y="521"/>
                </a:cubicBezTo>
                <a:cubicBezTo>
                  <a:pt x="1743" y="522"/>
                  <a:pt x="1742" y="522"/>
                  <a:pt x="1742" y="522"/>
                </a:cubicBezTo>
                <a:cubicBezTo>
                  <a:pt x="1740" y="522"/>
                  <a:pt x="1737" y="523"/>
                  <a:pt x="1735" y="524"/>
                </a:cubicBezTo>
                <a:cubicBezTo>
                  <a:pt x="1732" y="526"/>
                  <a:pt x="1722" y="531"/>
                  <a:pt x="1715" y="535"/>
                </a:cubicBezTo>
                <a:cubicBezTo>
                  <a:pt x="1710" y="537"/>
                  <a:pt x="1706" y="539"/>
                  <a:pt x="1701" y="541"/>
                </a:cubicBezTo>
                <a:cubicBezTo>
                  <a:pt x="1701" y="541"/>
                  <a:pt x="1700" y="542"/>
                  <a:pt x="1699" y="541"/>
                </a:cubicBezTo>
                <a:cubicBezTo>
                  <a:pt x="1699" y="541"/>
                  <a:pt x="1699" y="541"/>
                  <a:pt x="1699" y="541"/>
                </a:cubicBezTo>
                <a:cubicBezTo>
                  <a:pt x="1697" y="541"/>
                  <a:pt x="1696" y="543"/>
                  <a:pt x="1695" y="543"/>
                </a:cubicBezTo>
                <a:cubicBezTo>
                  <a:pt x="1694" y="544"/>
                  <a:pt x="1692" y="545"/>
                  <a:pt x="1691" y="546"/>
                </a:cubicBezTo>
                <a:cubicBezTo>
                  <a:pt x="1691" y="546"/>
                  <a:pt x="1690" y="547"/>
                  <a:pt x="1689" y="547"/>
                </a:cubicBezTo>
                <a:cubicBezTo>
                  <a:pt x="1689" y="548"/>
                  <a:pt x="1688" y="548"/>
                  <a:pt x="1688" y="549"/>
                </a:cubicBezTo>
                <a:cubicBezTo>
                  <a:pt x="1687" y="549"/>
                  <a:pt x="1685" y="549"/>
                  <a:pt x="1684" y="549"/>
                </a:cubicBezTo>
                <a:cubicBezTo>
                  <a:pt x="1683" y="550"/>
                  <a:pt x="1683" y="551"/>
                  <a:pt x="1682" y="552"/>
                </a:cubicBezTo>
                <a:cubicBezTo>
                  <a:pt x="1682" y="552"/>
                  <a:pt x="1681" y="552"/>
                  <a:pt x="1681" y="552"/>
                </a:cubicBezTo>
                <a:cubicBezTo>
                  <a:pt x="1678" y="552"/>
                  <a:pt x="1676" y="553"/>
                  <a:pt x="1674" y="554"/>
                </a:cubicBezTo>
                <a:cubicBezTo>
                  <a:pt x="1672" y="555"/>
                  <a:pt x="1671" y="556"/>
                  <a:pt x="1669" y="557"/>
                </a:cubicBezTo>
                <a:cubicBezTo>
                  <a:pt x="1668" y="558"/>
                  <a:pt x="1666" y="559"/>
                  <a:pt x="1664" y="559"/>
                </a:cubicBezTo>
                <a:cubicBezTo>
                  <a:pt x="1664" y="558"/>
                  <a:pt x="1663" y="558"/>
                  <a:pt x="1663" y="557"/>
                </a:cubicBezTo>
                <a:cubicBezTo>
                  <a:pt x="1663" y="557"/>
                  <a:pt x="1662" y="557"/>
                  <a:pt x="1662" y="557"/>
                </a:cubicBezTo>
                <a:cubicBezTo>
                  <a:pt x="1661" y="557"/>
                  <a:pt x="1660" y="557"/>
                  <a:pt x="1659" y="558"/>
                </a:cubicBezTo>
                <a:cubicBezTo>
                  <a:pt x="1659" y="558"/>
                  <a:pt x="1658" y="558"/>
                  <a:pt x="1658" y="559"/>
                </a:cubicBezTo>
                <a:cubicBezTo>
                  <a:pt x="1658" y="559"/>
                  <a:pt x="1659" y="560"/>
                  <a:pt x="1659" y="560"/>
                </a:cubicBezTo>
                <a:cubicBezTo>
                  <a:pt x="1660" y="561"/>
                  <a:pt x="1659" y="561"/>
                  <a:pt x="1659" y="562"/>
                </a:cubicBezTo>
                <a:cubicBezTo>
                  <a:pt x="1658" y="563"/>
                  <a:pt x="1656" y="564"/>
                  <a:pt x="1655" y="565"/>
                </a:cubicBezTo>
                <a:cubicBezTo>
                  <a:pt x="1652" y="565"/>
                  <a:pt x="1650" y="566"/>
                  <a:pt x="1648" y="566"/>
                </a:cubicBezTo>
                <a:cubicBezTo>
                  <a:pt x="1645" y="567"/>
                  <a:pt x="1642" y="567"/>
                  <a:pt x="1641" y="568"/>
                </a:cubicBezTo>
                <a:cubicBezTo>
                  <a:pt x="1639" y="570"/>
                  <a:pt x="1639" y="571"/>
                  <a:pt x="1636" y="572"/>
                </a:cubicBezTo>
                <a:cubicBezTo>
                  <a:pt x="1635" y="572"/>
                  <a:pt x="1634" y="573"/>
                  <a:pt x="1633" y="573"/>
                </a:cubicBezTo>
                <a:cubicBezTo>
                  <a:pt x="1632" y="573"/>
                  <a:pt x="1631" y="573"/>
                  <a:pt x="1630" y="573"/>
                </a:cubicBezTo>
                <a:cubicBezTo>
                  <a:pt x="1629" y="573"/>
                  <a:pt x="1628" y="573"/>
                  <a:pt x="1627" y="574"/>
                </a:cubicBezTo>
                <a:cubicBezTo>
                  <a:pt x="1625" y="575"/>
                  <a:pt x="1624" y="576"/>
                  <a:pt x="1622" y="577"/>
                </a:cubicBezTo>
                <a:cubicBezTo>
                  <a:pt x="1620" y="578"/>
                  <a:pt x="1617" y="578"/>
                  <a:pt x="1616" y="580"/>
                </a:cubicBezTo>
                <a:cubicBezTo>
                  <a:pt x="1615" y="581"/>
                  <a:pt x="1616" y="582"/>
                  <a:pt x="1616" y="584"/>
                </a:cubicBezTo>
                <a:cubicBezTo>
                  <a:pt x="1615" y="585"/>
                  <a:pt x="1613" y="585"/>
                  <a:pt x="1612" y="586"/>
                </a:cubicBezTo>
                <a:cubicBezTo>
                  <a:pt x="1610" y="586"/>
                  <a:pt x="1602" y="589"/>
                  <a:pt x="1603" y="590"/>
                </a:cubicBezTo>
                <a:cubicBezTo>
                  <a:pt x="1603" y="591"/>
                  <a:pt x="1603" y="591"/>
                  <a:pt x="1603" y="591"/>
                </a:cubicBezTo>
                <a:cubicBezTo>
                  <a:pt x="1601" y="592"/>
                  <a:pt x="1599" y="593"/>
                  <a:pt x="1597" y="593"/>
                </a:cubicBezTo>
                <a:cubicBezTo>
                  <a:pt x="1588" y="596"/>
                  <a:pt x="1582" y="599"/>
                  <a:pt x="1573" y="604"/>
                </a:cubicBezTo>
                <a:cubicBezTo>
                  <a:pt x="1570" y="605"/>
                  <a:pt x="1567" y="607"/>
                  <a:pt x="1563" y="609"/>
                </a:cubicBezTo>
                <a:cubicBezTo>
                  <a:pt x="1563" y="609"/>
                  <a:pt x="1563" y="608"/>
                  <a:pt x="1563" y="608"/>
                </a:cubicBezTo>
                <a:cubicBezTo>
                  <a:pt x="1563" y="608"/>
                  <a:pt x="1563" y="608"/>
                  <a:pt x="1563" y="608"/>
                </a:cubicBezTo>
                <a:cubicBezTo>
                  <a:pt x="1562" y="608"/>
                  <a:pt x="1562" y="609"/>
                  <a:pt x="1561" y="609"/>
                </a:cubicBezTo>
                <a:cubicBezTo>
                  <a:pt x="1560" y="610"/>
                  <a:pt x="1559" y="609"/>
                  <a:pt x="1557" y="609"/>
                </a:cubicBezTo>
                <a:cubicBezTo>
                  <a:pt x="1556" y="610"/>
                  <a:pt x="1554" y="610"/>
                  <a:pt x="1554" y="612"/>
                </a:cubicBezTo>
                <a:cubicBezTo>
                  <a:pt x="1554" y="612"/>
                  <a:pt x="1554" y="612"/>
                  <a:pt x="1554" y="613"/>
                </a:cubicBezTo>
                <a:cubicBezTo>
                  <a:pt x="1554" y="614"/>
                  <a:pt x="1551" y="615"/>
                  <a:pt x="1550" y="615"/>
                </a:cubicBezTo>
                <a:cubicBezTo>
                  <a:pt x="1549" y="616"/>
                  <a:pt x="1547" y="617"/>
                  <a:pt x="1546" y="617"/>
                </a:cubicBezTo>
                <a:cubicBezTo>
                  <a:pt x="1541" y="620"/>
                  <a:pt x="1537" y="622"/>
                  <a:pt x="1536" y="622"/>
                </a:cubicBezTo>
                <a:cubicBezTo>
                  <a:pt x="1534" y="623"/>
                  <a:pt x="1532" y="624"/>
                  <a:pt x="1530" y="625"/>
                </a:cubicBezTo>
                <a:cubicBezTo>
                  <a:pt x="1530" y="625"/>
                  <a:pt x="1529" y="625"/>
                  <a:pt x="1529" y="625"/>
                </a:cubicBezTo>
                <a:cubicBezTo>
                  <a:pt x="1528" y="624"/>
                  <a:pt x="1528" y="624"/>
                  <a:pt x="1527" y="625"/>
                </a:cubicBezTo>
                <a:cubicBezTo>
                  <a:pt x="1526" y="625"/>
                  <a:pt x="1525" y="625"/>
                  <a:pt x="1524" y="626"/>
                </a:cubicBezTo>
                <a:cubicBezTo>
                  <a:pt x="1523" y="626"/>
                  <a:pt x="1523" y="626"/>
                  <a:pt x="1523" y="627"/>
                </a:cubicBezTo>
                <a:cubicBezTo>
                  <a:pt x="1523" y="627"/>
                  <a:pt x="1523" y="628"/>
                  <a:pt x="1523" y="628"/>
                </a:cubicBezTo>
                <a:cubicBezTo>
                  <a:pt x="1523" y="629"/>
                  <a:pt x="1521" y="629"/>
                  <a:pt x="1520" y="630"/>
                </a:cubicBezTo>
                <a:cubicBezTo>
                  <a:pt x="1518" y="631"/>
                  <a:pt x="1516" y="632"/>
                  <a:pt x="1514" y="632"/>
                </a:cubicBezTo>
                <a:cubicBezTo>
                  <a:pt x="1512" y="633"/>
                  <a:pt x="1510" y="634"/>
                  <a:pt x="1509" y="635"/>
                </a:cubicBezTo>
                <a:cubicBezTo>
                  <a:pt x="1508" y="636"/>
                  <a:pt x="1508" y="638"/>
                  <a:pt x="1507" y="638"/>
                </a:cubicBezTo>
                <a:cubicBezTo>
                  <a:pt x="1506" y="639"/>
                  <a:pt x="1504" y="639"/>
                  <a:pt x="1503" y="639"/>
                </a:cubicBezTo>
                <a:cubicBezTo>
                  <a:pt x="1499" y="641"/>
                  <a:pt x="1495" y="643"/>
                  <a:pt x="1492" y="645"/>
                </a:cubicBezTo>
                <a:cubicBezTo>
                  <a:pt x="1486" y="649"/>
                  <a:pt x="1480" y="652"/>
                  <a:pt x="1478" y="653"/>
                </a:cubicBezTo>
                <a:cubicBezTo>
                  <a:pt x="1477" y="654"/>
                  <a:pt x="1475" y="655"/>
                  <a:pt x="1474" y="656"/>
                </a:cubicBezTo>
                <a:cubicBezTo>
                  <a:pt x="1474" y="657"/>
                  <a:pt x="1474" y="657"/>
                  <a:pt x="1474" y="657"/>
                </a:cubicBezTo>
                <a:cubicBezTo>
                  <a:pt x="1474" y="657"/>
                  <a:pt x="1474" y="657"/>
                  <a:pt x="1473" y="657"/>
                </a:cubicBezTo>
                <a:cubicBezTo>
                  <a:pt x="1473" y="657"/>
                  <a:pt x="1472" y="657"/>
                  <a:pt x="1472" y="657"/>
                </a:cubicBezTo>
                <a:cubicBezTo>
                  <a:pt x="1472" y="657"/>
                  <a:pt x="1471" y="657"/>
                  <a:pt x="1471" y="657"/>
                </a:cubicBezTo>
                <a:cubicBezTo>
                  <a:pt x="1468" y="657"/>
                  <a:pt x="1465" y="659"/>
                  <a:pt x="1463" y="660"/>
                </a:cubicBezTo>
                <a:cubicBezTo>
                  <a:pt x="1460" y="661"/>
                  <a:pt x="1458" y="663"/>
                  <a:pt x="1455" y="664"/>
                </a:cubicBezTo>
                <a:cubicBezTo>
                  <a:pt x="1452" y="666"/>
                  <a:pt x="1449" y="667"/>
                  <a:pt x="1446" y="668"/>
                </a:cubicBezTo>
                <a:cubicBezTo>
                  <a:pt x="1444" y="669"/>
                  <a:pt x="1442" y="670"/>
                  <a:pt x="1441" y="670"/>
                </a:cubicBezTo>
                <a:cubicBezTo>
                  <a:pt x="1440" y="671"/>
                  <a:pt x="1440" y="672"/>
                  <a:pt x="1439" y="673"/>
                </a:cubicBezTo>
                <a:cubicBezTo>
                  <a:pt x="1438" y="673"/>
                  <a:pt x="1438" y="673"/>
                  <a:pt x="1438" y="673"/>
                </a:cubicBezTo>
                <a:cubicBezTo>
                  <a:pt x="1438" y="674"/>
                  <a:pt x="1438" y="674"/>
                  <a:pt x="1437" y="674"/>
                </a:cubicBezTo>
                <a:cubicBezTo>
                  <a:pt x="1435" y="675"/>
                  <a:pt x="1433" y="674"/>
                  <a:pt x="1431" y="675"/>
                </a:cubicBezTo>
                <a:cubicBezTo>
                  <a:pt x="1429" y="676"/>
                  <a:pt x="1427" y="677"/>
                  <a:pt x="1425" y="679"/>
                </a:cubicBezTo>
                <a:cubicBezTo>
                  <a:pt x="1423" y="680"/>
                  <a:pt x="1422" y="681"/>
                  <a:pt x="1420" y="681"/>
                </a:cubicBezTo>
                <a:cubicBezTo>
                  <a:pt x="1419" y="682"/>
                  <a:pt x="1418" y="683"/>
                  <a:pt x="1417" y="684"/>
                </a:cubicBezTo>
                <a:cubicBezTo>
                  <a:pt x="1417" y="685"/>
                  <a:pt x="1416" y="685"/>
                  <a:pt x="1415" y="686"/>
                </a:cubicBezTo>
                <a:cubicBezTo>
                  <a:pt x="1414" y="687"/>
                  <a:pt x="1413" y="687"/>
                  <a:pt x="1411" y="688"/>
                </a:cubicBezTo>
                <a:cubicBezTo>
                  <a:pt x="1410" y="689"/>
                  <a:pt x="1409" y="689"/>
                  <a:pt x="1407" y="690"/>
                </a:cubicBezTo>
                <a:cubicBezTo>
                  <a:pt x="1407" y="690"/>
                  <a:pt x="1407" y="691"/>
                  <a:pt x="1406" y="691"/>
                </a:cubicBezTo>
                <a:cubicBezTo>
                  <a:pt x="1406" y="691"/>
                  <a:pt x="1406" y="692"/>
                  <a:pt x="1406" y="692"/>
                </a:cubicBezTo>
                <a:cubicBezTo>
                  <a:pt x="1406" y="692"/>
                  <a:pt x="1406" y="692"/>
                  <a:pt x="1406" y="692"/>
                </a:cubicBezTo>
                <a:cubicBezTo>
                  <a:pt x="1405" y="693"/>
                  <a:pt x="1404" y="692"/>
                  <a:pt x="1404" y="692"/>
                </a:cubicBezTo>
                <a:cubicBezTo>
                  <a:pt x="1403" y="692"/>
                  <a:pt x="1401" y="693"/>
                  <a:pt x="1400" y="693"/>
                </a:cubicBezTo>
                <a:cubicBezTo>
                  <a:pt x="1399" y="694"/>
                  <a:pt x="1398" y="694"/>
                  <a:pt x="1397" y="695"/>
                </a:cubicBezTo>
                <a:cubicBezTo>
                  <a:pt x="1396" y="695"/>
                  <a:pt x="1396" y="695"/>
                  <a:pt x="1396" y="695"/>
                </a:cubicBezTo>
                <a:cubicBezTo>
                  <a:pt x="1394" y="696"/>
                  <a:pt x="1392" y="697"/>
                  <a:pt x="1390" y="698"/>
                </a:cubicBezTo>
                <a:cubicBezTo>
                  <a:pt x="1389" y="698"/>
                  <a:pt x="1388" y="699"/>
                  <a:pt x="1387" y="699"/>
                </a:cubicBezTo>
                <a:cubicBezTo>
                  <a:pt x="1385" y="700"/>
                  <a:pt x="1384" y="700"/>
                  <a:pt x="1383" y="700"/>
                </a:cubicBezTo>
                <a:cubicBezTo>
                  <a:pt x="1382" y="700"/>
                  <a:pt x="1381" y="700"/>
                  <a:pt x="1380" y="701"/>
                </a:cubicBezTo>
                <a:cubicBezTo>
                  <a:pt x="1379" y="701"/>
                  <a:pt x="1377" y="702"/>
                  <a:pt x="1375" y="703"/>
                </a:cubicBezTo>
                <a:cubicBezTo>
                  <a:pt x="1371" y="705"/>
                  <a:pt x="1367" y="708"/>
                  <a:pt x="1362" y="710"/>
                </a:cubicBezTo>
                <a:cubicBezTo>
                  <a:pt x="1362" y="710"/>
                  <a:pt x="1362" y="710"/>
                  <a:pt x="1361" y="710"/>
                </a:cubicBezTo>
                <a:cubicBezTo>
                  <a:pt x="1361" y="710"/>
                  <a:pt x="1360" y="710"/>
                  <a:pt x="1360" y="710"/>
                </a:cubicBezTo>
                <a:cubicBezTo>
                  <a:pt x="1359" y="711"/>
                  <a:pt x="1358" y="710"/>
                  <a:pt x="1357" y="711"/>
                </a:cubicBezTo>
                <a:cubicBezTo>
                  <a:pt x="1357" y="711"/>
                  <a:pt x="1356" y="711"/>
                  <a:pt x="1355" y="712"/>
                </a:cubicBezTo>
                <a:cubicBezTo>
                  <a:pt x="1353" y="712"/>
                  <a:pt x="1352" y="713"/>
                  <a:pt x="1350" y="714"/>
                </a:cubicBezTo>
                <a:cubicBezTo>
                  <a:pt x="1349" y="714"/>
                  <a:pt x="1347" y="715"/>
                  <a:pt x="1346" y="716"/>
                </a:cubicBezTo>
                <a:cubicBezTo>
                  <a:pt x="1345" y="716"/>
                  <a:pt x="1344" y="716"/>
                  <a:pt x="1344" y="717"/>
                </a:cubicBezTo>
                <a:cubicBezTo>
                  <a:pt x="1343" y="717"/>
                  <a:pt x="1343" y="717"/>
                  <a:pt x="1342" y="718"/>
                </a:cubicBezTo>
                <a:cubicBezTo>
                  <a:pt x="1341" y="718"/>
                  <a:pt x="1341" y="722"/>
                  <a:pt x="1340" y="722"/>
                </a:cubicBezTo>
                <a:cubicBezTo>
                  <a:pt x="1338" y="721"/>
                  <a:pt x="1339" y="720"/>
                  <a:pt x="1338" y="719"/>
                </a:cubicBezTo>
                <a:cubicBezTo>
                  <a:pt x="1338" y="719"/>
                  <a:pt x="1335" y="719"/>
                  <a:pt x="1335" y="720"/>
                </a:cubicBezTo>
                <a:cubicBezTo>
                  <a:pt x="1335" y="721"/>
                  <a:pt x="1335" y="721"/>
                  <a:pt x="1336" y="720"/>
                </a:cubicBezTo>
                <a:cubicBezTo>
                  <a:pt x="1336" y="720"/>
                  <a:pt x="1337" y="720"/>
                  <a:pt x="1337" y="721"/>
                </a:cubicBezTo>
                <a:cubicBezTo>
                  <a:pt x="1337" y="721"/>
                  <a:pt x="1337" y="721"/>
                  <a:pt x="1337" y="722"/>
                </a:cubicBezTo>
                <a:cubicBezTo>
                  <a:pt x="1336" y="722"/>
                  <a:pt x="1335" y="722"/>
                  <a:pt x="1334" y="723"/>
                </a:cubicBezTo>
                <a:cubicBezTo>
                  <a:pt x="1333" y="723"/>
                  <a:pt x="1333" y="723"/>
                  <a:pt x="1332" y="724"/>
                </a:cubicBezTo>
                <a:cubicBezTo>
                  <a:pt x="1332" y="724"/>
                  <a:pt x="1331" y="724"/>
                  <a:pt x="1331" y="724"/>
                </a:cubicBezTo>
                <a:cubicBezTo>
                  <a:pt x="1330" y="724"/>
                  <a:pt x="1330" y="724"/>
                  <a:pt x="1330" y="724"/>
                </a:cubicBezTo>
                <a:cubicBezTo>
                  <a:pt x="1329" y="724"/>
                  <a:pt x="1329" y="725"/>
                  <a:pt x="1329" y="725"/>
                </a:cubicBezTo>
                <a:cubicBezTo>
                  <a:pt x="1330" y="725"/>
                  <a:pt x="1330" y="725"/>
                  <a:pt x="1330" y="725"/>
                </a:cubicBezTo>
                <a:cubicBezTo>
                  <a:pt x="1331" y="727"/>
                  <a:pt x="1328" y="727"/>
                  <a:pt x="1327" y="728"/>
                </a:cubicBezTo>
                <a:cubicBezTo>
                  <a:pt x="1325" y="728"/>
                  <a:pt x="1323" y="728"/>
                  <a:pt x="1321" y="728"/>
                </a:cubicBezTo>
                <a:cubicBezTo>
                  <a:pt x="1319" y="728"/>
                  <a:pt x="1318" y="729"/>
                  <a:pt x="1316" y="730"/>
                </a:cubicBezTo>
                <a:cubicBezTo>
                  <a:pt x="1314" y="730"/>
                  <a:pt x="1313" y="731"/>
                  <a:pt x="1312" y="732"/>
                </a:cubicBezTo>
                <a:cubicBezTo>
                  <a:pt x="1310" y="732"/>
                  <a:pt x="1309" y="733"/>
                  <a:pt x="1308" y="733"/>
                </a:cubicBezTo>
                <a:cubicBezTo>
                  <a:pt x="1307" y="734"/>
                  <a:pt x="1306" y="734"/>
                  <a:pt x="1306" y="735"/>
                </a:cubicBezTo>
                <a:cubicBezTo>
                  <a:pt x="1306" y="735"/>
                  <a:pt x="1305" y="735"/>
                  <a:pt x="1305" y="736"/>
                </a:cubicBezTo>
                <a:cubicBezTo>
                  <a:pt x="1305" y="736"/>
                  <a:pt x="1305" y="736"/>
                  <a:pt x="1305" y="736"/>
                </a:cubicBezTo>
                <a:cubicBezTo>
                  <a:pt x="1305" y="736"/>
                  <a:pt x="1305" y="736"/>
                  <a:pt x="1305" y="737"/>
                </a:cubicBezTo>
                <a:cubicBezTo>
                  <a:pt x="1306" y="737"/>
                  <a:pt x="1304" y="738"/>
                  <a:pt x="1304" y="738"/>
                </a:cubicBezTo>
                <a:cubicBezTo>
                  <a:pt x="1303" y="737"/>
                  <a:pt x="1304" y="737"/>
                  <a:pt x="1304" y="737"/>
                </a:cubicBezTo>
                <a:cubicBezTo>
                  <a:pt x="1303" y="736"/>
                  <a:pt x="1301" y="737"/>
                  <a:pt x="1300" y="738"/>
                </a:cubicBezTo>
                <a:cubicBezTo>
                  <a:pt x="1299" y="738"/>
                  <a:pt x="1298" y="738"/>
                  <a:pt x="1297" y="738"/>
                </a:cubicBezTo>
                <a:cubicBezTo>
                  <a:pt x="1297" y="739"/>
                  <a:pt x="1297" y="739"/>
                  <a:pt x="1297" y="739"/>
                </a:cubicBezTo>
                <a:cubicBezTo>
                  <a:pt x="1296" y="739"/>
                  <a:pt x="1296" y="739"/>
                  <a:pt x="1296" y="740"/>
                </a:cubicBezTo>
                <a:cubicBezTo>
                  <a:pt x="1295" y="740"/>
                  <a:pt x="1295" y="740"/>
                  <a:pt x="1295" y="740"/>
                </a:cubicBezTo>
                <a:cubicBezTo>
                  <a:pt x="1294" y="740"/>
                  <a:pt x="1294" y="741"/>
                  <a:pt x="1294" y="741"/>
                </a:cubicBezTo>
                <a:cubicBezTo>
                  <a:pt x="1294" y="742"/>
                  <a:pt x="1297" y="741"/>
                  <a:pt x="1297" y="741"/>
                </a:cubicBezTo>
                <a:cubicBezTo>
                  <a:pt x="1298" y="740"/>
                  <a:pt x="1298" y="739"/>
                  <a:pt x="1299" y="740"/>
                </a:cubicBezTo>
                <a:cubicBezTo>
                  <a:pt x="1299" y="741"/>
                  <a:pt x="1299" y="742"/>
                  <a:pt x="1298" y="742"/>
                </a:cubicBezTo>
                <a:cubicBezTo>
                  <a:pt x="1297" y="743"/>
                  <a:pt x="1296" y="743"/>
                  <a:pt x="1295" y="744"/>
                </a:cubicBezTo>
                <a:cubicBezTo>
                  <a:pt x="1293" y="745"/>
                  <a:pt x="1290" y="746"/>
                  <a:pt x="1288" y="747"/>
                </a:cubicBezTo>
                <a:cubicBezTo>
                  <a:pt x="1286" y="748"/>
                  <a:pt x="1283" y="749"/>
                  <a:pt x="1281" y="750"/>
                </a:cubicBezTo>
                <a:cubicBezTo>
                  <a:pt x="1280" y="750"/>
                  <a:pt x="1279" y="751"/>
                  <a:pt x="1278" y="751"/>
                </a:cubicBezTo>
                <a:cubicBezTo>
                  <a:pt x="1277" y="751"/>
                  <a:pt x="1276" y="752"/>
                  <a:pt x="1276" y="752"/>
                </a:cubicBezTo>
                <a:cubicBezTo>
                  <a:pt x="1276" y="752"/>
                  <a:pt x="1276" y="752"/>
                  <a:pt x="1275" y="752"/>
                </a:cubicBezTo>
                <a:cubicBezTo>
                  <a:pt x="1275" y="752"/>
                  <a:pt x="1275" y="752"/>
                  <a:pt x="1274" y="752"/>
                </a:cubicBezTo>
                <a:cubicBezTo>
                  <a:pt x="1273" y="752"/>
                  <a:pt x="1275" y="750"/>
                  <a:pt x="1275" y="750"/>
                </a:cubicBezTo>
                <a:cubicBezTo>
                  <a:pt x="1275" y="749"/>
                  <a:pt x="1274" y="749"/>
                  <a:pt x="1274" y="750"/>
                </a:cubicBezTo>
                <a:cubicBezTo>
                  <a:pt x="1273" y="750"/>
                  <a:pt x="1274" y="751"/>
                  <a:pt x="1273" y="752"/>
                </a:cubicBezTo>
                <a:cubicBezTo>
                  <a:pt x="1273" y="752"/>
                  <a:pt x="1272" y="752"/>
                  <a:pt x="1271" y="752"/>
                </a:cubicBezTo>
                <a:cubicBezTo>
                  <a:pt x="1271" y="751"/>
                  <a:pt x="1270" y="752"/>
                  <a:pt x="1269" y="752"/>
                </a:cubicBezTo>
                <a:cubicBezTo>
                  <a:pt x="1268" y="752"/>
                  <a:pt x="1266" y="753"/>
                  <a:pt x="1265" y="754"/>
                </a:cubicBezTo>
                <a:cubicBezTo>
                  <a:pt x="1262" y="755"/>
                  <a:pt x="1259" y="757"/>
                  <a:pt x="1259" y="757"/>
                </a:cubicBezTo>
                <a:cubicBezTo>
                  <a:pt x="1258" y="758"/>
                  <a:pt x="1255" y="758"/>
                  <a:pt x="1254" y="759"/>
                </a:cubicBezTo>
                <a:cubicBezTo>
                  <a:pt x="1253" y="759"/>
                  <a:pt x="1253" y="759"/>
                  <a:pt x="1253" y="760"/>
                </a:cubicBezTo>
                <a:cubicBezTo>
                  <a:pt x="1253" y="760"/>
                  <a:pt x="1253" y="760"/>
                  <a:pt x="1253" y="761"/>
                </a:cubicBezTo>
                <a:cubicBezTo>
                  <a:pt x="1254" y="761"/>
                  <a:pt x="1254" y="761"/>
                  <a:pt x="1253" y="762"/>
                </a:cubicBezTo>
                <a:cubicBezTo>
                  <a:pt x="1252" y="762"/>
                  <a:pt x="1251" y="761"/>
                  <a:pt x="1251" y="762"/>
                </a:cubicBezTo>
                <a:cubicBezTo>
                  <a:pt x="1250" y="762"/>
                  <a:pt x="1249" y="762"/>
                  <a:pt x="1248" y="762"/>
                </a:cubicBezTo>
                <a:cubicBezTo>
                  <a:pt x="1247" y="763"/>
                  <a:pt x="1246" y="764"/>
                  <a:pt x="1244" y="764"/>
                </a:cubicBezTo>
                <a:cubicBezTo>
                  <a:pt x="1244" y="765"/>
                  <a:pt x="1243" y="765"/>
                  <a:pt x="1243" y="766"/>
                </a:cubicBezTo>
                <a:cubicBezTo>
                  <a:pt x="1243" y="766"/>
                  <a:pt x="1243" y="766"/>
                  <a:pt x="1243" y="767"/>
                </a:cubicBezTo>
                <a:cubicBezTo>
                  <a:pt x="1240" y="768"/>
                  <a:pt x="1237" y="769"/>
                  <a:pt x="1234" y="770"/>
                </a:cubicBezTo>
                <a:cubicBezTo>
                  <a:pt x="1232" y="771"/>
                  <a:pt x="1230" y="772"/>
                  <a:pt x="1229" y="773"/>
                </a:cubicBezTo>
                <a:cubicBezTo>
                  <a:pt x="1228" y="773"/>
                  <a:pt x="1228" y="774"/>
                  <a:pt x="1227" y="774"/>
                </a:cubicBezTo>
                <a:cubicBezTo>
                  <a:pt x="1227" y="774"/>
                  <a:pt x="1225" y="775"/>
                  <a:pt x="1225" y="774"/>
                </a:cubicBezTo>
                <a:cubicBezTo>
                  <a:pt x="1225" y="774"/>
                  <a:pt x="1227" y="772"/>
                  <a:pt x="1226" y="771"/>
                </a:cubicBezTo>
                <a:cubicBezTo>
                  <a:pt x="1226" y="771"/>
                  <a:pt x="1225" y="772"/>
                  <a:pt x="1225" y="773"/>
                </a:cubicBezTo>
                <a:cubicBezTo>
                  <a:pt x="1225" y="773"/>
                  <a:pt x="1224" y="775"/>
                  <a:pt x="1224" y="775"/>
                </a:cubicBezTo>
                <a:cubicBezTo>
                  <a:pt x="1223" y="775"/>
                  <a:pt x="1223" y="775"/>
                  <a:pt x="1222" y="775"/>
                </a:cubicBezTo>
                <a:cubicBezTo>
                  <a:pt x="1222" y="775"/>
                  <a:pt x="1222" y="775"/>
                  <a:pt x="1222" y="775"/>
                </a:cubicBezTo>
                <a:cubicBezTo>
                  <a:pt x="1220" y="775"/>
                  <a:pt x="1218" y="776"/>
                  <a:pt x="1216" y="776"/>
                </a:cubicBezTo>
                <a:cubicBezTo>
                  <a:pt x="1213" y="778"/>
                  <a:pt x="1209" y="780"/>
                  <a:pt x="1206" y="782"/>
                </a:cubicBezTo>
                <a:cubicBezTo>
                  <a:pt x="1205" y="783"/>
                  <a:pt x="1203" y="784"/>
                  <a:pt x="1202" y="785"/>
                </a:cubicBezTo>
                <a:cubicBezTo>
                  <a:pt x="1200" y="786"/>
                  <a:pt x="1199" y="788"/>
                  <a:pt x="1198" y="788"/>
                </a:cubicBezTo>
                <a:cubicBezTo>
                  <a:pt x="1197" y="788"/>
                  <a:pt x="1197" y="788"/>
                  <a:pt x="1197" y="788"/>
                </a:cubicBezTo>
                <a:cubicBezTo>
                  <a:pt x="1197" y="788"/>
                  <a:pt x="1197" y="788"/>
                  <a:pt x="1197" y="788"/>
                </a:cubicBezTo>
                <a:cubicBezTo>
                  <a:pt x="1196" y="788"/>
                  <a:pt x="1195" y="788"/>
                  <a:pt x="1195" y="789"/>
                </a:cubicBezTo>
                <a:cubicBezTo>
                  <a:pt x="1194" y="789"/>
                  <a:pt x="1194" y="790"/>
                  <a:pt x="1194" y="790"/>
                </a:cubicBezTo>
                <a:cubicBezTo>
                  <a:pt x="1194" y="791"/>
                  <a:pt x="1194" y="791"/>
                  <a:pt x="1194" y="792"/>
                </a:cubicBezTo>
                <a:cubicBezTo>
                  <a:pt x="1193" y="792"/>
                  <a:pt x="1192" y="792"/>
                  <a:pt x="1191" y="792"/>
                </a:cubicBezTo>
                <a:cubicBezTo>
                  <a:pt x="1191" y="793"/>
                  <a:pt x="1190" y="793"/>
                  <a:pt x="1188" y="793"/>
                </a:cubicBezTo>
                <a:cubicBezTo>
                  <a:pt x="1188" y="794"/>
                  <a:pt x="1188" y="795"/>
                  <a:pt x="1187" y="796"/>
                </a:cubicBezTo>
                <a:cubicBezTo>
                  <a:pt x="1186" y="796"/>
                  <a:pt x="1185" y="797"/>
                  <a:pt x="1184" y="797"/>
                </a:cubicBezTo>
                <a:cubicBezTo>
                  <a:pt x="1182" y="798"/>
                  <a:pt x="1178" y="799"/>
                  <a:pt x="1176" y="800"/>
                </a:cubicBezTo>
                <a:cubicBezTo>
                  <a:pt x="1176" y="800"/>
                  <a:pt x="1175" y="800"/>
                  <a:pt x="1174" y="800"/>
                </a:cubicBezTo>
                <a:cubicBezTo>
                  <a:pt x="1173" y="800"/>
                  <a:pt x="1173" y="800"/>
                  <a:pt x="1172" y="802"/>
                </a:cubicBezTo>
                <a:cubicBezTo>
                  <a:pt x="1172" y="802"/>
                  <a:pt x="1171" y="802"/>
                  <a:pt x="1171" y="802"/>
                </a:cubicBezTo>
                <a:cubicBezTo>
                  <a:pt x="1169" y="802"/>
                  <a:pt x="1169" y="804"/>
                  <a:pt x="1169" y="805"/>
                </a:cubicBezTo>
                <a:cubicBezTo>
                  <a:pt x="1169" y="805"/>
                  <a:pt x="1167" y="805"/>
                  <a:pt x="1167" y="805"/>
                </a:cubicBezTo>
                <a:cubicBezTo>
                  <a:pt x="1167" y="805"/>
                  <a:pt x="1166" y="805"/>
                  <a:pt x="1166" y="805"/>
                </a:cubicBezTo>
                <a:cubicBezTo>
                  <a:pt x="1165" y="805"/>
                  <a:pt x="1164" y="805"/>
                  <a:pt x="1163" y="805"/>
                </a:cubicBezTo>
                <a:cubicBezTo>
                  <a:pt x="1163" y="806"/>
                  <a:pt x="1162" y="805"/>
                  <a:pt x="1162" y="806"/>
                </a:cubicBezTo>
                <a:cubicBezTo>
                  <a:pt x="1161" y="806"/>
                  <a:pt x="1162" y="806"/>
                  <a:pt x="1161" y="806"/>
                </a:cubicBezTo>
                <a:cubicBezTo>
                  <a:pt x="1161" y="806"/>
                  <a:pt x="1161" y="806"/>
                  <a:pt x="1161" y="806"/>
                </a:cubicBezTo>
                <a:cubicBezTo>
                  <a:pt x="1160" y="806"/>
                  <a:pt x="1160" y="806"/>
                  <a:pt x="1160" y="806"/>
                </a:cubicBezTo>
                <a:cubicBezTo>
                  <a:pt x="1159" y="807"/>
                  <a:pt x="1159" y="807"/>
                  <a:pt x="1159" y="808"/>
                </a:cubicBezTo>
                <a:cubicBezTo>
                  <a:pt x="1159" y="808"/>
                  <a:pt x="1159" y="809"/>
                  <a:pt x="1160" y="809"/>
                </a:cubicBezTo>
                <a:cubicBezTo>
                  <a:pt x="1159" y="810"/>
                  <a:pt x="1159" y="810"/>
                  <a:pt x="1158" y="810"/>
                </a:cubicBezTo>
                <a:cubicBezTo>
                  <a:pt x="1158" y="810"/>
                  <a:pt x="1157" y="810"/>
                  <a:pt x="1156" y="811"/>
                </a:cubicBezTo>
                <a:cubicBezTo>
                  <a:pt x="1154" y="812"/>
                  <a:pt x="1151" y="813"/>
                  <a:pt x="1149" y="813"/>
                </a:cubicBezTo>
                <a:cubicBezTo>
                  <a:pt x="1148" y="814"/>
                  <a:pt x="1147" y="814"/>
                  <a:pt x="1146" y="814"/>
                </a:cubicBezTo>
                <a:cubicBezTo>
                  <a:pt x="1145" y="814"/>
                  <a:pt x="1144" y="815"/>
                  <a:pt x="1143" y="815"/>
                </a:cubicBezTo>
                <a:cubicBezTo>
                  <a:pt x="1142" y="814"/>
                  <a:pt x="1141" y="815"/>
                  <a:pt x="1140" y="815"/>
                </a:cubicBezTo>
                <a:cubicBezTo>
                  <a:pt x="1139" y="816"/>
                  <a:pt x="1138" y="816"/>
                  <a:pt x="1137" y="817"/>
                </a:cubicBezTo>
                <a:cubicBezTo>
                  <a:pt x="1137" y="818"/>
                  <a:pt x="1137" y="818"/>
                  <a:pt x="1137" y="819"/>
                </a:cubicBezTo>
                <a:cubicBezTo>
                  <a:pt x="1137" y="819"/>
                  <a:pt x="1137" y="819"/>
                  <a:pt x="1137" y="820"/>
                </a:cubicBezTo>
                <a:cubicBezTo>
                  <a:pt x="1137" y="820"/>
                  <a:pt x="1136" y="820"/>
                  <a:pt x="1136" y="820"/>
                </a:cubicBezTo>
                <a:cubicBezTo>
                  <a:pt x="1133" y="822"/>
                  <a:pt x="1129" y="820"/>
                  <a:pt x="1126" y="822"/>
                </a:cubicBezTo>
                <a:cubicBezTo>
                  <a:pt x="1126" y="822"/>
                  <a:pt x="1126" y="823"/>
                  <a:pt x="1126" y="824"/>
                </a:cubicBezTo>
                <a:cubicBezTo>
                  <a:pt x="1125" y="825"/>
                  <a:pt x="1124" y="826"/>
                  <a:pt x="1123" y="826"/>
                </a:cubicBezTo>
                <a:cubicBezTo>
                  <a:pt x="1122" y="827"/>
                  <a:pt x="1121" y="827"/>
                  <a:pt x="1120" y="828"/>
                </a:cubicBezTo>
                <a:cubicBezTo>
                  <a:pt x="1120" y="828"/>
                  <a:pt x="1120" y="828"/>
                  <a:pt x="1120" y="829"/>
                </a:cubicBezTo>
                <a:cubicBezTo>
                  <a:pt x="1119" y="829"/>
                  <a:pt x="1119" y="830"/>
                  <a:pt x="1118" y="830"/>
                </a:cubicBezTo>
                <a:cubicBezTo>
                  <a:pt x="1117" y="831"/>
                  <a:pt x="1117" y="832"/>
                  <a:pt x="1115" y="832"/>
                </a:cubicBezTo>
                <a:cubicBezTo>
                  <a:pt x="1115" y="832"/>
                  <a:pt x="1114" y="831"/>
                  <a:pt x="1114" y="831"/>
                </a:cubicBezTo>
                <a:cubicBezTo>
                  <a:pt x="1112" y="832"/>
                  <a:pt x="1111" y="832"/>
                  <a:pt x="1110" y="833"/>
                </a:cubicBezTo>
                <a:cubicBezTo>
                  <a:pt x="1109" y="833"/>
                  <a:pt x="1108" y="834"/>
                  <a:pt x="1107" y="834"/>
                </a:cubicBezTo>
                <a:cubicBezTo>
                  <a:pt x="1106" y="835"/>
                  <a:pt x="1105" y="836"/>
                  <a:pt x="1103" y="836"/>
                </a:cubicBezTo>
                <a:cubicBezTo>
                  <a:pt x="1103" y="836"/>
                  <a:pt x="1101" y="837"/>
                  <a:pt x="1101" y="837"/>
                </a:cubicBezTo>
                <a:cubicBezTo>
                  <a:pt x="1100" y="838"/>
                  <a:pt x="1101" y="840"/>
                  <a:pt x="1100" y="841"/>
                </a:cubicBezTo>
                <a:cubicBezTo>
                  <a:pt x="1099" y="841"/>
                  <a:pt x="1098" y="841"/>
                  <a:pt x="1096" y="841"/>
                </a:cubicBezTo>
                <a:cubicBezTo>
                  <a:pt x="1095" y="842"/>
                  <a:pt x="1094" y="842"/>
                  <a:pt x="1093" y="843"/>
                </a:cubicBezTo>
                <a:cubicBezTo>
                  <a:pt x="1091" y="844"/>
                  <a:pt x="1089" y="845"/>
                  <a:pt x="1088" y="846"/>
                </a:cubicBezTo>
                <a:cubicBezTo>
                  <a:pt x="1084" y="848"/>
                  <a:pt x="1080" y="850"/>
                  <a:pt x="1076" y="852"/>
                </a:cubicBezTo>
                <a:cubicBezTo>
                  <a:pt x="1075" y="852"/>
                  <a:pt x="1074" y="852"/>
                  <a:pt x="1073" y="853"/>
                </a:cubicBezTo>
                <a:cubicBezTo>
                  <a:pt x="1072" y="853"/>
                  <a:pt x="1071" y="853"/>
                  <a:pt x="1070" y="853"/>
                </a:cubicBezTo>
                <a:cubicBezTo>
                  <a:pt x="1070" y="853"/>
                  <a:pt x="1069" y="853"/>
                  <a:pt x="1069" y="854"/>
                </a:cubicBezTo>
                <a:cubicBezTo>
                  <a:pt x="1069" y="854"/>
                  <a:pt x="1069" y="854"/>
                  <a:pt x="1069" y="854"/>
                </a:cubicBezTo>
                <a:cubicBezTo>
                  <a:pt x="1069" y="855"/>
                  <a:pt x="1068" y="855"/>
                  <a:pt x="1067" y="856"/>
                </a:cubicBezTo>
                <a:cubicBezTo>
                  <a:pt x="1066" y="856"/>
                  <a:pt x="1065" y="856"/>
                  <a:pt x="1064" y="857"/>
                </a:cubicBezTo>
                <a:cubicBezTo>
                  <a:pt x="1063" y="857"/>
                  <a:pt x="1061" y="858"/>
                  <a:pt x="1060" y="859"/>
                </a:cubicBezTo>
                <a:cubicBezTo>
                  <a:pt x="1059" y="860"/>
                  <a:pt x="1058" y="861"/>
                  <a:pt x="1057" y="861"/>
                </a:cubicBezTo>
                <a:cubicBezTo>
                  <a:pt x="1057" y="861"/>
                  <a:pt x="1056" y="860"/>
                  <a:pt x="1056" y="860"/>
                </a:cubicBezTo>
                <a:cubicBezTo>
                  <a:pt x="1056" y="860"/>
                  <a:pt x="1055" y="860"/>
                  <a:pt x="1055" y="861"/>
                </a:cubicBezTo>
                <a:cubicBezTo>
                  <a:pt x="1055" y="861"/>
                  <a:pt x="1055" y="861"/>
                  <a:pt x="1056" y="861"/>
                </a:cubicBezTo>
                <a:cubicBezTo>
                  <a:pt x="1057" y="862"/>
                  <a:pt x="1055" y="865"/>
                  <a:pt x="1054" y="865"/>
                </a:cubicBezTo>
                <a:cubicBezTo>
                  <a:pt x="1053" y="865"/>
                  <a:pt x="1053" y="864"/>
                  <a:pt x="1052" y="863"/>
                </a:cubicBezTo>
                <a:cubicBezTo>
                  <a:pt x="1052" y="863"/>
                  <a:pt x="1051" y="864"/>
                  <a:pt x="1051" y="864"/>
                </a:cubicBezTo>
                <a:cubicBezTo>
                  <a:pt x="1050" y="865"/>
                  <a:pt x="1049" y="865"/>
                  <a:pt x="1048" y="865"/>
                </a:cubicBezTo>
                <a:cubicBezTo>
                  <a:pt x="1047" y="865"/>
                  <a:pt x="1046" y="865"/>
                  <a:pt x="1045" y="866"/>
                </a:cubicBezTo>
                <a:cubicBezTo>
                  <a:pt x="1045" y="866"/>
                  <a:pt x="1045" y="866"/>
                  <a:pt x="1045" y="867"/>
                </a:cubicBezTo>
                <a:cubicBezTo>
                  <a:pt x="1045" y="868"/>
                  <a:pt x="1044" y="867"/>
                  <a:pt x="1043" y="867"/>
                </a:cubicBezTo>
                <a:cubicBezTo>
                  <a:pt x="1042" y="867"/>
                  <a:pt x="1042" y="868"/>
                  <a:pt x="1041" y="869"/>
                </a:cubicBezTo>
                <a:cubicBezTo>
                  <a:pt x="1041" y="870"/>
                  <a:pt x="1041" y="870"/>
                  <a:pt x="1040" y="870"/>
                </a:cubicBezTo>
                <a:cubicBezTo>
                  <a:pt x="1040" y="871"/>
                  <a:pt x="1040" y="871"/>
                  <a:pt x="1040" y="871"/>
                </a:cubicBezTo>
                <a:cubicBezTo>
                  <a:pt x="1039" y="871"/>
                  <a:pt x="1039" y="871"/>
                  <a:pt x="1038" y="870"/>
                </a:cubicBezTo>
                <a:cubicBezTo>
                  <a:pt x="1037" y="870"/>
                  <a:pt x="1036" y="871"/>
                  <a:pt x="1035" y="872"/>
                </a:cubicBezTo>
                <a:cubicBezTo>
                  <a:pt x="1020" y="879"/>
                  <a:pt x="1014" y="882"/>
                  <a:pt x="1014" y="883"/>
                </a:cubicBezTo>
                <a:cubicBezTo>
                  <a:pt x="1014" y="883"/>
                  <a:pt x="1006" y="887"/>
                  <a:pt x="1004" y="887"/>
                </a:cubicBezTo>
                <a:cubicBezTo>
                  <a:pt x="1003" y="888"/>
                  <a:pt x="1002" y="888"/>
                  <a:pt x="1001" y="888"/>
                </a:cubicBezTo>
                <a:cubicBezTo>
                  <a:pt x="1000" y="888"/>
                  <a:pt x="1000" y="888"/>
                  <a:pt x="999" y="888"/>
                </a:cubicBezTo>
                <a:cubicBezTo>
                  <a:pt x="998" y="888"/>
                  <a:pt x="998" y="889"/>
                  <a:pt x="997" y="889"/>
                </a:cubicBezTo>
                <a:cubicBezTo>
                  <a:pt x="997" y="889"/>
                  <a:pt x="996" y="890"/>
                  <a:pt x="996" y="889"/>
                </a:cubicBezTo>
                <a:cubicBezTo>
                  <a:pt x="996" y="889"/>
                  <a:pt x="996" y="889"/>
                  <a:pt x="995" y="889"/>
                </a:cubicBezTo>
                <a:cubicBezTo>
                  <a:pt x="995" y="888"/>
                  <a:pt x="994" y="889"/>
                  <a:pt x="993" y="889"/>
                </a:cubicBezTo>
                <a:cubicBezTo>
                  <a:pt x="992" y="889"/>
                  <a:pt x="992" y="890"/>
                  <a:pt x="991" y="891"/>
                </a:cubicBezTo>
                <a:cubicBezTo>
                  <a:pt x="990" y="892"/>
                  <a:pt x="989" y="894"/>
                  <a:pt x="987" y="893"/>
                </a:cubicBezTo>
                <a:cubicBezTo>
                  <a:pt x="987" y="893"/>
                  <a:pt x="986" y="893"/>
                  <a:pt x="986" y="893"/>
                </a:cubicBezTo>
                <a:cubicBezTo>
                  <a:pt x="985" y="893"/>
                  <a:pt x="985" y="894"/>
                  <a:pt x="985" y="895"/>
                </a:cubicBezTo>
                <a:cubicBezTo>
                  <a:pt x="984" y="896"/>
                  <a:pt x="983" y="896"/>
                  <a:pt x="983" y="896"/>
                </a:cubicBezTo>
                <a:cubicBezTo>
                  <a:pt x="981" y="897"/>
                  <a:pt x="980" y="898"/>
                  <a:pt x="978" y="898"/>
                </a:cubicBezTo>
                <a:cubicBezTo>
                  <a:pt x="974" y="901"/>
                  <a:pt x="970" y="903"/>
                  <a:pt x="969" y="903"/>
                </a:cubicBezTo>
                <a:cubicBezTo>
                  <a:pt x="968" y="904"/>
                  <a:pt x="966" y="905"/>
                  <a:pt x="965" y="906"/>
                </a:cubicBezTo>
                <a:cubicBezTo>
                  <a:pt x="964" y="906"/>
                  <a:pt x="964" y="907"/>
                  <a:pt x="963" y="907"/>
                </a:cubicBezTo>
                <a:cubicBezTo>
                  <a:pt x="963" y="908"/>
                  <a:pt x="963" y="908"/>
                  <a:pt x="963" y="909"/>
                </a:cubicBezTo>
                <a:cubicBezTo>
                  <a:pt x="962" y="910"/>
                  <a:pt x="960" y="910"/>
                  <a:pt x="958" y="910"/>
                </a:cubicBezTo>
                <a:cubicBezTo>
                  <a:pt x="958" y="911"/>
                  <a:pt x="956" y="911"/>
                  <a:pt x="956" y="911"/>
                </a:cubicBezTo>
                <a:cubicBezTo>
                  <a:pt x="955" y="911"/>
                  <a:pt x="954" y="912"/>
                  <a:pt x="953" y="912"/>
                </a:cubicBezTo>
                <a:cubicBezTo>
                  <a:pt x="951" y="913"/>
                  <a:pt x="950" y="914"/>
                  <a:pt x="948" y="915"/>
                </a:cubicBezTo>
                <a:cubicBezTo>
                  <a:pt x="943" y="918"/>
                  <a:pt x="937" y="920"/>
                  <a:pt x="931" y="924"/>
                </a:cubicBezTo>
                <a:cubicBezTo>
                  <a:pt x="918" y="930"/>
                  <a:pt x="904" y="937"/>
                  <a:pt x="901" y="939"/>
                </a:cubicBezTo>
                <a:cubicBezTo>
                  <a:pt x="899" y="940"/>
                  <a:pt x="898" y="941"/>
                  <a:pt x="896" y="941"/>
                </a:cubicBezTo>
                <a:cubicBezTo>
                  <a:pt x="896" y="942"/>
                  <a:pt x="894" y="942"/>
                  <a:pt x="894" y="943"/>
                </a:cubicBezTo>
                <a:cubicBezTo>
                  <a:pt x="893" y="944"/>
                  <a:pt x="893" y="944"/>
                  <a:pt x="893" y="944"/>
                </a:cubicBezTo>
                <a:cubicBezTo>
                  <a:pt x="893" y="945"/>
                  <a:pt x="892" y="944"/>
                  <a:pt x="892" y="944"/>
                </a:cubicBezTo>
                <a:cubicBezTo>
                  <a:pt x="892" y="944"/>
                  <a:pt x="891" y="944"/>
                  <a:pt x="891" y="944"/>
                </a:cubicBezTo>
                <a:cubicBezTo>
                  <a:pt x="890" y="945"/>
                  <a:pt x="889" y="946"/>
                  <a:pt x="888" y="946"/>
                </a:cubicBezTo>
                <a:cubicBezTo>
                  <a:pt x="887" y="947"/>
                  <a:pt x="886" y="947"/>
                  <a:pt x="885" y="948"/>
                </a:cubicBezTo>
                <a:cubicBezTo>
                  <a:pt x="884" y="948"/>
                  <a:pt x="882" y="949"/>
                  <a:pt x="881" y="949"/>
                </a:cubicBezTo>
                <a:cubicBezTo>
                  <a:pt x="881" y="949"/>
                  <a:pt x="881" y="949"/>
                  <a:pt x="881" y="950"/>
                </a:cubicBezTo>
                <a:cubicBezTo>
                  <a:pt x="880" y="952"/>
                  <a:pt x="879" y="952"/>
                  <a:pt x="877" y="953"/>
                </a:cubicBezTo>
                <a:cubicBezTo>
                  <a:pt x="877" y="953"/>
                  <a:pt x="876" y="953"/>
                  <a:pt x="876" y="953"/>
                </a:cubicBezTo>
                <a:cubicBezTo>
                  <a:pt x="876" y="953"/>
                  <a:pt x="876" y="952"/>
                  <a:pt x="876" y="952"/>
                </a:cubicBezTo>
                <a:cubicBezTo>
                  <a:pt x="874" y="952"/>
                  <a:pt x="872" y="953"/>
                  <a:pt x="871" y="954"/>
                </a:cubicBezTo>
                <a:cubicBezTo>
                  <a:pt x="869" y="955"/>
                  <a:pt x="868" y="956"/>
                  <a:pt x="866" y="957"/>
                </a:cubicBezTo>
                <a:cubicBezTo>
                  <a:pt x="864" y="957"/>
                  <a:pt x="862" y="958"/>
                  <a:pt x="860" y="959"/>
                </a:cubicBezTo>
                <a:cubicBezTo>
                  <a:pt x="859" y="959"/>
                  <a:pt x="855" y="962"/>
                  <a:pt x="850" y="964"/>
                </a:cubicBezTo>
                <a:cubicBezTo>
                  <a:pt x="849" y="965"/>
                  <a:pt x="847" y="966"/>
                  <a:pt x="846" y="967"/>
                </a:cubicBezTo>
                <a:cubicBezTo>
                  <a:pt x="845" y="967"/>
                  <a:pt x="843" y="968"/>
                  <a:pt x="843" y="969"/>
                </a:cubicBezTo>
                <a:cubicBezTo>
                  <a:pt x="842" y="969"/>
                  <a:pt x="842" y="970"/>
                  <a:pt x="842" y="970"/>
                </a:cubicBezTo>
                <a:cubicBezTo>
                  <a:pt x="841" y="971"/>
                  <a:pt x="840" y="971"/>
                  <a:pt x="839" y="971"/>
                </a:cubicBezTo>
                <a:cubicBezTo>
                  <a:pt x="836" y="971"/>
                  <a:pt x="834" y="972"/>
                  <a:pt x="832" y="973"/>
                </a:cubicBezTo>
                <a:cubicBezTo>
                  <a:pt x="830" y="975"/>
                  <a:pt x="827" y="976"/>
                  <a:pt x="825" y="977"/>
                </a:cubicBezTo>
                <a:cubicBezTo>
                  <a:pt x="822" y="978"/>
                  <a:pt x="819" y="979"/>
                  <a:pt x="817" y="981"/>
                </a:cubicBezTo>
                <a:cubicBezTo>
                  <a:pt x="816" y="981"/>
                  <a:pt x="815" y="982"/>
                  <a:pt x="814" y="982"/>
                </a:cubicBezTo>
                <a:cubicBezTo>
                  <a:pt x="813" y="983"/>
                  <a:pt x="811" y="984"/>
                  <a:pt x="810" y="984"/>
                </a:cubicBezTo>
                <a:cubicBezTo>
                  <a:pt x="809" y="985"/>
                  <a:pt x="808" y="987"/>
                  <a:pt x="807" y="988"/>
                </a:cubicBezTo>
                <a:cubicBezTo>
                  <a:pt x="805" y="989"/>
                  <a:pt x="803" y="989"/>
                  <a:pt x="801" y="990"/>
                </a:cubicBezTo>
                <a:cubicBezTo>
                  <a:pt x="799" y="990"/>
                  <a:pt x="797" y="991"/>
                  <a:pt x="795" y="992"/>
                </a:cubicBezTo>
                <a:cubicBezTo>
                  <a:pt x="790" y="994"/>
                  <a:pt x="786" y="996"/>
                  <a:pt x="782" y="999"/>
                </a:cubicBezTo>
                <a:cubicBezTo>
                  <a:pt x="779" y="1000"/>
                  <a:pt x="776" y="1002"/>
                  <a:pt x="772" y="1003"/>
                </a:cubicBezTo>
                <a:cubicBezTo>
                  <a:pt x="770" y="1005"/>
                  <a:pt x="767" y="1006"/>
                  <a:pt x="765" y="1008"/>
                </a:cubicBezTo>
                <a:cubicBezTo>
                  <a:pt x="764" y="1008"/>
                  <a:pt x="763" y="1009"/>
                  <a:pt x="762" y="1009"/>
                </a:cubicBezTo>
                <a:cubicBezTo>
                  <a:pt x="762" y="1009"/>
                  <a:pt x="762" y="1009"/>
                  <a:pt x="762" y="1010"/>
                </a:cubicBezTo>
                <a:cubicBezTo>
                  <a:pt x="761" y="1010"/>
                  <a:pt x="761" y="1011"/>
                  <a:pt x="760" y="1011"/>
                </a:cubicBezTo>
                <a:cubicBezTo>
                  <a:pt x="760" y="1011"/>
                  <a:pt x="760" y="1011"/>
                  <a:pt x="759" y="1011"/>
                </a:cubicBezTo>
                <a:cubicBezTo>
                  <a:pt x="758" y="1010"/>
                  <a:pt x="756" y="1011"/>
                  <a:pt x="755" y="1012"/>
                </a:cubicBezTo>
                <a:cubicBezTo>
                  <a:pt x="754" y="1012"/>
                  <a:pt x="751" y="1012"/>
                  <a:pt x="751" y="1013"/>
                </a:cubicBezTo>
                <a:cubicBezTo>
                  <a:pt x="751" y="1014"/>
                  <a:pt x="751" y="1014"/>
                  <a:pt x="751" y="1014"/>
                </a:cubicBezTo>
                <a:cubicBezTo>
                  <a:pt x="751" y="1014"/>
                  <a:pt x="751" y="1014"/>
                  <a:pt x="750" y="1014"/>
                </a:cubicBezTo>
                <a:cubicBezTo>
                  <a:pt x="749" y="1015"/>
                  <a:pt x="748" y="1016"/>
                  <a:pt x="747" y="1016"/>
                </a:cubicBezTo>
                <a:cubicBezTo>
                  <a:pt x="745" y="1017"/>
                  <a:pt x="741" y="1019"/>
                  <a:pt x="738" y="1020"/>
                </a:cubicBezTo>
                <a:cubicBezTo>
                  <a:pt x="735" y="1022"/>
                  <a:pt x="725" y="1027"/>
                  <a:pt x="719" y="1029"/>
                </a:cubicBezTo>
                <a:cubicBezTo>
                  <a:pt x="718" y="1030"/>
                  <a:pt x="715" y="1031"/>
                  <a:pt x="713" y="1033"/>
                </a:cubicBezTo>
                <a:cubicBezTo>
                  <a:pt x="712" y="1033"/>
                  <a:pt x="710" y="1035"/>
                  <a:pt x="708" y="1035"/>
                </a:cubicBezTo>
                <a:cubicBezTo>
                  <a:pt x="707" y="1035"/>
                  <a:pt x="707" y="1035"/>
                  <a:pt x="706" y="1035"/>
                </a:cubicBezTo>
                <a:cubicBezTo>
                  <a:pt x="705" y="1035"/>
                  <a:pt x="704" y="1036"/>
                  <a:pt x="704" y="1037"/>
                </a:cubicBezTo>
                <a:cubicBezTo>
                  <a:pt x="702" y="1038"/>
                  <a:pt x="699" y="1039"/>
                  <a:pt x="698" y="1039"/>
                </a:cubicBezTo>
                <a:cubicBezTo>
                  <a:pt x="697" y="1040"/>
                  <a:pt x="696" y="1040"/>
                  <a:pt x="695" y="1040"/>
                </a:cubicBezTo>
                <a:cubicBezTo>
                  <a:pt x="695" y="1040"/>
                  <a:pt x="695" y="1040"/>
                  <a:pt x="694" y="1040"/>
                </a:cubicBezTo>
                <a:cubicBezTo>
                  <a:pt x="694" y="1040"/>
                  <a:pt x="694" y="1041"/>
                  <a:pt x="694" y="1041"/>
                </a:cubicBezTo>
                <a:cubicBezTo>
                  <a:pt x="694" y="1042"/>
                  <a:pt x="693" y="1042"/>
                  <a:pt x="692" y="1043"/>
                </a:cubicBezTo>
                <a:cubicBezTo>
                  <a:pt x="690" y="1043"/>
                  <a:pt x="689" y="1044"/>
                  <a:pt x="688" y="1044"/>
                </a:cubicBezTo>
                <a:cubicBezTo>
                  <a:pt x="686" y="1045"/>
                  <a:pt x="683" y="1047"/>
                  <a:pt x="681" y="1048"/>
                </a:cubicBezTo>
                <a:cubicBezTo>
                  <a:pt x="677" y="1050"/>
                  <a:pt x="672" y="1052"/>
                  <a:pt x="668" y="1054"/>
                </a:cubicBezTo>
                <a:cubicBezTo>
                  <a:pt x="668" y="1055"/>
                  <a:pt x="667" y="1055"/>
                  <a:pt x="667" y="1056"/>
                </a:cubicBezTo>
                <a:cubicBezTo>
                  <a:pt x="666" y="1056"/>
                  <a:pt x="666" y="1057"/>
                  <a:pt x="666" y="1057"/>
                </a:cubicBezTo>
                <a:cubicBezTo>
                  <a:pt x="666" y="1057"/>
                  <a:pt x="665" y="1058"/>
                  <a:pt x="665" y="1058"/>
                </a:cubicBezTo>
                <a:cubicBezTo>
                  <a:pt x="664" y="1058"/>
                  <a:pt x="664" y="1058"/>
                  <a:pt x="663" y="1058"/>
                </a:cubicBezTo>
                <a:cubicBezTo>
                  <a:pt x="662" y="1058"/>
                  <a:pt x="661" y="1058"/>
                  <a:pt x="660" y="1059"/>
                </a:cubicBezTo>
                <a:cubicBezTo>
                  <a:pt x="659" y="1059"/>
                  <a:pt x="656" y="1059"/>
                  <a:pt x="656" y="1061"/>
                </a:cubicBezTo>
                <a:cubicBezTo>
                  <a:pt x="656" y="1061"/>
                  <a:pt x="656" y="1061"/>
                  <a:pt x="656" y="1062"/>
                </a:cubicBezTo>
                <a:cubicBezTo>
                  <a:pt x="656" y="1062"/>
                  <a:pt x="656" y="1062"/>
                  <a:pt x="655" y="1062"/>
                </a:cubicBezTo>
                <a:cubicBezTo>
                  <a:pt x="655" y="1062"/>
                  <a:pt x="655" y="1062"/>
                  <a:pt x="654" y="1062"/>
                </a:cubicBezTo>
                <a:cubicBezTo>
                  <a:pt x="653" y="1061"/>
                  <a:pt x="651" y="1062"/>
                  <a:pt x="650" y="1063"/>
                </a:cubicBezTo>
                <a:cubicBezTo>
                  <a:pt x="649" y="1063"/>
                  <a:pt x="647" y="1064"/>
                  <a:pt x="646" y="1064"/>
                </a:cubicBezTo>
                <a:cubicBezTo>
                  <a:pt x="645" y="1064"/>
                  <a:pt x="645" y="1064"/>
                  <a:pt x="645" y="1064"/>
                </a:cubicBezTo>
                <a:cubicBezTo>
                  <a:pt x="645" y="1064"/>
                  <a:pt x="644" y="1064"/>
                  <a:pt x="644" y="1065"/>
                </a:cubicBezTo>
                <a:cubicBezTo>
                  <a:pt x="644" y="1065"/>
                  <a:pt x="644" y="1066"/>
                  <a:pt x="644" y="1066"/>
                </a:cubicBezTo>
                <a:cubicBezTo>
                  <a:pt x="643" y="1066"/>
                  <a:pt x="643" y="1067"/>
                  <a:pt x="643" y="1067"/>
                </a:cubicBezTo>
                <a:cubicBezTo>
                  <a:pt x="643" y="1067"/>
                  <a:pt x="642" y="1067"/>
                  <a:pt x="642" y="1067"/>
                </a:cubicBezTo>
                <a:cubicBezTo>
                  <a:pt x="642" y="1067"/>
                  <a:pt x="641" y="1066"/>
                  <a:pt x="641" y="1065"/>
                </a:cubicBezTo>
                <a:cubicBezTo>
                  <a:pt x="641" y="1066"/>
                  <a:pt x="640" y="1066"/>
                  <a:pt x="640" y="1066"/>
                </a:cubicBezTo>
                <a:cubicBezTo>
                  <a:pt x="639" y="1066"/>
                  <a:pt x="639" y="1068"/>
                  <a:pt x="638" y="1068"/>
                </a:cubicBezTo>
                <a:cubicBezTo>
                  <a:pt x="638" y="1069"/>
                  <a:pt x="637" y="1069"/>
                  <a:pt x="636" y="1069"/>
                </a:cubicBezTo>
                <a:cubicBezTo>
                  <a:pt x="635" y="1070"/>
                  <a:pt x="634" y="1071"/>
                  <a:pt x="633" y="1071"/>
                </a:cubicBezTo>
                <a:cubicBezTo>
                  <a:pt x="629" y="1073"/>
                  <a:pt x="625" y="1075"/>
                  <a:pt x="623" y="1075"/>
                </a:cubicBezTo>
                <a:cubicBezTo>
                  <a:pt x="623" y="1076"/>
                  <a:pt x="622" y="1076"/>
                  <a:pt x="621" y="1076"/>
                </a:cubicBezTo>
                <a:cubicBezTo>
                  <a:pt x="620" y="1076"/>
                  <a:pt x="620" y="1076"/>
                  <a:pt x="620" y="1076"/>
                </a:cubicBezTo>
                <a:cubicBezTo>
                  <a:pt x="620" y="1075"/>
                  <a:pt x="619" y="1075"/>
                  <a:pt x="618" y="1076"/>
                </a:cubicBezTo>
                <a:cubicBezTo>
                  <a:pt x="618" y="1077"/>
                  <a:pt x="619" y="1077"/>
                  <a:pt x="619" y="1078"/>
                </a:cubicBezTo>
                <a:cubicBezTo>
                  <a:pt x="618" y="1079"/>
                  <a:pt x="616" y="1079"/>
                  <a:pt x="615" y="1079"/>
                </a:cubicBezTo>
                <a:cubicBezTo>
                  <a:pt x="611" y="1080"/>
                  <a:pt x="608" y="1082"/>
                  <a:pt x="605" y="1083"/>
                </a:cubicBezTo>
                <a:cubicBezTo>
                  <a:pt x="604" y="1084"/>
                  <a:pt x="603" y="1085"/>
                  <a:pt x="602" y="1085"/>
                </a:cubicBezTo>
                <a:cubicBezTo>
                  <a:pt x="601" y="1085"/>
                  <a:pt x="601" y="1086"/>
                  <a:pt x="600" y="1086"/>
                </a:cubicBezTo>
                <a:cubicBezTo>
                  <a:pt x="600" y="1086"/>
                  <a:pt x="599" y="1086"/>
                  <a:pt x="599" y="1086"/>
                </a:cubicBezTo>
                <a:cubicBezTo>
                  <a:pt x="599" y="1086"/>
                  <a:pt x="598" y="1086"/>
                  <a:pt x="598" y="1086"/>
                </a:cubicBezTo>
                <a:cubicBezTo>
                  <a:pt x="597" y="1086"/>
                  <a:pt x="597" y="1086"/>
                  <a:pt x="597" y="1087"/>
                </a:cubicBezTo>
                <a:cubicBezTo>
                  <a:pt x="596" y="1087"/>
                  <a:pt x="597" y="1088"/>
                  <a:pt x="597" y="1088"/>
                </a:cubicBezTo>
                <a:cubicBezTo>
                  <a:pt x="597" y="1089"/>
                  <a:pt x="596" y="1089"/>
                  <a:pt x="596" y="1090"/>
                </a:cubicBezTo>
                <a:cubicBezTo>
                  <a:pt x="594" y="1091"/>
                  <a:pt x="593" y="1092"/>
                  <a:pt x="591" y="1093"/>
                </a:cubicBezTo>
                <a:cubicBezTo>
                  <a:pt x="590" y="1094"/>
                  <a:pt x="588" y="1094"/>
                  <a:pt x="587" y="1094"/>
                </a:cubicBezTo>
                <a:cubicBezTo>
                  <a:pt x="586" y="1094"/>
                  <a:pt x="585" y="1095"/>
                  <a:pt x="584" y="1095"/>
                </a:cubicBezTo>
                <a:cubicBezTo>
                  <a:pt x="584" y="1095"/>
                  <a:pt x="583" y="1095"/>
                  <a:pt x="582" y="1095"/>
                </a:cubicBezTo>
                <a:cubicBezTo>
                  <a:pt x="582" y="1095"/>
                  <a:pt x="582" y="1095"/>
                  <a:pt x="582" y="1095"/>
                </a:cubicBezTo>
                <a:cubicBezTo>
                  <a:pt x="581" y="1095"/>
                  <a:pt x="581" y="1095"/>
                  <a:pt x="581" y="1095"/>
                </a:cubicBezTo>
                <a:cubicBezTo>
                  <a:pt x="581" y="1095"/>
                  <a:pt x="581" y="1095"/>
                  <a:pt x="581" y="1096"/>
                </a:cubicBezTo>
                <a:cubicBezTo>
                  <a:pt x="581" y="1096"/>
                  <a:pt x="581" y="1096"/>
                  <a:pt x="580" y="1096"/>
                </a:cubicBezTo>
                <a:cubicBezTo>
                  <a:pt x="579" y="1097"/>
                  <a:pt x="577" y="1097"/>
                  <a:pt x="576" y="1098"/>
                </a:cubicBezTo>
                <a:cubicBezTo>
                  <a:pt x="576" y="1098"/>
                  <a:pt x="576" y="1098"/>
                  <a:pt x="575" y="1098"/>
                </a:cubicBezTo>
                <a:cubicBezTo>
                  <a:pt x="574" y="1098"/>
                  <a:pt x="574" y="1099"/>
                  <a:pt x="573" y="1100"/>
                </a:cubicBezTo>
                <a:cubicBezTo>
                  <a:pt x="572" y="1101"/>
                  <a:pt x="572" y="1101"/>
                  <a:pt x="571" y="1102"/>
                </a:cubicBezTo>
                <a:cubicBezTo>
                  <a:pt x="571" y="1103"/>
                  <a:pt x="571" y="1103"/>
                  <a:pt x="570" y="1104"/>
                </a:cubicBezTo>
                <a:cubicBezTo>
                  <a:pt x="570" y="1105"/>
                  <a:pt x="568" y="1105"/>
                  <a:pt x="567" y="1105"/>
                </a:cubicBezTo>
                <a:cubicBezTo>
                  <a:pt x="566" y="1105"/>
                  <a:pt x="565" y="1105"/>
                  <a:pt x="564" y="1105"/>
                </a:cubicBezTo>
                <a:cubicBezTo>
                  <a:pt x="563" y="1105"/>
                  <a:pt x="561" y="1106"/>
                  <a:pt x="559" y="1107"/>
                </a:cubicBezTo>
                <a:cubicBezTo>
                  <a:pt x="557" y="1107"/>
                  <a:pt x="556" y="1108"/>
                  <a:pt x="554" y="1108"/>
                </a:cubicBezTo>
                <a:cubicBezTo>
                  <a:pt x="553" y="1108"/>
                  <a:pt x="552" y="1109"/>
                  <a:pt x="551" y="1109"/>
                </a:cubicBezTo>
                <a:cubicBezTo>
                  <a:pt x="551" y="1109"/>
                  <a:pt x="551" y="1109"/>
                  <a:pt x="550" y="1109"/>
                </a:cubicBezTo>
                <a:cubicBezTo>
                  <a:pt x="550" y="1109"/>
                  <a:pt x="550" y="1109"/>
                  <a:pt x="550" y="1110"/>
                </a:cubicBezTo>
                <a:cubicBezTo>
                  <a:pt x="550" y="1110"/>
                  <a:pt x="550" y="1110"/>
                  <a:pt x="550" y="1110"/>
                </a:cubicBezTo>
                <a:cubicBezTo>
                  <a:pt x="549" y="1110"/>
                  <a:pt x="549" y="1110"/>
                  <a:pt x="549" y="1110"/>
                </a:cubicBezTo>
                <a:cubicBezTo>
                  <a:pt x="549" y="1110"/>
                  <a:pt x="549" y="1110"/>
                  <a:pt x="549" y="1110"/>
                </a:cubicBezTo>
                <a:cubicBezTo>
                  <a:pt x="549" y="1111"/>
                  <a:pt x="548" y="1111"/>
                  <a:pt x="548" y="1111"/>
                </a:cubicBezTo>
                <a:cubicBezTo>
                  <a:pt x="548" y="1111"/>
                  <a:pt x="548" y="1111"/>
                  <a:pt x="547" y="1111"/>
                </a:cubicBezTo>
                <a:cubicBezTo>
                  <a:pt x="547" y="1111"/>
                  <a:pt x="547" y="1111"/>
                  <a:pt x="546" y="1112"/>
                </a:cubicBezTo>
                <a:cubicBezTo>
                  <a:pt x="542" y="1114"/>
                  <a:pt x="539" y="1116"/>
                  <a:pt x="536" y="1118"/>
                </a:cubicBezTo>
                <a:cubicBezTo>
                  <a:pt x="534" y="1119"/>
                  <a:pt x="533" y="1120"/>
                  <a:pt x="532" y="1120"/>
                </a:cubicBezTo>
                <a:cubicBezTo>
                  <a:pt x="530" y="1121"/>
                  <a:pt x="530" y="1121"/>
                  <a:pt x="528" y="1120"/>
                </a:cubicBezTo>
                <a:cubicBezTo>
                  <a:pt x="528" y="1120"/>
                  <a:pt x="527" y="1120"/>
                  <a:pt x="526" y="1120"/>
                </a:cubicBezTo>
                <a:cubicBezTo>
                  <a:pt x="525" y="1120"/>
                  <a:pt x="524" y="1120"/>
                  <a:pt x="523" y="1121"/>
                </a:cubicBezTo>
                <a:cubicBezTo>
                  <a:pt x="523" y="1121"/>
                  <a:pt x="521" y="1121"/>
                  <a:pt x="521" y="1122"/>
                </a:cubicBezTo>
                <a:cubicBezTo>
                  <a:pt x="521" y="1123"/>
                  <a:pt x="519" y="1124"/>
                  <a:pt x="518" y="1124"/>
                </a:cubicBezTo>
                <a:cubicBezTo>
                  <a:pt x="516" y="1124"/>
                  <a:pt x="515" y="1125"/>
                  <a:pt x="513" y="1126"/>
                </a:cubicBezTo>
                <a:cubicBezTo>
                  <a:pt x="512" y="1126"/>
                  <a:pt x="511" y="1126"/>
                  <a:pt x="511" y="1127"/>
                </a:cubicBezTo>
                <a:cubicBezTo>
                  <a:pt x="510" y="1127"/>
                  <a:pt x="510" y="1128"/>
                  <a:pt x="510" y="1129"/>
                </a:cubicBezTo>
                <a:cubicBezTo>
                  <a:pt x="509" y="1129"/>
                  <a:pt x="509" y="1130"/>
                  <a:pt x="508" y="1130"/>
                </a:cubicBezTo>
                <a:cubicBezTo>
                  <a:pt x="508" y="1130"/>
                  <a:pt x="507" y="1130"/>
                  <a:pt x="507" y="1130"/>
                </a:cubicBezTo>
                <a:cubicBezTo>
                  <a:pt x="507" y="1129"/>
                  <a:pt x="506" y="1129"/>
                  <a:pt x="505" y="1129"/>
                </a:cubicBezTo>
                <a:cubicBezTo>
                  <a:pt x="505" y="1129"/>
                  <a:pt x="504" y="1130"/>
                  <a:pt x="504" y="1130"/>
                </a:cubicBezTo>
                <a:cubicBezTo>
                  <a:pt x="504" y="1130"/>
                  <a:pt x="502" y="1131"/>
                  <a:pt x="502" y="1131"/>
                </a:cubicBezTo>
                <a:cubicBezTo>
                  <a:pt x="502" y="1132"/>
                  <a:pt x="502" y="1132"/>
                  <a:pt x="502" y="1132"/>
                </a:cubicBezTo>
                <a:cubicBezTo>
                  <a:pt x="502" y="1132"/>
                  <a:pt x="502" y="1133"/>
                  <a:pt x="502" y="1133"/>
                </a:cubicBezTo>
                <a:cubicBezTo>
                  <a:pt x="502" y="1134"/>
                  <a:pt x="500" y="1134"/>
                  <a:pt x="500" y="1134"/>
                </a:cubicBezTo>
                <a:cubicBezTo>
                  <a:pt x="498" y="1135"/>
                  <a:pt x="497" y="1135"/>
                  <a:pt x="496" y="1136"/>
                </a:cubicBezTo>
                <a:cubicBezTo>
                  <a:pt x="492" y="1137"/>
                  <a:pt x="485" y="1140"/>
                  <a:pt x="479" y="1143"/>
                </a:cubicBezTo>
                <a:cubicBezTo>
                  <a:pt x="477" y="1144"/>
                  <a:pt x="475" y="1145"/>
                  <a:pt x="473" y="1146"/>
                </a:cubicBezTo>
                <a:cubicBezTo>
                  <a:pt x="471" y="1147"/>
                  <a:pt x="469" y="1148"/>
                  <a:pt x="468" y="1148"/>
                </a:cubicBezTo>
                <a:cubicBezTo>
                  <a:pt x="467" y="1148"/>
                  <a:pt x="466" y="1148"/>
                  <a:pt x="465" y="1149"/>
                </a:cubicBezTo>
                <a:cubicBezTo>
                  <a:pt x="465" y="1149"/>
                  <a:pt x="465" y="1149"/>
                  <a:pt x="465" y="1149"/>
                </a:cubicBezTo>
                <a:cubicBezTo>
                  <a:pt x="464" y="1149"/>
                  <a:pt x="464" y="1149"/>
                  <a:pt x="464" y="1149"/>
                </a:cubicBezTo>
                <a:cubicBezTo>
                  <a:pt x="464" y="1150"/>
                  <a:pt x="464" y="1150"/>
                  <a:pt x="464" y="1150"/>
                </a:cubicBezTo>
                <a:cubicBezTo>
                  <a:pt x="464" y="1151"/>
                  <a:pt x="464" y="1151"/>
                  <a:pt x="464" y="1151"/>
                </a:cubicBezTo>
                <a:cubicBezTo>
                  <a:pt x="463" y="1152"/>
                  <a:pt x="462" y="1152"/>
                  <a:pt x="461" y="1152"/>
                </a:cubicBezTo>
                <a:cubicBezTo>
                  <a:pt x="460" y="1152"/>
                  <a:pt x="457" y="1153"/>
                  <a:pt x="455" y="1154"/>
                </a:cubicBezTo>
                <a:cubicBezTo>
                  <a:pt x="455" y="1154"/>
                  <a:pt x="454" y="1154"/>
                  <a:pt x="453" y="1154"/>
                </a:cubicBezTo>
                <a:cubicBezTo>
                  <a:pt x="453" y="1155"/>
                  <a:pt x="452" y="1155"/>
                  <a:pt x="451" y="1155"/>
                </a:cubicBezTo>
                <a:cubicBezTo>
                  <a:pt x="451" y="1155"/>
                  <a:pt x="451" y="1155"/>
                  <a:pt x="451" y="1155"/>
                </a:cubicBezTo>
                <a:cubicBezTo>
                  <a:pt x="451" y="1155"/>
                  <a:pt x="451" y="1156"/>
                  <a:pt x="451" y="1156"/>
                </a:cubicBezTo>
                <a:cubicBezTo>
                  <a:pt x="452" y="1156"/>
                  <a:pt x="452" y="1157"/>
                  <a:pt x="452" y="1157"/>
                </a:cubicBezTo>
                <a:cubicBezTo>
                  <a:pt x="451" y="1157"/>
                  <a:pt x="451" y="1157"/>
                  <a:pt x="451" y="1157"/>
                </a:cubicBezTo>
                <a:cubicBezTo>
                  <a:pt x="450" y="1158"/>
                  <a:pt x="449" y="1158"/>
                  <a:pt x="447" y="1159"/>
                </a:cubicBezTo>
                <a:cubicBezTo>
                  <a:pt x="445" y="1160"/>
                  <a:pt x="441" y="1161"/>
                  <a:pt x="440" y="1162"/>
                </a:cubicBezTo>
                <a:cubicBezTo>
                  <a:pt x="438" y="1163"/>
                  <a:pt x="434" y="1165"/>
                  <a:pt x="431" y="1167"/>
                </a:cubicBezTo>
                <a:cubicBezTo>
                  <a:pt x="427" y="1169"/>
                  <a:pt x="419" y="1173"/>
                  <a:pt x="411" y="1176"/>
                </a:cubicBezTo>
                <a:cubicBezTo>
                  <a:pt x="409" y="1177"/>
                  <a:pt x="407" y="1179"/>
                  <a:pt x="404" y="1180"/>
                </a:cubicBezTo>
                <a:cubicBezTo>
                  <a:pt x="403" y="1180"/>
                  <a:pt x="402" y="1181"/>
                  <a:pt x="401" y="1182"/>
                </a:cubicBezTo>
                <a:cubicBezTo>
                  <a:pt x="400" y="1182"/>
                  <a:pt x="399" y="1183"/>
                  <a:pt x="398" y="1182"/>
                </a:cubicBezTo>
                <a:cubicBezTo>
                  <a:pt x="398" y="1182"/>
                  <a:pt x="398" y="1182"/>
                  <a:pt x="397" y="1182"/>
                </a:cubicBezTo>
                <a:cubicBezTo>
                  <a:pt x="396" y="1181"/>
                  <a:pt x="394" y="1182"/>
                  <a:pt x="394" y="1183"/>
                </a:cubicBezTo>
                <a:cubicBezTo>
                  <a:pt x="393" y="1184"/>
                  <a:pt x="392" y="1184"/>
                  <a:pt x="391" y="1184"/>
                </a:cubicBezTo>
                <a:cubicBezTo>
                  <a:pt x="390" y="1185"/>
                  <a:pt x="390" y="1185"/>
                  <a:pt x="389" y="1185"/>
                </a:cubicBezTo>
                <a:cubicBezTo>
                  <a:pt x="389" y="1185"/>
                  <a:pt x="389" y="1185"/>
                  <a:pt x="388" y="1185"/>
                </a:cubicBezTo>
                <a:cubicBezTo>
                  <a:pt x="388" y="1185"/>
                  <a:pt x="388" y="1185"/>
                  <a:pt x="388" y="1185"/>
                </a:cubicBezTo>
                <a:cubicBezTo>
                  <a:pt x="388" y="1185"/>
                  <a:pt x="388" y="1185"/>
                  <a:pt x="387" y="1186"/>
                </a:cubicBezTo>
                <a:cubicBezTo>
                  <a:pt x="388" y="1188"/>
                  <a:pt x="386" y="1188"/>
                  <a:pt x="385" y="1189"/>
                </a:cubicBezTo>
                <a:cubicBezTo>
                  <a:pt x="384" y="1190"/>
                  <a:pt x="381" y="1191"/>
                  <a:pt x="379" y="1192"/>
                </a:cubicBezTo>
                <a:cubicBezTo>
                  <a:pt x="379" y="1193"/>
                  <a:pt x="378" y="1193"/>
                  <a:pt x="377" y="1193"/>
                </a:cubicBezTo>
                <a:cubicBezTo>
                  <a:pt x="377" y="1194"/>
                  <a:pt x="377" y="1194"/>
                  <a:pt x="376" y="1194"/>
                </a:cubicBezTo>
                <a:cubicBezTo>
                  <a:pt x="375" y="1194"/>
                  <a:pt x="375" y="1194"/>
                  <a:pt x="375" y="1194"/>
                </a:cubicBezTo>
                <a:cubicBezTo>
                  <a:pt x="374" y="1194"/>
                  <a:pt x="372" y="1195"/>
                  <a:pt x="372" y="1195"/>
                </a:cubicBezTo>
                <a:cubicBezTo>
                  <a:pt x="371" y="1196"/>
                  <a:pt x="370" y="1197"/>
                  <a:pt x="369" y="1197"/>
                </a:cubicBezTo>
                <a:cubicBezTo>
                  <a:pt x="368" y="1197"/>
                  <a:pt x="368" y="1197"/>
                  <a:pt x="367" y="1197"/>
                </a:cubicBezTo>
                <a:cubicBezTo>
                  <a:pt x="366" y="1197"/>
                  <a:pt x="365" y="1196"/>
                  <a:pt x="365" y="1197"/>
                </a:cubicBezTo>
                <a:cubicBezTo>
                  <a:pt x="364" y="1197"/>
                  <a:pt x="364" y="1198"/>
                  <a:pt x="364" y="1198"/>
                </a:cubicBezTo>
                <a:cubicBezTo>
                  <a:pt x="363" y="1199"/>
                  <a:pt x="362" y="1199"/>
                  <a:pt x="362" y="1200"/>
                </a:cubicBezTo>
                <a:cubicBezTo>
                  <a:pt x="360" y="1200"/>
                  <a:pt x="359" y="1202"/>
                  <a:pt x="358" y="1203"/>
                </a:cubicBezTo>
                <a:cubicBezTo>
                  <a:pt x="357" y="1204"/>
                  <a:pt x="355" y="1205"/>
                  <a:pt x="353" y="1205"/>
                </a:cubicBezTo>
                <a:cubicBezTo>
                  <a:pt x="352" y="1206"/>
                  <a:pt x="350" y="1207"/>
                  <a:pt x="348" y="1207"/>
                </a:cubicBezTo>
                <a:cubicBezTo>
                  <a:pt x="347" y="1207"/>
                  <a:pt x="346" y="1207"/>
                  <a:pt x="345" y="1207"/>
                </a:cubicBezTo>
                <a:cubicBezTo>
                  <a:pt x="345" y="1208"/>
                  <a:pt x="345" y="1208"/>
                  <a:pt x="345" y="1208"/>
                </a:cubicBezTo>
                <a:cubicBezTo>
                  <a:pt x="344" y="1209"/>
                  <a:pt x="345" y="1209"/>
                  <a:pt x="344" y="1210"/>
                </a:cubicBezTo>
                <a:cubicBezTo>
                  <a:pt x="344" y="1210"/>
                  <a:pt x="344" y="1210"/>
                  <a:pt x="343" y="1210"/>
                </a:cubicBezTo>
                <a:cubicBezTo>
                  <a:pt x="343" y="1210"/>
                  <a:pt x="342" y="1211"/>
                  <a:pt x="342" y="1211"/>
                </a:cubicBezTo>
                <a:cubicBezTo>
                  <a:pt x="341" y="1211"/>
                  <a:pt x="341" y="1211"/>
                  <a:pt x="340" y="1210"/>
                </a:cubicBezTo>
                <a:cubicBezTo>
                  <a:pt x="340" y="1210"/>
                  <a:pt x="339" y="1210"/>
                  <a:pt x="339" y="1210"/>
                </a:cubicBezTo>
                <a:cubicBezTo>
                  <a:pt x="338" y="1210"/>
                  <a:pt x="338" y="1209"/>
                  <a:pt x="337" y="1209"/>
                </a:cubicBezTo>
                <a:cubicBezTo>
                  <a:pt x="336" y="1209"/>
                  <a:pt x="337" y="1210"/>
                  <a:pt x="336" y="1211"/>
                </a:cubicBezTo>
                <a:cubicBezTo>
                  <a:pt x="336" y="1211"/>
                  <a:pt x="336" y="1211"/>
                  <a:pt x="336" y="1211"/>
                </a:cubicBezTo>
                <a:cubicBezTo>
                  <a:pt x="336" y="1210"/>
                  <a:pt x="336" y="1210"/>
                  <a:pt x="335" y="1210"/>
                </a:cubicBezTo>
                <a:cubicBezTo>
                  <a:pt x="335" y="1210"/>
                  <a:pt x="335" y="1210"/>
                  <a:pt x="335" y="1210"/>
                </a:cubicBezTo>
                <a:cubicBezTo>
                  <a:pt x="335" y="1210"/>
                  <a:pt x="334" y="1210"/>
                  <a:pt x="334" y="1210"/>
                </a:cubicBezTo>
                <a:cubicBezTo>
                  <a:pt x="334" y="1211"/>
                  <a:pt x="334" y="1211"/>
                  <a:pt x="334" y="1211"/>
                </a:cubicBezTo>
                <a:cubicBezTo>
                  <a:pt x="334" y="1211"/>
                  <a:pt x="334" y="1211"/>
                  <a:pt x="335" y="1212"/>
                </a:cubicBezTo>
                <a:cubicBezTo>
                  <a:pt x="335" y="1212"/>
                  <a:pt x="335" y="1212"/>
                  <a:pt x="336" y="1212"/>
                </a:cubicBezTo>
                <a:cubicBezTo>
                  <a:pt x="336" y="1213"/>
                  <a:pt x="336" y="1213"/>
                  <a:pt x="335" y="1214"/>
                </a:cubicBezTo>
                <a:cubicBezTo>
                  <a:pt x="335" y="1214"/>
                  <a:pt x="335" y="1214"/>
                  <a:pt x="335" y="1215"/>
                </a:cubicBezTo>
                <a:cubicBezTo>
                  <a:pt x="334" y="1214"/>
                  <a:pt x="334" y="1214"/>
                  <a:pt x="333" y="1214"/>
                </a:cubicBezTo>
                <a:cubicBezTo>
                  <a:pt x="332" y="1214"/>
                  <a:pt x="332" y="1213"/>
                  <a:pt x="331" y="1213"/>
                </a:cubicBezTo>
                <a:cubicBezTo>
                  <a:pt x="330" y="1213"/>
                  <a:pt x="330" y="1214"/>
                  <a:pt x="329" y="1214"/>
                </a:cubicBezTo>
                <a:cubicBezTo>
                  <a:pt x="328" y="1214"/>
                  <a:pt x="325" y="1216"/>
                  <a:pt x="322" y="1217"/>
                </a:cubicBezTo>
                <a:cubicBezTo>
                  <a:pt x="321" y="1217"/>
                  <a:pt x="320" y="1217"/>
                  <a:pt x="319" y="1218"/>
                </a:cubicBezTo>
                <a:cubicBezTo>
                  <a:pt x="319" y="1218"/>
                  <a:pt x="318" y="1218"/>
                  <a:pt x="318" y="1219"/>
                </a:cubicBezTo>
                <a:cubicBezTo>
                  <a:pt x="318" y="1219"/>
                  <a:pt x="318" y="1220"/>
                  <a:pt x="318" y="1220"/>
                </a:cubicBezTo>
                <a:cubicBezTo>
                  <a:pt x="317" y="1221"/>
                  <a:pt x="316" y="1221"/>
                  <a:pt x="316" y="1221"/>
                </a:cubicBezTo>
                <a:cubicBezTo>
                  <a:pt x="315" y="1222"/>
                  <a:pt x="314" y="1222"/>
                  <a:pt x="314" y="1223"/>
                </a:cubicBezTo>
                <a:cubicBezTo>
                  <a:pt x="313" y="1224"/>
                  <a:pt x="311" y="1225"/>
                  <a:pt x="310" y="1225"/>
                </a:cubicBezTo>
                <a:cubicBezTo>
                  <a:pt x="309" y="1225"/>
                  <a:pt x="309" y="1224"/>
                  <a:pt x="308" y="1224"/>
                </a:cubicBezTo>
                <a:cubicBezTo>
                  <a:pt x="308" y="1224"/>
                  <a:pt x="308" y="1224"/>
                  <a:pt x="307" y="1224"/>
                </a:cubicBezTo>
                <a:cubicBezTo>
                  <a:pt x="307" y="1224"/>
                  <a:pt x="307" y="1223"/>
                  <a:pt x="307" y="1223"/>
                </a:cubicBezTo>
                <a:cubicBezTo>
                  <a:pt x="306" y="1223"/>
                  <a:pt x="305" y="1224"/>
                  <a:pt x="304" y="1225"/>
                </a:cubicBezTo>
                <a:cubicBezTo>
                  <a:pt x="304" y="1225"/>
                  <a:pt x="303" y="1225"/>
                  <a:pt x="302" y="1226"/>
                </a:cubicBezTo>
                <a:cubicBezTo>
                  <a:pt x="302" y="1226"/>
                  <a:pt x="301" y="1226"/>
                  <a:pt x="301" y="1226"/>
                </a:cubicBezTo>
                <a:cubicBezTo>
                  <a:pt x="301" y="1227"/>
                  <a:pt x="301" y="1227"/>
                  <a:pt x="301" y="1227"/>
                </a:cubicBezTo>
                <a:cubicBezTo>
                  <a:pt x="301" y="1228"/>
                  <a:pt x="300" y="1228"/>
                  <a:pt x="300" y="1229"/>
                </a:cubicBezTo>
                <a:cubicBezTo>
                  <a:pt x="300" y="1230"/>
                  <a:pt x="300" y="1230"/>
                  <a:pt x="300" y="1230"/>
                </a:cubicBezTo>
                <a:cubicBezTo>
                  <a:pt x="299" y="1230"/>
                  <a:pt x="299" y="1231"/>
                  <a:pt x="299" y="1231"/>
                </a:cubicBezTo>
                <a:cubicBezTo>
                  <a:pt x="298" y="1230"/>
                  <a:pt x="298" y="1230"/>
                  <a:pt x="298" y="1230"/>
                </a:cubicBezTo>
                <a:cubicBezTo>
                  <a:pt x="297" y="1230"/>
                  <a:pt x="297" y="1230"/>
                  <a:pt x="297" y="1230"/>
                </a:cubicBezTo>
                <a:cubicBezTo>
                  <a:pt x="295" y="1231"/>
                  <a:pt x="294" y="1232"/>
                  <a:pt x="292" y="1233"/>
                </a:cubicBezTo>
                <a:cubicBezTo>
                  <a:pt x="292" y="1233"/>
                  <a:pt x="290" y="1234"/>
                  <a:pt x="289" y="1234"/>
                </a:cubicBezTo>
                <a:cubicBezTo>
                  <a:pt x="289" y="1234"/>
                  <a:pt x="286" y="1236"/>
                  <a:pt x="282" y="1237"/>
                </a:cubicBezTo>
                <a:cubicBezTo>
                  <a:pt x="281" y="1238"/>
                  <a:pt x="280" y="1238"/>
                  <a:pt x="279" y="1239"/>
                </a:cubicBezTo>
                <a:cubicBezTo>
                  <a:pt x="278" y="1239"/>
                  <a:pt x="277" y="1239"/>
                  <a:pt x="276" y="1240"/>
                </a:cubicBezTo>
                <a:cubicBezTo>
                  <a:pt x="276" y="1240"/>
                  <a:pt x="276" y="1241"/>
                  <a:pt x="275" y="1242"/>
                </a:cubicBezTo>
                <a:cubicBezTo>
                  <a:pt x="275" y="1243"/>
                  <a:pt x="274" y="1243"/>
                  <a:pt x="273" y="1244"/>
                </a:cubicBezTo>
                <a:cubicBezTo>
                  <a:pt x="273" y="1244"/>
                  <a:pt x="272" y="1244"/>
                  <a:pt x="272" y="1244"/>
                </a:cubicBezTo>
                <a:cubicBezTo>
                  <a:pt x="271" y="1244"/>
                  <a:pt x="271" y="1243"/>
                  <a:pt x="271" y="1243"/>
                </a:cubicBezTo>
                <a:cubicBezTo>
                  <a:pt x="270" y="1243"/>
                  <a:pt x="269" y="1243"/>
                  <a:pt x="269" y="1244"/>
                </a:cubicBezTo>
                <a:cubicBezTo>
                  <a:pt x="268" y="1244"/>
                  <a:pt x="267" y="1244"/>
                  <a:pt x="266" y="1245"/>
                </a:cubicBezTo>
                <a:cubicBezTo>
                  <a:pt x="265" y="1246"/>
                  <a:pt x="263" y="1247"/>
                  <a:pt x="262" y="1248"/>
                </a:cubicBezTo>
                <a:cubicBezTo>
                  <a:pt x="262" y="1249"/>
                  <a:pt x="261" y="1251"/>
                  <a:pt x="259" y="1251"/>
                </a:cubicBezTo>
                <a:cubicBezTo>
                  <a:pt x="259" y="1252"/>
                  <a:pt x="258" y="1251"/>
                  <a:pt x="257" y="1251"/>
                </a:cubicBezTo>
                <a:cubicBezTo>
                  <a:pt x="256" y="1251"/>
                  <a:pt x="256" y="1251"/>
                  <a:pt x="255" y="1251"/>
                </a:cubicBezTo>
                <a:cubicBezTo>
                  <a:pt x="254" y="1251"/>
                  <a:pt x="253" y="1252"/>
                  <a:pt x="252" y="1252"/>
                </a:cubicBezTo>
                <a:cubicBezTo>
                  <a:pt x="250" y="1253"/>
                  <a:pt x="247" y="1254"/>
                  <a:pt x="246" y="1254"/>
                </a:cubicBezTo>
                <a:cubicBezTo>
                  <a:pt x="245" y="1254"/>
                  <a:pt x="242" y="1256"/>
                  <a:pt x="239" y="1258"/>
                </a:cubicBezTo>
                <a:cubicBezTo>
                  <a:pt x="237" y="1259"/>
                  <a:pt x="235" y="1260"/>
                  <a:pt x="233" y="1260"/>
                </a:cubicBezTo>
                <a:cubicBezTo>
                  <a:pt x="233" y="1260"/>
                  <a:pt x="233" y="1260"/>
                  <a:pt x="233" y="1261"/>
                </a:cubicBezTo>
                <a:cubicBezTo>
                  <a:pt x="233" y="1261"/>
                  <a:pt x="233" y="1261"/>
                  <a:pt x="233" y="1261"/>
                </a:cubicBezTo>
                <a:cubicBezTo>
                  <a:pt x="233" y="1261"/>
                  <a:pt x="234" y="1262"/>
                  <a:pt x="233" y="1262"/>
                </a:cubicBezTo>
                <a:cubicBezTo>
                  <a:pt x="233" y="1262"/>
                  <a:pt x="233" y="1262"/>
                  <a:pt x="232" y="1262"/>
                </a:cubicBezTo>
                <a:cubicBezTo>
                  <a:pt x="232" y="1263"/>
                  <a:pt x="232" y="1264"/>
                  <a:pt x="231" y="1265"/>
                </a:cubicBezTo>
                <a:cubicBezTo>
                  <a:pt x="231" y="1265"/>
                  <a:pt x="230" y="1266"/>
                  <a:pt x="229" y="1266"/>
                </a:cubicBezTo>
                <a:cubicBezTo>
                  <a:pt x="228" y="1266"/>
                  <a:pt x="227" y="1267"/>
                  <a:pt x="225" y="1267"/>
                </a:cubicBezTo>
                <a:cubicBezTo>
                  <a:pt x="224" y="1268"/>
                  <a:pt x="222" y="1269"/>
                  <a:pt x="220" y="1269"/>
                </a:cubicBezTo>
                <a:cubicBezTo>
                  <a:pt x="219" y="1270"/>
                  <a:pt x="218" y="1270"/>
                  <a:pt x="217" y="1271"/>
                </a:cubicBezTo>
                <a:cubicBezTo>
                  <a:pt x="217" y="1271"/>
                  <a:pt x="217" y="1272"/>
                  <a:pt x="216" y="1272"/>
                </a:cubicBezTo>
                <a:cubicBezTo>
                  <a:pt x="216" y="1271"/>
                  <a:pt x="216" y="1271"/>
                  <a:pt x="216" y="1271"/>
                </a:cubicBezTo>
                <a:cubicBezTo>
                  <a:pt x="215" y="1271"/>
                  <a:pt x="215" y="1271"/>
                  <a:pt x="215" y="1271"/>
                </a:cubicBezTo>
                <a:cubicBezTo>
                  <a:pt x="214" y="1271"/>
                  <a:pt x="213" y="1271"/>
                  <a:pt x="213" y="1272"/>
                </a:cubicBezTo>
                <a:cubicBezTo>
                  <a:pt x="211" y="1272"/>
                  <a:pt x="208" y="1273"/>
                  <a:pt x="207" y="1274"/>
                </a:cubicBezTo>
                <a:cubicBezTo>
                  <a:pt x="206" y="1274"/>
                  <a:pt x="204" y="1275"/>
                  <a:pt x="204" y="1276"/>
                </a:cubicBezTo>
                <a:cubicBezTo>
                  <a:pt x="204" y="1276"/>
                  <a:pt x="204" y="1276"/>
                  <a:pt x="204" y="1277"/>
                </a:cubicBezTo>
                <a:cubicBezTo>
                  <a:pt x="204" y="1277"/>
                  <a:pt x="204" y="1277"/>
                  <a:pt x="204" y="1277"/>
                </a:cubicBezTo>
                <a:cubicBezTo>
                  <a:pt x="204" y="1278"/>
                  <a:pt x="204" y="1278"/>
                  <a:pt x="204" y="1278"/>
                </a:cubicBezTo>
                <a:cubicBezTo>
                  <a:pt x="202" y="1279"/>
                  <a:pt x="200" y="1280"/>
                  <a:pt x="198" y="1281"/>
                </a:cubicBezTo>
                <a:cubicBezTo>
                  <a:pt x="197" y="1282"/>
                  <a:pt x="195" y="1282"/>
                  <a:pt x="194" y="1283"/>
                </a:cubicBezTo>
                <a:cubicBezTo>
                  <a:pt x="193" y="1283"/>
                  <a:pt x="193" y="1284"/>
                  <a:pt x="193" y="1284"/>
                </a:cubicBezTo>
                <a:cubicBezTo>
                  <a:pt x="192" y="1283"/>
                  <a:pt x="192" y="1283"/>
                  <a:pt x="192" y="1283"/>
                </a:cubicBezTo>
                <a:cubicBezTo>
                  <a:pt x="192" y="1283"/>
                  <a:pt x="191" y="1283"/>
                  <a:pt x="191" y="1283"/>
                </a:cubicBezTo>
                <a:cubicBezTo>
                  <a:pt x="190" y="1284"/>
                  <a:pt x="190" y="1287"/>
                  <a:pt x="188" y="1286"/>
                </a:cubicBezTo>
                <a:cubicBezTo>
                  <a:pt x="188" y="1286"/>
                  <a:pt x="188" y="1285"/>
                  <a:pt x="188" y="1285"/>
                </a:cubicBezTo>
                <a:cubicBezTo>
                  <a:pt x="188" y="1285"/>
                  <a:pt x="187" y="1285"/>
                  <a:pt x="187" y="1284"/>
                </a:cubicBezTo>
                <a:cubicBezTo>
                  <a:pt x="187" y="1284"/>
                  <a:pt x="187" y="1284"/>
                  <a:pt x="186" y="1284"/>
                </a:cubicBezTo>
                <a:cubicBezTo>
                  <a:pt x="186" y="1284"/>
                  <a:pt x="186" y="1284"/>
                  <a:pt x="185" y="1284"/>
                </a:cubicBezTo>
                <a:cubicBezTo>
                  <a:pt x="185" y="1284"/>
                  <a:pt x="184" y="1284"/>
                  <a:pt x="184" y="1284"/>
                </a:cubicBezTo>
                <a:cubicBezTo>
                  <a:pt x="184" y="1285"/>
                  <a:pt x="184" y="1285"/>
                  <a:pt x="184" y="1285"/>
                </a:cubicBezTo>
                <a:cubicBezTo>
                  <a:pt x="184" y="1286"/>
                  <a:pt x="183" y="1284"/>
                  <a:pt x="182" y="1285"/>
                </a:cubicBezTo>
                <a:cubicBezTo>
                  <a:pt x="181" y="1285"/>
                  <a:pt x="180" y="1286"/>
                  <a:pt x="179" y="1286"/>
                </a:cubicBezTo>
                <a:cubicBezTo>
                  <a:pt x="177" y="1287"/>
                  <a:pt x="174" y="1289"/>
                  <a:pt x="172" y="1290"/>
                </a:cubicBezTo>
                <a:cubicBezTo>
                  <a:pt x="170" y="1291"/>
                  <a:pt x="168" y="1292"/>
                  <a:pt x="166" y="1293"/>
                </a:cubicBezTo>
                <a:cubicBezTo>
                  <a:pt x="164" y="1294"/>
                  <a:pt x="163" y="1294"/>
                  <a:pt x="162" y="1295"/>
                </a:cubicBezTo>
                <a:cubicBezTo>
                  <a:pt x="162" y="1295"/>
                  <a:pt x="161" y="1295"/>
                  <a:pt x="161" y="1296"/>
                </a:cubicBezTo>
                <a:cubicBezTo>
                  <a:pt x="161" y="1297"/>
                  <a:pt x="161" y="1297"/>
                  <a:pt x="160" y="1298"/>
                </a:cubicBezTo>
                <a:cubicBezTo>
                  <a:pt x="159" y="1298"/>
                  <a:pt x="159" y="1299"/>
                  <a:pt x="159" y="1300"/>
                </a:cubicBezTo>
                <a:cubicBezTo>
                  <a:pt x="158" y="1301"/>
                  <a:pt x="158" y="1302"/>
                  <a:pt x="157" y="1303"/>
                </a:cubicBezTo>
                <a:cubicBezTo>
                  <a:pt x="156" y="1303"/>
                  <a:pt x="155" y="1303"/>
                  <a:pt x="154" y="1304"/>
                </a:cubicBezTo>
                <a:cubicBezTo>
                  <a:pt x="153" y="1304"/>
                  <a:pt x="151" y="1305"/>
                  <a:pt x="150" y="1306"/>
                </a:cubicBezTo>
                <a:cubicBezTo>
                  <a:pt x="149" y="1306"/>
                  <a:pt x="149" y="1306"/>
                  <a:pt x="149" y="1306"/>
                </a:cubicBezTo>
                <a:cubicBezTo>
                  <a:pt x="148" y="1306"/>
                  <a:pt x="149" y="1307"/>
                  <a:pt x="148" y="1307"/>
                </a:cubicBezTo>
                <a:cubicBezTo>
                  <a:pt x="148" y="1307"/>
                  <a:pt x="148" y="1307"/>
                  <a:pt x="148" y="1307"/>
                </a:cubicBezTo>
                <a:cubicBezTo>
                  <a:pt x="147" y="1308"/>
                  <a:pt x="146" y="1308"/>
                  <a:pt x="146" y="1308"/>
                </a:cubicBezTo>
                <a:cubicBezTo>
                  <a:pt x="145" y="1309"/>
                  <a:pt x="144" y="1309"/>
                  <a:pt x="143" y="1310"/>
                </a:cubicBezTo>
                <a:cubicBezTo>
                  <a:pt x="143" y="1310"/>
                  <a:pt x="143" y="1310"/>
                  <a:pt x="142" y="1309"/>
                </a:cubicBezTo>
                <a:cubicBezTo>
                  <a:pt x="142" y="1309"/>
                  <a:pt x="142" y="1309"/>
                  <a:pt x="141" y="1308"/>
                </a:cubicBezTo>
                <a:cubicBezTo>
                  <a:pt x="141" y="1308"/>
                  <a:pt x="140" y="1308"/>
                  <a:pt x="140" y="1309"/>
                </a:cubicBezTo>
                <a:cubicBezTo>
                  <a:pt x="140" y="1309"/>
                  <a:pt x="139" y="1309"/>
                  <a:pt x="139" y="1309"/>
                </a:cubicBezTo>
                <a:cubicBezTo>
                  <a:pt x="139" y="1309"/>
                  <a:pt x="139" y="1310"/>
                  <a:pt x="139" y="1310"/>
                </a:cubicBezTo>
                <a:cubicBezTo>
                  <a:pt x="139" y="1310"/>
                  <a:pt x="139" y="1310"/>
                  <a:pt x="139" y="1310"/>
                </a:cubicBezTo>
                <a:cubicBezTo>
                  <a:pt x="141" y="1311"/>
                  <a:pt x="139" y="1312"/>
                  <a:pt x="138" y="1312"/>
                </a:cubicBezTo>
                <a:cubicBezTo>
                  <a:pt x="137" y="1313"/>
                  <a:pt x="136" y="1313"/>
                  <a:pt x="135" y="1312"/>
                </a:cubicBezTo>
                <a:cubicBezTo>
                  <a:pt x="134" y="1312"/>
                  <a:pt x="133" y="1313"/>
                  <a:pt x="132" y="1313"/>
                </a:cubicBezTo>
                <a:cubicBezTo>
                  <a:pt x="132" y="1314"/>
                  <a:pt x="131" y="1314"/>
                  <a:pt x="131" y="1314"/>
                </a:cubicBezTo>
                <a:cubicBezTo>
                  <a:pt x="131" y="1314"/>
                  <a:pt x="131" y="1314"/>
                  <a:pt x="131" y="1315"/>
                </a:cubicBezTo>
                <a:cubicBezTo>
                  <a:pt x="131" y="1315"/>
                  <a:pt x="131" y="1315"/>
                  <a:pt x="131" y="1315"/>
                </a:cubicBezTo>
                <a:cubicBezTo>
                  <a:pt x="131" y="1315"/>
                  <a:pt x="131" y="1316"/>
                  <a:pt x="131" y="1316"/>
                </a:cubicBezTo>
                <a:cubicBezTo>
                  <a:pt x="129" y="1317"/>
                  <a:pt x="127" y="1318"/>
                  <a:pt x="126" y="1319"/>
                </a:cubicBezTo>
                <a:cubicBezTo>
                  <a:pt x="124" y="1319"/>
                  <a:pt x="123" y="1320"/>
                  <a:pt x="121" y="1321"/>
                </a:cubicBezTo>
                <a:cubicBezTo>
                  <a:pt x="119" y="1322"/>
                  <a:pt x="117" y="1324"/>
                  <a:pt x="115" y="1325"/>
                </a:cubicBezTo>
                <a:cubicBezTo>
                  <a:pt x="114" y="1325"/>
                  <a:pt x="113" y="1326"/>
                  <a:pt x="112" y="1326"/>
                </a:cubicBezTo>
                <a:cubicBezTo>
                  <a:pt x="111" y="1326"/>
                  <a:pt x="111" y="1326"/>
                  <a:pt x="111" y="1326"/>
                </a:cubicBezTo>
                <a:cubicBezTo>
                  <a:pt x="110" y="1326"/>
                  <a:pt x="110" y="1325"/>
                  <a:pt x="110" y="1325"/>
                </a:cubicBezTo>
                <a:cubicBezTo>
                  <a:pt x="109" y="1325"/>
                  <a:pt x="107" y="1327"/>
                  <a:pt x="106" y="1327"/>
                </a:cubicBezTo>
                <a:cubicBezTo>
                  <a:pt x="106" y="1327"/>
                  <a:pt x="106" y="1326"/>
                  <a:pt x="106" y="1326"/>
                </a:cubicBezTo>
                <a:cubicBezTo>
                  <a:pt x="106" y="1326"/>
                  <a:pt x="106" y="1326"/>
                  <a:pt x="106" y="1326"/>
                </a:cubicBezTo>
                <a:cubicBezTo>
                  <a:pt x="105" y="1326"/>
                  <a:pt x="105" y="1326"/>
                  <a:pt x="105" y="1326"/>
                </a:cubicBezTo>
                <a:cubicBezTo>
                  <a:pt x="101" y="1328"/>
                  <a:pt x="98" y="1330"/>
                  <a:pt x="95" y="1332"/>
                </a:cubicBezTo>
                <a:cubicBezTo>
                  <a:pt x="94" y="1332"/>
                  <a:pt x="93" y="1333"/>
                  <a:pt x="93" y="1333"/>
                </a:cubicBezTo>
                <a:cubicBezTo>
                  <a:pt x="92" y="1334"/>
                  <a:pt x="92" y="1335"/>
                  <a:pt x="91" y="1336"/>
                </a:cubicBezTo>
                <a:cubicBezTo>
                  <a:pt x="91" y="1337"/>
                  <a:pt x="91" y="1338"/>
                  <a:pt x="90" y="1338"/>
                </a:cubicBezTo>
                <a:cubicBezTo>
                  <a:pt x="90" y="1339"/>
                  <a:pt x="89" y="1339"/>
                  <a:pt x="88" y="1340"/>
                </a:cubicBezTo>
                <a:cubicBezTo>
                  <a:pt x="87" y="1340"/>
                  <a:pt x="87" y="1340"/>
                  <a:pt x="86" y="1340"/>
                </a:cubicBezTo>
                <a:cubicBezTo>
                  <a:pt x="86" y="1341"/>
                  <a:pt x="85" y="1341"/>
                  <a:pt x="85" y="1340"/>
                </a:cubicBezTo>
                <a:cubicBezTo>
                  <a:pt x="85" y="1340"/>
                  <a:pt x="85" y="1339"/>
                  <a:pt x="84" y="1339"/>
                </a:cubicBezTo>
                <a:cubicBezTo>
                  <a:pt x="84" y="1340"/>
                  <a:pt x="83" y="1340"/>
                  <a:pt x="82" y="1341"/>
                </a:cubicBezTo>
                <a:cubicBezTo>
                  <a:pt x="81" y="1341"/>
                  <a:pt x="81" y="1341"/>
                  <a:pt x="80" y="1340"/>
                </a:cubicBezTo>
                <a:cubicBezTo>
                  <a:pt x="79" y="1340"/>
                  <a:pt x="78" y="1340"/>
                  <a:pt x="77" y="1340"/>
                </a:cubicBezTo>
                <a:cubicBezTo>
                  <a:pt x="76" y="1341"/>
                  <a:pt x="75" y="1341"/>
                  <a:pt x="75" y="1341"/>
                </a:cubicBezTo>
                <a:cubicBezTo>
                  <a:pt x="74" y="1342"/>
                  <a:pt x="72" y="1342"/>
                  <a:pt x="71" y="1343"/>
                </a:cubicBezTo>
                <a:cubicBezTo>
                  <a:pt x="71" y="1344"/>
                  <a:pt x="71" y="1345"/>
                  <a:pt x="71" y="1345"/>
                </a:cubicBezTo>
                <a:cubicBezTo>
                  <a:pt x="70" y="1346"/>
                  <a:pt x="70" y="1346"/>
                  <a:pt x="69" y="1346"/>
                </a:cubicBezTo>
                <a:cubicBezTo>
                  <a:pt x="68" y="1346"/>
                  <a:pt x="64" y="1348"/>
                  <a:pt x="60" y="1350"/>
                </a:cubicBezTo>
                <a:cubicBezTo>
                  <a:pt x="59" y="1351"/>
                  <a:pt x="58" y="1351"/>
                  <a:pt x="56" y="1352"/>
                </a:cubicBezTo>
                <a:cubicBezTo>
                  <a:pt x="46" y="1358"/>
                  <a:pt x="35" y="1360"/>
                  <a:pt x="21" y="1368"/>
                </a:cubicBezTo>
                <a:cubicBezTo>
                  <a:pt x="15" y="1371"/>
                  <a:pt x="2" y="1374"/>
                  <a:pt x="1" y="1383"/>
                </a:cubicBezTo>
                <a:cubicBezTo>
                  <a:pt x="0" y="1389"/>
                  <a:pt x="6" y="1396"/>
                  <a:pt x="8" y="1401"/>
                </a:cubicBezTo>
                <a:cubicBezTo>
                  <a:pt x="10" y="1405"/>
                  <a:pt x="13" y="1406"/>
                  <a:pt x="16" y="1409"/>
                </a:cubicBezTo>
                <a:cubicBezTo>
                  <a:pt x="17" y="1411"/>
                  <a:pt x="18" y="1414"/>
                  <a:pt x="19" y="1415"/>
                </a:cubicBezTo>
                <a:cubicBezTo>
                  <a:pt x="21" y="1416"/>
                  <a:pt x="22" y="1416"/>
                  <a:pt x="24" y="1416"/>
                </a:cubicBezTo>
                <a:cubicBezTo>
                  <a:pt x="29" y="1416"/>
                  <a:pt x="31" y="1416"/>
                  <a:pt x="36" y="1415"/>
                </a:cubicBezTo>
                <a:cubicBezTo>
                  <a:pt x="41" y="1413"/>
                  <a:pt x="46" y="1412"/>
                  <a:pt x="50" y="1410"/>
                </a:cubicBezTo>
                <a:cubicBezTo>
                  <a:pt x="55" y="1408"/>
                  <a:pt x="59" y="1406"/>
                  <a:pt x="63" y="1404"/>
                </a:cubicBezTo>
                <a:cubicBezTo>
                  <a:pt x="64" y="1404"/>
                  <a:pt x="66" y="1403"/>
                  <a:pt x="67" y="1402"/>
                </a:cubicBezTo>
                <a:cubicBezTo>
                  <a:pt x="67" y="1401"/>
                  <a:pt x="68" y="1401"/>
                  <a:pt x="69" y="1400"/>
                </a:cubicBezTo>
                <a:cubicBezTo>
                  <a:pt x="70" y="1400"/>
                  <a:pt x="72" y="1400"/>
                  <a:pt x="74" y="1399"/>
                </a:cubicBezTo>
                <a:cubicBezTo>
                  <a:pt x="75" y="1399"/>
                  <a:pt x="76" y="1398"/>
                  <a:pt x="77" y="1397"/>
                </a:cubicBezTo>
                <a:cubicBezTo>
                  <a:pt x="79" y="1396"/>
                  <a:pt x="81" y="1396"/>
                  <a:pt x="83" y="1395"/>
                </a:cubicBezTo>
                <a:cubicBezTo>
                  <a:pt x="85" y="1394"/>
                  <a:pt x="87" y="1393"/>
                  <a:pt x="89" y="1392"/>
                </a:cubicBezTo>
                <a:cubicBezTo>
                  <a:pt x="91" y="1391"/>
                  <a:pt x="93" y="1390"/>
                  <a:pt x="95" y="1389"/>
                </a:cubicBezTo>
                <a:cubicBezTo>
                  <a:pt x="96" y="1389"/>
                  <a:pt x="97" y="1387"/>
                  <a:pt x="98" y="1386"/>
                </a:cubicBezTo>
                <a:cubicBezTo>
                  <a:pt x="99" y="1385"/>
                  <a:pt x="101" y="1384"/>
                  <a:pt x="103" y="1383"/>
                </a:cubicBezTo>
                <a:cubicBezTo>
                  <a:pt x="136" y="1368"/>
                  <a:pt x="217" y="1329"/>
                  <a:pt x="232" y="1320"/>
                </a:cubicBezTo>
                <a:cubicBezTo>
                  <a:pt x="236" y="1319"/>
                  <a:pt x="243" y="1315"/>
                  <a:pt x="248" y="1312"/>
                </a:cubicBezTo>
                <a:cubicBezTo>
                  <a:pt x="254" y="1309"/>
                  <a:pt x="262" y="1305"/>
                  <a:pt x="267" y="1302"/>
                </a:cubicBezTo>
                <a:cubicBezTo>
                  <a:pt x="293" y="1289"/>
                  <a:pt x="303" y="1283"/>
                  <a:pt x="329" y="1270"/>
                </a:cubicBezTo>
                <a:cubicBezTo>
                  <a:pt x="331" y="1269"/>
                  <a:pt x="333" y="1268"/>
                  <a:pt x="335" y="1267"/>
                </a:cubicBezTo>
                <a:cubicBezTo>
                  <a:pt x="337" y="1266"/>
                  <a:pt x="340" y="1265"/>
                  <a:pt x="341" y="1264"/>
                </a:cubicBezTo>
                <a:cubicBezTo>
                  <a:pt x="341" y="1263"/>
                  <a:pt x="341" y="1263"/>
                  <a:pt x="341" y="1263"/>
                </a:cubicBezTo>
                <a:cubicBezTo>
                  <a:pt x="342" y="1263"/>
                  <a:pt x="343" y="1263"/>
                  <a:pt x="343" y="1263"/>
                </a:cubicBezTo>
                <a:cubicBezTo>
                  <a:pt x="344" y="1263"/>
                  <a:pt x="345" y="1263"/>
                  <a:pt x="346" y="1262"/>
                </a:cubicBezTo>
                <a:cubicBezTo>
                  <a:pt x="346" y="1262"/>
                  <a:pt x="346" y="1262"/>
                  <a:pt x="346" y="1262"/>
                </a:cubicBezTo>
                <a:cubicBezTo>
                  <a:pt x="346" y="1261"/>
                  <a:pt x="348" y="1260"/>
                  <a:pt x="349" y="1259"/>
                </a:cubicBezTo>
                <a:cubicBezTo>
                  <a:pt x="350" y="1258"/>
                  <a:pt x="352" y="1258"/>
                  <a:pt x="353" y="1257"/>
                </a:cubicBezTo>
                <a:cubicBezTo>
                  <a:pt x="357" y="1255"/>
                  <a:pt x="360" y="1254"/>
                  <a:pt x="364" y="1252"/>
                </a:cubicBezTo>
                <a:cubicBezTo>
                  <a:pt x="367" y="1250"/>
                  <a:pt x="371" y="1249"/>
                  <a:pt x="374" y="1247"/>
                </a:cubicBezTo>
                <a:cubicBezTo>
                  <a:pt x="376" y="1246"/>
                  <a:pt x="377" y="1245"/>
                  <a:pt x="378" y="1245"/>
                </a:cubicBezTo>
                <a:cubicBezTo>
                  <a:pt x="380" y="1244"/>
                  <a:pt x="381" y="1243"/>
                  <a:pt x="383" y="1243"/>
                </a:cubicBezTo>
                <a:cubicBezTo>
                  <a:pt x="384" y="1243"/>
                  <a:pt x="386" y="1244"/>
                  <a:pt x="386" y="1242"/>
                </a:cubicBezTo>
                <a:cubicBezTo>
                  <a:pt x="387" y="1242"/>
                  <a:pt x="387" y="1242"/>
                  <a:pt x="387" y="1241"/>
                </a:cubicBezTo>
                <a:cubicBezTo>
                  <a:pt x="387" y="1241"/>
                  <a:pt x="387" y="1241"/>
                  <a:pt x="387" y="1241"/>
                </a:cubicBezTo>
                <a:cubicBezTo>
                  <a:pt x="390" y="1238"/>
                  <a:pt x="394" y="1237"/>
                  <a:pt x="398" y="1235"/>
                </a:cubicBezTo>
                <a:cubicBezTo>
                  <a:pt x="402" y="1233"/>
                  <a:pt x="406" y="1231"/>
                  <a:pt x="410" y="1230"/>
                </a:cubicBezTo>
                <a:cubicBezTo>
                  <a:pt x="417" y="1226"/>
                  <a:pt x="425" y="1222"/>
                  <a:pt x="433" y="1218"/>
                </a:cubicBezTo>
                <a:cubicBezTo>
                  <a:pt x="440" y="1215"/>
                  <a:pt x="446" y="1212"/>
                  <a:pt x="453" y="1209"/>
                </a:cubicBezTo>
                <a:cubicBezTo>
                  <a:pt x="468" y="1201"/>
                  <a:pt x="484" y="1194"/>
                  <a:pt x="499" y="1186"/>
                </a:cubicBezTo>
                <a:cubicBezTo>
                  <a:pt x="503" y="1184"/>
                  <a:pt x="506" y="1183"/>
                  <a:pt x="510" y="1181"/>
                </a:cubicBezTo>
                <a:cubicBezTo>
                  <a:pt x="512" y="1180"/>
                  <a:pt x="513" y="1179"/>
                  <a:pt x="515" y="1179"/>
                </a:cubicBezTo>
                <a:cubicBezTo>
                  <a:pt x="516" y="1178"/>
                  <a:pt x="518" y="1178"/>
                  <a:pt x="519" y="1176"/>
                </a:cubicBezTo>
                <a:cubicBezTo>
                  <a:pt x="520" y="1175"/>
                  <a:pt x="520" y="1176"/>
                  <a:pt x="521" y="1176"/>
                </a:cubicBezTo>
                <a:cubicBezTo>
                  <a:pt x="521" y="1175"/>
                  <a:pt x="524" y="1175"/>
                  <a:pt x="524" y="1175"/>
                </a:cubicBezTo>
                <a:cubicBezTo>
                  <a:pt x="524" y="1174"/>
                  <a:pt x="525" y="1174"/>
                  <a:pt x="525" y="1173"/>
                </a:cubicBezTo>
                <a:cubicBezTo>
                  <a:pt x="527" y="1173"/>
                  <a:pt x="528" y="1172"/>
                  <a:pt x="530" y="1171"/>
                </a:cubicBezTo>
                <a:cubicBezTo>
                  <a:pt x="533" y="1169"/>
                  <a:pt x="536" y="1168"/>
                  <a:pt x="540" y="1166"/>
                </a:cubicBezTo>
                <a:cubicBezTo>
                  <a:pt x="540" y="1166"/>
                  <a:pt x="540" y="1166"/>
                  <a:pt x="540" y="1166"/>
                </a:cubicBezTo>
                <a:cubicBezTo>
                  <a:pt x="541" y="1165"/>
                  <a:pt x="541" y="1165"/>
                  <a:pt x="541" y="1165"/>
                </a:cubicBezTo>
                <a:cubicBezTo>
                  <a:pt x="541" y="1163"/>
                  <a:pt x="543" y="1162"/>
                  <a:pt x="544" y="1161"/>
                </a:cubicBezTo>
                <a:cubicBezTo>
                  <a:pt x="545" y="1161"/>
                  <a:pt x="546" y="1160"/>
                  <a:pt x="546" y="1161"/>
                </a:cubicBezTo>
                <a:cubicBezTo>
                  <a:pt x="546" y="1161"/>
                  <a:pt x="546" y="1163"/>
                  <a:pt x="547" y="1163"/>
                </a:cubicBezTo>
                <a:cubicBezTo>
                  <a:pt x="548" y="1162"/>
                  <a:pt x="548" y="1162"/>
                  <a:pt x="548" y="1161"/>
                </a:cubicBezTo>
                <a:cubicBezTo>
                  <a:pt x="549" y="1161"/>
                  <a:pt x="549" y="1160"/>
                  <a:pt x="550" y="1161"/>
                </a:cubicBezTo>
                <a:cubicBezTo>
                  <a:pt x="550" y="1161"/>
                  <a:pt x="550" y="1161"/>
                  <a:pt x="551" y="1161"/>
                </a:cubicBezTo>
                <a:cubicBezTo>
                  <a:pt x="553" y="1160"/>
                  <a:pt x="555" y="1159"/>
                  <a:pt x="557" y="1158"/>
                </a:cubicBezTo>
                <a:cubicBezTo>
                  <a:pt x="558" y="1157"/>
                  <a:pt x="562" y="1156"/>
                  <a:pt x="563" y="1154"/>
                </a:cubicBezTo>
                <a:cubicBezTo>
                  <a:pt x="563" y="1154"/>
                  <a:pt x="563" y="1153"/>
                  <a:pt x="563" y="1153"/>
                </a:cubicBezTo>
                <a:cubicBezTo>
                  <a:pt x="564" y="1152"/>
                  <a:pt x="565" y="1152"/>
                  <a:pt x="566" y="1151"/>
                </a:cubicBezTo>
                <a:cubicBezTo>
                  <a:pt x="567" y="1151"/>
                  <a:pt x="569" y="1151"/>
                  <a:pt x="571" y="1150"/>
                </a:cubicBezTo>
                <a:cubicBezTo>
                  <a:pt x="572" y="1150"/>
                  <a:pt x="574" y="1149"/>
                  <a:pt x="575" y="1148"/>
                </a:cubicBezTo>
                <a:cubicBezTo>
                  <a:pt x="575" y="1148"/>
                  <a:pt x="575" y="1148"/>
                  <a:pt x="575" y="1148"/>
                </a:cubicBezTo>
                <a:cubicBezTo>
                  <a:pt x="575" y="1147"/>
                  <a:pt x="575" y="1147"/>
                  <a:pt x="575" y="1147"/>
                </a:cubicBezTo>
                <a:cubicBezTo>
                  <a:pt x="576" y="1147"/>
                  <a:pt x="576" y="1147"/>
                  <a:pt x="577" y="1147"/>
                </a:cubicBezTo>
                <a:cubicBezTo>
                  <a:pt x="578" y="1147"/>
                  <a:pt x="582" y="1145"/>
                  <a:pt x="583" y="1145"/>
                </a:cubicBezTo>
                <a:lnTo>
                  <a:pt x="589" y="1142"/>
                </a:lnTo>
                <a:cubicBezTo>
                  <a:pt x="594" y="1140"/>
                  <a:pt x="600" y="1137"/>
                  <a:pt x="605" y="1134"/>
                </a:cubicBezTo>
                <a:cubicBezTo>
                  <a:pt x="607" y="1133"/>
                  <a:pt x="609" y="1132"/>
                  <a:pt x="611" y="1131"/>
                </a:cubicBezTo>
                <a:cubicBezTo>
                  <a:pt x="612" y="1131"/>
                  <a:pt x="614" y="1130"/>
                  <a:pt x="615" y="1130"/>
                </a:cubicBezTo>
                <a:cubicBezTo>
                  <a:pt x="615" y="1129"/>
                  <a:pt x="616" y="1128"/>
                  <a:pt x="617" y="1128"/>
                </a:cubicBezTo>
                <a:cubicBezTo>
                  <a:pt x="618" y="1127"/>
                  <a:pt x="619" y="1127"/>
                  <a:pt x="620" y="1126"/>
                </a:cubicBezTo>
                <a:cubicBezTo>
                  <a:pt x="620" y="1126"/>
                  <a:pt x="621" y="1126"/>
                  <a:pt x="621" y="1126"/>
                </a:cubicBezTo>
                <a:cubicBezTo>
                  <a:pt x="622" y="1125"/>
                  <a:pt x="622" y="1125"/>
                  <a:pt x="623" y="1124"/>
                </a:cubicBezTo>
                <a:cubicBezTo>
                  <a:pt x="624" y="1124"/>
                  <a:pt x="625" y="1125"/>
                  <a:pt x="625" y="1124"/>
                </a:cubicBezTo>
                <a:cubicBezTo>
                  <a:pt x="628" y="1123"/>
                  <a:pt x="629" y="1122"/>
                  <a:pt x="632" y="1121"/>
                </a:cubicBezTo>
                <a:cubicBezTo>
                  <a:pt x="635" y="1120"/>
                  <a:pt x="638" y="1118"/>
                  <a:pt x="639" y="1118"/>
                </a:cubicBezTo>
                <a:cubicBezTo>
                  <a:pt x="639" y="1118"/>
                  <a:pt x="644" y="1116"/>
                  <a:pt x="649" y="1113"/>
                </a:cubicBezTo>
                <a:cubicBezTo>
                  <a:pt x="651" y="1112"/>
                  <a:pt x="652" y="1111"/>
                  <a:pt x="654" y="1110"/>
                </a:cubicBezTo>
                <a:cubicBezTo>
                  <a:pt x="655" y="1110"/>
                  <a:pt x="656" y="1110"/>
                  <a:pt x="656" y="1109"/>
                </a:cubicBezTo>
                <a:cubicBezTo>
                  <a:pt x="657" y="1109"/>
                  <a:pt x="658" y="1109"/>
                  <a:pt x="658" y="1108"/>
                </a:cubicBezTo>
                <a:cubicBezTo>
                  <a:pt x="658" y="1108"/>
                  <a:pt x="658" y="1108"/>
                  <a:pt x="659" y="1108"/>
                </a:cubicBezTo>
                <a:cubicBezTo>
                  <a:pt x="659" y="1108"/>
                  <a:pt x="659" y="1108"/>
                  <a:pt x="659" y="1108"/>
                </a:cubicBezTo>
                <a:cubicBezTo>
                  <a:pt x="660" y="1108"/>
                  <a:pt x="661" y="1107"/>
                  <a:pt x="661" y="1107"/>
                </a:cubicBezTo>
                <a:cubicBezTo>
                  <a:pt x="663" y="1106"/>
                  <a:pt x="664" y="1105"/>
                  <a:pt x="666" y="1105"/>
                </a:cubicBezTo>
                <a:cubicBezTo>
                  <a:pt x="671" y="1102"/>
                  <a:pt x="674" y="1101"/>
                  <a:pt x="678" y="1100"/>
                </a:cubicBezTo>
                <a:cubicBezTo>
                  <a:pt x="682" y="1099"/>
                  <a:pt x="694" y="1093"/>
                  <a:pt x="700" y="1089"/>
                </a:cubicBezTo>
                <a:cubicBezTo>
                  <a:pt x="702" y="1088"/>
                  <a:pt x="706" y="1087"/>
                  <a:pt x="706" y="1085"/>
                </a:cubicBezTo>
                <a:cubicBezTo>
                  <a:pt x="707" y="1084"/>
                  <a:pt x="707" y="1083"/>
                  <a:pt x="708" y="1084"/>
                </a:cubicBezTo>
                <a:cubicBezTo>
                  <a:pt x="708" y="1084"/>
                  <a:pt x="708" y="1085"/>
                  <a:pt x="709" y="1084"/>
                </a:cubicBezTo>
                <a:cubicBezTo>
                  <a:pt x="710" y="1084"/>
                  <a:pt x="711" y="1083"/>
                  <a:pt x="712" y="1083"/>
                </a:cubicBezTo>
                <a:cubicBezTo>
                  <a:pt x="713" y="1082"/>
                  <a:pt x="715" y="1082"/>
                  <a:pt x="715" y="1081"/>
                </a:cubicBezTo>
                <a:cubicBezTo>
                  <a:pt x="715" y="1080"/>
                  <a:pt x="715" y="1080"/>
                  <a:pt x="715" y="1079"/>
                </a:cubicBezTo>
                <a:cubicBezTo>
                  <a:pt x="715" y="1079"/>
                  <a:pt x="716" y="1079"/>
                  <a:pt x="716" y="1079"/>
                </a:cubicBezTo>
                <a:cubicBezTo>
                  <a:pt x="717" y="1079"/>
                  <a:pt x="717" y="1078"/>
                  <a:pt x="718" y="1078"/>
                </a:cubicBezTo>
                <a:cubicBezTo>
                  <a:pt x="718" y="1078"/>
                  <a:pt x="719" y="1078"/>
                  <a:pt x="718" y="1079"/>
                </a:cubicBezTo>
                <a:cubicBezTo>
                  <a:pt x="718" y="1079"/>
                  <a:pt x="718" y="1079"/>
                  <a:pt x="718" y="1080"/>
                </a:cubicBezTo>
                <a:cubicBezTo>
                  <a:pt x="719" y="1080"/>
                  <a:pt x="719" y="1080"/>
                  <a:pt x="719" y="1080"/>
                </a:cubicBezTo>
                <a:cubicBezTo>
                  <a:pt x="720" y="1079"/>
                  <a:pt x="720" y="1079"/>
                  <a:pt x="720" y="1079"/>
                </a:cubicBezTo>
                <a:cubicBezTo>
                  <a:pt x="721" y="1078"/>
                  <a:pt x="722" y="1076"/>
                  <a:pt x="723" y="1076"/>
                </a:cubicBezTo>
                <a:cubicBezTo>
                  <a:pt x="724" y="1075"/>
                  <a:pt x="725" y="1075"/>
                  <a:pt x="726" y="1074"/>
                </a:cubicBezTo>
                <a:cubicBezTo>
                  <a:pt x="727" y="1073"/>
                  <a:pt x="728" y="1073"/>
                  <a:pt x="729" y="1074"/>
                </a:cubicBezTo>
                <a:cubicBezTo>
                  <a:pt x="730" y="1074"/>
                  <a:pt x="730" y="1075"/>
                  <a:pt x="731" y="1074"/>
                </a:cubicBezTo>
                <a:cubicBezTo>
                  <a:pt x="731" y="1074"/>
                  <a:pt x="731" y="1073"/>
                  <a:pt x="732" y="1073"/>
                </a:cubicBezTo>
                <a:cubicBezTo>
                  <a:pt x="734" y="1072"/>
                  <a:pt x="736" y="1072"/>
                  <a:pt x="737" y="1071"/>
                </a:cubicBezTo>
                <a:cubicBezTo>
                  <a:pt x="739" y="1070"/>
                  <a:pt x="742" y="1069"/>
                  <a:pt x="743" y="1067"/>
                </a:cubicBezTo>
                <a:cubicBezTo>
                  <a:pt x="743" y="1067"/>
                  <a:pt x="743" y="1066"/>
                  <a:pt x="743" y="1066"/>
                </a:cubicBezTo>
                <a:cubicBezTo>
                  <a:pt x="744" y="1065"/>
                  <a:pt x="747" y="1063"/>
                  <a:pt x="748" y="1064"/>
                </a:cubicBezTo>
                <a:cubicBezTo>
                  <a:pt x="748" y="1064"/>
                  <a:pt x="748" y="1064"/>
                  <a:pt x="748" y="1064"/>
                </a:cubicBezTo>
                <a:cubicBezTo>
                  <a:pt x="749" y="1065"/>
                  <a:pt x="750" y="1065"/>
                  <a:pt x="751" y="1065"/>
                </a:cubicBezTo>
                <a:cubicBezTo>
                  <a:pt x="751" y="1065"/>
                  <a:pt x="751" y="1065"/>
                  <a:pt x="751" y="1065"/>
                </a:cubicBezTo>
                <a:cubicBezTo>
                  <a:pt x="751" y="1064"/>
                  <a:pt x="751" y="1063"/>
                  <a:pt x="752" y="1063"/>
                </a:cubicBezTo>
                <a:cubicBezTo>
                  <a:pt x="752" y="1063"/>
                  <a:pt x="753" y="1064"/>
                  <a:pt x="753" y="1064"/>
                </a:cubicBezTo>
                <a:cubicBezTo>
                  <a:pt x="753" y="1063"/>
                  <a:pt x="754" y="1063"/>
                  <a:pt x="754" y="1063"/>
                </a:cubicBezTo>
                <a:cubicBezTo>
                  <a:pt x="761" y="1060"/>
                  <a:pt x="768" y="1056"/>
                  <a:pt x="776" y="1053"/>
                </a:cubicBezTo>
                <a:cubicBezTo>
                  <a:pt x="777" y="1053"/>
                  <a:pt x="779" y="1052"/>
                  <a:pt x="781" y="1051"/>
                </a:cubicBezTo>
                <a:cubicBezTo>
                  <a:pt x="782" y="1050"/>
                  <a:pt x="785" y="1049"/>
                  <a:pt x="787" y="1048"/>
                </a:cubicBezTo>
                <a:cubicBezTo>
                  <a:pt x="789" y="1047"/>
                  <a:pt x="793" y="1046"/>
                  <a:pt x="795" y="1045"/>
                </a:cubicBezTo>
                <a:cubicBezTo>
                  <a:pt x="796" y="1045"/>
                  <a:pt x="798" y="1044"/>
                  <a:pt x="799" y="1044"/>
                </a:cubicBezTo>
                <a:cubicBezTo>
                  <a:pt x="801" y="1043"/>
                  <a:pt x="802" y="1043"/>
                  <a:pt x="803" y="1042"/>
                </a:cubicBezTo>
                <a:cubicBezTo>
                  <a:pt x="804" y="1041"/>
                  <a:pt x="805" y="1040"/>
                  <a:pt x="806" y="1039"/>
                </a:cubicBezTo>
                <a:cubicBezTo>
                  <a:pt x="808" y="1038"/>
                  <a:pt x="810" y="1037"/>
                  <a:pt x="812" y="1036"/>
                </a:cubicBezTo>
                <a:cubicBezTo>
                  <a:pt x="815" y="1034"/>
                  <a:pt x="818" y="1033"/>
                  <a:pt x="821" y="1031"/>
                </a:cubicBezTo>
                <a:cubicBezTo>
                  <a:pt x="824" y="1030"/>
                  <a:pt x="826" y="1029"/>
                  <a:pt x="829" y="1027"/>
                </a:cubicBezTo>
                <a:cubicBezTo>
                  <a:pt x="829" y="1027"/>
                  <a:pt x="829" y="1026"/>
                  <a:pt x="829" y="1026"/>
                </a:cubicBezTo>
                <a:cubicBezTo>
                  <a:pt x="830" y="1025"/>
                  <a:pt x="830" y="1025"/>
                  <a:pt x="831" y="1025"/>
                </a:cubicBezTo>
                <a:cubicBezTo>
                  <a:pt x="831" y="1026"/>
                  <a:pt x="834" y="1024"/>
                  <a:pt x="835" y="1024"/>
                </a:cubicBezTo>
                <a:cubicBezTo>
                  <a:pt x="836" y="1023"/>
                  <a:pt x="838" y="1023"/>
                  <a:pt x="839" y="1022"/>
                </a:cubicBezTo>
                <a:cubicBezTo>
                  <a:pt x="839" y="1022"/>
                  <a:pt x="839" y="1020"/>
                  <a:pt x="840" y="1020"/>
                </a:cubicBezTo>
                <a:cubicBezTo>
                  <a:pt x="840" y="1021"/>
                  <a:pt x="840" y="1021"/>
                  <a:pt x="841" y="1021"/>
                </a:cubicBezTo>
                <a:cubicBezTo>
                  <a:pt x="841" y="1021"/>
                  <a:pt x="842" y="1021"/>
                  <a:pt x="842" y="1021"/>
                </a:cubicBezTo>
                <a:cubicBezTo>
                  <a:pt x="843" y="1020"/>
                  <a:pt x="845" y="1019"/>
                  <a:pt x="846" y="1019"/>
                </a:cubicBezTo>
                <a:cubicBezTo>
                  <a:pt x="847" y="1019"/>
                  <a:pt x="848" y="1022"/>
                  <a:pt x="849" y="1020"/>
                </a:cubicBezTo>
                <a:cubicBezTo>
                  <a:pt x="849" y="1019"/>
                  <a:pt x="849" y="1019"/>
                  <a:pt x="849" y="1018"/>
                </a:cubicBezTo>
                <a:cubicBezTo>
                  <a:pt x="850" y="1016"/>
                  <a:pt x="852" y="1016"/>
                  <a:pt x="853" y="1015"/>
                </a:cubicBezTo>
                <a:cubicBezTo>
                  <a:pt x="855" y="1014"/>
                  <a:pt x="857" y="1013"/>
                  <a:pt x="860" y="1012"/>
                </a:cubicBezTo>
                <a:cubicBezTo>
                  <a:pt x="864" y="1010"/>
                  <a:pt x="868" y="1008"/>
                  <a:pt x="873" y="1006"/>
                </a:cubicBezTo>
                <a:cubicBezTo>
                  <a:pt x="885" y="999"/>
                  <a:pt x="898" y="993"/>
                  <a:pt x="900" y="992"/>
                </a:cubicBezTo>
                <a:cubicBezTo>
                  <a:pt x="903" y="991"/>
                  <a:pt x="913" y="986"/>
                  <a:pt x="922" y="981"/>
                </a:cubicBezTo>
                <a:cubicBezTo>
                  <a:pt x="932" y="976"/>
                  <a:pt x="948" y="968"/>
                  <a:pt x="958" y="963"/>
                </a:cubicBezTo>
                <a:cubicBezTo>
                  <a:pt x="968" y="959"/>
                  <a:pt x="994" y="946"/>
                  <a:pt x="1016" y="935"/>
                </a:cubicBezTo>
                <a:cubicBezTo>
                  <a:pt x="1023" y="932"/>
                  <a:pt x="1029" y="929"/>
                  <a:pt x="1036" y="925"/>
                </a:cubicBezTo>
                <a:cubicBezTo>
                  <a:pt x="1039" y="924"/>
                  <a:pt x="1043" y="922"/>
                  <a:pt x="1046" y="920"/>
                </a:cubicBezTo>
                <a:cubicBezTo>
                  <a:pt x="1049" y="919"/>
                  <a:pt x="1053" y="917"/>
                  <a:pt x="1056" y="915"/>
                </a:cubicBezTo>
                <a:cubicBezTo>
                  <a:pt x="1056" y="915"/>
                  <a:pt x="1056" y="915"/>
                  <a:pt x="1056" y="915"/>
                </a:cubicBezTo>
                <a:cubicBezTo>
                  <a:pt x="1057" y="914"/>
                  <a:pt x="1059" y="914"/>
                  <a:pt x="1060" y="913"/>
                </a:cubicBezTo>
                <a:cubicBezTo>
                  <a:pt x="1061" y="912"/>
                  <a:pt x="1063" y="912"/>
                  <a:pt x="1065" y="911"/>
                </a:cubicBezTo>
                <a:cubicBezTo>
                  <a:pt x="1068" y="909"/>
                  <a:pt x="1072" y="907"/>
                  <a:pt x="1075" y="905"/>
                </a:cubicBezTo>
                <a:cubicBezTo>
                  <a:pt x="1079" y="904"/>
                  <a:pt x="1082" y="902"/>
                  <a:pt x="1085" y="901"/>
                </a:cubicBezTo>
                <a:cubicBezTo>
                  <a:pt x="1086" y="900"/>
                  <a:pt x="1088" y="899"/>
                  <a:pt x="1089" y="898"/>
                </a:cubicBezTo>
                <a:cubicBezTo>
                  <a:pt x="1091" y="898"/>
                  <a:pt x="1092" y="897"/>
                  <a:pt x="1093" y="896"/>
                </a:cubicBezTo>
                <a:cubicBezTo>
                  <a:pt x="1094" y="896"/>
                  <a:pt x="1094" y="896"/>
                  <a:pt x="1095" y="896"/>
                </a:cubicBezTo>
                <a:cubicBezTo>
                  <a:pt x="1096" y="895"/>
                  <a:pt x="1097" y="895"/>
                  <a:pt x="1098" y="894"/>
                </a:cubicBezTo>
                <a:cubicBezTo>
                  <a:pt x="1099" y="894"/>
                  <a:pt x="1100" y="893"/>
                  <a:pt x="1101" y="892"/>
                </a:cubicBezTo>
                <a:cubicBezTo>
                  <a:pt x="1105" y="891"/>
                  <a:pt x="1114" y="886"/>
                  <a:pt x="1122" y="882"/>
                </a:cubicBezTo>
                <a:cubicBezTo>
                  <a:pt x="1124" y="881"/>
                  <a:pt x="1127" y="880"/>
                  <a:pt x="1129" y="879"/>
                </a:cubicBezTo>
                <a:cubicBezTo>
                  <a:pt x="1131" y="878"/>
                  <a:pt x="1133" y="876"/>
                  <a:pt x="1135" y="875"/>
                </a:cubicBezTo>
                <a:cubicBezTo>
                  <a:pt x="1135" y="875"/>
                  <a:pt x="1136" y="875"/>
                  <a:pt x="1136" y="875"/>
                </a:cubicBezTo>
                <a:cubicBezTo>
                  <a:pt x="1136" y="876"/>
                  <a:pt x="1136" y="876"/>
                  <a:pt x="1136" y="876"/>
                </a:cubicBezTo>
                <a:cubicBezTo>
                  <a:pt x="1136" y="877"/>
                  <a:pt x="1137" y="877"/>
                  <a:pt x="1138" y="876"/>
                </a:cubicBezTo>
                <a:cubicBezTo>
                  <a:pt x="1138" y="876"/>
                  <a:pt x="1139" y="876"/>
                  <a:pt x="1139" y="875"/>
                </a:cubicBezTo>
                <a:cubicBezTo>
                  <a:pt x="1140" y="874"/>
                  <a:pt x="1142" y="874"/>
                  <a:pt x="1143" y="873"/>
                </a:cubicBezTo>
                <a:cubicBezTo>
                  <a:pt x="1143" y="873"/>
                  <a:pt x="1144" y="872"/>
                  <a:pt x="1144" y="872"/>
                </a:cubicBezTo>
                <a:cubicBezTo>
                  <a:pt x="1145" y="872"/>
                  <a:pt x="1145" y="871"/>
                  <a:pt x="1145" y="871"/>
                </a:cubicBezTo>
                <a:cubicBezTo>
                  <a:pt x="1146" y="871"/>
                  <a:pt x="1146" y="871"/>
                  <a:pt x="1146" y="871"/>
                </a:cubicBezTo>
                <a:cubicBezTo>
                  <a:pt x="1146" y="871"/>
                  <a:pt x="1146" y="870"/>
                  <a:pt x="1147" y="870"/>
                </a:cubicBezTo>
                <a:cubicBezTo>
                  <a:pt x="1147" y="869"/>
                  <a:pt x="1149" y="868"/>
                  <a:pt x="1150" y="868"/>
                </a:cubicBezTo>
                <a:cubicBezTo>
                  <a:pt x="1152" y="868"/>
                  <a:pt x="1153" y="868"/>
                  <a:pt x="1154" y="867"/>
                </a:cubicBezTo>
                <a:cubicBezTo>
                  <a:pt x="1155" y="867"/>
                  <a:pt x="1157" y="865"/>
                  <a:pt x="1158" y="865"/>
                </a:cubicBezTo>
                <a:cubicBezTo>
                  <a:pt x="1159" y="864"/>
                  <a:pt x="1161" y="863"/>
                  <a:pt x="1162" y="862"/>
                </a:cubicBezTo>
                <a:cubicBezTo>
                  <a:pt x="1164" y="861"/>
                  <a:pt x="1166" y="860"/>
                  <a:pt x="1168" y="860"/>
                </a:cubicBezTo>
                <a:cubicBezTo>
                  <a:pt x="1169" y="859"/>
                  <a:pt x="1171" y="858"/>
                  <a:pt x="1172" y="858"/>
                </a:cubicBezTo>
                <a:cubicBezTo>
                  <a:pt x="1172" y="858"/>
                  <a:pt x="1172" y="859"/>
                  <a:pt x="1173" y="859"/>
                </a:cubicBezTo>
                <a:cubicBezTo>
                  <a:pt x="1173" y="859"/>
                  <a:pt x="1174" y="859"/>
                  <a:pt x="1174" y="858"/>
                </a:cubicBezTo>
                <a:cubicBezTo>
                  <a:pt x="1175" y="858"/>
                  <a:pt x="1175" y="858"/>
                  <a:pt x="1175" y="857"/>
                </a:cubicBezTo>
                <a:cubicBezTo>
                  <a:pt x="1176" y="855"/>
                  <a:pt x="1178" y="855"/>
                  <a:pt x="1180" y="854"/>
                </a:cubicBez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38" name="Freeform 13">
            <a:extLst>
              <a:ext uri="{FF2B5EF4-FFF2-40B4-BE49-F238E27FC236}">
                <a16:creationId xmlns:a16="http://schemas.microsoft.com/office/drawing/2014/main" id="{C287D4D5-7280-8ED4-90D8-D351778270CA}"/>
              </a:ext>
            </a:extLst>
          </p:cNvPr>
          <p:cNvSpPr>
            <a:spLocks noChangeAspect="1"/>
          </p:cNvSpPr>
          <p:nvPr userDrawn="1"/>
        </p:nvSpPr>
        <p:spPr bwMode="auto">
          <a:xfrm>
            <a:off x="10742212" y="4510352"/>
            <a:ext cx="2905635" cy="746431"/>
          </a:xfrm>
          <a:custGeom>
            <a:avLst/>
            <a:gdLst>
              <a:gd name="T0" fmla="*/ 1736 w 3050"/>
              <a:gd name="T1" fmla="*/ 416 h 784"/>
              <a:gd name="T2" fmla="*/ 1630 w 3050"/>
              <a:gd name="T3" fmla="*/ 390 h 784"/>
              <a:gd name="T4" fmla="*/ 1487 w 3050"/>
              <a:gd name="T5" fmla="*/ 357 h 784"/>
              <a:gd name="T6" fmla="*/ 1400 w 3050"/>
              <a:gd name="T7" fmla="*/ 337 h 784"/>
              <a:gd name="T8" fmla="*/ 1334 w 3050"/>
              <a:gd name="T9" fmla="*/ 315 h 784"/>
              <a:gd name="T10" fmla="*/ 1278 w 3050"/>
              <a:gd name="T11" fmla="*/ 305 h 784"/>
              <a:gd name="T12" fmla="*/ 1233 w 3050"/>
              <a:gd name="T13" fmla="*/ 295 h 784"/>
              <a:gd name="T14" fmla="*/ 1168 w 3050"/>
              <a:gd name="T15" fmla="*/ 281 h 784"/>
              <a:gd name="T16" fmla="*/ 1082 w 3050"/>
              <a:gd name="T17" fmla="*/ 256 h 784"/>
              <a:gd name="T18" fmla="*/ 954 w 3050"/>
              <a:gd name="T19" fmla="*/ 231 h 784"/>
              <a:gd name="T20" fmla="*/ 876 w 3050"/>
              <a:gd name="T21" fmla="*/ 213 h 784"/>
              <a:gd name="T22" fmla="*/ 758 w 3050"/>
              <a:gd name="T23" fmla="*/ 184 h 784"/>
              <a:gd name="T24" fmla="*/ 696 w 3050"/>
              <a:gd name="T25" fmla="*/ 169 h 784"/>
              <a:gd name="T26" fmla="*/ 645 w 3050"/>
              <a:gd name="T27" fmla="*/ 157 h 784"/>
              <a:gd name="T28" fmla="*/ 576 w 3050"/>
              <a:gd name="T29" fmla="*/ 139 h 784"/>
              <a:gd name="T30" fmla="*/ 502 w 3050"/>
              <a:gd name="T31" fmla="*/ 118 h 784"/>
              <a:gd name="T32" fmla="*/ 385 w 3050"/>
              <a:gd name="T33" fmla="*/ 91 h 784"/>
              <a:gd name="T34" fmla="*/ 341 w 3050"/>
              <a:gd name="T35" fmla="*/ 78 h 784"/>
              <a:gd name="T36" fmla="*/ 277 w 3050"/>
              <a:gd name="T37" fmla="*/ 62 h 784"/>
              <a:gd name="T38" fmla="*/ 205 w 3050"/>
              <a:gd name="T39" fmla="*/ 43 h 784"/>
              <a:gd name="T40" fmla="*/ 152 w 3050"/>
              <a:gd name="T41" fmla="*/ 35 h 784"/>
              <a:gd name="T42" fmla="*/ 95 w 3050"/>
              <a:gd name="T43" fmla="*/ 24 h 784"/>
              <a:gd name="T44" fmla="*/ 2 w 3050"/>
              <a:gd name="T45" fmla="*/ 33 h 784"/>
              <a:gd name="T46" fmla="*/ 344 w 3050"/>
              <a:gd name="T47" fmla="*/ 129 h 784"/>
              <a:gd name="T48" fmla="*/ 554 w 3050"/>
              <a:gd name="T49" fmla="*/ 178 h 784"/>
              <a:gd name="T50" fmla="*/ 649 w 3050"/>
              <a:gd name="T51" fmla="*/ 201 h 784"/>
              <a:gd name="T52" fmla="*/ 749 w 3050"/>
              <a:gd name="T53" fmla="*/ 228 h 784"/>
              <a:gd name="T54" fmla="*/ 827 w 3050"/>
              <a:gd name="T55" fmla="*/ 250 h 784"/>
              <a:gd name="T56" fmla="*/ 912 w 3050"/>
              <a:gd name="T57" fmla="*/ 269 h 784"/>
              <a:gd name="T58" fmla="*/ 1215 w 3050"/>
              <a:gd name="T59" fmla="*/ 342 h 784"/>
              <a:gd name="T60" fmla="*/ 1305 w 3050"/>
              <a:gd name="T61" fmla="*/ 362 h 784"/>
              <a:gd name="T62" fmla="*/ 1425 w 3050"/>
              <a:gd name="T63" fmla="*/ 391 h 784"/>
              <a:gd name="T64" fmla="*/ 1522 w 3050"/>
              <a:gd name="T65" fmla="*/ 411 h 784"/>
              <a:gd name="T66" fmla="*/ 1596 w 3050"/>
              <a:gd name="T67" fmla="*/ 432 h 784"/>
              <a:gd name="T68" fmla="*/ 1634 w 3050"/>
              <a:gd name="T69" fmla="*/ 442 h 784"/>
              <a:gd name="T70" fmla="*/ 1694 w 3050"/>
              <a:gd name="T71" fmla="*/ 457 h 784"/>
              <a:gd name="T72" fmla="*/ 1768 w 3050"/>
              <a:gd name="T73" fmla="*/ 475 h 784"/>
              <a:gd name="T74" fmla="*/ 1820 w 3050"/>
              <a:gd name="T75" fmla="*/ 488 h 784"/>
              <a:gd name="T76" fmla="*/ 1897 w 3050"/>
              <a:gd name="T77" fmla="*/ 505 h 784"/>
              <a:gd name="T78" fmla="*/ 1972 w 3050"/>
              <a:gd name="T79" fmla="*/ 523 h 784"/>
              <a:gd name="T80" fmla="*/ 2094 w 3050"/>
              <a:gd name="T81" fmla="*/ 548 h 784"/>
              <a:gd name="T82" fmla="*/ 2221 w 3050"/>
              <a:gd name="T83" fmla="*/ 578 h 784"/>
              <a:gd name="T84" fmla="*/ 2326 w 3050"/>
              <a:gd name="T85" fmla="*/ 604 h 784"/>
              <a:gd name="T86" fmla="*/ 2387 w 3050"/>
              <a:gd name="T87" fmla="*/ 621 h 784"/>
              <a:gd name="T88" fmla="*/ 2441 w 3050"/>
              <a:gd name="T89" fmla="*/ 635 h 784"/>
              <a:gd name="T90" fmla="*/ 2497 w 3050"/>
              <a:gd name="T91" fmla="*/ 650 h 784"/>
              <a:gd name="T92" fmla="*/ 2595 w 3050"/>
              <a:gd name="T93" fmla="*/ 674 h 784"/>
              <a:gd name="T94" fmla="*/ 2664 w 3050"/>
              <a:gd name="T95" fmla="*/ 691 h 784"/>
              <a:gd name="T96" fmla="*/ 2694 w 3050"/>
              <a:gd name="T97" fmla="*/ 701 h 784"/>
              <a:gd name="T98" fmla="*/ 2745 w 3050"/>
              <a:gd name="T99" fmla="*/ 711 h 784"/>
              <a:gd name="T100" fmla="*/ 2809 w 3050"/>
              <a:gd name="T101" fmla="*/ 728 h 784"/>
              <a:gd name="T102" fmla="*/ 2866 w 3050"/>
              <a:gd name="T103" fmla="*/ 741 h 784"/>
              <a:gd name="T104" fmla="*/ 2911 w 3050"/>
              <a:gd name="T105" fmla="*/ 748 h 784"/>
              <a:gd name="T106" fmla="*/ 2976 w 3050"/>
              <a:gd name="T107" fmla="*/ 765 h 784"/>
              <a:gd name="T108" fmla="*/ 2711 w 3050"/>
              <a:gd name="T109" fmla="*/ 653 h 784"/>
              <a:gd name="T110" fmla="*/ 2508 w 3050"/>
              <a:gd name="T111" fmla="*/ 603 h 784"/>
              <a:gd name="T112" fmla="*/ 2412 w 3050"/>
              <a:gd name="T113" fmla="*/ 580 h 784"/>
              <a:gd name="T114" fmla="*/ 2299 w 3050"/>
              <a:gd name="T115" fmla="*/ 554 h 784"/>
              <a:gd name="T116" fmla="*/ 2224 w 3050"/>
              <a:gd name="T117" fmla="*/ 532 h 784"/>
              <a:gd name="T118" fmla="*/ 1976 w 3050"/>
              <a:gd name="T119" fmla="*/ 472 h 784"/>
              <a:gd name="T120" fmla="*/ 1835 w 3050"/>
              <a:gd name="T121" fmla="*/ 439 h 7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050" h="784">
                <a:moveTo>
                  <a:pt x="1798" y="431"/>
                </a:moveTo>
                <a:lnTo>
                  <a:pt x="1798" y="431"/>
                </a:lnTo>
                <a:cubicBezTo>
                  <a:pt x="1797" y="430"/>
                  <a:pt x="1796" y="430"/>
                  <a:pt x="1796" y="430"/>
                </a:cubicBezTo>
                <a:cubicBezTo>
                  <a:pt x="1793" y="429"/>
                  <a:pt x="1791" y="428"/>
                  <a:pt x="1789" y="427"/>
                </a:cubicBezTo>
                <a:cubicBezTo>
                  <a:pt x="1788" y="426"/>
                  <a:pt x="1787" y="425"/>
                  <a:pt x="1785" y="425"/>
                </a:cubicBezTo>
                <a:cubicBezTo>
                  <a:pt x="1784" y="424"/>
                  <a:pt x="1784" y="424"/>
                  <a:pt x="1783" y="424"/>
                </a:cubicBezTo>
                <a:cubicBezTo>
                  <a:pt x="1782" y="423"/>
                  <a:pt x="1781" y="424"/>
                  <a:pt x="1780" y="424"/>
                </a:cubicBezTo>
                <a:cubicBezTo>
                  <a:pt x="1779" y="425"/>
                  <a:pt x="1778" y="425"/>
                  <a:pt x="1777" y="425"/>
                </a:cubicBezTo>
                <a:cubicBezTo>
                  <a:pt x="1776" y="424"/>
                  <a:pt x="1777" y="423"/>
                  <a:pt x="1776" y="422"/>
                </a:cubicBezTo>
                <a:cubicBezTo>
                  <a:pt x="1775" y="422"/>
                  <a:pt x="1774" y="423"/>
                  <a:pt x="1773" y="422"/>
                </a:cubicBezTo>
                <a:cubicBezTo>
                  <a:pt x="1773" y="422"/>
                  <a:pt x="1772" y="422"/>
                  <a:pt x="1772" y="422"/>
                </a:cubicBezTo>
                <a:cubicBezTo>
                  <a:pt x="1772" y="421"/>
                  <a:pt x="1772" y="421"/>
                  <a:pt x="1771" y="421"/>
                </a:cubicBezTo>
                <a:cubicBezTo>
                  <a:pt x="1771" y="420"/>
                  <a:pt x="1771" y="420"/>
                  <a:pt x="1771" y="420"/>
                </a:cubicBezTo>
                <a:cubicBezTo>
                  <a:pt x="1771" y="420"/>
                  <a:pt x="1770" y="420"/>
                  <a:pt x="1770" y="420"/>
                </a:cubicBezTo>
                <a:cubicBezTo>
                  <a:pt x="1770" y="420"/>
                  <a:pt x="1769" y="420"/>
                  <a:pt x="1769" y="420"/>
                </a:cubicBezTo>
                <a:cubicBezTo>
                  <a:pt x="1768" y="419"/>
                  <a:pt x="1767" y="419"/>
                  <a:pt x="1766" y="419"/>
                </a:cubicBezTo>
                <a:cubicBezTo>
                  <a:pt x="1765" y="419"/>
                  <a:pt x="1764" y="419"/>
                  <a:pt x="1762" y="418"/>
                </a:cubicBezTo>
                <a:cubicBezTo>
                  <a:pt x="1760" y="418"/>
                  <a:pt x="1757" y="417"/>
                  <a:pt x="1754" y="417"/>
                </a:cubicBezTo>
                <a:cubicBezTo>
                  <a:pt x="1753" y="417"/>
                  <a:pt x="1754" y="419"/>
                  <a:pt x="1754" y="420"/>
                </a:cubicBezTo>
                <a:cubicBezTo>
                  <a:pt x="1753" y="420"/>
                  <a:pt x="1753" y="420"/>
                  <a:pt x="1753" y="420"/>
                </a:cubicBezTo>
                <a:cubicBezTo>
                  <a:pt x="1752" y="420"/>
                  <a:pt x="1752" y="420"/>
                  <a:pt x="1751" y="419"/>
                </a:cubicBezTo>
                <a:cubicBezTo>
                  <a:pt x="1750" y="419"/>
                  <a:pt x="1749" y="419"/>
                  <a:pt x="1749" y="419"/>
                </a:cubicBezTo>
                <a:cubicBezTo>
                  <a:pt x="1747" y="418"/>
                  <a:pt x="1745" y="418"/>
                  <a:pt x="1743" y="417"/>
                </a:cubicBezTo>
                <a:cubicBezTo>
                  <a:pt x="1741" y="417"/>
                  <a:pt x="1738" y="413"/>
                  <a:pt x="1736" y="416"/>
                </a:cubicBezTo>
                <a:cubicBezTo>
                  <a:pt x="1736" y="416"/>
                  <a:pt x="1736" y="416"/>
                  <a:pt x="1736" y="416"/>
                </a:cubicBezTo>
                <a:cubicBezTo>
                  <a:pt x="1736" y="417"/>
                  <a:pt x="1733" y="416"/>
                  <a:pt x="1733" y="415"/>
                </a:cubicBezTo>
                <a:cubicBezTo>
                  <a:pt x="1724" y="412"/>
                  <a:pt x="1718" y="410"/>
                  <a:pt x="1708" y="408"/>
                </a:cubicBezTo>
                <a:cubicBezTo>
                  <a:pt x="1705" y="407"/>
                  <a:pt x="1702" y="408"/>
                  <a:pt x="1701" y="407"/>
                </a:cubicBezTo>
                <a:cubicBezTo>
                  <a:pt x="1700" y="406"/>
                  <a:pt x="1700" y="406"/>
                  <a:pt x="1699" y="405"/>
                </a:cubicBezTo>
                <a:cubicBezTo>
                  <a:pt x="1698" y="404"/>
                  <a:pt x="1697" y="404"/>
                  <a:pt x="1696" y="404"/>
                </a:cubicBezTo>
                <a:cubicBezTo>
                  <a:pt x="1695" y="403"/>
                  <a:pt x="1693" y="404"/>
                  <a:pt x="1692" y="403"/>
                </a:cubicBezTo>
                <a:cubicBezTo>
                  <a:pt x="1692" y="402"/>
                  <a:pt x="1691" y="401"/>
                  <a:pt x="1690" y="401"/>
                </a:cubicBezTo>
                <a:cubicBezTo>
                  <a:pt x="1689" y="400"/>
                  <a:pt x="1688" y="401"/>
                  <a:pt x="1687" y="402"/>
                </a:cubicBezTo>
                <a:cubicBezTo>
                  <a:pt x="1686" y="403"/>
                  <a:pt x="1685" y="403"/>
                  <a:pt x="1683" y="402"/>
                </a:cubicBezTo>
                <a:cubicBezTo>
                  <a:pt x="1682" y="402"/>
                  <a:pt x="1680" y="401"/>
                  <a:pt x="1678" y="401"/>
                </a:cubicBezTo>
                <a:cubicBezTo>
                  <a:pt x="1673" y="400"/>
                  <a:pt x="1668" y="399"/>
                  <a:pt x="1667" y="399"/>
                </a:cubicBezTo>
                <a:cubicBezTo>
                  <a:pt x="1666" y="398"/>
                  <a:pt x="1665" y="398"/>
                  <a:pt x="1664" y="398"/>
                </a:cubicBezTo>
                <a:cubicBezTo>
                  <a:pt x="1664" y="398"/>
                  <a:pt x="1663" y="397"/>
                  <a:pt x="1663" y="396"/>
                </a:cubicBezTo>
                <a:cubicBezTo>
                  <a:pt x="1662" y="395"/>
                  <a:pt x="1662" y="395"/>
                  <a:pt x="1661" y="395"/>
                </a:cubicBezTo>
                <a:cubicBezTo>
                  <a:pt x="1659" y="394"/>
                  <a:pt x="1658" y="394"/>
                  <a:pt x="1656" y="393"/>
                </a:cubicBezTo>
                <a:cubicBezTo>
                  <a:pt x="1656" y="393"/>
                  <a:pt x="1656" y="393"/>
                  <a:pt x="1655" y="393"/>
                </a:cubicBezTo>
                <a:cubicBezTo>
                  <a:pt x="1655" y="393"/>
                  <a:pt x="1654" y="393"/>
                  <a:pt x="1654" y="393"/>
                </a:cubicBezTo>
                <a:cubicBezTo>
                  <a:pt x="1651" y="395"/>
                  <a:pt x="1648" y="394"/>
                  <a:pt x="1645" y="393"/>
                </a:cubicBezTo>
                <a:cubicBezTo>
                  <a:pt x="1644" y="392"/>
                  <a:pt x="1642" y="391"/>
                  <a:pt x="1640" y="391"/>
                </a:cubicBezTo>
                <a:cubicBezTo>
                  <a:pt x="1639" y="391"/>
                  <a:pt x="1639" y="391"/>
                  <a:pt x="1638" y="391"/>
                </a:cubicBezTo>
                <a:cubicBezTo>
                  <a:pt x="1638" y="391"/>
                  <a:pt x="1637" y="391"/>
                  <a:pt x="1637" y="391"/>
                </a:cubicBezTo>
                <a:cubicBezTo>
                  <a:pt x="1636" y="392"/>
                  <a:pt x="1635" y="392"/>
                  <a:pt x="1633" y="392"/>
                </a:cubicBezTo>
                <a:cubicBezTo>
                  <a:pt x="1632" y="391"/>
                  <a:pt x="1631" y="391"/>
                  <a:pt x="1630" y="390"/>
                </a:cubicBezTo>
                <a:cubicBezTo>
                  <a:pt x="1628" y="390"/>
                  <a:pt x="1627" y="390"/>
                  <a:pt x="1625" y="389"/>
                </a:cubicBezTo>
                <a:cubicBezTo>
                  <a:pt x="1623" y="389"/>
                  <a:pt x="1621" y="388"/>
                  <a:pt x="1618" y="388"/>
                </a:cubicBezTo>
                <a:cubicBezTo>
                  <a:pt x="1612" y="387"/>
                  <a:pt x="1605" y="385"/>
                  <a:pt x="1603" y="385"/>
                </a:cubicBezTo>
                <a:cubicBezTo>
                  <a:pt x="1601" y="385"/>
                  <a:pt x="1599" y="384"/>
                  <a:pt x="1597" y="385"/>
                </a:cubicBezTo>
                <a:cubicBezTo>
                  <a:pt x="1597" y="385"/>
                  <a:pt x="1597" y="385"/>
                  <a:pt x="1597" y="385"/>
                </a:cubicBezTo>
                <a:cubicBezTo>
                  <a:pt x="1595" y="385"/>
                  <a:pt x="1594" y="383"/>
                  <a:pt x="1593" y="383"/>
                </a:cubicBezTo>
                <a:cubicBezTo>
                  <a:pt x="1592" y="382"/>
                  <a:pt x="1590" y="382"/>
                  <a:pt x="1589" y="381"/>
                </a:cubicBezTo>
                <a:cubicBezTo>
                  <a:pt x="1585" y="381"/>
                  <a:pt x="1582" y="380"/>
                  <a:pt x="1578" y="379"/>
                </a:cubicBezTo>
                <a:cubicBezTo>
                  <a:pt x="1575" y="378"/>
                  <a:pt x="1572" y="377"/>
                  <a:pt x="1569" y="377"/>
                </a:cubicBezTo>
                <a:cubicBezTo>
                  <a:pt x="1567" y="376"/>
                  <a:pt x="1563" y="374"/>
                  <a:pt x="1561" y="375"/>
                </a:cubicBezTo>
                <a:cubicBezTo>
                  <a:pt x="1560" y="375"/>
                  <a:pt x="1560" y="375"/>
                  <a:pt x="1559" y="375"/>
                </a:cubicBezTo>
                <a:cubicBezTo>
                  <a:pt x="1559" y="375"/>
                  <a:pt x="1559" y="375"/>
                  <a:pt x="1559" y="375"/>
                </a:cubicBezTo>
                <a:cubicBezTo>
                  <a:pt x="1558" y="374"/>
                  <a:pt x="1557" y="374"/>
                  <a:pt x="1556" y="374"/>
                </a:cubicBezTo>
                <a:cubicBezTo>
                  <a:pt x="1555" y="373"/>
                  <a:pt x="1554" y="372"/>
                  <a:pt x="1553" y="372"/>
                </a:cubicBezTo>
                <a:cubicBezTo>
                  <a:pt x="1550" y="371"/>
                  <a:pt x="1548" y="371"/>
                  <a:pt x="1546" y="371"/>
                </a:cubicBezTo>
                <a:cubicBezTo>
                  <a:pt x="1544" y="370"/>
                  <a:pt x="1542" y="370"/>
                  <a:pt x="1540" y="370"/>
                </a:cubicBezTo>
                <a:cubicBezTo>
                  <a:pt x="1539" y="370"/>
                  <a:pt x="1538" y="369"/>
                  <a:pt x="1537" y="369"/>
                </a:cubicBezTo>
                <a:cubicBezTo>
                  <a:pt x="1536" y="370"/>
                  <a:pt x="1536" y="370"/>
                  <a:pt x="1535" y="370"/>
                </a:cubicBezTo>
                <a:cubicBezTo>
                  <a:pt x="1534" y="371"/>
                  <a:pt x="1534" y="370"/>
                  <a:pt x="1533" y="370"/>
                </a:cubicBezTo>
                <a:cubicBezTo>
                  <a:pt x="1530" y="370"/>
                  <a:pt x="1527" y="369"/>
                  <a:pt x="1523" y="368"/>
                </a:cubicBezTo>
                <a:cubicBezTo>
                  <a:pt x="1520" y="368"/>
                  <a:pt x="1517" y="366"/>
                  <a:pt x="1514" y="365"/>
                </a:cubicBezTo>
                <a:cubicBezTo>
                  <a:pt x="1511" y="364"/>
                  <a:pt x="1507" y="364"/>
                  <a:pt x="1504" y="363"/>
                </a:cubicBezTo>
                <a:cubicBezTo>
                  <a:pt x="1501" y="362"/>
                  <a:pt x="1499" y="360"/>
                  <a:pt x="1496" y="359"/>
                </a:cubicBezTo>
                <a:cubicBezTo>
                  <a:pt x="1493" y="358"/>
                  <a:pt x="1490" y="357"/>
                  <a:pt x="1487" y="357"/>
                </a:cubicBezTo>
                <a:cubicBezTo>
                  <a:pt x="1486" y="356"/>
                  <a:pt x="1484" y="356"/>
                  <a:pt x="1483" y="356"/>
                </a:cubicBezTo>
                <a:cubicBezTo>
                  <a:pt x="1482" y="356"/>
                  <a:pt x="1480" y="356"/>
                  <a:pt x="1479" y="355"/>
                </a:cubicBezTo>
                <a:cubicBezTo>
                  <a:pt x="1479" y="355"/>
                  <a:pt x="1478" y="355"/>
                  <a:pt x="1478" y="355"/>
                </a:cubicBezTo>
                <a:cubicBezTo>
                  <a:pt x="1476" y="354"/>
                  <a:pt x="1474" y="352"/>
                  <a:pt x="1472" y="352"/>
                </a:cubicBezTo>
                <a:cubicBezTo>
                  <a:pt x="1469" y="351"/>
                  <a:pt x="1466" y="350"/>
                  <a:pt x="1463" y="349"/>
                </a:cubicBezTo>
                <a:cubicBezTo>
                  <a:pt x="1461" y="349"/>
                  <a:pt x="1460" y="348"/>
                  <a:pt x="1458" y="348"/>
                </a:cubicBezTo>
                <a:cubicBezTo>
                  <a:pt x="1456" y="349"/>
                  <a:pt x="1455" y="349"/>
                  <a:pt x="1453" y="348"/>
                </a:cubicBezTo>
                <a:cubicBezTo>
                  <a:pt x="1453" y="348"/>
                  <a:pt x="1453" y="348"/>
                  <a:pt x="1452" y="348"/>
                </a:cubicBezTo>
                <a:cubicBezTo>
                  <a:pt x="1452" y="348"/>
                  <a:pt x="1451" y="348"/>
                  <a:pt x="1451" y="347"/>
                </a:cubicBezTo>
                <a:cubicBezTo>
                  <a:pt x="1449" y="347"/>
                  <a:pt x="1447" y="347"/>
                  <a:pt x="1445" y="347"/>
                </a:cubicBezTo>
                <a:cubicBezTo>
                  <a:pt x="1445" y="347"/>
                  <a:pt x="1445" y="347"/>
                  <a:pt x="1444" y="347"/>
                </a:cubicBezTo>
                <a:cubicBezTo>
                  <a:pt x="1444" y="347"/>
                  <a:pt x="1443" y="347"/>
                  <a:pt x="1443" y="347"/>
                </a:cubicBezTo>
                <a:cubicBezTo>
                  <a:pt x="1441" y="347"/>
                  <a:pt x="1439" y="346"/>
                  <a:pt x="1437" y="345"/>
                </a:cubicBezTo>
                <a:cubicBezTo>
                  <a:pt x="1435" y="344"/>
                  <a:pt x="1433" y="343"/>
                  <a:pt x="1431" y="342"/>
                </a:cubicBezTo>
                <a:cubicBezTo>
                  <a:pt x="1428" y="341"/>
                  <a:pt x="1426" y="340"/>
                  <a:pt x="1424" y="339"/>
                </a:cubicBezTo>
                <a:cubicBezTo>
                  <a:pt x="1422" y="338"/>
                  <a:pt x="1420" y="339"/>
                  <a:pt x="1417" y="338"/>
                </a:cubicBezTo>
                <a:cubicBezTo>
                  <a:pt x="1417" y="338"/>
                  <a:pt x="1417" y="338"/>
                  <a:pt x="1417" y="338"/>
                </a:cubicBezTo>
                <a:cubicBezTo>
                  <a:pt x="1416" y="338"/>
                  <a:pt x="1416" y="338"/>
                  <a:pt x="1416" y="338"/>
                </a:cubicBezTo>
                <a:cubicBezTo>
                  <a:pt x="1416" y="337"/>
                  <a:pt x="1415" y="337"/>
                  <a:pt x="1415" y="337"/>
                </a:cubicBezTo>
                <a:cubicBezTo>
                  <a:pt x="1413" y="336"/>
                  <a:pt x="1412" y="336"/>
                  <a:pt x="1410" y="335"/>
                </a:cubicBezTo>
                <a:cubicBezTo>
                  <a:pt x="1409" y="335"/>
                  <a:pt x="1408" y="335"/>
                  <a:pt x="1407" y="334"/>
                </a:cubicBezTo>
                <a:cubicBezTo>
                  <a:pt x="1406" y="334"/>
                  <a:pt x="1405" y="333"/>
                  <a:pt x="1404" y="334"/>
                </a:cubicBezTo>
                <a:cubicBezTo>
                  <a:pt x="1403" y="335"/>
                  <a:pt x="1405" y="335"/>
                  <a:pt x="1404" y="337"/>
                </a:cubicBezTo>
                <a:cubicBezTo>
                  <a:pt x="1403" y="338"/>
                  <a:pt x="1401" y="337"/>
                  <a:pt x="1400" y="337"/>
                </a:cubicBezTo>
                <a:cubicBezTo>
                  <a:pt x="1398" y="336"/>
                  <a:pt x="1396" y="336"/>
                  <a:pt x="1395" y="335"/>
                </a:cubicBezTo>
                <a:cubicBezTo>
                  <a:pt x="1393" y="334"/>
                  <a:pt x="1391" y="334"/>
                  <a:pt x="1389" y="333"/>
                </a:cubicBezTo>
                <a:cubicBezTo>
                  <a:pt x="1387" y="333"/>
                  <a:pt x="1386" y="333"/>
                  <a:pt x="1386" y="331"/>
                </a:cubicBezTo>
                <a:cubicBezTo>
                  <a:pt x="1386" y="330"/>
                  <a:pt x="1386" y="329"/>
                  <a:pt x="1385" y="329"/>
                </a:cubicBezTo>
                <a:cubicBezTo>
                  <a:pt x="1384" y="329"/>
                  <a:pt x="1384" y="329"/>
                  <a:pt x="1384" y="329"/>
                </a:cubicBezTo>
                <a:cubicBezTo>
                  <a:pt x="1384" y="329"/>
                  <a:pt x="1384" y="329"/>
                  <a:pt x="1383" y="328"/>
                </a:cubicBezTo>
                <a:cubicBezTo>
                  <a:pt x="1383" y="328"/>
                  <a:pt x="1383" y="328"/>
                  <a:pt x="1383" y="328"/>
                </a:cubicBezTo>
                <a:cubicBezTo>
                  <a:pt x="1382" y="328"/>
                  <a:pt x="1381" y="327"/>
                  <a:pt x="1380" y="327"/>
                </a:cubicBezTo>
                <a:cubicBezTo>
                  <a:pt x="1380" y="327"/>
                  <a:pt x="1379" y="327"/>
                  <a:pt x="1379" y="327"/>
                </a:cubicBezTo>
                <a:cubicBezTo>
                  <a:pt x="1379" y="327"/>
                  <a:pt x="1379" y="327"/>
                  <a:pt x="1378" y="327"/>
                </a:cubicBezTo>
                <a:cubicBezTo>
                  <a:pt x="1377" y="326"/>
                  <a:pt x="1376" y="326"/>
                  <a:pt x="1375" y="326"/>
                </a:cubicBezTo>
                <a:cubicBezTo>
                  <a:pt x="1373" y="326"/>
                  <a:pt x="1371" y="325"/>
                  <a:pt x="1370" y="325"/>
                </a:cubicBezTo>
                <a:cubicBezTo>
                  <a:pt x="1368" y="325"/>
                  <a:pt x="1366" y="324"/>
                  <a:pt x="1365" y="323"/>
                </a:cubicBezTo>
                <a:cubicBezTo>
                  <a:pt x="1364" y="323"/>
                  <a:pt x="1363" y="322"/>
                  <a:pt x="1362" y="322"/>
                </a:cubicBezTo>
                <a:cubicBezTo>
                  <a:pt x="1362" y="322"/>
                  <a:pt x="1361" y="323"/>
                  <a:pt x="1361" y="323"/>
                </a:cubicBezTo>
                <a:cubicBezTo>
                  <a:pt x="1359" y="322"/>
                  <a:pt x="1357" y="322"/>
                  <a:pt x="1355" y="322"/>
                </a:cubicBezTo>
                <a:cubicBezTo>
                  <a:pt x="1353" y="322"/>
                  <a:pt x="1351" y="321"/>
                  <a:pt x="1350" y="321"/>
                </a:cubicBezTo>
                <a:cubicBezTo>
                  <a:pt x="1348" y="321"/>
                  <a:pt x="1346" y="321"/>
                  <a:pt x="1345" y="321"/>
                </a:cubicBezTo>
                <a:cubicBezTo>
                  <a:pt x="1343" y="320"/>
                  <a:pt x="1341" y="319"/>
                  <a:pt x="1340" y="319"/>
                </a:cubicBezTo>
                <a:cubicBezTo>
                  <a:pt x="1339" y="318"/>
                  <a:pt x="1338" y="318"/>
                  <a:pt x="1337" y="318"/>
                </a:cubicBezTo>
                <a:cubicBezTo>
                  <a:pt x="1336" y="318"/>
                  <a:pt x="1334" y="318"/>
                  <a:pt x="1334" y="317"/>
                </a:cubicBezTo>
                <a:cubicBezTo>
                  <a:pt x="1334" y="317"/>
                  <a:pt x="1334" y="317"/>
                  <a:pt x="1334" y="317"/>
                </a:cubicBezTo>
                <a:cubicBezTo>
                  <a:pt x="1335" y="316"/>
                  <a:pt x="1334" y="316"/>
                  <a:pt x="1334" y="316"/>
                </a:cubicBezTo>
                <a:cubicBezTo>
                  <a:pt x="1334" y="315"/>
                  <a:pt x="1334" y="315"/>
                  <a:pt x="1334" y="315"/>
                </a:cubicBezTo>
                <a:cubicBezTo>
                  <a:pt x="1334" y="315"/>
                  <a:pt x="1333" y="315"/>
                  <a:pt x="1333" y="315"/>
                </a:cubicBezTo>
                <a:cubicBezTo>
                  <a:pt x="1332" y="315"/>
                  <a:pt x="1332" y="315"/>
                  <a:pt x="1332" y="315"/>
                </a:cubicBezTo>
                <a:cubicBezTo>
                  <a:pt x="1332" y="315"/>
                  <a:pt x="1331" y="315"/>
                  <a:pt x="1331" y="315"/>
                </a:cubicBezTo>
                <a:cubicBezTo>
                  <a:pt x="1331" y="315"/>
                  <a:pt x="1331" y="315"/>
                  <a:pt x="1331" y="315"/>
                </a:cubicBezTo>
                <a:cubicBezTo>
                  <a:pt x="1331" y="315"/>
                  <a:pt x="1331" y="314"/>
                  <a:pt x="1330" y="314"/>
                </a:cubicBezTo>
                <a:cubicBezTo>
                  <a:pt x="1330" y="314"/>
                  <a:pt x="1330" y="314"/>
                  <a:pt x="1330" y="315"/>
                </a:cubicBezTo>
                <a:cubicBezTo>
                  <a:pt x="1329" y="314"/>
                  <a:pt x="1328" y="314"/>
                  <a:pt x="1327" y="314"/>
                </a:cubicBezTo>
                <a:cubicBezTo>
                  <a:pt x="1326" y="314"/>
                  <a:pt x="1324" y="313"/>
                  <a:pt x="1323" y="313"/>
                </a:cubicBezTo>
                <a:cubicBezTo>
                  <a:pt x="1320" y="312"/>
                  <a:pt x="1316" y="311"/>
                  <a:pt x="1313" y="310"/>
                </a:cubicBezTo>
                <a:cubicBezTo>
                  <a:pt x="1311" y="310"/>
                  <a:pt x="1309" y="310"/>
                  <a:pt x="1307" y="310"/>
                </a:cubicBezTo>
                <a:cubicBezTo>
                  <a:pt x="1307" y="310"/>
                  <a:pt x="1306" y="310"/>
                  <a:pt x="1305" y="310"/>
                </a:cubicBezTo>
                <a:cubicBezTo>
                  <a:pt x="1304" y="310"/>
                  <a:pt x="1303" y="310"/>
                  <a:pt x="1302" y="310"/>
                </a:cubicBezTo>
                <a:cubicBezTo>
                  <a:pt x="1302" y="310"/>
                  <a:pt x="1302" y="310"/>
                  <a:pt x="1302" y="310"/>
                </a:cubicBezTo>
                <a:cubicBezTo>
                  <a:pt x="1302" y="310"/>
                  <a:pt x="1302" y="309"/>
                  <a:pt x="1302" y="309"/>
                </a:cubicBezTo>
                <a:cubicBezTo>
                  <a:pt x="1301" y="309"/>
                  <a:pt x="1301" y="308"/>
                  <a:pt x="1300" y="308"/>
                </a:cubicBezTo>
                <a:cubicBezTo>
                  <a:pt x="1300" y="308"/>
                  <a:pt x="1299" y="307"/>
                  <a:pt x="1299" y="308"/>
                </a:cubicBezTo>
                <a:cubicBezTo>
                  <a:pt x="1298" y="308"/>
                  <a:pt x="1298" y="308"/>
                  <a:pt x="1298" y="308"/>
                </a:cubicBezTo>
                <a:cubicBezTo>
                  <a:pt x="1297" y="309"/>
                  <a:pt x="1296" y="309"/>
                  <a:pt x="1296" y="309"/>
                </a:cubicBezTo>
                <a:cubicBezTo>
                  <a:pt x="1295" y="309"/>
                  <a:pt x="1294" y="309"/>
                  <a:pt x="1294" y="309"/>
                </a:cubicBezTo>
                <a:cubicBezTo>
                  <a:pt x="1293" y="309"/>
                  <a:pt x="1292" y="308"/>
                  <a:pt x="1291" y="308"/>
                </a:cubicBezTo>
                <a:cubicBezTo>
                  <a:pt x="1290" y="308"/>
                  <a:pt x="1290" y="309"/>
                  <a:pt x="1289" y="309"/>
                </a:cubicBezTo>
                <a:cubicBezTo>
                  <a:pt x="1288" y="309"/>
                  <a:pt x="1286" y="308"/>
                  <a:pt x="1285" y="308"/>
                </a:cubicBezTo>
                <a:cubicBezTo>
                  <a:pt x="1283" y="308"/>
                  <a:pt x="1281" y="307"/>
                  <a:pt x="1280" y="306"/>
                </a:cubicBezTo>
                <a:cubicBezTo>
                  <a:pt x="1279" y="306"/>
                  <a:pt x="1278" y="306"/>
                  <a:pt x="1278" y="305"/>
                </a:cubicBezTo>
                <a:cubicBezTo>
                  <a:pt x="1277" y="305"/>
                  <a:pt x="1277" y="304"/>
                  <a:pt x="1276" y="303"/>
                </a:cubicBezTo>
                <a:cubicBezTo>
                  <a:pt x="1275" y="303"/>
                  <a:pt x="1275" y="303"/>
                  <a:pt x="1274" y="303"/>
                </a:cubicBezTo>
                <a:cubicBezTo>
                  <a:pt x="1274" y="304"/>
                  <a:pt x="1274" y="304"/>
                  <a:pt x="1273" y="304"/>
                </a:cubicBezTo>
                <a:cubicBezTo>
                  <a:pt x="1273" y="304"/>
                  <a:pt x="1272" y="304"/>
                  <a:pt x="1273" y="303"/>
                </a:cubicBezTo>
                <a:cubicBezTo>
                  <a:pt x="1273" y="303"/>
                  <a:pt x="1272" y="303"/>
                  <a:pt x="1272" y="302"/>
                </a:cubicBezTo>
                <a:cubicBezTo>
                  <a:pt x="1272" y="302"/>
                  <a:pt x="1271" y="302"/>
                  <a:pt x="1271" y="302"/>
                </a:cubicBezTo>
                <a:cubicBezTo>
                  <a:pt x="1270" y="303"/>
                  <a:pt x="1270" y="304"/>
                  <a:pt x="1269" y="304"/>
                </a:cubicBezTo>
                <a:cubicBezTo>
                  <a:pt x="1269" y="304"/>
                  <a:pt x="1268" y="303"/>
                  <a:pt x="1267" y="303"/>
                </a:cubicBezTo>
                <a:cubicBezTo>
                  <a:pt x="1267" y="303"/>
                  <a:pt x="1267" y="303"/>
                  <a:pt x="1267" y="303"/>
                </a:cubicBezTo>
                <a:cubicBezTo>
                  <a:pt x="1267" y="302"/>
                  <a:pt x="1265" y="302"/>
                  <a:pt x="1265" y="301"/>
                </a:cubicBezTo>
                <a:cubicBezTo>
                  <a:pt x="1264" y="301"/>
                  <a:pt x="1264" y="300"/>
                  <a:pt x="1264" y="300"/>
                </a:cubicBezTo>
                <a:cubicBezTo>
                  <a:pt x="1263" y="299"/>
                  <a:pt x="1262" y="299"/>
                  <a:pt x="1262" y="299"/>
                </a:cubicBezTo>
                <a:cubicBezTo>
                  <a:pt x="1261" y="299"/>
                  <a:pt x="1261" y="299"/>
                  <a:pt x="1261" y="299"/>
                </a:cubicBezTo>
                <a:cubicBezTo>
                  <a:pt x="1260" y="299"/>
                  <a:pt x="1260" y="300"/>
                  <a:pt x="1259" y="300"/>
                </a:cubicBezTo>
                <a:cubicBezTo>
                  <a:pt x="1259" y="300"/>
                  <a:pt x="1259" y="300"/>
                  <a:pt x="1259" y="300"/>
                </a:cubicBezTo>
                <a:cubicBezTo>
                  <a:pt x="1258" y="300"/>
                  <a:pt x="1258" y="301"/>
                  <a:pt x="1258" y="301"/>
                </a:cubicBezTo>
                <a:cubicBezTo>
                  <a:pt x="1258" y="301"/>
                  <a:pt x="1257" y="301"/>
                  <a:pt x="1257" y="301"/>
                </a:cubicBezTo>
                <a:cubicBezTo>
                  <a:pt x="1256" y="300"/>
                  <a:pt x="1256" y="301"/>
                  <a:pt x="1255" y="301"/>
                </a:cubicBezTo>
                <a:cubicBezTo>
                  <a:pt x="1254" y="301"/>
                  <a:pt x="1253" y="300"/>
                  <a:pt x="1253" y="300"/>
                </a:cubicBezTo>
                <a:cubicBezTo>
                  <a:pt x="1251" y="299"/>
                  <a:pt x="1249" y="299"/>
                  <a:pt x="1247" y="298"/>
                </a:cubicBezTo>
                <a:cubicBezTo>
                  <a:pt x="1246" y="297"/>
                  <a:pt x="1243" y="296"/>
                  <a:pt x="1242" y="295"/>
                </a:cubicBezTo>
                <a:cubicBezTo>
                  <a:pt x="1242" y="295"/>
                  <a:pt x="1241" y="294"/>
                  <a:pt x="1239" y="294"/>
                </a:cubicBezTo>
                <a:cubicBezTo>
                  <a:pt x="1238" y="294"/>
                  <a:pt x="1238" y="293"/>
                  <a:pt x="1237" y="293"/>
                </a:cubicBezTo>
                <a:cubicBezTo>
                  <a:pt x="1235" y="293"/>
                  <a:pt x="1234" y="296"/>
                  <a:pt x="1233" y="295"/>
                </a:cubicBezTo>
                <a:cubicBezTo>
                  <a:pt x="1232" y="295"/>
                  <a:pt x="1231" y="294"/>
                  <a:pt x="1230" y="294"/>
                </a:cubicBezTo>
                <a:cubicBezTo>
                  <a:pt x="1229" y="293"/>
                  <a:pt x="1228" y="292"/>
                  <a:pt x="1227" y="291"/>
                </a:cubicBezTo>
                <a:cubicBezTo>
                  <a:pt x="1226" y="291"/>
                  <a:pt x="1225" y="289"/>
                  <a:pt x="1224" y="290"/>
                </a:cubicBezTo>
                <a:cubicBezTo>
                  <a:pt x="1224" y="291"/>
                  <a:pt x="1223" y="291"/>
                  <a:pt x="1223" y="291"/>
                </a:cubicBezTo>
                <a:cubicBezTo>
                  <a:pt x="1223" y="292"/>
                  <a:pt x="1222" y="292"/>
                  <a:pt x="1222" y="292"/>
                </a:cubicBezTo>
                <a:cubicBezTo>
                  <a:pt x="1221" y="292"/>
                  <a:pt x="1220" y="291"/>
                  <a:pt x="1219" y="291"/>
                </a:cubicBezTo>
                <a:cubicBezTo>
                  <a:pt x="1218" y="291"/>
                  <a:pt x="1215" y="290"/>
                  <a:pt x="1214" y="291"/>
                </a:cubicBezTo>
                <a:cubicBezTo>
                  <a:pt x="1214" y="291"/>
                  <a:pt x="1214" y="291"/>
                  <a:pt x="1214" y="291"/>
                </a:cubicBezTo>
                <a:cubicBezTo>
                  <a:pt x="1213" y="291"/>
                  <a:pt x="1213" y="291"/>
                  <a:pt x="1212" y="291"/>
                </a:cubicBezTo>
                <a:cubicBezTo>
                  <a:pt x="1212" y="291"/>
                  <a:pt x="1212" y="291"/>
                  <a:pt x="1212" y="291"/>
                </a:cubicBezTo>
                <a:cubicBezTo>
                  <a:pt x="1211" y="291"/>
                  <a:pt x="1211" y="291"/>
                  <a:pt x="1210" y="290"/>
                </a:cubicBezTo>
                <a:cubicBezTo>
                  <a:pt x="1210" y="290"/>
                  <a:pt x="1210" y="290"/>
                  <a:pt x="1210" y="290"/>
                </a:cubicBezTo>
                <a:cubicBezTo>
                  <a:pt x="1209" y="289"/>
                  <a:pt x="1207" y="289"/>
                  <a:pt x="1206" y="289"/>
                </a:cubicBezTo>
                <a:cubicBezTo>
                  <a:pt x="1205" y="288"/>
                  <a:pt x="1203" y="288"/>
                  <a:pt x="1202" y="287"/>
                </a:cubicBezTo>
                <a:cubicBezTo>
                  <a:pt x="1200" y="287"/>
                  <a:pt x="1199" y="286"/>
                  <a:pt x="1197" y="286"/>
                </a:cubicBezTo>
                <a:cubicBezTo>
                  <a:pt x="1196" y="286"/>
                  <a:pt x="1196" y="286"/>
                  <a:pt x="1195" y="287"/>
                </a:cubicBezTo>
                <a:cubicBezTo>
                  <a:pt x="1194" y="287"/>
                  <a:pt x="1194" y="286"/>
                  <a:pt x="1193" y="286"/>
                </a:cubicBezTo>
                <a:cubicBezTo>
                  <a:pt x="1192" y="286"/>
                  <a:pt x="1192" y="287"/>
                  <a:pt x="1191" y="287"/>
                </a:cubicBezTo>
                <a:cubicBezTo>
                  <a:pt x="1191" y="286"/>
                  <a:pt x="1191" y="286"/>
                  <a:pt x="1191" y="286"/>
                </a:cubicBezTo>
                <a:cubicBezTo>
                  <a:pt x="1191" y="286"/>
                  <a:pt x="1191" y="286"/>
                  <a:pt x="1191" y="286"/>
                </a:cubicBezTo>
                <a:cubicBezTo>
                  <a:pt x="1190" y="286"/>
                  <a:pt x="1190" y="286"/>
                  <a:pt x="1190" y="286"/>
                </a:cubicBezTo>
                <a:cubicBezTo>
                  <a:pt x="1189" y="285"/>
                  <a:pt x="1186" y="285"/>
                  <a:pt x="1185" y="285"/>
                </a:cubicBezTo>
                <a:cubicBezTo>
                  <a:pt x="1183" y="284"/>
                  <a:pt x="1182" y="284"/>
                  <a:pt x="1180" y="284"/>
                </a:cubicBezTo>
                <a:cubicBezTo>
                  <a:pt x="1176" y="283"/>
                  <a:pt x="1172" y="282"/>
                  <a:pt x="1168" y="281"/>
                </a:cubicBezTo>
                <a:cubicBezTo>
                  <a:pt x="1166" y="280"/>
                  <a:pt x="1164" y="280"/>
                  <a:pt x="1162" y="278"/>
                </a:cubicBezTo>
                <a:cubicBezTo>
                  <a:pt x="1162" y="278"/>
                  <a:pt x="1161" y="277"/>
                  <a:pt x="1160" y="278"/>
                </a:cubicBezTo>
                <a:cubicBezTo>
                  <a:pt x="1160" y="278"/>
                  <a:pt x="1159" y="278"/>
                  <a:pt x="1158" y="278"/>
                </a:cubicBezTo>
                <a:cubicBezTo>
                  <a:pt x="1157" y="278"/>
                  <a:pt x="1156" y="278"/>
                  <a:pt x="1155" y="277"/>
                </a:cubicBezTo>
                <a:cubicBezTo>
                  <a:pt x="1152" y="277"/>
                  <a:pt x="1150" y="276"/>
                  <a:pt x="1147" y="275"/>
                </a:cubicBezTo>
                <a:cubicBezTo>
                  <a:pt x="1147" y="275"/>
                  <a:pt x="1147" y="275"/>
                  <a:pt x="1147" y="274"/>
                </a:cubicBezTo>
                <a:cubicBezTo>
                  <a:pt x="1146" y="274"/>
                  <a:pt x="1145" y="273"/>
                  <a:pt x="1144" y="273"/>
                </a:cubicBezTo>
                <a:cubicBezTo>
                  <a:pt x="1144" y="273"/>
                  <a:pt x="1143" y="273"/>
                  <a:pt x="1142" y="273"/>
                </a:cubicBezTo>
                <a:cubicBezTo>
                  <a:pt x="1142" y="274"/>
                  <a:pt x="1143" y="275"/>
                  <a:pt x="1142" y="275"/>
                </a:cubicBezTo>
                <a:cubicBezTo>
                  <a:pt x="1141" y="276"/>
                  <a:pt x="1141" y="274"/>
                  <a:pt x="1141" y="274"/>
                </a:cubicBezTo>
                <a:cubicBezTo>
                  <a:pt x="1140" y="274"/>
                  <a:pt x="1139" y="275"/>
                  <a:pt x="1139" y="274"/>
                </a:cubicBezTo>
                <a:cubicBezTo>
                  <a:pt x="1137" y="273"/>
                  <a:pt x="1137" y="272"/>
                  <a:pt x="1136" y="271"/>
                </a:cubicBezTo>
                <a:cubicBezTo>
                  <a:pt x="1135" y="271"/>
                  <a:pt x="1134" y="272"/>
                  <a:pt x="1133" y="272"/>
                </a:cubicBezTo>
                <a:cubicBezTo>
                  <a:pt x="1133" y="272"/>
                  <a:pt x="1132" y="271"/>
                  <a:pt x="1132" y="271"/>
                </a:cubicBezTo>
                <a:cubicBezTo>
                  <a:pt x="1131" y="271"/>
                  <a:pt x="1130" y="272"/>
                  <a:pt x="1129" y="272"/>
                </a:cubicBezTo>
                <a:cubicBezTo>
                  <a:pt x="1129" y="272"/>
                  <a:pt x="1128" y="272"/>
                  <a:pt x="1128" y="271"/>
                </a:cubicBezTo>
                <a:cubicBezTo>
                  <a:pt x="1128" y="271"/>
                  <a:pt x="1127" y="271"/>
                  <a:pt x="1127" y="271"/>
                </a:cubicBezTo>
                <a:cubicBezTo>
                  <a:pt x="1126" y="270"/>
                  <a:pt x="1124" y="270"/>
                  <a:pt x="1122" y="270"/>
                </a:cubicBezTo>
                <a:cubicBezTo>
                  <a:pt x="1106" y="266"/>
                  <a:pt x="1100" y="265"/>
                  <a:pt x="1099" y="265"/>
                </a:cubicBezTo>
                <a:cubicBezTo>
                  <a:pt x="1099" y="265"/>
                  <a:pt x="1090" y="263"/>
                  <a:pt x="1089" y="262"/>
                </a:cubicBezTo>
                <a:cubicBezTo>
                  <a:pt x="1087" y="261"/>
                  <a:pt x="1085" y="260"/>
                  <a:pt x="1084" y="259"/>
                </a:cubicBezTo>
                <a:cubicBezTo>
                  <a:pt x="1083" y="259"/>
                  <a:pt x="1082" y="259"/>
                  <a:pt x="1081" y="259"/>
                </a:cubicBezTo>
                <a:cubicBezTo>
                  <a:pt x="1081" y="258"/>
                  <a:pt x="1082" y="258"/>
                  <a:pt x="1082" y="257"/>
                </a:cubicBezTo>
                <a:cubicBezTo>
                  <a:pt x="1083" y="257"/>
                  <a:pt x="1083" y="256"/>
                  <a:pt x="1082" y="256"/>
                </a:cubicBezTo>
                <a:cubicBezTo>
                  <a:pt x="1082" y="256"/>
                  <a:pt x="1081" y="256"/>
                  <a:pt x="1080" y="256"/>
                </a:cubicBezTo>
                <a:cubicBezTo>
                  <a:pt x="1080" y="256"/>
                  <a:pt x="1079" y="256"/>
                  <a:pt x="1078" y="256"/>
                </a:cubicBezTo>
                <a:cubicBezTo>
                  <a:pt x="1076" y="257"/>
                  <a:pt x="1075" y="256"/>
                  <a:pt x="1073" y="256"/>
                </a:cubicBezTo>
                <a:cubicBezTo>
                  <a:pt x="1073" y="256"/>
                  <a:pt x="1073" y="256"/>
                  <a:pt x="1072" y="256"/>
                </a:cubicBezTo>
                <a:cubicBezTo>
                  <a:pt x="1072" y="255"/>
                  <a:pt x="1072" y="255"/>
                  <a:pt x="1072" y="254"/>
                </a:cubicBezTo>
                <a:cubicBezTo>
                  <a:pt x="1071" y="254"/>
                  <a:pt x="1071" y="253"/>
                  <a:pt x="1071" y="254"/>
                </a:cubicBezTo>
                <a:cubicBezTo>
                  <a:pt x="1070" y="254"/>
                  <a:pt x="1070" y="254"/>
                  <a:pt x="1070" y="254"/>
                </a:cubicBezTo>
                <a:cubicBezTo>
                  <a:pt x="1068" y="256"/>
                  <a:pt x="1064" y="255"/>
                  <a:pt x="1062" y="254"/>
                </a:cubicBezTo>
                <a:cubicBezTo>
                  <a:pt x="1057" y="253"/>
                  <a:pt x="1053" y="252"/>
                  <a:pt x="1051" y="252"/>
                </a:cubicBezTo>
                <a:cubicBezTo>
                  <a:pt x="1048" y="252"/>
                  <a:pt x="1046" y="251"/>
                  <a:pt x="1044" y="252"/>
                </a:cubicBezTo>
                <a:cubicBezTo>
                  <a:pt x="1042" y="252"/>
                  <a:pt x="1041" y="252"/>
                  <a:pt x="1040" y="251"/>
                </a:cubicBezTo>
                <a:cubicBezTo>
                  <a:pt x="1039" y="250"/>
                  <a:pt x="1038" y="249"/>
                  <a:pt x="1036" y="249"/>
                </a:cubicBezTo>
                <a:cubicBezTo>
                  <a:pt x="1035" y="249"/>
                  <a:pt x="1035" y="249"/>
                  <a:pt x="1034" y="248"/>
                </a:cubicBezTo>
                <a:cubicBezTo>
                  <a:pt x="1030" y="247"/>
                  <a:pt x="1026" y="247"/>
                  <a:pt x="1022" y="246"/>
                </a:cubicBezTo>
                <a:cubicBezTo>
                  <a:pt x="1018" y="245"/>
                  <a:pt x="1013" y="244"/>
                  <a:pt x="1009" y="243"/>
                </a:cubicBezTo>
                <a:cubicBezTo>
                  <a:pt x="995" y="240"/>
                  <a:pt x="980" y="237"/>
                  <a:pt x="976" y="236"/>
                </a:cubicBezTo>
                <a:cubicBezTo>
                  <a:pt x="974" y="235"/>
                  <a:pt x="973" y="235"/>
                  <a:pt x="971" y="235"/>
                </a:cubicBezTo>
                <a:cubicBezTo>
                  <a:pt x="970" y="235"/>
                  <a:pt x="969" y="234"/>
                  <a:pt x="967" y="234"/>
                </a:cubicBezTo>
                <a:cubicBezTo>
                  <a:pt x="967" y="234"/>
                  <a:pt x="967" y="234"/>
                  <a:pt x="968" y="234"/>
                </a:cubicBezTo>
                <a:cubicBezTo>
                  <a:pt x="968" y="233"/>
                  <a:pt x="967" y="233"/>
                  <a:pt x="967" y="233"/>
                </a:cubicBezTo>
                <a:cubicBezTo>
                  <a:pt x="966" y="233"/>
                  <a:pt x="966" y="233"/>
                  <a:pt x="965" y="233"/>
                </a:cubicBezTo>
                <a:cubicBezTo>
                  <a:pt x="965" y="234"/>
                  <a:pt x="965" y="234"/>
                  <a:pt x="965" y="234"/>
                </a:cubicBezTo>
                <a:cubicBezTo>
                  <a:pt x="963" y="234"/>
                  <a:pt x="960" y="233"/>
                  <a:pt x="958" y="232"/>
                </a:cubicBezTo>
                <a:cubicBezTo>
                  <a:pt x="958" y="232"/>
                  <a:pt x="955" y="231"/>
                  <a:pt x="954" y="231"/>
                </a:cubicBezTo>
                <a:cubicBezTo>
                  <a:pt x="954" y="231"/>
                  <a:pt x="954" y="231"/>
                  <a:pt x="954" y="231"/>
                </a:cubicBezTo>
                <a:cubicBezTo>
                  <a:pt x="953" y="231"/>
                  <a:pt x="953" y="231"/>
                  <a:pt x="952" y="231"/>
                </a:cubicBezTo>
                <a:cubicBezTo>
                  <a:pt x="952" y="232"/>
                  <a:pt x="952" y="232"/>
                  <a:pt x="951" y="232"/>
                </a:cubicBezTo>
                <a:cubicBezTo>
                  <a:pt x="950" y="232"/>
                  <a:pt x="949" y="231"/>
                  <a:pt x="950" y="230"/>
                </a:cubicBezTo>
                <a:cubicBezTo>
                  <a:pt x="950" y="230"/>
                  <a:pt x="950" y="230"/>
                  <a:pt x="950" y="229"/>
                </a:cubicBezTo>
                <a:cubicBezTo>
                  <a:pt x="950" y="229"/>
                  <a:pt x="950" y="229"/>
                  <a:pt x="950" y="229"/>
                </a:cubicBezTo>
                <a:cubicBezTo>
                  <a:pt x="949" y="229"/>
                  <a:pt x="949" y="229"/>
                  <a:pt x="949" y="229"/>
                </a:cubicBezTo>
                <a:cubicBezTo>
                  <a:pt x="947" y="229"/>
                  <a:pt x="945" y="229"/>
                  <a:pt x="944" y="228"/>
                </a:cubicBezTo>
                <a:cubicBezTo>
                  <a:pt x="942" y="228"/>
                  <a:pt x="939" y="228"/>
                  <a:pt x="938" y="227"/>
                </a:cubicBezTo>
                <a:cubicBezTo>
                  <a:pt x="938" y="227"/>
                  <a:pt x="938" y="227"/>
                  <a:pt x="938" y="227"/>
                </a:cubicBezTo>
                <a:cubicBezTo>
                  <a:pt x="937" y="227"/>
                  <a:pt x="937" y="226"/>
                  <a:pt x="936" y="226"/>
                </a:cubicBezTo>
                <a:cubicBezTo>
                  <a:pt x="935" y="226"/>
                  <a:pt x="934" y="225"/>
                  <a:pt x="933" y="225"/>
                </a:cubicBezTo>
                <a:cubicBezTo>
                  <a:pt x="931" y="225"/>
                  <a:pt x="926" y="224"/>
                  <a:pt x="922" y="223"/>
                </a:cubicBezTo>
                <a:cubicBezTo>
                  <a:pt x="920" y="223"/>
                  <a:pt x="918" y="222"/>
                  <a:pt x="916" y="222"/>
                </a:cubicBezTo>
                <a:cubicBezTo>
                  <a:pt x="915" y="222"/>
                  <a:pt x="914" y="221"/>
                  <a:pt x="913" y="221"/>
                </a:cubicBezTo>
                <a:cubicBezTo>
                  <a:pt x="912" y="221"/>
                  <a:pt x="912" y="222"/>
                  <a:pt x="911" y="222"/>
                </a:cubicBezTo>
                <a:cubicBezTo>
                  <a:pt x="911" y="222"/>
                  <a:pt x="910" y="222"/>
                  <a:pt x="909" y="222"/>
                </a:cubicBezTo>
                <a:cubicBezTo>
                  <a:pt x="909" y="222"/>
                  <a:pt x="909" y="220"/>
                  <a:pt x="908" y="220"/>
                </a:cubicBezTo>
                <a:cubicBezTo>
                  <a:pt x="908" y="220"/>
                  <a:pt x="908" y="220"/>
                  <a:pt x="907" y="220"/>
                </a:cubicBezTo>
                <a:cubicBezTo>
                  <a:pt x="906" y="219"/>
                  <a:pt x="904" y="219"/>
                  <a:pt x="903" y="219"/>
                </a:cubicBezTo>
                <a:cubicBezTo>
                  <a:pt x="900" y="218"/>
                  <a:pt x="897" y="217"/>
                  <a:pt x="894" y="216"/>
                </a:cubicBezTo>
                <a:cubicBezTo>
                  <a:pt x="891" y="216"/>
                  <a:pt x="888" y="215"/>
                  <a:pt x="885" y="214"/>
                </a:cubicBezTo>
                <a:cubicBezTo>
                  <a:pt x="883" y="214"/>
                  <a:pt x="880" y="212"/>
                  <a:pt x="877" y="213"/>
                </a:cubicBezTo>
                <a:cubicBezTo>
                  <a:pt x="877" y="213"/>
                  <a:pt x="877" y="213"/>
                  <a:pt x="876" y="213"/>
                </a:cubicBezTo>
                <a:cubicBezTo>
                  <a:pt x="876" y="213"/>
                  <a:pt x="876" y="213"/>
                  <a:pt x="875" y="213"/>
                </a:cubicBezTo>
                <a:cubicBezTo>
                  <a:pt x="875" y="213"/>
                  <a:pt x="875" y="213"/>
                  <a:pt x="874" y="213"/>
                </a:cubicBezTo>
                <a:cubicBezTo>
                  <a:pt x="874" y="213"/>
                  <a:pt x="874" y="213"/>
                  <a:pt x="873" y="213"/>
                </a:cubicBezTo>
                <a:cubicBezTo>
                  <a:pt x="871" y="212"/>
                  <a:pt x="869" y="212"/>
                  <a:pt x="867" y="211"/>
                </a:cubicBezTo>
                <a:cubicBezTo>
                  <a:pt x="865" y="210"/>
                  <a:pt x="863" y="210"/>
                  <a:pt x="861" y="209"/>
                </a:cubicBezTo>
                <a:cubicBezTo>
                  <a:pt x="856" y="208"/>
                  <a:pt x="851" y="207"/>
                  <a:pt x="847" y="206"/>
                </a:cubicBezTo>
                <a:cubicBezTo>
                  <a:pt x="839" y="204"/>
                  <a:pt x="830" y="202"/>
                  <a:pt x="822" y="201"/>
                </a:cubicBezTo>
                <a:cubicBezTo>
                  <a:pt x="822" y="201"/>
                  <a:pt x="822" y="201"/>
                  <a:pt x="822" y="200"/>
                </a:cubicBezTo>
                <a:cubicBezTo>
                  <a:pt x="822" y="200"/>
                  <a:pt x="822" y="200"/>
                  <a:pt x="822" y="200"/>
                </a:cubicBezTo>
                <a:cubicBezTo>
                  <a:pt x="821" y="200"/>
                  <a:pt x="821" y="200"/>
                  <a:pt x="821" y="200"/>
                </a:cubicBezTo>
                <a:cubicBezTo>
                  <a:pt x="820" y="199"/>
                  <a:pt x="819" y="199"/>
                  <a:pt x="818" y="199"/>
                </a:cubicBezTo>
                <a:cubicBezTo>
                  <a:pt x="817" y="198"/>
                  <a:pt x="816" y="198"/>
                  <a:pt x="815" y="197"/>
                </a:cubicBezTo>
                <a:cubicBezTo>
                  <a:pt x="815" y="197"/>
                  <a:pt x="814" y="196"/>
                  <a:pt x="814" y="196"/>
                </a:cubicBezTo>
                <a:cubicBezTo>
                  <a:pt x="813" y="196"/>
                  <a:pt x="812" y="197"/>
                  <a:pt x="811" y="198"/>
                </a:cubicBezTo>
                <a:cubicBezTo>
                  <a:pt x="810" y="198"/>
                  <a:pt x="809" y="197"/>
                  <a:pt x="809" y="197"/>
                </a:cubicBezTo>
                <a:cubicBezTo>
                  <a:pt x="806" y="196"/>
                  <a:pt x="802" y="195"/>
                  <a:pt x="800" y="194"/>
                </a:cubicBezTo>
                <a:cubicBezTo>
                  <a:pt x="796" y="193"/>
                  <a:pt x="785" y="191"/>
                  <a:pt x="779" y="189"/>
                </a:cubicBezTo>
                <a:cubicBezTo>
                  <a:pt x="778" y="189"/>
                  <a:pt x="775" y="188"/>
                  <a:pt x="772" y="188"/>
                </a:cubicBezTo>
                <a:cubicBezTo>
                  <a:pt x="771" y="188"/>
                  <a:pt x="769" y="187"/>
                  <a:pt x="768" y="187"/>
                </a:cubicBezTo>
                <a:cubicBezTo>
                  <a:pt x="768" y="187"/>
                  <a:pt x="768" y="186"/>
                  <a:pt x="767" y="186"/>
                </a:cubicBezTo>
                <a:cubicBezTo>
                  <a:pt x="767" y="185"/>
                  <a:pt x="767" y="185"/>
                  <a:pt x="766" y="185"/>
                </a:cubicBezTo>
                <a:cubicBezTo>
                  <a:pt x="766" y="185"/>
                  <a:pt x="765" y="185"/>
                  <a:pt x="764" y="185"/>
                </a:cubicBezTo>
                <a:cubicBezTo>
                  <a:pt x="764" y="185"/>
                  <a:pt x="764" y="185"/>
                  <a:pt x="763" y="185"/>
                </a:cubicBezTo>
                <a:cubicBezTo>
                  <a:pt x="762" y="185"/>
                  <a:pt x="760" y="185"/>
                  <a:pt x="758" y="184"/>
                </a:cubicBezTo>
                <a:cubicBezTo>
                  <a:pt x="757" y="184"/>
                  <a:pt x="757" y="182"/>
                  <a:pt x="756" y="181"/>
                </a:cubicBezTo>
                <a:cubicBezTo>
                  <a:pt x="756" y="180"/>
                  <a:pt x="755" y="179"/>
                  <a:pt x="754" y="180"/>
                </a:cubicBezTo>
                <a:cubicBezTo>
                  <a:pt x="754" y="181"/>
                  <a:pt x="752" y="181"/>
                  <a:pt x="752" y="181"/>
                </a:cubicBezTo>
                <a:cubicBezTo>
                  <a:pt x="751" y="182"/>
                  <a:pt x="751" y="182"/>
                  <a:pt x="751" y="182"/>
                </a:cubicBezTo>
                <a:cubicBezTo>
                  <a:pt x="751" y="182"/>
                  <a:pt x="750" y="182"/>
                  <a:pt x="750" y="182"/>
                </a:cubicBezTo>
                <a:cubicBezTo>
                  <a:pt x="750" y="182"/>
                  <a:pt x="750" y="182"/>
                  <a:pt x="749" y="182"/>
                </a:cubicBezTo>
                <a:cubicBezTo>
                  <a:pt x="748" y="182"/>
                  <a:pt x="746" y="181"/>
                  <a:pt x="745" y="181"/>
                </a:cubicBezTo>
                <a:cubicBezTo>
                  <a:pt x="742" y="180"/>
                  <a:pt x="740" y="179"/>
                  <a:pt x="738" y="179"/>
                </a:cubicBezTo>
                <a:cubicBezTo>
                  <a:pt x="733" y="178"/>
                  <a:pt x="728" y="176"/>
                  <a:pt x="723" y="175"/>
                </a:cubicBezTo>
                <a:cubicBezTo>
                  <a:pt x="723" y="175"/>
                  <a:pt x="722" y="175"/>
                  <a:pt x="722" y="175"/>
                </a:cubicBezTo>
                <a:cubicBezTo>
                  <a:pt x="722" y="176"/>
                  <a:pt x="722" y="176"/>
                  <a:pt x="721" y="176"/>
                </a:cubicBezTo>
                <a:cubicBezTo>
                  <a:pt x="721" y="176"/>
                  <a:pt x="721" y="176"/>
                  <a:pt x="721" y="176"/>
                </a:cubicBezTo>
                <a:cubicBezTo>
                  <a:pt x="721" y="176"/>
                  <a:pt x="720" y="176"/>
                  <a:pt x="720" y="176"/>
                </a:cubicBezTo>
                <a:cubicBezTo>
                  <a:pt x="720" y="176"/>
                  <a:pt x="718" y="175"/>
                  <a:pt x="717" y="175"/>
                </a:cubicBezTo>
                <a:cubicBezTo>
                  <a:pt x="717" y="175"/>
                  <a:pt x="716" y="174"/>
                  <a:pt x="714" y="174"/>
                </a:cubicBezTo>
                <a:cubicBezTo>
                  <a:pt x="713" y="173"/>
                  <a:pt x="712" y="173"/>
                  <a:pt x="711" y="172"/>
                </a:cubicBezTo>
                <a:cubicBezTo>
                  <a:pt x="711" y="172"/>
                  <a:pt x="710" y="172"/>
                  <a:pt x="710" y="172"/>
                </a:cubicBezTo>
                <a:cubicBezTo>
                  <a:pt x="710" y="172"/>
                  <a:pt x="710" y="172"/>
                  <a:pt x="710" y="172"/>
                </a:cubicBezTo>
                <a:cubicBezTo>
                  <a:pt x="709" y="173"/>
                  <a:pt x="708" y="173"/>
                  <a:pt x="708" y="172"/>
                </a:cubicBezTo>
                <a:cubicBezTo>
                  <a:pt x="708" y="172"/>
                  <a:pt x="708" y="172"/>
                  <a:pt x="707" y="171"/>
                </a:cubicBezTo>
                <a:cubicBezTo>
                  <a:pt x="707" y="171"/>
                  <a:pt x="705" y="171"/>
                  <a:pt x="705" y="171"/>
                </a:cubicBezTo>
                <a:cubicBezTo>
                  <a:pt x="704" y="170"/>
                  <a:pt x="702" y="170"/>
                  <a:pt x="702" y="169"/>
                </a:cubicBezTo>
                <a:cubicBezTo>
                  <a:pt x="701" y="169"/>
                  <a:pt x="701" y="168"/>
                  <a:pt x="700" y="168"/>
                </a:cubicBezTo>
                <a:cubicBezTo>
                  <a:pt x="699" y="168"/>
                  <a:pt x="696" y="170"/>
                  <a:pt x="696" y="169"/>
                </a:cubicBezTo>
                <a:cubicBezTo>
                  <a:pt x="696" y="168"/>
                  <a:pt x="696" y="168"/>
                  <a:pt x="696" y="168"/>
                </a:cubicBezTo>
                <a:cubicBezTo>
                  <a:pt x="696" y="168"/>
                  <a:pt x="696" y="167"/>
                  <a:pt x="696" y="167"/>
                </a:cubicBezTo>
                <a:cubicBezTo>
                  <a:pt x="696" y="167"/>
                  <a:pt x="696" y="167"/>
                  <a:pt x="696" y="167"/>
                </a:cubicBezTo>
                <a:cubicBezTo>
                  <a:pt x="695" y="166"/>
                  <a:pt x="694" y="166"/>
                  <a:pt x="694" y="167"/>
                </a:cubicBezTo>
                <a:cubicBezTo>
                  <a:pt x="694" y="167"/>
                  <a:pt x="693" y="167"/>
                  <a:pt x="693" y="167"/>
                </a:cubicBezTo>
                <a:cubicBezTo>
                  <a:pt x="691" y="168"/>
                  <a:pt x="688" y="167"/>
                  <a:pt x="686" y="166"/>
                </a:cubicBezTo>
                <a:cubicBezTo>
                  <a:pt x="683" y="166"/>
                  <a:pt x="681" y="165"/>
                  <a:pt x="679" y="164"/>
                </a:cubicBezTo>
                <a:cubicBezTo>
                  <a:pt x="678" y="164"/>
                  <a:pt x="677" y="164"/>
                  <a:pt x="676" y="163"/>
                </a:cubicBezTo>
                <a:cubicBezTo>
                  <a:pt x="675" y="163"/>
                  <a:pt x="675" y="163"/>
                  <a:pt x="675" y="162"/>
                </a:cubicBezTo>
                <a:cubicBezTo>
                  <a:pt x="675" y="161"/>
                  <a:pt x="674" y="160"/>
                  <a:pt x="674" y="160"/>
                </a:cubicBezTo>
                <a:cubicBezTo>
                  <a:pt x="674" y="160"/>
                  <a:pt x="674" y="160"/>
                  <a:pt x="674" y="159"/>
                </a:cubicBezTo>
                <a:cubicBezTo>
                  <a:pt x="673" y="159"/>
                  <a:pt x="673" y="160"/>
                  <a:pt x="672" y="160"/>
                </a:cubicBezTo>
                <a:cubicBezTo>
                  <a:pt x="672" y="160"/>
                  <a:pt x="672" y="161"/>
                  <a:pt x="671" y="161"/>
                </a:cubicBezTo>
                <a:cubicBezTo>
                  <a:pt x="670" y="161"/>
                  <a:pt x="668" y="161"/>
                  <a:pt x="667" y="161"/>
                </a:cubicBezTo>
                <a:cubicBezTo>
                  <a:pt x="666" y="160"/>
                  <a:pt x="665" y="159"/>
                  <a:pt x="663" y="159"/>
                </a:cubicBezTo>
                <a:cubicBezTo>
                  <a:pt x="661" y="159"/>
                  <a:pt x="659" y="158"/>
                  <a:pt x="657" y="158"/>
                </a:cubicBezTo>
                <a:cubicBezTo>
                  <a:pt x="656" y="158"/>
                  <a:pt x="655" y="157"/>
                  <a:pt x="654" y="157"/>
                </a:cubicBezTo>
                <a:cubicBezTo>
                  <a:pt x="653" y="157"/>
                  <a:pt x="653" y="157"/>
                  <a:pt x="652" y="157"/>
                </a:cubicBezTo>
                <a:cubicBezTo>
                  <a:pt x="652" y="157"/>
                  <a:pt x="652" y="156"/>
                  <a:pt x="651" y="156"/>
                </a:cubicBezTo>
                <a:cubicBezTo>
                  <a:pt x="651" y="156"/>
                  <a:pt x="651" y="156"/>
                  <a:pt x="650" y="155"/>
                </a:cubicBezTo>
                <a:cubicBezTo>
                  <a:pt x="650" y="155"/>
                  <a:pt x="650" y="155"/>
                  <a:pt x="650" y="155"/>
                </a:cubicBezTo>
                <a:cubicBezTo>
                  <a:pt x="650" y="155"/>
                  <a:pt x="650" y="155"/>
                  <a:pt x="650" y="155"/>
                </a:cubicBezTo>
                <a:cubicBezTo>
                  <a:pt x="649" y="155"/>
                  <a:pt x="648" y="155"/>
                  <a:pt x="648" y="156"/>
                </a:cubicBezTo>
                <a:cubicBezTo>
                  <a:pt x="647" y="156"/>
                  <a:pt x="646" y="157"/>
                  <a:pt x="645" y="157"/>
                </a:cubicBezTo>
                <a:cubicBezTo>
                  <a:pt x="645" y="157"/>
                  <a:pt x="644" y="157"/>
                  <a:pt x="644" y="157"/>
                </a:cubicBezTo>
                <a:cubicBezTo>
                  <a:pt x="641" y="156"/>
                  <a:pt x="638" y="155"/>
                  <a:pt x="636" y="155"/>
                </a:cubicBezTo>
                <a:cubicBezTo>
                  <a:pt x="634" y="154"/>
                  <a:pt x="633" y="152"/>
                  <a:pt x="632" y="151"/>
                </a:cubicBezTo>
                <a:cubicBezTo>
                  <a:pt x="632" y="151"/>
                  <a:pt x="631" y="151"/>
                  <a:pt x="631" y="151"/>
                </a:cubicBezTo>
                <a:cubicBezTo>
                  <a:pt x="630" y="150"/>
                  <a:pt x="630" y="151"/>
                  <a:pt x="629" y="151"/>
                </a:cubicBezTo>
                <a:cubicBezTo>
                  <a:pt x="628" y="151"/>
                  <a:pt x="628" y="151"/>
                  <a:pt x="627" y="151"/>
                </a:cubicBezTo>
                <a:cubicBezTo>
                  <a:pt x="625" y="149"/>
                  <a:pt x="623" y="150"/>
                  <a:pt x="621" y="150"/>
                </a:cubicBezTo>
                <a:cubicBezTo>
                  <a:pt x="620" y="150"/>
                  <a:pt x="619" y="150"/>
                  <a:pt x="619" y="150"/>
                </a:cubicBezTo>
                <a:cubicBezTo>
                  <a:pt x="617" y="150"/>
                  <a:pt x="615" y="150"/>
                  <a:pt x="613" y="149"/>
                </a:cubicBezTo>
                <a:cubicBezTo>
                  <a:pt x="613" y="149"/>
                  <a:pt x="612" y="148"/>
                  <a:pt x="612" y="148"/>
                </a:cubicBezTo>
                <a:cubicBezTo>
                  <a:pt x="610" y="147"/>
                  <a:pt x="608" y="147"/>
                  <a:pt x="606" y="146"/>
                </a:cubicBezTo>
                <a:cubicBezTo>
                  <a:pt x="605" y="146"/>
                  <a:pt x="603" y="145"/>
                  <a:pt x="602" y="145"/>
                </a:cubicBezTo>
                <a:cubicBezTo>
                  <a:pt x="601" y="144"/>
                  <a:pt x="600" y="143"/>
                  <a:pt x="599" y="142"/>
                </a:cubicBezTo>
                <a:cubicBezTo>
                  <a:pt x="598" y="141"/>
                  <a:pt x="598" y="141"/>
                  <a:pt x="598" y="141"/>
                </a:cubicBezTo>
                <a:cubicBezTo>
                  <a:pt x="598" y="141"/>
                  <a:pt x="597" y="141"/>
                  <a:pt x="597" y="141"/>
                </a:cubicBezTo>
                <a:cubicBezTo>
                  <a:pt x="597" y="141"/>
                  <a:pt x="597" y="141"/>
                  <a:pt x="597" y="142"/>
                </a:cubicBezTo>
                <a:cubicBezTo>
                  <a:pt x="597" y="142"/>
                  <a:pt x="597" y="142"/>
                  <a:pt x="596" y="142"/>
                </a:cubicBezTo>
                <a:cubicBezTo>
                  <a:pt x="596" y="141"/>
                  <a:pt x="596" y="141"/>
                  <a:pt x="596" y="141"/>
                </a:cubicBezTo>
                <a:cubicBezTo>
                  <a:pt x="596" y="141"/>
                  <a:pt x="595" y="141"/>
                  <a:pt x="595" y="142"/>
                </a:cubicBezTo>
                <a:cubicBezTo>
                  <a:pt x="595" y="142"/>
                  <a:pt x="595" y="142"/>
                  <a:pt x="594" y="142"/>
                </a:cubicBezTo>
                <a:cubicBezTo>
                  <a:pt x="594" y="142"/>
                  <a:pt x="594" y="141"/>
                  <a:pt x="594" y="141"/>
                </a:cubicBezTo>
                <a:cubicBezTo>
                  <a:pt x="593" y="140"/>
                  <a:pt x="593" y="140"/>
                  <a:pt x="592" y="141"/>
                </a:cubicBezTo>
                <a:cubicBezTo>
                  <a:pt x="589" y="143"/>
                  <a:pt x="584" y="141"/>
                  <a:pt x="581" y="140"/>
                </a:cubicBezTo>
                <a:cubicBezTo>
                  <a:pt x="580" y="140"/>
                  <a:pt x="577" y="140"/>
                  <a:pt x="576" y="139"/>
                </a:cubicBezTo>
                <a:cubicBezTo>
                  <a:pt x="576" y="139"/>
                  <a:pt x="575" y="139"/>
                  <a:pt x="575" y="138"/>
                </a:cubicBezTo>
                <a:cubicBezTo>
                  <a:pt x="575" y="138"/>
                  <a:pt x="574" y="138"/>
                  <a:pt x="574" y="137"/>
                </a:cubicBezTo>
                <a:cubicBezTo>
                  <a:pt x="574" y="137"/>
                  <a:pt x="574" y="136"/>
                  <a:pt x="573" y="136"/>
                </a:cubicBezTo>
                <a:cubicBezTo>
                  <a:pt x="573" y="135"/>
                  <a:pt x="571" y="135"/>
                  <a:pt x="570" y="134"/>
                </a:cubicBezTo>
                <a:cubicBezTo>
                  <a:pt x="569" y="134"/>
                  <a:pt x="567" y="133"/>
                  <a:pt x="566" y="133"/>
                </a:cubicBezTo>
                <a:cubicBezTo>
                  <a:pt x="565" y="134"/>
                  <a:pt x="564" y="133"/>
                  <a:pt x="563" y="133"/>
                </a:cubicBezTo>
                <a:cubicBezTo>
                  <a:pt x="561" y="132"/>
                  <a:pt x="560" y="132"/>
                  <a:pt x="558" y="131"/>
                </a:cubicBezTo>
                <a:cubicBezTo>
                  <a:pt x="557" y="131"/>
                  <a:pt x="556" y="131"/>
                  <a:pt x="556" y="131"/>
                </a:cubicBezTo>
                <a:cubicBezTo>
                  <a:pt x="555" y="131"/>
                  <a:pt x="554" y="132"/>
                  <a:pt x="553" y="132"/>
                </a:cubicBezTo>
                <a:cubicBezTo>
                  <a:pt x="553" y="132"/>
                  <a:pt x="552" y="131"/>
                  <a:pt x="552" y="131"/>
                </a:cubicBezTo>
                <a:cubicBezTo>
                  <a:pt x="552" y="130"/>
                  <a:pt x="552" y="130"/>
                  <a:pt x="552" y="130"/>
                </a:cubicBezTo>
                <a:cubicBezTo>
                  <a:pt x="552" y="129"/>
                  <a:pt x="549" y="129"/>
                  <a:pt x="549" y="129"/>
                </a:cubicBezTo>
                <a:cubicBezTo>
                  <a:pt x="548" y="129"/>
                  <a:pt x="545" y="128"/>
                  <a:pt x="545" y="129"/>
                </a:cubicBezTo>
                <a:cubicBezTo>
                  <a:pt x="545" y="129"/>
                  <a:pt x="545" y="129"/>
                  <a:pt x="545" y="130"/>
                </a:cubicBezTo>
                <a:cubicBezTo>
                  <a:pt x="544" y="130"/>
                  <a:pt x="543" y="129"/>
                  <a:pt x="542" y="129"/>
                </a:cubicBezTo>
                <a:cubicBezTo>
                  <a:pt x="541" y="129"/>
                  <a:pt x="540" y="129"/>
                  <a:pt x="539" y="128"/>
                </a:cubicBezTo>
                <a:cubicBezTo>
                  <a:pt x="536" y="127"/>
                  <a:pt x="528" y="125"/>
                  <a:pt x="521" y="123"/>
                </a:cubicBezTo>
                <a:cubicBezTo>
                  <a:pt x="519" y="122"/>
                  <a:pt x="517" y="122"/>
                  <a:pt x="515" y="121"/>
                </a:cubicBezTo>
                <a:cubicBezTo>
                  <a:pt x="513" y="121"/>
                  <a:pt x="510" y="121"/>
                  <a:pt x="509" y="120"/>
                </a:cubicBezTo>
                <a:cubicBezTo>
                  <a:pt x="509" y="119"/>
                  <a:pt x="509" y="119"/>
                  <a:pt x="508" y="119"/>
                </a:cubicBezTo>
                <a:cubicBezTo>
                  <a:pt x="508" y="119"/>
                  <a:pt x="507" y="118"/>
                  <a:pt x="506" y="118"/>
                </a:cubicBezTo>
                <a:cubicBezTo>
                  <a:pt x="505" y="119"/>
                  <a:pt x="505" y="119"/>
                  <a:pt x="504" y="119"/>
                </a:cubicBezTo>
                <a:cubicBezTo>
                  <a:pt x="504" y="119"/>
                  <a:pt x="503" y="119"/>
                  <a:pt x="503" y="119"/>
                </a:cubicBezTo>
                <a:cubicBezTo>
                  <a:pt x="503" y="119"/>
                  <a:pt x="502" y="119"/>
                  <a:pt x="502" y="118"/>
                </a:cubicBezTo>
                <a:cubicBezTo>
                  <a:pt x="499" y="117"/>
                  <a:pt x="496" y="115"/>
                  <a:pt x="493" y="115"/>
                </a:cubicBezTo>
                <a:cubicBezTo>
                  <a:pt x="493" y="115"/>
                  <a:pt x="492" y="115"/>
                  <a:pt x="492" y="116"/>
                </a:cubicBezTo>
                <a:cubicBezTo>
                  <a:pt x="491" y="117"/>
                  <a:pt x="488" y="115"/>
                  <a:pt x="487" y="115"/>
                </a:cubicBezTo>
                <a:cubicBezTo>
                  <a:pt x="484" y="114"/>
                  <a:pt x="481" y="113"/>
                  <a:pt x="479" y="113"/>
                </a:cubicBezTo>
                <a:cubicBezTo>
                  <a:pt x="477" y="112"/>
                  <a:pt x="472" y="111"/>
                  <a:pt x="469" y="111"/>
                </a:cubicBezTo>
                <a:cubicBezTo>
                  <a:pt x="465" y="110"/>
                  <a:pt x="456" y="107"/>
                  <a:pt x="448" y="105"/>
                </a:cubicBezTo>
                <a:cubicBezTo>
                  <a:pt x="446" y="105"/>
                  <a:pt x="443" y="104"/>
                  <a:pt x="441" y="104"/>
                </a:cubicBezTo>
                <a:cubicBezTo>
                  <a:pt x="440" y="103"/>
                  <a:pt x="435" y="103"/>
                  <a:pt x="435" y="102"/>
                </a:cubicBezTo>
                <a:cubicBezTo>
                  <a:pt x="435" y="102"/>
                  <a:pt x="435" y="101"/>
                  <a:pt x="435" y="101"/>
                </a:cubicBezTo>
                <a:cubicBezTo>
                  <a:pt x="436" y="101"/>
                  <a:pt x="435" y="100"/>
                  <a:pt x="435" y="100"/>
                </a:cubicBezTo>
                <a:cubicBezTo>
                  <a:pt x="434" y="99"/>
                  <a:pt x="434" y="100"/>
                  <a:pt x="433" y="100"/>
                </a:cubicBezTo>
                <a:cubicBezTo>
                  <a:pt x="432" y="100"/>
                  <a:pt x="431" y="99"/>
                  <a:pt x="430" y="99"/>
                </a:cubicBezTo>
                <a:cubicBezTo>
                  <a:pt x="429" y="99"/>
                  <a:pt x="428" y="99"/>
                  <a:pt x="427" y="98"/>
                </a:cubicBezTo>
                <a:cubicBezTo>
                  <a:pt x="426" y="98"/>
                  <a:pt x="425" y="97"/>
                  <a:pt x="424" y="97"/>
                </a:cubicBezTo>
                <a:cubicBezTo>
                  <a:pt x="423" y="97"/>
                  <a:pt x="423" y="98"/>
                  <a:pt x="422" y="98"/>
                </a:cubicBezTo>
                <a:cubicBezTo>
                  <a:pt x="421" y="99"/>
                  <a:pt x="420" y="98"/>
                  <a:pt x="420" y="98"/>
                </a:cubicBezTo>
                <a:cubicBezTo>
                  <a:pt x="418" y="98"/>
                  <a:pt x="415" y="97"/>
                  <a:pt x="413" y="97"/>
                </a:cubicBezTo>
                <a:cubicBezTo>
                  <a:pt x="412" y="97"/>
                  <a:pt x="410" y="97"/>
                  <a:pt x="409" y="96"/>
                </a:cubicBezTo>
                <a:cubicBezTo>
                  <a:pt x="408" y="95"/>
                  <a:pt x="407" y="95"/>
                  <a:pt x="406" y="95"/>
                </a:cubicBezTo>
                <a:cubicBezTo>
                  <a:pt x="404" y="94"/>
                  <a:pt x="403" y="95"/>
                  <a:pt x="402" y="94"/>
                </a:cubicBezTo>
                <a:cubicBezTo>
                  <a:pt x="401" y="93"/>
                  <a:pt x="401" y="92"/>
                  <a:pt x="400" y="92"/>
                </a:cubicBezTo>
                <a:cubicBezTo>
                  <a:pt x="398" y="91"/>
                  <a:pt x="396" y="92"/>
                  <a:pt x="395" y="92"/>
                </a:cubicBezTo>
                <a:cubicBezTo>
                  <a:pt x="393" y="91"/>
                  <a:pt x="391" y="92"/>
                  <a:pt x="389" y="92"/>
                </a:cubicBezTo>
                <a:cubicBezTo>
                  <a:pt x="387" y="92"/>
                  <a:pt x="386" y="91"/>
                  <a:pt x="385" y="91"/>
                </a:cubicBezTo>
                <a:cubicBezTo>
                  <a:pt x="384" y="90"/>
                  <a:pt x="382" y="90"/>
                  <a:pt x="381" y="89"/>
                </a:cubicBezTo>
                <a:cubicBezTo>
                  <a:pt x="379" y="88"/>
                  <a:pt x="379" y="87"/>
                  <a:pt x="377" y="87"/>
                </a:cubicBezTo>
                <a:cubicBezTo>
                  <a:pt x="376" y="87"/>
                  <a:pt x="376" y="87"/>
                  <a:pt x="376" y="88"/>
                </a:cubicBezTo>
                <a:cubicBezTo>
                  <a:pt x="376" y="88"/>
                  <a:pt x="374" y="88"/>
                  <a:pt x="374" y="88"/>
                </a:cubicBezTo>
                <a:cubicBezTo>
                  <a:pt x="373" y="88"/>
                  <a:pt x="371" y="87"/>
                  <a:pt x="372" y="86"/>
                </a:cubicBezTo>
                <a:cubicBezTo>
                  <a:pt x="372" y="86"/>
                  <a:pt x="372" y="85"/>
                  <a:pt x="372" y="85"/>
                </a:cubicBezTo>
                <a:cubicBezTo>
                  <a:pt x="371" y="85"/>
                  <a:pt x="371" y="84"/>
                  <a:pt x="371" y="84"/>
                </a:cubicBezTo>
                <a:cubicBezTo>
                  <a:pt x="371" y="84"/>
                  <a:pt x="371" y="83"/>
                  <a:pt x="371" y="83"/>
                </a:cubicBezTo>
                <a:cubicBezTo>
                  <a:pt x="370" y="83"/>
                  <a:pt x="370" y="83"/>
                  <a:pt x="370" y="83"/>
                </a:cubicBezTo>
                <a:cubicBezTo>
                  <a:pt x="369" y="83"/>
                  <a:pt x="369" y="83"/>
                  <a:pt x="369" y="82"/>
                </a:cubicBezTo>
                <a:cubicBezTo>
                  <a:pt x="368" y="82"/>
                  <a:pt x="368" y="81"/>
                  <a:pt x="367" y="81"/>
                </a:cubicBezTo>
                <a:cubicBezTo>
                  <a:pt x="367" y="82"/>
                  <a:pt x="366" y="82"/>
                  <a:pt x="366" y="83"/>
                </a:cubicBezTo>
                <a:cubicBezTo>
                  <a:pt x="366" y="83"/>
                  <a:pt x="367" y="84"/>
                  <a:pt x="367" y="84"/>
                </a:cubicBezTo>
                <a:cubicBezTo>
                  <a:pt x="366" y="84"/>
                  <a:pt x="366" y="84"/>
                  <a:pt x="365" y="84"/>
                </a:cubicBezTo>
                <a:cubicBezTo>
                  <a:pt x="365" y="84"/>
                  <a:pt x="364" y="84"/>
                  <a:pt x="364" y="84"/>
                </a:cubicBezTo>
                <a:cubicBezTo>
                  <a:pt x="364" y="83"/>
                  <a:pt x="365" y="83"/>
                  <a:pt x="364" y="83"/>
                </a:cubicBezTo>
                <a:cubicBezTo>
                  <a:pt x="363" y="82"/>
                  <a:pt x="362" y="81"/>
                  <a:pt x="360" y="81"/>
                </a:cubicBezTo>
                <a:cubicBezTo>
                  <a:pt x="359" y="81"/>
                  <a:pt x="358" y="80"/>
                  <a:pt x="356" y="80"/>
                </a:cubicBezTo>
                <a:cubicBezTo>
                  <a:pt x="355" y="80"/>
                  <a:pt x="354" y="79"/>
                  <a:pt x="354" y="79"/>
                </a:cubicBezTo>
                <a:cubicBezTo>
                  <a:pt x="352" y="79"/>
                  <a:pt x="352" y="79"/>
                  <a:pt x="350" y="79"/>
                </a:cubicBezTo>
                <a:cubicBezTo>
                  <a:pt x="350" y="79"/>
                  <a:pt x="349" y="78"/>
                  <a:pt x="348" y="78"/>
                </a:cubicBezTo>
                <a:cubicBezTo>
                  <a:pt x="347" y="78"/>
                  <a:pt x="347" y="79"/>
                  <a:pt x="347" y="79"/>
                </a:cubicBezTo>
                <a:cubicBezTo>
                  <a:pt x="346" y="79"/>
                  <a:pt x="345" y="79"/>
                  <a:pt x="345" y="79"/>
                </a:cubicBezTo>
                <a:cubicBezTo>
                  <a:pt x="344" y="79"/>
                  <a:pt x="342" y="79"/>
                  <a:pt x="341" y="78"/>
                </a:cubicBezTo>
                <a:cubicBezTo>
                  <a:pt x="340" y="78"/>
                  <a:pt x="340" y="78"/>
                  <a:pt x="340" y="78"/>
                </a:cubicBezTo>
                <a:cubicBezTo>
                  <a:pt x="340" y="78"/>
                  <a:pt x="339" y="77"/>
                  <a:pt x="340" y="77"/>
                </a:cubicBezTo>
                <a:cubicBezTo>
                  <a:pt x="340" y="77"/>
                  <a:pt x="340" y="77"/>
                  <a:pt x="340" y="76"/>
                </a:cubicBezTo>
                <a:cubicBezTo>
                  <a:pt x="340" y="76"/>
                  <a:pt x="340" y="75"/>
                  <a:pt x="340" y="75"/>
                </a:cubicBezTo>
                <a:cubicBezTo>
                  <a:pt x="339" y="75"/>
                  <a:pt x="339" y="75"/>
                  <a:pt x="338" y="75"/>
                </a:cubicBezTo>
                <a:cubicBezTo>
                  <a:pt x="338" y="73"/>
                  <a:pt x="336" y="74"/>
                  <a:pt x="335" y="74"/>
                </a:cubicBezTo>
                <a:cubicBezTo>
                  <a:pt x="334" y="74"/>
                  <a:pt x="332" y="74"/>
                  <a:pt x="331" y="74"/>
                </a:cubicBezTo>
                <a:cubicBezTo>
                  <a:pt x="330" y="74"/>
                  <a:pt x="330" y="74"/>
                  <a:pt x="330" y="74"/>
                </a:cubicBezTo>
                <a:cubicBezTo>
                  <a:pt x="329" y="74"/>
                  <a:pt x="329" y="74"/>
                  <a:pt x="328" y="75"/>
                </a:cubicBezTo>
                <a:cubicBezTo>
                  <a:pt x="328" y="75"/>
                  <a:pt x="328" y="75"/>
                  <a:pt x="327" y="74"/>
                </a:cubicBezTo>
                <a:cubicBezTo>
                  <a:pt x="327" y="72"/>
                  <a:pt x="324" y="73"/>
                  <a:pt x="322" y="73"/>
                </a:cubicBezTo>
                <a:cubicBezTo>
                  <a:pt x="320" y="72"/>
                  <a:pt x="318" y="72"/>
                  <a:pt x="317" y="72"/>
                </a:cubicBezTo>
                <a:cubicBezTo>
                  <a:pt x="317" y="72"/>
                  <a:pt x="314" y="71"/>
                  <a:pt x="310" y="70"/>
                </a:cubicBezTo>
                <a:cubicBezTo>
                  <a:pt x="309" y="69"/>
                  <a:pt x="308" y="69"/>
                  <a:pt x="306" y="69"/>
                </a:cubicBezTo>
                <a:cubicBezTo>
                  <a:pt x="305" y="68"/>
                  <a:pt x="305" y="68"/>
                  <a:pt x="303" y="68"/>
                </a:cubicBezTo>
                <a:cubicBezTo>
                  <a:pt x="303" y="68"/>
                  <a:pt x="303" y="69"/>
                  <a:pt x="302" y="69"/>
                </a:cubicBezTo>
                <a:cubicBezTo>
                  <a:pt x="302" y="69"/>
                  <a:pt x="301" y="69"/>
                  <a:pt x="301" y="69"/>
                </a:cubicBezTo>
                <a:cubicBezTo>
                  <a:pt x="300" y="69"/>
                  <a:pt x="300" y="69"/>
                  <a:pt x="299" y="69"/>
                </a:cubicBezTo>
                <a:cubicBezTo>
                  <a:pt x="298" y="68"/>
                  <a:pt x="297" y="67"/>
                  <a:pt x="297" y="67"/>
                </a:cubicBezTo>
                <a:cubicBezTo>
                  <a:pt x="296" y="65"/>
                  <a:pt x="290" y="64"/>
                  <a:pt x="287" y="65"/>
                </a:cubicBezTo>
                <a:cubicBezTo>
                  <a:pt x="286" y="66"/>
                  <a:pt x="283" y="66"/>
                  <a:pt x="283" y="65"/>
                </a:cubicBezTo>
                <a:cubicBezTo>
                  <a:pt x="283" y="65"/>
                  <a:pt x="283" y="65"/>
                  <a:pt x="283" y="64"/>
                </a:cubicBezTo>
                <a:cubicBezTo>
                  <a:pt x="282" y="64"/>
                  <a:pt x="282" y="64"/>
                  <a:pt x="282" y="64"/>
                </a:cubicBezTo>
                <a:cubicBezTo>
                  <a:pt x="280" y="63"/>
                  <a:pt x="279" y="62"/>
                  <a:pt x="277" y="62"/>
                </a:cubicBezTo>
                <a:cubicBezTo>
                  <a:pt x="275" y="61"/>
                  <a:pt x="273" y="60"/>
                  <a:pt x="272" y="60"/>
                </a:cubicBezTo>
                <a:cubicBezTo>
                  <a:pt x="271" y="59"/>
                  <a:pt x="267" y="58"/>
                  <a:pt x="263" y="57"/>
                </a:cubicBezTo>
                <a:cubicBezTo>
                  <a:pt x="261" y="57"/>
                  <a:pt x="257" y="55"/>
                  <a:pt x="255" y="58"/>
                </a:cubicBezTo>
                <a:cubicBezTo>
                  <a:pt x="255" y="58"/>
                  <a:pt x="255" y="58"/>
                  <a:pt x="255" y="58"/>
                </a:cubicBezTo>
                <a:cubicBezTo>
                  <a:pt x="254" y="58"/>
                  <a:pt x="254" y="58"/>
                  <a:pt x="254" y="58"/>
                </a:cubicBezTo>
                <a:cubicBezTo>
                  <a:pt x="253" y="58"/>
                  <a:pt x="252" y="58"/>
                  <a:pt x="251" y="58"/>
                </a:cubicBezTo>
                <a:cubicBezTo>
                  <a:pt x="250" y="57"/>
                  <a:pt x="248" y="57"/>
                  <a:pt x="247" y="56"/>
                </a:cubicBezTo>
                <a:cubicBezTo>
                  <a:pt x="245" y="56"/>
                  <a:pt x="244" y="55"/>
                  <a:pt x="242" y="55"/>
                </a:cubicBezTo>
                <a:cubicBezTo>
                  <a:pt x="241" y="54"/>
                  <a:pt x="239" y="54"/>
                  <a:pt x="238" y="54"/>
                </a:cubicBezTo>
                <a:cubicBezTo>
                  <a:pt x="238" y="53"/>
                  <a:pt x="238" y="53"/>
                  <a:pt x="238" y="53"/>
                </a:cubicBezTo>
                <a:cubicBezTo>
                  <a:pt x="237" y="52"/>
                  <a:pt x="236" y="52"/>
                  <a:pt x="234" y="52"/>
                </a:cubicBezTo>
                <a:cubicBezTo>
                  <a:pt x="233" y="51"/>
                  <a:pt x="230" y="50"/>
                  <a:pt x="229" y="50"/>
                </a:cubicBezTo>
                <a:cubicBezTo>
                  <a:pt x="227" y="49"/>
                  <a:pt x="226" y="49"/>
                  <a:pt x="225" y="49"/>
                </a:cubicBezTo>
                <a:cubicBezTo>
                  <a:pt x="224" y="50"/>
                  <a:pt x="223" y="50"/>
                  <a:pt x="222" y="50"/>
                </a:cubicBezTo>
                <a:cubicBezTo>
                  <a:pt x="220" y="50"/>
                  <a:pt x="219" y="50"/>
                  <a:pt x="217" y="49"/>
                </a:cubicBezTo>
                <a:cubicBezTo>
                  <a:pt x="216" y="49"/>
                  <a:pt x="214" y="49"/>
                  <a:pt x="212" y="48"/>
                </a:cubicBezTo>
                <a:cubicBezTo>
                  <a:pt x="212" y="48"/>
                  <a:pt x="212" y="47"/>
                  <a:pt x="212" y="47"/>
                </a:cubicBezTo>
                <a:cubicBezTo>
                  <a:pt x="212" y="47"/>
                  <a:pt x="212" y="46"/>
                  <a:pt x="212" y="46"/>
                </a:cubicBezTo>
                <a:cubicBezTo>
                  <a:pt x="212" y="46"/>
                  <a:pt x="211" y="46"/>
                  <a:pt x="211" y="46"/>
                </a:cubicBezTo>
                <a:cubicBezTo>
                  <a:pt x="210" y="47"/>
                  <a:pt x="208" y="48"/>
                  <a:pt x="207" y="47"/>
                </a:cubicBezTo>
                <a:cubicBezTo>
                  <a:pt x="207" y="46"/>
                  <a:pt x="207" y="46"/>
                  <a:pt x="207" y="45"/>
                </a:cubicBezTo>
                <a:cubicBezTo>
                  <a:pt x="207" y="45"/>
                  <a:pt x="207" y="45"/>
                  <a:pt x="208" y="45"/>
                </a:cubicBezTo>
                <a:cubicBezTo>
                  <a:pt x="208" y="44"/>
                  <a:pt x="207" y="44"/>
                  <a:pt x="207" y="43"/>
                </a:cubicBezTo>
                <a:cubicBezTo>
                  <a:pt x="206" y="43"/>
                  <a:pt x="206" y="43"/>
                  <a:pt x="205" y="43"/>
                </a:cubicBezTo>
                <a:cubicBezTo>
                  <a:pt x="205" y="43"/>
                  <a:pt x="204" y="44"/>
                  <a:pt x="203" y="44"/>
                </a:cubicBezTo>
                <a:cubicBezTo>
                  <a:pt x="203" y="44"/>
                  <a:pt x="203" y="44"/>
                  <a:pt x="203" y="44"/>
                </a:cubicBezTo>
                <a:cubicBezTo>
                  <a:pt x="203" y="43"/>
                  <a:pt x="203" y="43"/>
                  <a:pt x="203" y="43"/>
                </a:cubicBezTo>
                <a:cubicBezTo>
                  <a:pt x="204" y="42"/>
                  <a:pt x="200" y="41"/>
                  <a:pt x="199" y="41"/>
                </a:cubicBezTo>
                <a:cubicBezTo>
                  <a:pt x="196" y="41"/>
                  <a:pt x="194" y="40"/>
                  <a:pt x="191" y="39"/>
                </a:cubicBezTo>
                <a:cubicBezTo>
                  <a:pt x="189" y="39"/>
                  <a:pt x="187" y="38"/>
                  <a:pt x="184" y="38"/>
                </a:cubicBezTo>
                <a:cubicBezTo>
                  <a:pt x="183" y="38"/>
                  <a:pt x="181" y="36"/>
                  <a:pt x="179" y="37"/>
                </a:cubicBezTo>
                <a:cubicBezTo>
                  <a:pt x="179" y="37"/>
                  <a:pt x="179" y="38"/>
                  <a:pt x="178" y="38"/>
                </a:cubicBezTo>
                <a:cubicBezTo>
                  <a:pt x="178" y="38"/>
                  <a:pt x="177" y="38"/>
                  <a:pt x="177" y="38"/>
                </a:cubicBezTo>
                <a:cubicBezTo>
                  <a:pt x="176" y="38"/>
                  <a:pt x="175" y="38"/>
                  <a:pt x="174" y="39"/>
                </a:cubicBezTo>
                <a:cubicBezTo>
                  <a:pt x="173" y="39"/>
                  <a:pt x="173" y="40"/>
                  <a:pt x="172" y="40"/>
                </a:cubicBezTo>
                <a:cubicBezTo>
                  <a:pt x="171" y="40"/>
                  <a:pt x="170" y="39"/>
                  <a:pt x="169" y="39"/>
                </a:cubicBezTo>
                <a:cubicBezTo>
                  <a:pt x="168" y="39"/>
                  <a:pt x="165" y="38"/>
                  <a:pt x="164" y="37"/>
                </a:cubicBezTo>
                <a:cubicBezTo>
                  <a:pt x="164" y="37"/>
                  <a:pt x="165" y="37"/>
                  <a:pt x="165" y="37"/>
                </a:cubicBezTo>
                <a:cubicBezTo>
                  <a:pt x="165" y="36"/>
                  <a:pt x="164" y="36"/>
                  <a:pt x="164" y="35"/>
                </a:cubicBezTo>
                <a:cubicBezTo>
                  <a:pt x="163" y="36"/>
                  <a:pt x="163" y="36"/>
                  <a:pt x="163" y="37"/>
                </a:cubicBezTo>
                <a:cubicBezTo>
                  <a:pt x="162" y="37"/>
                  <a:pt x="162" y="37"/>
                  <a:pt x="162" y="37"/>
                </a:cubicBezTo>
                <a:cubicBezTo>
                  <a:pt x="160" y="37"/>
                  <a:pt x="158" y="37"/>
                  <a:pt x="157" y="36"/>
                </a:cubicBezTo>
                <a:cubicBezTo>
                  <a:pt x="156" y="36"/>
                  <a:pt x="156" y="36"/>
                  <a:pt x="156" y="36"/>
                </a:cubicBezTo>
                <a:cubicBezTo>
                  <a:pt x="156" y="36"/>
                  <a:pt x="156" y="36"/>
                  <a:pt x="156" y="35"/>
                </a:cubicBezTo>
                <a:cubicBezTo>
                  <a:pt x="157" y="34"/>
                  <a:pt x="156" y="31"/>
                  <a:pt x="154" y="32"/>
                </a:cubicBezTo>
                <a:cubicBezTo>
                  <a:pt x="153" y="33"/>
                  <a:pt x="154" y="33"/>
                  <a:pt x="153" y="34"/>
                </a:cubicBezTo>
                <a:cubicBezTo>
                  <a:pt x="153" y="34"/>
                  <a:pt x="153" y="34"/>
                  <a:pt x="153" y="34"/>
                </a:cubicBezTo>
                <a:cubicBezTo>
                  <a:pt x="153" y="35"/>
                  <a:pt x="153" y="35"/>
                  <a:pt x="152" y="35"/>
                </a:cubicBezTo>
                <a:cubicBezTo>
                  <a:pt x="152" y="36"/>
                  <a:pt x="150" y="35"/>
                  <a:pt x="150" y="35"/>
                </a:cubicBezTo>
                <a:cubicBezTo>
                  <a:pt x="149" y="34"/>
                  <a:pt x="150" y="34"/>
                  <a:pt x="149" y="33"/>
                </a:cubicBezTo>
                <a:cubicBezTo>
                  <a:pt x="149" y="32"/>
                  <a:pt x="148" y="33"/>
                  <a:pt x="147" y="32"/>
                </a:cubicBezTo>
                <a:cubicBezTo>
                  <a:pt x="146" y="32"/>
                  <a:pt x="145" y="31"/>
                  <a:pt x="143" y="31"/>
                </a:cubicBezTo>
                <a:cubicBezTo>
                  <a:pt x="142" y="32"/>
                  <a:pt x="142" y="32"/>
                  <a:pt x="141" y="33"/>
                </a:cubicBezTo>
                <a:cubicBezTo>
                  <a:pt x="138" y="33"/>
                  <a:pt x="135" y="32"/>
                  <a:pt x="132" y="31"/>
                </a:cubicBezTo>
                <a:cubicBezTo>
                  <a:pt x="131" y="31"/>
                  <a:pt x="123" y="30"/>
                  <a:pt x="123" y="29"/>
                </a:cubicBezTo>
                <a:cubicBezTo>
                  <a:pt x="123" y="28"/>
                  <a:pt x="123" y="28"/>
                  <a:pt x="123" y="28"/>
                </a:cubicBezTo>
                <a:cubicBezTo>
                  <a:pt x="123" y="27"/>
                  <a:pt x="122" y="27"/>
                  <a:pt x="122" y="27"/>
                </a:cubicBezTo>
                <a:cubicBezTo>
                  <a:pt x="122" y="27"/>
                  <a:pt x="118" y="27"/>
                  <a:pt x="120" y="26"/>
                </a:cubicBezTo>
                <a:cubicBezTo>
                  <a:pt x="120" y="26"/>
                  <a:pt x="121" y="25"/>
                  <a:pt x="121" y="25"/>
                </a:cubicBezTo>
                <a:cubicBezTo>
                  <a:pt x="121" y="25"/>
                  <a:pt x="120" y="24"/>
                  <a:pt x="120" y="25"/>
                </a:cubicBezTo>
                <a:cubicBezTo>
                  <a:pt x="119" y="25"/>
                  <a:pt x="119" y="25"/>
                  <a:pt x="118" y="25"/>
                </a:cubicBezTo>
                <a:cubicBezTo>
                  <a:pt x="118" y="25"/>
                  <a:pt x="117" y="24"/>
                  <a:pt x="117" y="24"/>
                </a:cubicBezTo>
                <a:cubicBezTo>
                  <a:pt x="116" y="24"/>
                  <a:pt x="115" y="24"/>
                  <a:pt x="114" y="24"/>
                </a:cubicBezTo>
                <a:cubicBezTo>
                  <a:pt x="112" y="24"/>
                  <a:pt x="110" y="24"/>
                  <a:pt x="108" y="23"/>
                </a:cubicBezTo>
                <a:cubicBezTo>
                  <a:pt x="108" y="23"/>
                  <a:pt x="107" y="23"/>
                  <a:pt x="106" y="23"/>
                </a:cubicBezTo>
                <a:cubicBezTo>
                  <a:pt x="105" y="22"/>
                  <a:pt x="105" y="22"/>
                  <a:pt x="104" y="22"/>
                </a:cubicBezTo>
                <a:cubicBezTo>
                  <a:pt x="103" y="22"/>
                  <a:pt x="103" y="22"/>
                  <a:pt x="102" y="22"/>
                </a:cubicBezTo>
                <a:cubicBezTo>
                  <a:pt x="102" y="22"/>
                  <a:pt x="101" y="23"/>
                  <a:pt x="101" y="23"/>
                </a:cubicBezTo>
                <a:cubicBezTo>
                  <a:pt x="100" y="23"/>
                  <a:pt x="99" y="23"/>
                  <a:pt x="98" y="24"/>
                </a:cubicBezTo>
                <a:cubicBezTo>
                  <a:pt x="98" y="24"/>
                  <a:pt x="98" y="24"/>
                  <a:pt x="98" y="24"/>
                </a:cubicBezTo>
                <a:cubicBezTo>
                  <a:pt x="98" y="25"/>
                  <a:pt x="98" y="25"/>
                  <a:pt x="97" y="25"/>
                </a:cubicBezTo>
                <a:cubicBezTo>
                  <a:pt x="96" y="25"/>
                  <a:pt x="96" y="24"/>
                  <a:pt x="95" y="24"/>
                </a:cubicBezTo>
                <a:cubicBezTo>
                  <a:pt x="94" y="24"/>
                  <a:pt x="93" y="24"/>
                  <a:pt x="93" y="23"/>
                </a:cubicBezTo>
                <a:cubicBezTo>
                  <a:pt x="93" y="22"/>
                  <a:pt x="94" y="22"/>
                  <a:pt x="93" y="22"/>
                </a:cubicBezTo>
                <a:cubicBezTo>
                  <a:pt x="93" y="20"/>
                  <a:pt x="91" y="21"/>
                  <a:pt x="90" y="21"/>
                </a:cubicBezTo>
                <a:cubicBezTo>
                  <a:pt x="89" y="20"/>
                  <a:pt x="88" y="19"/>
                  <a:pt x="88" y="18"/>
                </a:cubicBezTo>
                <a:cubicBezTo>
                  <a:pt x="86" y="17"/>
                  <a:pt x="84" y="17"/>
                  <a:pt x="83" y="17"/>
                </a:cubicBezTo>
                <a:cubicBezTo>
                  <a:pt x="82" y="16"/>
                  <a:pt x="81" y="16"/>
                  <a:pt x="80" y="16"/>
                </a:cubicBezTo>
                <a:cubicBezTo>
                  <a:pt x="79" y="17"/>
                  <a:pt x="79" y="17"/>
                  <a:pt x="78" y="17"/>
                </a:cubicBezTo>
                <a:cubicBezTo>
                  <a:pt x="77" y="17"/>
                  <a:pt x="75" y="16"/>
                  <a:pt x="73" y="16"/>
                </a:cubicBezTo>
                <a:cubicBezTo>
                  <a:pt x="71" y="15"/>
                  <a:pt x="69" y="15"/>
                  <a:pt x="67" y="14"/>
                </a:cubicBezTo>
                <a:cubicBezTo>
                  <a:pt x="66" y="14"/>
                  <a:pt x="64" y="14"/>
                  <a:pt x="63" y="14"/>
                </a:cubicBezTo>
                <a:cubicBezTo>
                  <a:pt x="49" y="11"/>
                  <a:pt x="37" y="2"/>
                  <a:pt x="23" y="0"/>
                </a:cubicBezTo>
                <a:cubicBezTo>
                  <a:pt x="19" y="0"/>
                  <a:pt x="15" y="0"/>
                  <a:pt x="11" y="1"/>
                </a:cubicBezTo>
                <a:cubicBezTo>
                  <a:pt x="10" y="1"/>
                  <a:pt x="7" y="1"/>
                  <a:pt x="6" y="2"/>
                </a:cubicBezTo>
                <a:cubicBezTo>
                  <a:pt x="5" y="3"/>
                  <a:pt x="5" y="4"/>
                  <a:pt x="5" y="5"/>
                </a:cubicBezTo>
                <a:cubicBezTo>
                  <a:pt x="5" y="6"/>
                  <a:pt x="5" y="6"/>
                  <a:pt x="5" y="6"/>
                </a:cubicBezTo>
                <a:cubicBezTo>
                  <a:pt x="5" y="7"/>
                  <a:pt x="5" y="7"/>
                  <a:pt x="4" y="7"/>
                </a:cubicBezTo>
                <a:cubicBezTo>
                  <a:pt x="4" y="8"/>
                  <a:pt x="5" y="9"/>
                  <a:pt x="5" y="10"/>
                </a:cubicBezTo>
                <a:cubicBezTo>
                  <a:pt x="5" y="10"/>
                  <a:pt x="3" y="11"/>
                  <a:pt x="3" y="11"/>
                </a:cubicBezTo>
                <a:cubicBezTo>
                  <a:pt x="2" y="13"/>
                  <a:pt x="3" y="14"/>
                  <a:pt x="3" y="14"/>
                </a:cubicBezTo>
                <a:cubicBezTo>
                  <a:pt x="2" y="15"/>
                  <a:pt x="2" y="15"/>
                  <a:pt x="2" y="15"/>
                </a:cubicBezTo>
                <a:cubicBezTo>
                  <a:pt x="2" y="16"/>
                  <a:pt x="1" y="18"/>
                  <a:pt x="1" y="19"/>
                </a:cubicBezTo>
                <a:cubicBezTo>
                  <a:pt x="1" y="20"/>
                  <a:pt x="1" y="21"/>
                  <a:pt x="1" y="22"/>
                </a:cubicBezTo>
                <a:cubicBezTo>
                  <a:pt x="0" y="25"/>
                  <a:pt x="1" y="28"/>
                  <a:pt x="1" y="30"/>
                </a:cubicBezTo>
                <a:cubicBezTo>
                  <a:pt x="1" y="31"/>
                  <a:pt x="1" y="32"/>
                  <a:pt x="2" y="33"/>
                </a:cubicBezTo>
                <a:cubicBezTo>
                  <a:pt x="2" y="34"/>
                  <a:pt x="2" y="35"/>
                  <a:pt x="2" y="35"/>
                </a:cubicBezTo>
                <a:cubicBezTo>
                  <a:pt x="2" y="36"/>
                  <a:pt x="3" y="36"/>
                  <a:pt x="3" y="37"/>
                </a:cubicBezTo>
                <a:cubicBezTo>
                  <a:pt x="3" y="38"/>
                  <a:pt x="2" y="40"/>
                  <a:pt x="1" y="42"/>
                </a:cubicBezTo>
                <a:cubicBezTo>
                  <a:pt x="1" y="44"/>
                  <a:pt x="2" y="45"/>
                  <a:pt x="2" y="47"/>
                </a:cubicBezTo>
                <a:cubicBezTo>
                  <a:pt x="2" y="47"/>
                  <a:pt x="2" y="47"/>
                  <a:pt x="3" y="48"/>
                </a:cubicBezTo>
                <a:cubicBezTo>
                  <a:pt x="3" y="48"/>
                  <a:pt x="3" y="48"/>
                  <a:pt x="4" y="49"/>
                </a:cubicBezTo>
                <a:cubicBezTo>
                  <a:pt x="11" y="53"/>
                  <a:pt x="19" y="54"/>
                  <a:pt x="27" y="57"/>
                </a:cubicBezTo>
                <a:cubicBezTo>
                  <a:pt x="32" y="58"/>
                  <a:pt x="37" y="60"/>
                  <a:pt x="42" y="61"/>
                </a:cubicBezTo>
                <a:cubicBezTo>
                  <a:pt x="44" y="62"/>
                  <a:pt x="47" y="62"/>
                  <a:pt x="49" y="63"/>
                </a:cubicBezTo>
                <a:cubicBezTo>
                  <a:pt x="52" y="63"/>
                  <a:pt x="54" y="64"/>
                  <a:pt x="57" y="64"/>
                </a:cubicBezTo>
                <a:cubicBezTo>
                  <a:pt x="58" y="64"/>
                  <a:pt x="60" y="65"/>
                  <a:pt x="62" y="65"/>
                </a:cubicBezTo>
                <a:cubicBezTo>
                  <a:pt x="65" y="66"/>
                  <a:pt x="68" y="67"/>
                  <a:pt x="71" y="66"/>
                </a:cubicBezTo>
                <a:cubicBezTo>
                  <a:pt x="72" y="66"/>
                  <a:pt x="73" y="66"/>
                  <a:pt x="75" y="66"/>
                </a:cubicBezTo>
                <a:cubicBezTo>
                  <a:pt x="76" y="66"/>
                  <a:pt x="77" y="67"/>
                  <a:pt x="79" y="67"/>
                </a:cubicBezTo>
                <a:cubicBezTo>
                  <a:pt x="114" y="77"/>
                  <a:pt x="201" y="98"/>
                  <a:pt x="218" y="102"/>
                </a:cubicBezTo>
                <a:cubicBezTo>
                  <a:pt x="222" y="102"/>
                  <a:pt x="230" y="104"/>
                  <a:pt x="236" y="105"/>
                </a:cubicBezTo>
                <a:cubicBezTo>
                  <a:pt x="242" y="107"/>
                  <a:pt x="251" y="109"/>
                  <a:pt x="256" y="110"/>
                </a:cubicBezTo>
                <a:cubicBezTo>
                  <a:pt x="285" y="116"/>
                  <a:pt x="296" y="118"/>
                  <a:pt x="325" y="125"/>
                </a:cubicBezTo>
                <a:cubicBezTo>
                  <a:pt x="328" y="125"/>
                  <a:pt x="330" y="126"/>
                  <a:pt x="333" y="127"/>
                </a:cubicBezTo>
                <a:cubicBezTo>
                  <a:pt x="333" y="127"/>
                  <a:pt x="334" y="127"/>
                  <a:pt x="335" y="128"/>
                </a:cubicBezTo>
                <a:cubicBezTo>
                  <a:pt x="336" y="128"/>
                  <a:pt x="337" y="127"/>
                  <a:pt x="338" y="127"/>
                </a:cubicBezTo>
                <a:cubicBezTo>
                  <a:pt x="339" y="127"/>
                  <a:pt x="339" y="127"/>
                  <a:pt x="340" y="128"/>
                </a:cubicBezTo>
                <a:cubicBezTo>
                  <a:pt x="341" y="129"/>
                  <a:pt x="342" y="130"/>
                  <a:pt x="343" y="129"/>
                </a:cubicBezTo>
                <a:cubicBezTo>
                  <a:pt x="343" y="129"/>
                  <a:pt x="344" y="129"/>
                  <a:pt x="344" y="129"/>
                </a:cubicBezTo>
                <a:cubicBezTo>
                  <a:pt x="345" y="128"/>
                  <a:pt x="347" y="129"/>
                  <a:pt x="348" y="129"/>
                </a:cubicBezTo>
                <a:cubicBezTo>
                  <a:pt x="350" y="130"/>
                  <a:pt x="352" y="130"/>
                  <a:pt x="353" y="131"/>
                </a:cubicBezTo>
                <a:cubicBezTo>
                  <a:pt x="357" y="132"/>
                  <a:pt x="360" y="132"/>
                  <a:pt x="363" y="133"/>
                </a:cubicBezTo>
                <a:cubicBezTo>
                  <a:pt x="374" y="136"/>
                  <a:pt x="383" y="138"/>
                  <a:pt x="384" y="138"/>
                </a:cubicBezTo>
                <a:cubicBezTo>
                  <a:pt x="384" y="138"/>
                  <a:pt x="385" y="138"/>
                  <a:pt x="385" y="138"/>
                </a:cubicBezTo>
                <a:cubicBezTo>
                  <a:pt x="385" y="139"/>
                  <a:pt x="386" y="140"/>
                  <a:pt x="387" y="139"/>
                </a:cubicBezTo>
                <a:cubicBezTo>
                  <a:pt x="389" y="139"/>
                  <a:pt x="390" y="140"/>
                  <a:pt x="392" y="140"/>
                </a:cubicBezTo>
                <a:cubicBezTo>
                  <a:pt x="394" y="140"/>
                  <a:pt x="396" y="141"/>
                  <a:pt x="397" y="141"/>
                </a:cubicBezTo>
                <a:cubicBezTo>
                  <a:pt x="401" y="142"/>
                  <a:pt x="405" y="143"/>
                  <a:pt x="409" y="144"/>
                </a:cubicBezTo>
                <a:cubicBezTo>
                  <a:pt x="426" y="148"/>
                  <a:pt x="442" y="153"/>
                  <a:pt x="459" y="157"/>
                </a:cubicBezTo>
                <a:cubicBezTo>
                  <a:pt x="467" y="159"/>
                  <a:pt x="474" y="161"/>
                  <a:pt x="482" y="162"/>
                </a:cubicBezTo>
                <a:cubicBezTo>
                  <a:pt x="487" y="164"/>
                  <a:pt x="492" y="165"/>
                  <a:pt x="498" y="166"/>
                </a:cubicBezTo>
                <a:cubicBezTo>
                  <a:pt x="503" y="168"/>
                  <a:pt x="508" y="169"/>
                  <a:pt x="514" y="170"/>
                </a:cubicBezTo>
                <a:cubicBezTo>
                  <a:pt x="516" y="171"/>
                  <a:pt x="519" y="171"/>
                  <a:pt x="521" y="172"/>
                </a:cubicBezTo>
                <a:cubicBezTo>
                  <a:pt x="522" y="172"/>
                  <a:pt x="523" y="173"/>
                  <a:pt x="524" y="173"/>
                </a:cubicBezTo>
                <a:cubicBezTo>
                  <a:pt x="525" y="173"/>
                  <a:pt x="526" y="174"/>
                  <a:pt x="527" y="174"/>
                </a:cubicBezTo>
                <a:cubicBezTo>
                  <a:pt x="527" y="174"/>
                  <a:pt x="528" y="173"/>
                  <a:pt x="528" y="174"/>
                </a:cubicBezTo>
                <a:cubicBezTo>
                  <a:pt x="528" y="174"/>
                  <a:pt x="529" y="174"/>
                  <a:pt x="529" y="174"/>
                </a:cubicBezTo>
                <a:cubicBezTo>
                  <a:pt x="530" y="174"/>
                  <a:pt x="531" y="173"/>
                  <a:pt x="532" y="173"/>
                </a:cubicBezTo>
                <a:cubicBezTo>
                  <a:pt x="533" y="173"/>
                  <a:pt x="533" y="174"/>
                  <a:pt x="534" y="175"/>
                </a:cubicBezTo>
                <a:cubicBezTo>
                  <a:pt x="535" y="176"/>
                  <a:pt x="537" y="176"/>
                  <a:pt x="539" y="176"/>
                </a:cubicBezTo>
                <a:cubicBezTo>
                  <a:pt x="541" y="176"/>
                  <a:pt x="543" y="177"/>
                  <a:pt x="545" y="177"/>
                </a:cubicBezTo>
                <a:cubicBezTo>
                  <a:pt x="546" y="178"/>
                  <a:pt x="553" y="180"/>
                  <a:pt x="554" y="179"/>
                </a:cubicBezTo>
                <a:cubicBezTo>
                  <a:pt x="554" y="178"/>
                  <a:pt x="554" y="178"/>
                  <a:pt x="554" y="178"/>
                </a:cubicBezTo>
                <a:cubicBezTo>
                  <a:pt x="554" y="177"/>
                  <a:pt x="557" y="178"/>
                  <a:pt x="558" y="178"/>
                </a:cubicBezTo>
                <a:cubicBezTo>
                  <a:pt x="558" y="178"/>
                  <a:pt x="562" y="179"/>
                  <a:pt x="562" y="180"/>
                </a:cubicBezTo>
                <a:cubicBezTo>
                  <a:pt x="562" y="180"/>
                  <a:pt x="562" y="181"/>
                  <a:pt x="563" y="180"/>
                </a:cubicBezTo>
                <a:cubicBezTo>
                  <a:pt x="564" y="180"/>
                  <a:pt x="564" y="179"/>
                  <a:pt x="565" y="180"/>
                </a:cubicBezTo>
                <a:cubicBezTo>
                  <a:pt x="565" y="180"/>
                  <a:pt x="566" y="180"/>
                  <a:pt x="567" y="180"/>
                </a:cubicBezTo>
                <a:cubicBezTo>
                  <a:pt x="567" y="181"/>
                  <a:pt x="567" y="182"/>
                  <a:pt x="568" y="182"/>
                </a:cubicBezTo>
                <a:cubicBezTo>
                  <a:pt x="569" y="184"/>
                  <a:pt x="572" y="184"/>
                  <a:pt x="574" y="184"/>
                </a:cubicBezTo>
                <a:cubicBezTo>
                  <a:pt x="576" y="185"/>
                  <a:pt x="578" y="185"/>
                  <a:pt x="579" y="184"/>
                </a:cubicBezTo>
                <a:cubicBezTo>
                  <a:pt x="581" y="184"/>
                  <a:pt x="582" y="184"/>
                  <a:pt x="583" y="185"/>
                </a:cubicBezTo>
                <a:cubicBezTo>
                  <a:pt x="584" y="186"/>
                  <a:pt x="586" y="187"/>
                  <a:pt x="587" y="187"/>
                </a:cubicBezTo>
                <a:cubicBezTo>
                  <a:pt x="589" y="188"/>
                  <a:pt x="590" y="187"/>
                  <a:pt x="592" y="187"/>
                </a:cubicBezTo>
                <a:cubicBezTo>
                  <a:pt x="592" y="187"/>
                  <a:pt x="594" y="186"/>
                  <a:pt x="594" y="187"/>
                </a:cubicBezTo>
                <a:cubicBezTo>
                  <a:pt x="595" y="187"/>
                  <a:pt x="596" y="188"/>
                  <a:pt x="596" y="188"/>
                </a:cubicBezTo>
                <a:cubicBezTo>
                  <a:pt x="597" y="188"/>
                  <a:pt x="597" y="189"/>
                  <a:pt x="597" y="189"/>
                </a:cubicBezTo>
                <a:cubicBezTo>
                  <a:pt x="598" y="190"/>
                  <a:pt x="600" y="191"/>
                  <a:pt x="601" y="191"/>
                </a:cubicBezTo>
                <a:cubicBezTo>
                  <a:pt x="603" y="191"/>
                  <a:pt x="605" y="192"/>
                  <a:pt x="607" y="192"/>
                </a:cubicBezTo>
                <a:cubicBezTo>
                  <a:pt x="612" y="194"/>
                  <a:pt x="618" y="195"/>
                  <a:pt x="623" y="197"/>
                </a:cubicBezTo>
                <a:cubicBezTo>
                  <a:pt x="625" y="197"/>
                  <a:pt x="628" y="198"/>
                  <a:pt x="630" y="198"/>
                </a:cubicBezTo>
                <a:cubicBezTo>
                  <a:pt x="632" y="199"/>
                  <a:pt x="634" y="199"/>
                  <a:pt x="635" y="199"/>
                </a:cubicBezTo>
                <a:cubicBezTo>
                  <a:pt x="636" y="199"/>
                  <a:pt x="638" y="198"/>
                  <a:pt x="639" y="198"/>
                </a:cubicBezTo>
                <a:cubicBezTo>
                  <a:pt x="640" y="198"/>
                  <a:pt x="641" y="198"/>
                  <a:pt x="641" y="198"/>
                </a:cubicBezTo>
                <a:cubicBezTo>
                  <a:pt x="642" y="199"/>
                  <a:pt x="644" y="199"/>
                  <a:pt x="646" y="200"/>
                </a:cubicBezTo>
                <a:cubicBezTo>
                  <a:pt x="646" y="200"/>
                  <a:pt x="648" y="200"/>
                  <a:pt x="648" y="200"/>
                </a:cubicBezTo>
                <a:cubicBezTo>
                  <a:pt x="649" y="200"/>
                  <a:pt x="649" y="201"/>
                  <a:pt x="649" y="201"/>
                </a:cubicBezTo>
                <a:cubicBezTo>
                  <a:pt x="649" y="201"/>
                  <a:pt x="649" y="202"/>
                  <a:pt x="648" y="202"/>
                </a:cubicBezTo>
                <a:cubicBezTo>
                  <a:pt x="648" y="202"/>
                  <a:pt x="649" y="203"/>
                  <a:pt x="649" y="203"/>
                </a:cubicBezTo>
                <a:cubicBezTo>
                  <a:pt x="650" y="203"/>
                  <a:pt x="652" y="204"/>
                  <a:pt x="653" y="204"/>
                </a:cubicBezTo>
                <a:cubicBezTo>
                  <a:pt x="656" y="205"/>
                  <a:pt x="659" y="206"/>
                  <a:pt x="660" y="206"/>
                </a:cubicBezTo>
                <a:cubicBezTo>
                  <a:pt x="661" y="206"/>
                  <a:pt x="666" y="207"/>
                  <a:pt x="671" y="209"/>
                </a:cubicBezTo>
                <a:cubicBezTo>
                  <a:pt x="673" y="209"/>
                  <a:pt x="675" y="209"/>
                  <a:pt x="677" y="210"/>
                </a:cubicBezTo>
                <a:cubicBezTo>
                  <a:pt x="677" y="210"/>
                  <a:pt x="680" y="211"/>
                  <a:pt x="681" y="210"/>
                </a:cubicBezTo>
                <a:cubicBezTo>
                  <a:pt x="681" y="210"/>
                  <a:pt x="681" y="209"/>
                  <a:pt x="682" y="209"/>
                </a:cubicBezTo>
                <a:cubicBezTo>
                  <a:pt x="683" y="209"/>
                  <a:pt x="684" y="210"/>
                  <a:pt x="684" y="210"/>
                </a:cubicBezTo>
                <a:cubicBezTo>
                  <a:pt x="684" y="210"/>
                  <a:pt x="684" y="210"/>
                  <a:pt x="684" y="211"/>
                </a:cubicBezTo>
                <a:cubicBezTo>
                  <a:pt x="684" y="212"/>
                  <a:pt x="688" y="213"/>
                  <a:pt x="689" y="213"/>
                </a:cubicBezTo>
                <a:cubicBezTo>
                  <a:pt x="695" y="214"/>
                  <a:pt x="698" y="215"/>
                  <a:pt x="702" y="217"/>
                </a:cubicBezTo>
                <a:cubicBezTo>
                  <a:pt x="705" y="219"/>
                  <a:pt x="719" y="222"/>
                  <a:pt x="726" y="223"/>
                </a:cubicBezTo>
                <a:cubicBezTo>
                  <a:pt x="727" y="223"/>
                  <a:pt x="728" y="223"/>
                  <a:pt x="729" y="224"/>
                </a:cubicBezTo>
                <a:cubicBezTo>
                  <a:pt x="730" y="224"/>
                  <a:pt x="731" y="224"/>
                  <a:pt x="731" y="224"/>
                </a:cubicBezTo>
                <a:cubicBezTo>
                  <a:pt x="731" y="224"/>
                  <a:pt x="732" y="224"/>
                  <a:pt x="732" y="224"/>
                </a:cubicBezTo>
                <a:cubicBezTo>
                  <a:pt x="732" y="224"/>
                  <a:pt x="733" y="224"/>
                  <a:pt x="733" y="224"/>
                </a:cubicBezTo>
                <a:cubicBezTo>
                  <a:pt x="733" y="224"/>
                  <a:pt x="734" y="224"/>
                  <a:pt x="734" y="224"/>
                </a:cubicBezTo>
                <a:cubicBezTo>
                  <a:pt x="735" y="224"/>
                  <a:pt x="736" y="225"/>
                  <a:pt x="736" y="225"/>
                </a:cubicBezTo>
                <a:cubicBezTo>
                  <a:pt x="737" y="226"/>
                  <a:pt x="738" y="226"/>
                  <a:pt x="739" y="226"/>
                </a:cubicBezTo>
                <a:cubicBezTo>
                  <a:pt x="740" y="226"/>
                  <a:pt x="741" y="227"/>
                  <a:pt x="743" y="226"/>
                </a:cubicBezTo>
                <a:cubicBezTo>
                  <a:pt x="744" y="226"/>
                  <a:pt x="745" y="225"/>
                  <a:pt x="746" y="226"/>
                </a:cubicBezTo>
                <a:cubicBezTo>
                  <a:pt x="747" y="226"/>
                  <a:pt x="747" y="227"/>
                  <a:pt x="748" y="228"/>
                </a:cubicBezTo>
                <a:cubicBezTo>
                  <a:pt x="748" y="228"/>
                  <a:pt x="749" y="228"/>
                  <a:pt x="749" y="228"/>
                </a:cubicBezTo>
                <a:cubicBezTo>
                  <a:pt x="749" y="228"/>
                  <a:pt x="749" y="228"/>
                  <a:pt x="749" y="228"/>
                </a:cubicBezTo>
                <a:cubicBezTo>
                  <a:pt x="749" y="228"/>
                  <a:pt x="750" y="228"/>
                  <a:pt x="750" y="228"/>
                </a:cubicBezTo>
                <a:cubicBezTo>
                  <a:pt x="751" y="226"/>
                  <a:pt x="753" y="227"/>
                  <a:pt x="755" y="228"/>
                </a:cubicBezTo>
                <a:cubicBezTo>
                  <a:pt x="756" y="228"/>
                  <a:pt x="757" y="228"/>
                  <a:pt x="757" y="229"/>
                </a:cubicBezTo>
                <a:cubicBezTo>
                  <a:pt x="757" y="229"/>
                  <a:pt x="757" y="230"/>
                  <a:pt x="757" y="230"/>
                </a:cubicBezTo>
                <a:cubicBezTo>
                  <a:pt x="758" y="231"/>
                  <a:pt x="758" y="230"/>
                  <a:pt x="759" y="230"/>
                </a:cubicBezTo>
                <a:cubicBezTo>
                  <a:pt x="760" y="229"/>
                  <a:pt x="761" y="231"/>
                  <a:pt x="762" y="232"/>
                </a:cubicBezTo>
                <a:cubicBezTo>
                  <a:pt x="764" y="232"/>
                  <a:pt x="765" y="232"/>
                  <a:pt x="766" y="233"/>
                </a:cubicBezTo>
                <a:cubicBezTo>
                  <a:pt x="767" y="233"/>
                  <a:pt x="772" y="235"/>
                  <a:pt x="773" y="234"/>
                </a:cubicBezTo>
                <a:cubicBezTo>
                  <a:pt x="773" y="234"/>
                  <a:pt x="773" y="233"/>
                  <a:pt x="773" y="233"/>
                </a:cubicBezTo>
                <a:cubicBezTo>
                  <a:pt x="774" y="232"/>
                  <a:pt x="776" y="233"/>
                  <a:pt x="777" y="233"/>
                </a:cubicBezTo>
                <a:cubicBezTo>
                  <a:pt x="778" y="233"/>
                  <a:pt x="778" y="234"/>
                  <a:pt x="780" y="235"/>
                </a:cubicBezTo>
                <a:cubicBezTo>
                  <a:pt x="780" y="235"/>
                  <a:pt x="780" y="236"/>
                  <a:pt x="781" y="236"/>
                </a:cubicBezTo>
                <a:cubicBezTo>
                  <a:pt x="781" y="236"/>
                  <a:pt x="782" y="236"/>
                  <a:pt x="782" y="236"/>
                </a:cubicBezTo>
                <a:cubicBezTo>
                  <a:pt x="783" y="235"/>
                  <a:pt x="783" y="235"/>
                  <a:pt x="783" y="235"/>
                </a:cubicBezTo>
                <a:cubicBezTo>
                  <a:pt x="783" y="235"/>
                  <a:pt x="783" y="235"/>
                  <a:pt x="783" y="235"/>
                </a:cubicBezTo>
                <a:cubicBezTo>
                  <a:pt x="784" y="235"/>
                  <a:pt x="785" y="235"/>
                  <a:pt x="785" y="236"/>
                </a:cubicBezTo>
                <a:cubicBezTo>
                  <a:pt x="786" y="236"/>
                  <a:pt x="786" y="236"/>
                  <a:pt x="786" y="237"/>
                </a:cubicBezTo>
                <a:cubicBezTo>
                  <a:pt x="786" y="237"/>
                  <a:pt x="786" y="237"/>
                  <a:pt x="787" y="238"/>
                </a:cubicBezTo>
                <a:cubicBezTo>
                  <a:pt x="787" y="238"/>
                  <a:pt x="788" y="238"/>
                  <a:pt x="789" y="239"/>
                </a:cubicBezTo>
                <a:cubicBezTo>
                  <a:pt x="794" y="240"/>
                  <a:pt x="805" y="243"/>
                  <a:pt x="808" y="244"/>
                </a:cubicBezTo>
                <a:cubicBezTo>
                  <a:pt x="808" y="244"/>
                  <a:pt x="810" y="245"/>
                  <a:pt x="812" y="245"/>
                </a:cubicBezTo>
                <a:cubicBezTo>
                  <a:pt x="814" y="245"/>
                  <a:pt x="817" y="246"/>
                  <a:pt x="819" y="247"/>
                </a:cubicBezTo>
                <a:cubicBezTo>
                  <a:pt x="821" y="248"/>
                  <a:pt x="825" y="249"/>
                  <a:pt x="827" y="250"/>
                </a:cubicBezTo>
                <a:cubicBezTo>
                  <a:pt x="830" y="251"/>
                  <a:pt x="834" y="253"/>
                  <a:pt x="837" y="252"/>
                </a:cubicBezTo>
                <a:cubicBezTo>
                  <a:pt x="838" y="252"/>
                  <a:pt x="839" y="252"/>
                  <a:pt x="840" y="252"/>
                </a:cubicBezTo>
                <a:cubicBezTo>
                  <a:pt x="842" y="253"/>
                  <a:pt x="844" y="253"/>
                  <a:pt x="846" y="254"/>
                </a:cubicBezTo>
                <a:cubicBezTo>
                  <a:pt x="851" y="255"/>
                  <a:pt x="857" y="256"/>
                  <a:pt x="860" y="257"/>
                </a:cubicBezTo>
                <a:cubicBezTo>
                  <a:pt x="861" y="257"/>
                  <a:pt x="863" y="258"/>
                  <a:pt x="864" y="258"/>
                </a:cubicBezTo>
                <a:cubicBezTo>
                  <a:pt x="865" y="258"/>
                  <a:pt x="865" y="258"/>
                  <a:pt x="866" y="257"/>
                </a:cubicBezTo>
                <a:cubicBezTo>
                  <a:pt x="866" y="257"/>
                  <a:pt x="865" y="256"/>
                  <a:pt x="865" y="256"/>
                </a:cubicBezTo>
                <a:cubicBezTo>
                  <a:pt x="866" y="256"/>
                  <a:pt x="867" y="256"/>
                  <a:pt x="867" y="256"/>
                </a:cubicBezTo>
                <a:cubicBezTo>
                  <a:pt x="868" y="256"/>
                  <a:pt x="868" y="256"/>
                  <a:pt x="868" y="257"/>
                </a:cubicBezTo>
                <a:cubicBezTo>
                  <a:pt x="868" y="257"/>
                  <a:pt x="868" y="257"/>
                  <a:pt x="868" y="257"/>
                </a:cubicBezTo>
                <a:cubicBezTo>
                  <a:pt x="868" y="257"/>
                  <a:pt x="868" y="258"/>
                  <a:pt x="868" y="258"/>
                </a:cubicBezTo>
                <a:cubicBezTo>
                  <a:pt x="869" y="259"/>
                  <a:pt x="871" y="259"/>
                  <a:pt x="872" y="259"/>
                </a:cubicBezTo>
                <a:cubicBezTo>
                  <a:pt x="872" y="259"/>
                  <a:pt x="874" y="259"/>
                  <a:pt x="875" y="260"/>
                </a:cubicBezTo>
                <a:cubicBezTo>
                  <a:pt x="875" y="260"/>
                  <a:pt x="876" y="260"/>
                  <a:pt x="877" y="259"/>
                </a:cubicBezTo>
                <a:cubicBezTo>
                  <a:pt x="877" y="258"/>
                  <a:pt x="878" y="258"/>
                  <a:pt x="879" y="259"/>
                </a:cubicBezTo>
                <a:cubicBezTo>
                  <a:pt x="879" y="259"/>
                  <a:pt x="879" y="259"/>
                  <a:pt x="879" y="260"/>
                </a:cubicBezTo>
                <a:cubicBezTo>
                  <a:pt x="879" y="260"/>
                  <a:pt x="880" y="261"/>
                  <a:pt x="880" y="261"/>
                </a:cubicBezTo>
                <a:cubicBezTo>
                  <a:pt x="881" y="261"/>
                  <a:pt x="883" y="262"/>
                  <a:pt x="883" y="263"/>
                </a:cubicBezTo>
                <a:cubicBezTo>
                  <a:pt x="883" y="263"/>
                  <a:pt x="883" y="263"/>
                  <a:pt x="883" y="263"/>
                </a:cubicBezTo>
                <a:cubicBezTo>
                  <a:pt x="883" y="264"/>
                  <a:pt x="884" y="264"/>
                  <a:pt x="884" y="264"/>
                </a:cubicBezTo>
                <a:cubicBezTo>
                  <a:pt x="885" y="264"/>
                  <a:pt x="886" y="263"/>
                  <a:pt x="887" y="263"/>
                </a:cubicBezTo>
                <a:cubicBezTo>
                  <a:pt x="888" y="263"/>
                  <a:pt x="889" y="263"/>
                  <a:pt x="890" y="264"/>
                </a:cubicBezTo>
                <a:cubicBezTo>
                  <a:pt x="893" y="264"/>
                  <a:pt x="895" y="265"/>
                  <a:pt x="897" y="265"/>
                </a:cubicBezTo>
                <a:cubicBezTo>
                  <a:pt x="902" y="267"/>
                  <a:pt x="907" y="268"/>
                  <a:pt x="912" y="269"/>
                </a:cubicBezTo>
                <a:cubicBezTo>
                  <a:pt x="926" y="272"/>
                  <a:pt x="939" y="276"/>
                  <a:pt x="942" y="276"/>
                </a:cubicBezTo>
                <a:cubicBezTo>
                  <a:pt x="945" y="277"/>
                  <a:pt x="955" y="280"/>
                  <a:pt x="966" y="282"/>
                </a:cubicBezTo>
                <a:cubicBezTo>
                  <a:pt x="977" y="284"/>
                  <a:pt x="994" y="288"/>
                  <a:pt x="1005" y="291"/>
                </a:cubicBezTo>
                <a:cubicBezTo>
                  <a:pt x="1015" y="294"/>
                  <a:pt x="1043" y="301"/>
                  <a:pt x="1067" y="307"/>
                </a:cubicBezTo>
                <a:cubicBezTo>
                  <a:pt x="1075" y="309"/>
                  <a:pt x="1083" y="310"/>
                  <a:pt x="1091" y="312"/>
                </a:cubicBezTo>
                <a:cubicBezTo>
                  <a:pt x="1095" y="313"/>
                  <a:pt x="1099" y="314"/>
                  <a:pt x="1103" y="315"/>
                </a:cubicBezTo>
                <a:cubicBezTo>
                  <a:pt x="1105" y="316"/>
                  <a:pt x="1107" y="316"/>
                  <a:pt x="1109" y="317"/>
                </a:cubicBezTo>
                <a:cubicBezTo>
                  <a:pt x="1111" y="317"/>
                  <a:pt x="1111" y="315"/>
                  <a:pt x="1112" y="317"/>
                </a:cubicBezTo>
                <a:cubicBezTo>
                  <a:pt x="1113" y="318"/>
                  <a:pt x="1115" y="318"/>
                  <a:pt x="1117" y="318"/>
                </a:cubicBezTo>
                <a:cubicBezTo>
                  <a:pt x="1118" y="319"/>
                  <a:pt x="1120" y="319"/>
                  <a:pt x="1122" y="319"/>
                </a:cubicBezTo>
                <a:cubicBezTo>
                  <a:pt x="1125" y="320"/>
                  <a:pt x="1129" y="321"/>
                  <a:pt x="1132" y="322"/>
                </a:cubicBezTo>
                <a:cubicBezTo>
                  <a:pt x="1136" y="323"/>
                  <a:pt x="1139" y="323"/>
                  <a:pt x="1143" y="324"/>
                </a:cubicBezTo>
                <a:cubicBezTo>
                  <a:pt x="1145" y="325"/>
                  <a:pt x="1149" y="326"/>
                  <a:pt x="1152" y="325"/>
                </a:cubicBezTo>
                <a:cubicBezTo>
                  <a:pt x="1152" y="325"/>
                  <a:pt x="1153" y="326"/>
                  <a:pt x="1154" y="326"/>
                </a:cubicBezTo>
                <a:cubicBezTo>
                  <a:pt x="1155" y="327"/>
                  <a:pt x="1158" y="328"/>
                  <a:pt x="1160" y="328"/>
                </a:cubicBezTo>
                <a:cubicBezTo>
                  <a:pt x="1164" y="329"/>
                  <a:pt x="1174" y="332"/>
                  <a:pt x="1183" y="334"/>
                </a:cubicBezTo>
                <a:cubicBezTo>
                  <a:pt x="1188" y="335"/>
                  <a:pt x="1192" y="336"/>
                  <a:pt x="1197" y="337"/>
                </a:cubicBezTo>
                <a:cubicBezTo>
                  <a:pt x="1198" y="337"/>
                  <a:pt x="1198" y="338"/>
                  <a:pt x="1199" y="338"/>
                </a:cubicBezTo>
                <a:cubicBezTo>
                  <a:pt x="1199" y="338"/>
                  <a:pt x="1199" y="339"/>
                  <a:pt x="1199" y="339"/>
                </a:cubicBezTo>
                <a:cubicBezTo>
                  <a:pt x="1200" y="340"/>
                  <a:pt x="1202" y="340"/>
                  <a:pt x="1204" y="340"/>
                </a:cubicBezTo>
                <a:cubicBezTo>
                  <a:pt x="1205" y="340"/>
                  <a:pt x="1206" y="340"/>
                  <a:pt x="1208" y="340"/>
                </a:cubicBezTo>
                <a:cubicBezTo>
                  <a:pt x="1209" y="340"/>
                  <a:pt x="1210" y="340"/>
                  <a:pt x="1211" y="340"/>
                </a:cubicBezTo>
                <a:cubicBezTo>
                  <a:pt x="1211" y="340"/>
                  <a:pt x="1212" y="340"/>
                  <a:pt x="1212" y="340"/>
                </a:cubicBezTo>
                <a:cubicBezTo>
                  <a:pt x="1213" y="340"/>
                  <a:pt x="1214" y="341"/>
                  <a:pt x="1215" y="342"/>
                </a:cubicBezTo>
                <a:cubicBezTo>
                  <a:pt x="1217" y="342"/>
                  <a:pt x="1218" y="341"/>
                  <a:pt x="1219" y="341"/>
                </a:cubicBezTo>
                <a:cubicBezTo>
                  <a:pt x="1219" y="342"/>
                  <a:pt x="1219" y="342"/>
                  <a:pt x="1220" y="342"/>
                </a:cubicBezTo>
                <a:cubicBezTo>
                  <a:pt x="1221" y="344"/>
                  <a:pt x="1224" y="344"/>
                  <a:pt x="1226" y="344"/>
                </a:cubicBezTo>
                <a:cubicBezTo>
                  <a:pt x="1228" y="345"/>
                  <a:pt x="1231" y="345"/>
                  <a:pt x="1233" y="346"/>
                </a:cubicBezTo>
                <a:cubicBezTo>
                  <a:pt x="1234" y="346"/>
                  <a:pt x="1236" y="346"/>
                  <a:pt x="1237" y="347"/>
                </a:cubicBezTo>
                <a:cubicBezTo>
                  <a:pt x="1237" y="348"/>
                  <a:pt x="1237" y="349"/>
                  <a:pt x="1237" y="349"/>
                </a:cubicBezTo>
                <a:cubicBezTo>
                  <a:pt x="1237" y="350"/>
                  <a:pt x="1237" y="350"/>
                  <a:pt x="1238" y="350"/>
                </a:cubicBezTo>
                <a:cubicBezTo>
                  <a:pt x="1238" y="351"/>
                  <a:pt x="1239" y="351"/>
                  <a:pt x="1240" y="351"/>
                </a:cubicBezTo>
                <a:cubicBezTo>
                  <a:pt x="1241" y="351"/>
                  <a:pt x="1241" y="351"/>
                  <a:pt x="1241" y="351"/>
                </a:cubicBezTo>
                <a:cubicBezTo>
                  <a:pt x="1242" y="351"/>
                  <a:pt x="1241" y="350"/>
                  <a:pt x="1242" y="349"/>
                </a:cubicBezTo>
                <a:cubicBezTo>
                  <a:pt x="1242" y="349"/>
                  <a:pt x="1242" y="349"/>
                  <a:pt x="1243" y="348"/>
                </a:cubicBezTo>
                <a:cubicBezTo>
                  <a:pt x="1244" y="348"/>
                  <a:pt x="1246" y="349"/>
                  <a:pt x="1248" y="349"/>
                </a:cubicBezTo>
                <a:cubicBezTo>
                  <a:pt x="1250" y="350"/>
                  <a:pt x="1252" y="351"/>
                  <a:pt x="1254" y="352"/>
                </a:cubicBezTo>
                <a:cubicBezTo>
                  <a:pt x="1256" y="353"/>
                  <a:pt x="1259" y="355"/>
                  <a:pt x="1261" y="355"/>
                </a:cubicBezTo>
                <a:cubicBezTo>
                  <a:pt x="1263" y="355"/>
                  <a:pt x="1265" y="354"/>
                  <a:pt x="1267" y="355"/>
                </a:cubicBezTo>
                <a:cubicBezTo>
                  <a:pt x="1267" y="356"/>
                  <a:pt x="1269" y="356"/>
                  <a:pt x="1270" y="356"/>
                </a:cubicBezTo>
                <a:cubicBezTo>
                  <a:pt x="1271" y="356"/>
                  <a:pt x="1271" y="357"/>
                  <a:pt x="1272" y="358"/>
                </a:cubicBezTo>
                <a:cubicBezTo>
                  <a:pt x="1273" y="359"/>
                  <a:pt x="1274" y="359"/>
                  <a:pt x="1275" y="360"/>
                </a:cubicBezTo>
                <a:cubicBezTo>
                  <a:pt x="1277" y="360"/>
                  <a:pt x="1279" y="360"/>
                  <a:pt x="1281" y="361"/>
                </a:cubicBezTo>
                <a:cubicBezTo>
                  <a:pt x="1283" y="361"/>
                  <a:pt x="1286" y="363"/>
                  <a:pt x="1288" y="362"/>
                </a:cubicBezTo>
                <a:cubicBezTo>
                  <a:pt x="1289" y="361"/>
                  <a:pt x="1289" y="360"/>
                  <a:pt x="1290" y="359"/>
                </a:cubicBezTo>
                <a:cubicBezTo>
                  <a:pt x="1292" y="359"/>
                  <a:pt x="1293" y="360"/>
                  <a:pt x="1295" y="360"/>
                </a:cubicBezTo>
                <a:cubicBezTo>
                  <a:pt x="1296" y="361"/>
                  <a:pt x="1304" y="364"/>
                  <a:pt x="1304" y="362"/>
                </a:cubicBezTo>
                <a:cubicBezTo>
                  <a:pt x="1304" y="362"/>
                  <a:pt x="1304" y="362"/>
                  <a:pt x="1305" y="362"/>
                </a:cubicBezTo>
                <a:cubicBezTo>
                  <a:pt x="1307" y="362"/>
                  <a:pt x="1309" y="363"/>
                  <a:pt x="1311" y="364"/>
                </a:cubicBezTo>
                <a:cubicBezTo>
                  <a:pt x="1319" y="367"/>
                  <a:pt x="1326" y="369"/>
                  <a:pt x="1336" y="371"/>
                </a:cubicBezTo>
                <a:cubicBezTo>
                  <a:pt x="1339" y="372"/>
                  <a:pt x="1343" y="372"/>
                  <a:pt x="1346" y="373"/>
                </a:cubicBezTo>
                <a:cubicBezTo>
                  <a:pt x="1346" y="374"/>
                  <a:pt x="1346" y="374"/>
                  <a:pt x="1346" y="374"/>
                </a:cubicBezTo>
                <a:cubicBezTo>
                  <a:pt x="1346" y="374"/>
                  <a:pt x="1346" y="374"/>
                  <a:pt x="1346" y="374"/>
                </a:cubicBezTo>
                <a:cubicBezTo>
                  <a:pt x="1347" y="375"/>
                  <a:pt x="1348" y="375"/>
                  <a:pt x="1348" y="374"/>
                </a:cubicBezTo>
                <a:cubicBezTo>
                  <a:pt x="1350" y="374"/>
                  <a:pt x="1350" y="376"/>
                  <a:pt x="1352" y="377"/>
                </a:cubicBezTo>
                <a:cubicBezTo>
                  <a:pt x="1353" y="377"/>
                  <a:pt x="1354" y="378"/>
                  <a:pt x="1356" y="377"/>
                </a:cubicBezTo>
                <a:cubicBezTo>
                  <a:pt x="1356" y="377"/>
                  <a:pt x="1356" y="376"/>
                  <a:pt x="1356" y="376"/>
                </a:cubicBezTo>
                <a:cubicBezTo>
                  <a:pt x="1357" y="376"/>
                  <a:pt x="1360" y="377"/>
                  <a:pt x="1361" y="377"/>
                </a:cubicBezTo>
                <a:cubicBezTo>
                  <a:pt x="1362" y="377"/>
                  <a:pt x="1364" y="378"/>
                  <a:pt x="1365" y="378"/>
                </a:cubicBezTo>
                <a:cubicBezTo>
                  <a:pt x="1370" y="379"/>
                  <a:pt x="1375" y="380"/>
                  <a:pt x="1376" y="380"/>
                </a:cubicBezTo>
                <a:cubicBezTo>
                  <a:pt x="1378" y="381"/>
                  <a:pt x="1380" y="382"/>
                  <a:pt x="1382" y="382"/>
                </a:cubicBezTo>
                <a:cubicBezTo>
                  <a:pt x="1383" y="383"/>
                  <a:pt x="1383" y="383"/>
                  <a:pt x="1383" y="383"/>
                </a:cubicBezTo>
                <a:cubicBezTo>
                  <a:pt x="1383" y="384"/>
                  <a:pt x="1384" y="384"/>
                  <a:pt x="1385" y="385"/>
                </a:cubicBezTo>
                <a:cubicBezTo>
                  <a:pt x="1386" y="385"/>
                  <a:pt x="1387" y="386"/>
                  <a:pt x="1388" y="386"/>
                </a:cubicBezTo>
                <a:cubicBezTo>
                  <a:pt x="1388" y="386"/>
                  <a:pt x="1389" y="386"/>
                  <a:pt x="1389" y="385"/>
                </a:cubicBezTo>
                <a:cubicBezTo>
                  <a:pt x="1390" y="385"/>
                  <a:pt x="1389" y="385"/>
                  <a:pt x="1390" y="385"/>
                </a:cubicBezTo>
                <a:cubicBezTo>
                  <a:pt x="1391" y="384"/>
                  <a:pt x="1392" y="385"/>
                  <a:pt x="1393" y="385"/>
                </a:cubicBezTo>
                <a:cubicBezTo>
                  <a:pt x="1396" y="385"/>
                  <a:pt x="1397" y="386"/>
                  <a:pt x="1400" y="387"/>
                </a:cubicBezTo>
                <a:cubicBezTo>
                  <a:pt x="1402" y="388"/>
                  <a:pt x="1403" y="388"/>
                  <a:pt x="1405" y="388"/>
                </a:cubicBezTo>
                <a:cubicBezTo>
                  <a:pt x="1406" y="387"/>
                  <a:pt x="1407" y="387"/>
                  <a:pt x="1409" y="387"/>
                </a:cubicBezTo>
                <a:cubicBezTo>
                  <a:pt x="1410" y="387"/>
                  <a:pt x="1411" y="388"/>
                  <a:pt x="1412" y="389"/>
                </a:cubicBezTo>
                <a:cubicBezTo>
                  <a:pt x="1416" y="390"/>
                  <a:pt x="1421" y="390"/>
                  <a:pt x="1425" y="391"/>
                </a:cubicBezTo>
                <a:cubicBezTo>
                  <a:pt x="1431" y="392"/>
                  <a:pt x="1438" y="394"/>
                  <a:pt x="1440" y="394"/>
                </a:cubicBezTo>
                <a:cubicBezTo>
                  <a:pt x="1442" y="394"/>
                  <a:pt x="1444" y="395"/>
                  <a:pt x="1446" y="394"/>
                </a:cubicBezTo>
                <a:cubicBezTo>
                  <a:pt x="1446" y="394"/>
                  <a:pt x="1446" y="394"/>
                  <a:pt x="1446" y="394"/>
                </a:cubicBezTo>
                <a:cubicBezTo>
                  <a:pt x="1446" y="394"/>
                  <a:pt x="1446" y="394"/>
                  <a:pt x="1446" y="394"/>
                </a:cubicBezTo>
                <a:cubicBezTo>
                  <a:pt x="1447" y="394"/>
                  <a:pt x="1447" y="394"/>
                  <a:pt x="1448" y="394"/>
                </a:cubicBezTo>
                <a:cubicBezTo>
                  <a:pt x="1448" y="395"/>
                  <a:pt x="1448" y="395"/>
                  <a:pt x="1449" y="395"/>
                </a:cubicBezTo>
                <a:cubicBezTo>
                  <a:pt x="1450" y="397"/>
                  <a:pt x="1454" y="398"/>
                  <a:pt x="1456" y="398"/>
                </a:cubicBezTo>
                <a:cubicBezTo>
                  <a:pt x="1459" y="399"/>
                  <a:pt x="1462" y="399"/>
                  <a:pt x="1465" y="400"/>
                </a:cubicBezTo>
                <a:cubicBezTo>
                  <a:pt x="1469" y="401"/>
                  <a:pt x="1472" y="402"/>
                  <a:pt x="1475" y="403"/>
                </a:cubicBezTo>
                <a:cubicBezTo>
                  <a:pt x="1477" y="403"/>
                  <a:pt x="1478" y="404"/>
                  <a:pt x="1480" y="404"/>
                </a:cubicBezTo>
                <a:cubicBezTo>
                  <a:pt x="1481" y="404"/>
                  <a:pt x="1482" y="404"/>
                  <a:pt x="1483" y="404"/>
                </a:cubicBezTo>
                <a:cubicBezTo>
                  <a:pt x="1484" y="404"/>
                  <a:pt x="1484" y="404"/>
                  <a:pt x="1484" y="404"/>
                </a:cubicBezTo>
                <a:cubicBezTo>
                  <a:pt x="1485" y="404"/>
                  <a:pt x="1485" y="404"/>
                  <a:pt x="1485" y="404"/>
                </a:cubicBezTo>
                <a:cubicBezTo>
                  <a:pt x="1487" y="405"/>
                  <a:pt x="1489" y="406"/>
                  <a:pt x="1491" y="407"/>
                </a:cubicBezTo>
                <a:cubicBezTo>
                  <a:pt x="1493" y="408"/>
                  <a:pt x="1495" y="408"/>
                  <a:pt x="1498" y="408"/>
                </a:cubicBezTo>
                <a:cubicBezTo>
                  <a:pt x="1499" y="409"/>
                  <a:pt x="1501" y="409"/>
                  <a:pt x="1503" y="409"/>
                </a:cubicBezTo>
                <a:cubicBezTo>
                  <a:pt x="1505" y="409"/>
                  <a:pt x="1506" y="410"/>
                  <a:pt x="1507" y="409"/>
                </a:cubicBezTo>
                <a:cubicBezTo>
                  <a:pt x="1508" y="408"/>
                  <a:pt x="1509" y="409"/>
                  <a:pt x="1509" y="409"/>
                </a:cubicBezTo>
                <a:cubicBezTo>
                  <a:pt x="1511" y="409"/>
                  <a:pt x="1512" y="409"/>
                  <a:pt x="1514" y="410"/>
                </a:cubicBezTo>
                <a:cubicBezTo>
                  <a:pt x="1515" y="410"/>
                  <a:pt x="1517" y="410"/>
                  <a:pt x="1518" y="411"/>
                </a:cubicBezTo>
                <a:cubicBezTo>
                  <a:pt x="1519" y="411"/>
                  <a:pt x="1519" y="411"/>
                  <a:pt x="1520" y="410"/>
                </a:cubicBezTo>
                <a:cubicBezTo>
                  <a:pt x="1520" y="410"/>
                  <a:pt x="1520" y="410"/>
                  <a:pt x="1520" y="410"/>
                </a:cubicBezTo>
                <a:cubicBezTo>
                  <a:pt x="1521" y="410"/>
                  <a:pt x="1521" y="410"/>
                  <a:pt x="1521" y="410"/>
                </a:cubicBezTo>
                <a:cubicBezTo>
                  <a:pt x="1522" y="410"/>
                  <a:pt x="1522" y="411"/>
                  <a:pt x="1522" y="411"/>
                </a:cubicBezTo>
                <a:cubicBezTo>
                  <a:pt x="1523" y="412"/>
                  <a:pt x="1525" y="412"/>
                  <a:pt x="1526" y="413"/>
                </a:cubicBezTo>
                <a:cubicBezTo>
                  <a:pt x="1527" y="413"/>
                  <a:pt x="1528" y="414"/>
                  <a:pt x="1530" y="414"/>
                </a:cubicBezTo>
                <a:cubicBezTo>
                  <a:pt x="1530" y="414"/>
                  <a:pt x="1530" y="414"/>
                  <a:pt x="1530" y="414"/>
                </a:cubicBezTo>
                <a:cubicBezTo>
                  <a:pt x="1533" y="415"/>
                  <a:pt x="1535" y="415"/>
                  <a:pt x="1537" y="416"/>
                </a:cubicBezTo>
                <a:cubicBezTo>
                  <a:pt x="1538" y="416"/>
                  <a:pt x="1539" y="416"/>
                  <a:pt x="1540" y="417"/>
                </a:cubicBezTo>
                <a:cubicBezTo>
                  <a:pt x="1542" y="417"/>
                  <a:pt x="1543" y="417"/>
                  <a:pt x="1544" y="418"/>
                </a:cubicBezTo>
                <a:cubicBezTo>
                  <a:pt x="1544" y="419"/>
                  <a:pt x="1545" y="419"/>
                  <a:pt x="1546" y="420"/>
                </a:cubicBezTo>
                <a:cubicBezTo>
                  <a:pt x="1548" y="420"/>
                  <a:pt x="1549" y="421"/>
                  <a:pt x="1551" y="421"/>
                </a:cubicBezTo>
                <a:cubicBezTo>
                  <a:pt x="1556" y="423"/>
                  <a:pt x="1561" y="423"/>
                  <a:pt x="1566" y="424"/>
                </a:cubicBezTo>
                <a:cubicBezTo>
                  <a:pt x="1566" y="424"/>
                  <a:pt x="1566" y="424"/>
                  <a:pt x="1567" y="425"/>
                </a:cubicBezTo>
                <a:cubicBezTo>
                  <a:pt x="1567" y="425"/>
                  <a:pt x="1567" y="425"/>
                  <a:pt x="1568" y="425"/>
                </a:cubicBezTo>
                <a:cubicBezTo>
                  <a:pt x="1569" y="426"/>
                  <a:pt x="1569" y="426"/>
                  <a:pt x="1570" y="427"/>
                </a:cubicBezTo>
                <a:cubicBezTo>
                  <a:pt x="1571" y="427"/>
                  <a:pt x="1572" y="427"/>
                  <a:pt x="1572" y="428"/>
                </a:cubicBezTo>
                <a:cubicBezTo>
                  <a:pt x="1574" y="428"/>
                  <a:pt x="1576" y="429"/>
                  <a:pt x="1578" y="429"/>
                </a:cubicBezTo>
                <a:cubicBezTo>
                  <a:pt x="1579" y="429"/>
                  <a:pt x="1581" y="430"/>
                  <a:pt x="1582" y="430"/>
                </a:cubicBezTo>
                <a:cubicBezTo>
                  <a:pt x="1583" y="430"/>
                  <a:pt x="1584" y="431"/>
                  <a:pt x="1584" y="431"/>
                </a:cubicBezTo>
                <a:cubicBezTo>
                  <a:pt x="1585" y="431"/>
                  <a:pt x="1586" y="431"/>
                  <a:pt x="1586" y="431"/>
                </a:cubicBezTo>
                <a:cubicBezTo>
                  <a:pt x="1587" y="431"/>
                  <a:pt x="1590" y="428"/>
                  <a:pt x="1591" y="430"/>
                </a:cubicBezTo>
                <a:cubicBezTo>
                  <a:pt x="1591" y="431"/>
                  <a:pt x="1590" y="431"/>
                  <a:pt x="1590" y="432"/>
                </a:cubicBezTo>
                <a:cubicBezTo>
                  <a:pt x="1590" y="433"/>
                  <a:pt x="1593" y="434"/>
                  <a:pt x="1593" y="434"/>
                </a:cubicBezTo>
                <a:cubicBezTo>
                  <a:pt x="1594" y="434"/>
                  <a:pt x="1593" y="433"/>
                  <a:pt x="1593" y="433"/>
                </a:cubicBezTo>
                <a:cubicBezTo>
                  <a:pt x="1592" y="433"/>
                  <a:pt x="1592" y="432"/>
                  <a:pt x="1592" y="432"/>
                </a:cubicBezTo>
                <a:cubicBezTo>
                  <a:pt x="1592" y="432"/>
                  <a:pt x="1592" y="432"/>
                  <a:pt x="1592" y="431"/>
                </a:cubicBezTo>
                <a:cubicBezTo>
                  <a:pt x="1594" y="432"/>
                  <a:pt x="1595" y="432"/>
                  <a:pt x="1596" y="432"/>
                </a:cubicBezTo>
                <a:cubicBezTo>
                  <a:pt x="1596" y="433"/>
                  <a:pt x="1597" y="433"/>
                  <a:pt x="1598" y="433"/>
                </a:cubicBezTo>
                <a:cubicBezTo>
                  <a:pt x="1598" y="433"/>
                  <a:pt x="1599" y="433"/>
                  <a:pt x="1599" y="433"/>
                </a:cubicBezTo>
                <a:cubicBezTo>
                  <a:pt x="1599" y="434"/>
                  <a:pt x="1600" y="434"/>
                  <a:pt x="1600" y="434"/>
                </a:cubicBezTo>
                <a:cubicBezTo>
                  <a:pt x="1600" y="434"/>
                  <a:pt x="1601" y="434"/>
                  <a:pt x="1601" y="433"/>
                </a:cubicBezTo>
                <a:cubicBezTo>
                  <a:pt x="1601" y="433"/>
                  <a:pt x="1601" y="433"/>
                  <a:pt x="1601" y="433"/>
                </a:cubicBezTo>
                <a:cubicBezTo>
                  <a:pt x="1601" y="431"/>
                  <a:pt x="1603" y="432"/>
                  <a:pt x="1604" y="433"/>
                </a:cubicBezTo>
                <a:cubicBezTo>
                  <a:pt x="1606" y="434"/>
                  <a:pt x="1608" y="435"/>
                  <a:pt x="1609" y="436"/>
                </a:cubicBezTo>
                <a:cubicBezTo>
                  <a:pt x="1610" y="438"/>
                  <a:pt x="1612" y="438"/>
                  <a:pt x="1614" y="439"/>
                </a:cubicBezTo>
                <a:cubicBezTo>
                  <a:pt x="1615" y="439"/>
                  <a:pt x="1617" y="439"/>
                  <a:pt x="1618" y="440"/>
                </a:cubicBezTo>
                <a:cubicBezTo>
                  <a:pt x="1620" y="440"/>
                  <a:pt x="1621" y="441"/>
                  <a:pt x="1623" y="441"/>
                </a:cubicBezTo>
                <a:cubicBezTo>
                  <a:pt x="1623" y="441"/>
                  <a:pt x="1625" y="442"/>
                  <a:pt x="1625" y="441"/>
                </a:cubicBezTo>
                <a:cubicBezTo>
                  <a:pt x="1626" y="441"/>
                  <a:pt x="1626" y="441"/>
                  <a:pt x="1626" y="441"/>
                </a:cubicBezTo>
                <a:cubicBezTo>
                  <a:pt x="1626" y="441"/>
                  <a:pt x="1627" y="441"/>
                  <a:pt x="1626" y="441"/>
                </a:cubicBezTo>
                <a:cubicBezTo>
                  <a:pt x="1626" y="440"/>
                  <a:pt x="1626" y="440"/>
                  <a:pt x="1626" y="440"/>
                </a:cubicBezTo>
                <a:cubicBezTo>
                  <a:pt x="1627" y="439"/>
                  <a:pt x="1629" y="440"/>
                  <a:pt x="1629" y="440"/>
                </a:cubicBezTo>
                <a:cubicBezTo>
                  <a:pt x="1629" y="441"/>
                  <a:pt x="1628" y="441"/>
                  <a:pt x="1628" y="441"/>
                </a:cubicBezTo>
                <a:cubicBezTo>
                  <a:pt x="1628" y="442"/>
                  <a:pt x="1631" y="442"/>
                  <a:pt x="1631" y="443"/>
                </a:cubicBezTo>
                <a:cubicBezTo>
                  <a:pt x="1632" y="443"/>
                  <a:pt x="1633" y="443"/>
                  <a:pt x="1634" y="444"/>
                </a:cubicBezTo>
                <a:cubicBezTo>
                  <a:pt x="1634" y="444"/>
                  <a:pt x="1634" y="444"/>
                  <a:pt x="1635" y="444"/>
                </a:cubicBezTo>
                <a:cubicBezTo>
                  <a:pt x="1635" y="444"/>
                  <a:pt x="1635" y="444"/>
                  <a:pt x="1636" y="444"/>
                </a:cubicBezTo>
                <a:cubicBezTo>
                  <a:pt x="1636" y="444"/>
                  <a:pt x="1637" y="444"/>
                  <a:pt x="1637" y="444"/>
                </a:cubicBezTo>
                <a:cubicBezTo>
                  <a:pt x="1637" y="444"/>
                  <a:pt x="1638" y="444"/>
                  <a:pt x="1638" y="444"/>
                </a:cubicBezTo>
                <a:cubicBezTo>
                  <a:pt x="1639" y="443"/>
                  <a:pt x="1636" y="442"/>
                  <a:pt x="1635" y="442"/>
                </a:cubicBezTo>
                <a:cubicBezTo>
                  <a:pt x="1635" y="442"/>
                  <a:pt x="1634" y="443"/>
                  <a:pt x="1634" y="442"/>
                </a:cubicBezTo>
                <a:cubicBezTo>
                  <a:pt x="1634" y="441"/>
                  <a:pt x="1635" y="440"/>
                  <a:pt x="1636" y="440"/>
                </a:cubicBezTo>
                <a:cubicBezTo>
                  <a:pt x="1637" y="441"/>
                  <a:pt x="1638" y="441"/>
                  <a:pt x="1639" y="441"/>
                </a:cubicBezTo>
                <a:cubicBezTo>
                  <a:pt x="1641" y="442"/>
                  <a:pt x="1644" y="443"/>
                  <a:pt x="1646" y="443"/>
                </a:cubicBezTo>
                <a:cubicBezTo>
                  <a:pt x="1649" y="444"/>
                  <a:pt x="1651" y="445"/>
                  <a:pt x="1654" y="446"/>
                </a:cubicBezTo>
                <a:cubicBezTo>
                  <a:pt x="1655" y="446"/>
                  <a:pt x="1656" y="446"/>
                  <a:pt x="1657" y="447"/>
                </a:cubicBezTo>
                <a:cubicBezTo>
                  <a:pt x="1658" y="447"/>
                  <a:pt x="1659" y="447"/>
                  <a:pt x="1659" y="447"/>
                </a:cubicBezTo>
                <a:cubicBezTo>
                  <a:pt x="1659" y="447"/>
                  <a:pt x="1659" y="447"/>
                  <a:pt x="1659" y="447"/>
                </a:cubicBezTo>
                <a:cubicBezTo>
                  <a:pt x="1660" y="448"/>
                  <a:pt x="1660" y="448"/>
                  <a:pt x="1661" y="448"/>
                </a:cubicBezTo>
                <a:cubicBezTo>
                  <a:pt x="1661" y="449"/>
                  <a:pt x="1659" y="449"/>
                  <a:pt x="1658" y="449"/>
                </a:cubicBezTo>
                <a:cubicBezTo>
                  <a:pt x="1658" y="450"/>
                  <a:pt x="1659" y="451"/>
                  <a:pt x="1659" y="450"/>
                </a:cubicBezTo>
                <a:cubicBezTo>
                  <a:pt x="1660" y="450"/>
                  <a:pt x="1660" y="449"/>
                  <a:pt x="1661" y="449"/>
                </a:cubicBezTo>
                <a:cubicBezTo>
                  <a:pt x="1662" y="449"/>
                  <a:pt x="1662" y="450"/>
                  <a:pt x="1662" y="450"/>
                </a:cubicBezTo>
                <a:cubicBezTo>
                  <a:pt x="1663" y="451"/>
                  <a:pt x="1664" y="451"/>
                  <a:pt x="1664" y="452"/>
                </a:cubicBezTo>
                <a:cubicBezTo>
                  <a:pt x="1666" y="452"/>
                  <a:pt x="1667" y="452"/>
                  <a:pt x="1669" y="453"/>
                </a:cubicBezTo>
                <a:cubicBezTo>
                  <a:pt x="1672" y="454"/>
                  <a:pt x="1675" y="454"/>
                  <a:pt x="1676" y="454"/>
                </a:cubicBezTo>
                <a:cubicBezTo>
                  <a:pt x="1677" y="454"/>
                  <a:pt x="1679" y="455"/>
                  <a:pt x="1680" y="456"/>
                </a:cubicBezTo>
                <a:cubicBezTo>
                  <a:pt x="1681" y="456"/>
                  <a:pt x="1681" y="456"/>
                  <a:pt x="1682" y="456"/>
                </a:cubicBezTo>
                <a:cubicBezTo>
                  <a:pt x="1682" y="456"/>
                  <a:pt x="1682" y="455"/>
                  <a:pt x="1682" y="455"/>
                </a:cubicBezTo>
                <a:cubicBezTo>
                  <a:pt x="1682" y="454"/>
                  <a:pt x="1682" y="454"/>
                  <a:pt x="1683" y="454"/>
                </a:cubicBezTo>
                <a:cubicBezTo>
                  <a:pt x="1683" y="454"/>
                  <a:pt x="1684" y="455"/>
                  <a:pt x="1685" y="456"/>
                </a:cubicBezTo>
                <a:cubicBezTo>
                  <a:pt x="1685" y="456"/>
                  <a:pt x="1686" y="457"/>
                  <a:pt x="1687" y="457"/>
                </a:cubicBezTo>
                <a:cubicBezTo>
                  <a:pt x="1688" y="457"/>
                  <a:pt x="1690" y="457"/>
                  <a:pt x="1692" y="458"/>
                </a:cubicBezTo>
                <a:cubicBezTo>
                  <a:pt x="1692" y="458"/>
                  <a:pt x="1693" y="458"/>
                  <a:pt x="1693" y="458"/>
                </a:cubicBezTo>
                <a:cubicBezTo>
                  <a:pt x="1694" y="458"/>
                  <a:pt x="1694" y="457"/>
                  <a:pt x="1694" y="457"/>
                </a:cubicBezTo>
                <a:cubicBezTo>
                  <a:pt x="1697" y="458"/>
                  <a:pt x="1700" y="459"/>
                  <a:pt x="1703" y="460"/>
                </a:cubicBezTo>
                <a:cubicBezTo>
                  <a:pt x="1705" y="461"/>
                  <a:pt x="1707" y="461"/>
                  <a:pt x="1709" y="461"/>
                </a:cubicBezTo>
                <a:cubicBezTo>
                  <a:pt x="1709" y="461"/>
                  <a:pt x="1710" y="461"/>
                  <a:pt x="1711" y="461"/>
                </a:cubicBezTo>
                <a:cubicBezTo>
                  <a:pt x="1711" y="461"/>
                  <a:pt x="1713" y="461"/>
                  <a:pt x="1712" y="462"/>
                </a:cubicBezTo>
                <a:cubicBezTo>
                  <a:pt x="1712" y="463"/>
                  <a:pt x="1710" y="463"/>
                  <a:pt x="1710" y="464"/>
                </a:cubicBezTo>
                <a:cubicBezTo>
                  <a:pt x="1709" y="465"/>
                  <a:pt x="1711" y="464"/>
                  <a:pt x="1711" y="464"/>
                </a:cubicBezTo>
                <a:cubicBezTo>
                  <a:pt x="1712" y="463"/>
                  <a:pt x="1713" y="463"/>
                  <a:pt x="1714" y="463"/>
                </a:cubicBezTo>
                <a:cubicBezTo>
                  <a:pt x="1714" y="463"/>
                  <a:pt x="1715" y="463"/>
                  <a:pt x="1715" y="464"/>
                </a:cubicBezTo>
                <a:cubicBezTo>
                  <a:pt x="1715" y="464"/>
                  <a:pt x="1715" y="464"/>
                  <a:pt x="1715" y="464"/>
                </a:cubicBezTo>
                <a:cubicBezTo>
                  <a:pt x="1716" y="466"/>
                  <a:pt x="1719" y="466"/>
                  <a:pt x="1721" y="467"/>
                </a:cubicBezTo>
                <a:cubicBezTo>
                  <a:pt x="1724" y="468"/>
                  <a:pt x="1728" y="468"/>
                  <a:pt x="1732" y="469"/>
                </a:cubicBezTo>
                <a:cubicBezTo>
                  <a:pt x="1734" y="469"/>
                  <a:pt x="1735" y="469"/>
                  <a:pt x="1737" y="469"/>
                </a:cubicBezTo>
                <a:cubicBezTo>
                  <a:pt x="1739" y="469"/>
                  <a:pt x="1741" y="469"/>
                  <a:pt x="1742" y="469"/>
                </a:cubicBezTo>
                <a:cubicBezTo>
                  <a:pt x="1742" y="469"/>
                  <a:pt x="1743" y="469"/>
                  <a:pt x="1743" y="470"/>
                </a:cubicBezTo>
                <a:cubicBezTo>
                  <a:pt x="1743" y="470"/>
                  <a:pt x="1743" y="470"/>
                  <a:pt x="1743" y="470"/>
                </a:cubicBezTo>
                <a:cubicBezTo>
                  <a:pt x="1744" y="471"/>
                  <a:pt x="1744" y="471"/>
                  <a:pt x="1745" y="471"/>
                </a:cubicBezTo>
                <a:cubicBezTo>
                  <a:pt x="1746" y="471"/>
                  <a:pt x="1746" y="470"/>
                  <a:pt x="1747" y="470"/>
                </a:cubicBezTo>
                <a:cubicBezTo>
                  <a:pt x="1747" y="470"/>
                  <a:pt x="1747" y="469"/>
                  <a:pt x="1748" y="469"/>
                </a:cubicBezTo>
                <a:cubicBezTo>
                  <a:pt x="1748" y="469"/>
                  <a:pt x="1749" y="470"/>
                  <a:pt x="1750" y="470"/>
                </a:cubicBezTo>
                <a:cubicBezTo>
                  <a:pt x="1751" y="470"/>
                  <a:pt x="1751" y="471"/>
                  <a:pt x="1753" y="471"/>
                </a:cubicBezTo>
                <a:cubicBezTo>
                  <a:pt x="1754" y="471"/>
                  <a:pt x="1755" y="470"/>
                  <a:pt x="1755" y="470"/>
                </a:cubicBezTo>
                <a:cubicBezTo>
                  <a:pt x="1756" y="470"/>
                  <a:pt x="1757" y="471"/>
                  <a:pt x="1758" y="471"/>
                </a:cubicBezTo>
                <a:cubicBezTo>
                  <a:pt x="1761" y="472"/>
                  <a:pt x="1764" y="473"/>
                  <a:pt x="1766" y="474"/>
                </a:cubicBezTo>
                <a:cubicBezTo>
                  <a:pt x="1767" y="474"/>
                  <a:pt x="1768" y="475"/>
                  <a:pt x="1768" y="475"/>
                </a:cubicBezTo>
                <a:cubicBezTo>
                  <a:pt x="1769" y="475"/>
                  <a:pt x="1769" y="476"/>
                  <a:pt x="1771" y="475"/>
                </a:cubicBezTo>
                <a:cubicBezTo>
                  <a:pt x="1771" y="476"/>
                  <a:pt x="1771" y="476"/>
                  <a:pt x="1771" y="476"/>
                </a:cubicBezTo>
                <a:cubicBezTo>
                  <a:pt x="1773" y="477"/>
                  <a:pt x="1774" y="476"/>
                  <a:pt x="1775" y="475"/>
                </a:cubicBezTo>
                <a:cubicBezTo>
                  <a:pt x="1775" y="475"/>
                  <a:pt x="1776" y="476"/>
                  <a:pt x="1776" y="476"/>
                </a:cubicBezTo>
                <a:cubicBezTo>
                  <a:pt x="1777" y="476"/>
                  <a:pt x="1777" y="477"/>
                  <a:pt x="1778" y="477"/>
                </a:cubicBezTo>
                <a:cubicBezTo>
                  <a:pt x="1778" y="477"/>
                  <a:pt x="1779" y="478"/>
                  <a:pt x="1780" y="478"/>
                </a:cubicBezTo>
                <a:cubicBezTo>
                  <a:pt x="1780" y="478"/>
                  <a:pt x="1781" y="479"/>
                  <a:pt x="1781" y="479"/>
                </a:cubicBezTo>
                <a:cubicBezTo>
                  <a:pt x="1782" y="479"/>
                  <a:pt x="1781" y="479"/>
                  <a:pt x="1782" y="479"/>
                </a:cubicBezTo>
                <a:cubicBezTo>
                  <a:pt x="1782" y="479"/>
                  <a:pt x="1782" y="479"/>
                  <a:pt x="1782" y="479"/>
                </a:cubicBezTo>
                <a:cubicBezTo>
                  <a:pt x="1783" y="479"/>
                  <a:pt x="1783" y="479"/>
                  <a:pt x="1783" y="479"/>
                </a:cubicBezTo>
                <a:cubicBezTo>
                  <a:pt x="1784" y="480"/>
                  <a:pt x="1784" y="479"/>
                  <a:pt x="1785" y="479"/>
                </a:cubicBezTo>
                <a:cubicBezTo>
                  <a:pt x="1785" y="478"/>
                  <a:pt x="1785" y="478"/>
                  <a:pt x="1785" y="477"/>
                </a:cubicBezTo>
                <a:cubicBezTo>
                  <a:pt x="1785" y="477"/>
                  <a:pt x="1786" y="477"/>
                  <a:pt x="1786" y="478"/>
                </a:cubicBezTo>
                <a:cubicBezTo>
                  <a:pt x="1787" y="478"/>
                  <a:pt x="1788" y="478"/>
                  <a:pt x="1788" y="478"/>
                </a:cubicBezTo>
                <a:cubicBezTo>
                  <a:pt x="1791" y="479"/>
                  <a:pt x="1794" y="480"/>
                  <a:pt x="1796" y="481"/>
                </a:cubicBezTo>
                <a:cubicBezTo>
                  <a:pt x="1797" y="482"/>
                  <a:pt x="1798" y="482"/>
                  <a:pt x="1799" y="482"/>
                </a:cubicBezTo>
                <a:cubicBezTo>
                  <a:pt x="1800" y="483"/>
                  <a:pt x="1801" y="483"/>
                  <a:pt x="1801" y="484"/>
                </a:cubicBezTo>
                <a:cubicBezTo>
                  <a:pt x="1802" y="485"/>
                  <a:pt x="1803" y="485"/>
                  <a:pt x="1804" y="485"/>
                </a:cubicBezTo>
                <a:cubicBezTo>
                  <a:pt x="1805" y="485"/>
                  <a:pt x="1806" y="486"/>
                  <a:pt x="1807" y="485"/>
                </a:cubicBezTo>
                <a:cubicBezTo>
                  <a:pt x="1808" y="485"/>
                  <a:pt x="1808" y="485"/>
                  <a:pt x="1809" y="485"/>
                </a:cubicBezTo>
                <a:cubicBezTo>
                  <a:pt x="1809" y="484"/>
                  <a:pt x="1809" y="484"/>
                  <a:pt x="1809" y="484"/>
                </a:cubicBezTo>
                <a:cubicBezTo>
                  <a:pt x="1810" y="484"/>
                  <a:pt x="1810" y="484"/>
                  <a:pt x="1811" y="484"/>
                </a:cubicBezTo>
                <a:cubicBezTo>
                  <a:pt x="1814" y="485"/>
                  <a:pt x="1816" y="489"/>
                  <a:pt x="1819" y="489"/>
                </a:cubicBezTo>
                <a:cubicBezTo>
                  <a:pt x="1819" y="489"/>
                  <a:pt x="1819" y="489"/>
                  <a:pt x="1820" y="488"/>
                </a:cubicBezTo>
                <a:cubicBezTo>
                  <a:pt x="1822" y="487"/>
                  <a:pt x="1823" y="488"/>
                  <a:pt x="1824" y="488"/>
                </a:cubicBezTo>
                <a:cubicBezTo>
                  <a:pt x="1825" y="488"/>
                  <a:pt x="1826" y="488"/>
                  <a:pt x="1827" y="488"/>
                </a:cubicBezTo>
                <a:cubicBezTo>
                  <a:pt x="1828" y="488"/>
                  <a:pt x="1828" y="488"/>
                  <a:pt x="1828" y="488"/>
                </a:cubicBezTo>
                <a:cubicBezTo>
                  <a:pt x="1829" y="488"/>
                  <a:pt x="1829" y="488"/>
                  <a:pt x="1830" y="488"/>
                </a:cubicBezTo>
                <a:cubicBezTo>
                  <a:pt x="1831" y="488"/>
                  <a:pt x="1832" y="488"/>
                  <a:pt x="1833" y="489"/>
                </a:cubicBezTo>
                <a:cubicBezTo>
                  <a:pt x="1834" y="489"/>
                  <a:pt x="1834" y="489"/>
                  <a:pt x="1835" y="490"/>
                </a:cubicBezTo>
                <a:cubicBezTo>
                  <a:pt x="1836" y="490"/>
                  <a:pt x="1837" y="491"/>
                  <a:pt x="1838" y="491"/>
                </a:cubicBezTo>
                <a:cubicBezTo>
                  <a:pt x="1839" y="491"/>
                  <a:pt x="1840" y="491"/>
                  <a:pt x="1842" y="492"/>
                </a:cubicBezTo>
                <a:cubicBezTo>
                  <a:pt x="1843" y="492"/>
                  <a:pt x="1844" y="492"/>
                  <a:pt x="1845" y="493"/>
                </a:cubicBezTo>
                <a:cubicBezTo>
                  <a:pt x="1846" y="493"/>
                  <a:pt x="1847" y="493"/>
                  <a:pt x="1848" y="493"/>
                </a:cubicBezTo>
                <a:cubicBezTo>
                  <a:pt x="1849" y="493"/>
                  <a:pt x="1849" y="491"/>
                  <a:pt x="1851" y="491"/>
                </a:cubicBezTo>
                <a:cubicBezTo>
                  <a:pt x="1852" y="491"/>
                  <a:pt x="1853" y="493"/>
                  <a:pt x="1854" y="493"/>
                </a:cubicBezTo>
                <a:cubicBezTo>
                  <a:pt x="1855" y="494"/>
                  <a:pt x="1857" y="494"/>
                  <a:pt x="1858" y="494"/>
                </a:cubicBezTo>
                <a:cubicBezTo>
                  <a:pt x="1860" y="495"/>
                  <a:pt x="1862" y="495"/>
                  <a:pt x="1864" y="495"/>
                </a:cubicBezTo>
                <a:cubicBezTo>
                  <a:pt x="1868" y="496"/>
                  <a:pt x="1872" y="497"/>
                  <a:pt x="1876" y="498"/>
                </a:cubicBezTo>
                <a:cubicBezTo>
                  <a:pt x="1877" y="498"/>
                  <a:pt x="1878" y="499"/>
                  <a:pt x="1879" y="499"/>
                </a:cubicBezTo>
                <a:cubicBezTo>
                  <a:pt x="1880" y="500"/>
                  <a:pt x="1881" y="500"/>
                  <a:pt x="1882" y="501"/>
                </a:cubicBezTo>
                <a:cubicBezTo>
                  <a:pt x="1882" y="501"/>
                  <a:pt x="1883" y="501"/>
                  <a:pt x="1883" y="501"/>
                </a:cubicBezTo>
                <a:cubicBezTo>
                  <a:pt x="1883" y="501"/>
                  <a:pt x="1883" y="501"/>
                  <a:pt x="1883" y="501"/>
                </a:cubicBezTo>
                <a:cubicBezTo>
                  <a:pt x="1884" y="500"/>
                  <a:pt x="1885" y="501"/>
                  <a:pt x="1886" y="501"/>
                </a:cubicBezTo>
                <a:cubicBezTo>
                  <a:pt x="1887" y="501"/>
                  <a:pt x="1888" y="502"/>
                  <a:pt x="1889" y="502"/>
                </a:cubicBezTo>
                <a:cubicBezTo>
                  <a:pt x="1890" y="502"/>
                  <a:pt x="1892" y="503"/>
                  <a:pt x="1894" y="503"/>
                </a:cubicBezTo>
                <a:cubicBezTo>
                  <a:pt x="1894" y="503"/>
                  <a:pt x="1896" y="503"/>
                  <a:pt x="1897" y="503"/>
                </a:cubicBezTo>
                <a:cubicBezTo>
                  <a:pt x="1897" y="503"/>
                  <a:pt x="1897" y="505"/>
                  <a:pt x="1897" y="505"/>
                </a:cubicBezTo>
                <a:cubicBezTo>
                  <a:pt x="1898" y="505"/>
                  <a:pt x="1898" y="505"/>
                  <a:pt x="1898" y="505"/>
                </a:cubicBezTo>
                <a:cubicBezTo>
                  <a:pt x="1899" y="504"/>
                  <a:pt x="1898" y="504"/>
                  <a:pt x="1898" y="504"/>
                </a:cubicBezTo>
                <a:cubicBezTo>
                  <a:pt x="1897" y="502"/>
                  <a:pt x="1901" y="501"/>
                  <a:pt x="1902" y="502"/>
                </a:cubicBezTo>
                <a:cubicBezTo>
                  <a:pt x="1902" y="503"/>
                  <a:pt x="1902" y="504"/>
                  <a:pt x="1902" y="504"/>
                </a:cubicBezTo>
                <a:cubicBezTo>
                  <a:pt x="1903" y="505"/>
                  <a:pt x="1903" y="505"/>
                  <a:pt x="1904" y="505"/>
                </a:cubicBezTo>
                <a:cubicBezTo>
                  <a:pt x="1905" y="505"/>
                  <a:pt x="1906" y="505"/>
                  <a:pt x="1906" y="506"/>
                </a:cubicBezTo>
                <a:cubicBezTo>
                  <a:pt x="1907" y="506"/>
                  <a:pt x="1908" y="507"/>
                  <a:pt x="1909" y="507"/>
                </a:cubicBezTo>
                <a:cubicBezTo>
                  <a:pt x="1909" y="507"/>
                  <a:pt x="1909" y="507"/>
                  <a:pt x="1910" y="507"/>
                </a:cubicBezTo>
                <a:cubicBezTo>
                  <a:pt x="1911" y="506"/>
                  <a:pt x="1911" y="507"/>
                  <a:pt x="1912" y="507"/>
                </a:cubicBezTo>
                <a:cubicBezTo>
                  <a:pt x="1912" y="508"/>
                  <a:pt x="1913" y="507"/>
                  <a:pt x="1914" y="507"/>
                </a:cubicBezTo>
                <a:cubicBezTo>
                  <a:pt x="1915" y="507"/>
                  <a:pt x="1915" y="507"/>
                  <a:pt x="1916" y="507"/>
                </a:cubicBezTo>
                <a:cubicBezTo>
                  <a:pt x="1916" y="507"/>
                  <a:pt x="1916" y="507"/>
                  <a:pt x="1917" y="507"/>
                </a:cubicBezTo>
                <a:cubicBezTo>
                  <a:pt x="1917" y="507"/>
                  <a:pt x="1917" y="507"/>
                  <a:pt x="1917" y="508"/>
                </a:cubicBezTo>
                <a:cubicBezTo>
                  <a:pt x="1918" y="509"/>
                  <a:pt x="1920" y="509"/>
                  <a:pt x="1921" y="509"/>
                </a:cubicBezTo>
                <a:cubicBezTo>
                  <a:pt x="1937" y="513"/>
                  <a:pt x="1944" y="514"/>
                  <a:pt x="1944" y="514"/>
                </a:cubicBezTo>
                <a:cubicBezTo>
                  <a:pt x="1945" y="514"/>
                  <a:pt x="1953" y="516"/>
                  <a:pt x="1954" y="517"/>
                </a:cubicBezTo>
                <a:cubicBezTo>
                  <a:pt x="1955" y="517"/>
                  <a:pt x="1956" y="518"/>
                  <a:pt x="1957" y="518"/>
                </a:cubicBezTo>
                <a:cubicBezTo>
                  <a:pt x="1958" y="519"/>
                  <a:pt x="1958" y="519"/>
                  <a:pt x="1959" y="520"/>
                </a:cubicBezTo>
                <a:cubicBezTo>
                  <a:pt x="1960" y="520"/>
                  <a:pt x="1960" y="520"/>
                  <a:pt x="1961" y="520"/>
                </a:cubicBezTo>
                <a:cubicBezTo>
                  <a:pt x="1961" y="520"/>
                  <a:pt x="1962" y="520"/>
                  <a:pt x="1962" y="520"/>
                </a:cubicBezTo>
                <a:cubicBezTo>
                  <a:pt x="1962" y="521"/>
                  <a:pt x="1962" y="521"/>
                  <a:pt x="1962" y="521"/>
                </a:cubicBezTo>
                <a:cubicBezTo>
                  <a:pt x="1962" y="522"/>
                  <a:pt x="1963" y="522"/>
                  <a:pt x="1964" y="523"/>
                </a:cubicBezTo>
                <a:cubicBezTo>
                  <a:pt x="1965" y="523"/>
                  <a:pt x="1966" y="523"/>
                  <a:pt x="1967" y="522"/>
                </a:cubicBezTo>
                <a:cubicBezTo>
                  <a:pt x="1969" y="522"/>
                  <a:pt x="1970" y="522"/>
                  <a:pt x="1972" y="523"/>
                </a:cubicBezTo>
                <a:cubicBezTo>
                  <a:pt x="1972" y="524"/>
                  <a:pt x="1972" y="524"/>
                  <a:pt x="1972" y="524"/>
                </a:cubicBezTo>
                <a:cubicBezTo>
                  <a:pt x="1973" y="525"/>
                  <a:pt x="1974" y="524"/>
                  <a:pt x="1974" y="524"/>
                </a:cubicBezTo>
                <a:cubicBezTo>
                  <a:pt x="1975" y="523"/>
                  <a:pt x="1976" y="524"/>
                  <a:pt x="1977" y="524"/>
                </a:cubicBezTo>
                <a:cubicBezTo>
                  <a:pt x="1978" y="524"/>
                  <a:pt x="1980" y="524"/>
                  <a:pt x="1981" y="525"/>
                </a:cubicBezTo>
                <a:cubicBezTo>
                  <a:pt x="1986" y="526"/>
                  <a:pt x="1991" y="527"/>
                  <a:pt x="1992" y="527"/>
                </a:cubicBezTo>
                <a:cubicBezTo>
                  <a:pt x="1993" y="527"/>
                  <a:pt x="1995" y="528"/>
                  <a:pt x="1996" y="528"/>
                </a:cubicBezTo>
                <a:cubicBezTo>
                  <a:pt x="1997" y="528"/>
                  <a:pt x="1998" y="528"/>
                  <a:pt x="1999" y="528"/>
                </a:cubicBezTo>
                <a:cubicBezTo>
                  <a:pt x="1999" y="527"/>
                  <a:pt x="2000" y="527"/>
                  <a:pt x="2000" y="527"/>
                </a:cubicBezTo>
                <a:cubicBezTo>
                  <a:pt x="2002" y="526"/>
                  <a:pt x="2003" y="527"/>
                  <a:pt x="2004" y="528"/>
                </a:cubicBezTo>
                <a:cubicBezTo>
                  <a:pt x="2005" y="529"/>
                  <a:pt x="2006" y="529"/>
                  <a:pt x="2007" y="530"/>
                </a:cubicBezTo>
                <a:cubicBezTo>
                  <a:pt x="2008" y="530"/>
                  <a:pt x="2009" y="530"/>
                  <a:pt x="2009" y="530"/>
                </a:cubicBezTo>
                <a:cubicBezTo>
                  <a:pt x="2011" y="531"/>
                  <a:pt x="2014" y="531"/>
                  <a:pt x="2016" y="531"/>
                </a:cubicBezTo>
                <a:cubicBezTo>
                  <a:pt x="2021" y="533"/>
                  <a:pt x="2027" y="534"/>
                  <a:pt x="2034" y="536"/>
                </a:cubicBezTo>
                <a:cubicBezTo>
                  <a:pt x="2048" y="539"/>
                  <a:pt x="2063" y="542"/>
                  <a:pt x="2067" y="543"/>
                </a:cubicBezTo>
                <a:cubicBezTo>
                  <a:pt x="2069" y="544"/>
                  <a:pt x="2070" y="544"/>
                  <a:pt x="2072" y="544"/>
                </a:cubicBezTo>
                <a:cubicBezTo>
                  <a:pt x="2073" y="544"/>
                  <a:pt x="2074" y="545"/>
                  <a:pt x="2075" y="544"/>
                </a:cubicBezTo>
                <a:cubicBezTo>
                  <a:pt x="2076" y="544"/>
                  <a:pt x="2076" y="544"/>
                  <a:pt x="2077" y="544"/>
                </a:cubicBezTo>
                <a:cubicBezTo>
                  <a:pt x="2077" y="544"/>
                  <a:pt x="2077" y="544"/>
                  <a:pt x="2077" y="545"/>
                </a:cubicBezTo>
                <a:cubicBezTo>
                  <a:pt x="2077" y="545"/>
                  <a:pt x="2077" y="545"/>
                  <a:pt x="2078" y="545"/>
                </a:cubicBezTo>
                <a:cubicBezTo>
                  <a:pt x="2079" y="545"/>
                  <a:pt x="2080" y="545"/>
                  <a:pt x="2081" y="546"/>
                </a:cubicBezTo>
                <a:cubicBezTo>
                  <a:pt x="2082" y="546"/>
                  <a:pt x="2084" y="546"/>
                  <a:pt x="2085" y="547"/>
                </a:cubicBezTo>
                <a:cubicBezTo>
                  <a:pt x="2086" y="547"/>
                  <a:pt x="2087" y="548"/>
                  <a:pt x="2089" y="548"/>
                </a:cubicBezTo>
                <a:cubicBezTo>
                  <a:pt x="2089" y="548"/>
                  <a:pt x="2089" y="548"/>
                  <a:pt x="2089" y="548"/>
                </a:cubicBezTo>
                <a:cubicBezTo>
                  <a:pt x="2091" y="546"/>
                  <a:pt x="2092" y="547"/>
                  <a:pt x="2094" y="548"/>
                </a:cubicBezTo>
                <a:cubicBezTo>
                  <a:pt x="2094" y="548"/>
                  <a:pt x="2095" y="548"/>
                  <a:pt x="2095" y="548"/>
                </a:cubicBezTo>
                <a:cubicBezTo>
                  <a:pt x="2095" y="549"/>
                  <a:pt x="2095" y="549"/>
                  <a:pt x="2094" y="549"/>
                </a:cubicBezTo>
                <a:cubicBezTo>
                  <a:pt x="2096" y="551"/>
                  <a:pt x="2098" y="550"/>
                  <a:pt x="2099" y="551"/>
                </a:cubicBezTo>
                <a:cubicBezTo>
                  <a:pt x="2101" y="551"/>
                  <a:pt x="2103" y="551"/>
                  <a:pt x="2105" y="552"/>
                </a:cubicBezTo>
                <a:cubicBezTo>
                  <a:pt x="2107" y="553"/>
                  <a:pt x="2109" y="554"/>
                  <a:pt x="2111" y="554"/>
                </a:cubicBezTo>
                <a:cubicBezTo>
                  <a:pt x="2112" y="554"/>
                  <a:pt x="2117" y="555"/>
                  <a:pt x="2122" y="556"/>
                </a:cubicBezTo>
                <a:cubicBezTo>
                  <a:pt x="2123" y="556"/>
                  <a:pt x="2125" y="557"/>
                  <a:pt x="2127" y="557"/>
                </a:cubicBezTo>
                <a:cubicBezTo>
                  <a:pt x="2128" y="557"/>
                  <a:pt x="2130" y="558"/>
                  <a:pt x="2131" y="557"/>
                </a:cubicBezTo>
                <a:cubicBezTo>
                  <a:pt x="2131" y="557"/>
                  <a:pt x="2132" y="557"/>
                  <a:pt x="2132" y="557"/>
                </a:cubicBezTo>
                <a:cubicBezTo>
                  <a:pt x="2133" y="557"/>
                  <a:pt x="2134" y="558"/>
                  <a:pt x="2135" y="558"/>
                </a:cubicBezTo>
                <a:cubicBezTo>
                  <a:pt x="2137" y="560"/>
                  <a:pt x="2140" y="560"/>
                  <a:pt x="2142" y="561"/>
                </a:cubicBezTo>
                <a:cubicBezTo>
                  <a:pt x="2145" y="561"/>
                  <a:pt x="2147" y="562"/>
                  <a:pt x="2150" y="563"/>
                </a:cubicBezTo>
                <a:cubicBezTo>
                  <a:pt x="2152" y="563"/>
                  <a:pt x="2155" y="564"/>
                  <a:pt x="2158" y="565"/>
                </a:cubicBezTo>
                <a:cubicBezTo>
                  <a:pt x="2159" y="565"/>
                  <a:pt x="2161" y="565"/>
                  <a:pt x="2162" y="565"/>
                </a:cubicBezTo>
                <a:cubicBezTo>
                  <a:pt x="2163" y="566"/>
                  <a:pt x="2164" y="566"/>
                  <a:pt x="2166" y="566"/>
                </a:cubicBezTo>
                <a:cubicBezTo>
                  <a:pt x="2167" y="566"/>
                  <a:pt x="2169" y="565"/>
                  <a:pt x="2170" y="566"/>
                </a:cubicBezTo>
                <a:cubicBezTo>
                  <a:pt x="2172" y="566"/>
                  <a:pt x="2174" y="567"/>
                  <a:pt x="2176" y="568"/>
                </a:cubicBezTo>
                <a:cubicBezTo>
                  <a:pt x="2178" y="569"/>
                  <a:pt x="2180" y="570"/>
                  <a:pt x="2182" y="570"/>
                </a:cubicBezTo>
                <a:cubicBezTo>
                  <a:pt x="2187" y="571"/>
                  <a:pt x="2192" y="572"/>
                  <a:pt x="2197" y="573"/>
                </a:cubicBezTo>
                <a:cubicBezTo>
                  <a:pt x="2200" y="574"/>
                  <a:pt x="2203" y="575"/>
                  <a:pt x="2207" y="576"/>
                </a:cubicBezTo>
                <a:cubicBezTo>
                  <a:pt x="2210" y="576"/>
                  <a:pt x="2213" y="577"/>
                  <a:pt x="2216" y="577"/>
                </a:cubicBezTo>
                <a:cubicBezTo>
                  <a:pt x="2217" y="578"/>
                  <a:pt x="2217" y="578"/>
                  <a:pt x="2218" y="578"/>
                </a:cubicBezTo>
                <a:cubicBezTo>
                  <a:pt x="2219" y="578"/>
                  <a:pt x="2219" y="578"/>
                  <a:pt x="2219" y="578"/>
                </a:cubicBezTo>
                <a:cubicBezTo>
                  <a:pt x="2220" y="578"/>
                  <a:pt x="2221" y="578"/>
                  <a:pt x="2221" y="578"/>
                </a:cubicBezTo>
                <a:cubicBezTo>
                  <a:pt x="2221" y="578"/>
                  <a:pt x="2222" y="578"/>
                  <a:pt x="2222" y="578"/>
                </a:cubicBezTo>
                <a:cubicBezTo>
                  <a:pt x="2222" y="580"/>
                  <a:pt x="2225" y="580"/>
                  <a:pt x="2226" y="581"/>
                </a:cubicBezTo>
                <a:cubicBezTo>
                  <a:pt x="2227" y="581"/>
                  <a:pt x="2229" y="582"/>
                  <a:pt x="2230" y="582"/>
                </a:cubicBezTo>
                <a:cubicBezTo>
                  <a:pt x="2230" y="582"/>
                  <a:pt x="2230" y="582"/>
                  <a:pt x="2230" y="581"/>
                </a:cubicBezTo>
                <a:cubicBezTo>
                  <a:pt x="2230" y="581"/>
                  <a:pt x="2231" y="581"/>
                  <a:pt x="2231" y="581"/>
                </a:cubicBezTo>
                <a:cubicBezTo>
                  <a:pt x="2232" y="581"/>
                  <a:pt x="2233" y="582"/>
                  <a:pt x="2235" y="582"/>
                </a:cubicBezTo>
                <a:cubicBezTo>
                  <a:pt x="2237" y="583"/>
                  <a:pt x="2241" y="584"/>
                  <a:pt x="2243" y="585"/>
                </a:cubicBezTo>
                <a:cubicBezTo>
                  <a:pt x="2248" y="586"/>
                  <a:pt x="2258" y="588"/>
                  <a:pt x="2264" y="590"/>
                </a:cubicBezTo>
                <a:cubicBezTo>
                  <a:pt x="2265" y="590"/>
                  <a:pt x="2268" y="591"/>
                  <a:pt x="2271" y="591"/>
                </a:cubicBezTo>
                <a:cubicBezTo>
                  <a:pt x="2273" y="591"/>
                  <a:pt x="2275" y="591"/>
                  <a:pt x="2276" y="593"/>
                </a:cubicBezTo>
                <a:cubicBezTo>
                  <a:pt x="2277" y="593"/>
                  <a:pt x="2277" y="594"/>
                  <a:pt x="2278" y="594"/>
                </a:cubicBezTo>
                <a:cubicBezTo>
                  <a:pt x="2279" y="594"/>
                  <a:pt x="2280" y="594"/>
                  <a:pt x="2281" y="594"/>
                </a:cubicBezTo>
                <a:cubicBezTo>
                  <a:pt x="2283" y="594"/>
                  <a:pt x="2286" y="595"/>
                  <a:pt x="2287" y="596"/>
                </a:cubicBezTo>
                <a:cubicBezTo>
                  <a:pt x="2288" y="596"/>
                  <a:pt x="2289" y="597"/>
                  <a:pt x="2290" y="597"/>
                </a:cubicBezTo>
                <a:cubicBezTo>
                  <a:pt x="2290" y="597"/>
                  <a:pt x="2290" y="597"/>
                  <a:pt x="2290" y="597"/>
                </a:cubicBezTo>
                <a:cubicBezTo>
                  <a:pt x="2291" y="597"/>
                  <a:pt x="2291" y="597"/>
                  <a:pt x="2291" y="597"/>
                </a:cubicBezTo>
                <a:cubicBezTo>
                  <a:pt x="2292" y="596"/>
                  <a:pt x="2293" y="597"/>
                  <a:pt x="2294" y="597"/>
                </a:cubicBezTo>
                <a:cubicBezTo>
                  <a:pt x="2295" y="598"/>
                  <a:pt x="2297" y="598"/>
                  <a:pt x="2298" y="598"/>
                </a:cubicBezTo>
                <a:cubicBezTo>
                  <a:pt x="2301" y="599"/>
                  <a:pt x="2303" y="600"/>
                  <a:pt x="2306" y="600"/>
                </a:cubicBezTo>
                <a:cubicBezTo>
                  <a:pt x="2310" y="601"/>
                  <a:pt x="2315" y="602"/>
                  <a:pt x="2319" y="604"/>
                </a:cubicBezTo>
                <a:cubicBezTo>
                  <a:pt x="2320" y="603"/>
                  <a:pt x="2321" y="603"/>
                  <a:pt x="2322" y="603"/>
                </a:cubicBezTo>
                <a:cubicBezTo>
                  <a:pt x="2322" y="603"/>
                  <a:pt x="2323" y="602"/>
                  <a:pt x="2323" y="602"/>
                </a:cubicBezTo>
                <a:cubicBezTo>
                  <a:pt x="2324" y="602"/>
                  <a:pt x="2324" y="603"/>
                  <a:pt x="2324" y="603"/>
                </a:cubicBezTo>
                <a:cubicBezTo>
                  <a:pt x="2325" y="603"/>
                  <a:pt x="2325" y="604"/>
                  <a:pt x="2326" y="604"/>
                </a:cubicBezTo>
                <a:cubicBezTo>
                  <a:pt x="2327" y="605"/>
                  <a:pt x="2328" y="605"/>
                  <a:pt x="2329" y="605"/>
                </a:cubicBezTo>
                <a:cubicBezTo>
                  <a:pt x="2330" y="606"/>
                  <a:pt x="2332" y="607"/>
                  <a:pt x="2333" y="606"/>
                </a:cubicBezTo>
                <a:cubicBezTo>
                  <a:pt x="2333" y="606"/>
                  <a:pt x="2333" y="606"/>
                  <a:pt x="2334" y="605"/>
                </a:cubicBezTo>
                <a:cubicBezTo>
                  <a:pt x="2334" y="605"/>
                  <a:pt x="2334" y="605"/>
                  <a:pt x="2334" y="605"/>
                </a:cubicBezTo>
                <a:cubicBezTo>
                  <a:pt x="2335" y="605"/>
                  <a:pt x="2335" y="606"/>
                  <a:pt x="2336" y="606"/>
                </a:cubicBezTo>
                <a:cubicBezTo>
                  <a:pt x="2336" y="608"/>
                  <a:pt x="2338" y="608"/>
                  <a:pt x="2339" y="608"/>
                </a:cubicBezTo>
                <a:cubicBezTo>
                  <a:pt x="2340" y="609"/>
                  <a:pt x="2342" y="610"/>
                  <a:pt x="2343" y="610"/>
                </a:cubicBezTo>
                <a:cubicBezTo>
                  <a:pt x="2343" y="611"/>
                  <a:pt x="2343" y="611"/>
                  <a:pt x="2343" y="611"/>
                </a:cubicBezTo>
                <a:cubicBezTo>
                  <a:pt x="2344" y="611"/>
                  <a:pt x="2344" y="611"/>
                  <a:pt x="2345" y="611"/>
                </a:cubicBezTo>
                <a:cubicBezTo>
                  <a:pt x="2345" y="610"/>
                  <a:pt x="2346" y="610"/>
                  <a:pt x="2346" y="610"/>
                </a:cubicBezTo>
                <a:cubicBezTo>
                  <a:pt x="2346" y="610"/>
                  <a:pt x="2347" y="610"/>
                  <a:pt x="2347" y="610"/>
                </a:cubicBezTo>
                <a:cubicBezTo>
                  <a:pt x="2347" y="610"/>
                  <a:pt x="2348" y="610"/>
                  <a:pt x="2348" y="610"/>
                </a:cubicBezTo>
                <a:cubicBezTo>
                  <a:pt x="2348" y="611"/>
                  <a:pt x="2348" y="611"/>
                  <a:pt x="2348" y="612"/>
                </a:cubicBezTo>
                <a:cubicBezTo>
                  <a:pt x="2348" y="612"/>
                  <a:pt x="2348" y="612"/>
                  <a:pt x="2349" y="612"/>
                </a:cubicBezTo>
                <a:cubicBezTo>
                  <a:pt x="2350" y="613"/>
                  <a:pt x="2351" y="612"/>
                  <a:pt x="2352" y="612"/>
                </a:cubicBezTo>
                <a:cubicBezTo>
                  <a:pt x="2352" y="612"/>
                  <a:pt x="2353" y="612"/>
                  <a:pt x="2354" y="612"/>
                </a:cubicBezTo>
                <a:cubicBezTo>
                  <a:pt x="2355" y="612"/>
                  <a:pt x="2356" y="613"/>
                  <a:pt x="2358" y="613"/>
                </a:cubicBezTo>
                <a:cubicBezTo>
                  <a:pt x="2361" y="614"/>
                  <a:pt x="2366" y="615"/>
                  <a:pt x="2367" y="616"/>
                </a:cubicBezTo>
                <a:cubicBezTo>
                  <a:pt x="2368" y="616"/>
                  <a:pt x="2369" y="616"/>
                  <a:pt x="2370" y="617"/>
                </a:cubicBezTo>
                <a:cubicBezTo>
                  <a:pt x="2370" y="617"/>
                  <a:pt x="2370" y="617"/>
                  <a:pt x="2370" y="618"/>
                </a:cubicBezTo>
                <a:cubicBezTo>
                  <a:pt x="2370" y="618"/>
                  <a:pt x="2371" y="619"/>
                  <a:pt x="2372" y="619"/>
                </a:cubicBezTo>
                <a:cubicBezTo>
                  <a:pt x="2372" y="618"/>
                  <a:pt x="2372" y="617"/>
                  <a:pt x="2373" y="617"/>
                </a:cubicBezTo>
                <a:cubicBezTo>
                  <a:pt x="2374" y="617"/>
                  <a:pt x="2376" y="618"/>
                  <a:pt x="2377" y="618"/>
                </a:cubicBezTo>
                <a:cubicBezTo>
                  <a:pt x="2380" y="620"/>
                  <a:pt x="2383" y="621"/>
                  <a:pt x="2387" y="621"/>
                </a:cubicBezTo>
                <a:cubicBezTo>
                  <a:pt x="2388" y="621"/>
                  <a:pt x="2389" y="622"/>
                  <a:pt x="2390" y="622"/>
                </a:cubicBezTo>
                <a:cubicBezTo>
                  <a:pt x="2391" y="622"/>
                  <a:pt x="2392" y="622"/>
                  <a:pt x="2392" y="622"/>
                </a:cubicBezTo>
                <a:cubicBezTo>
                  <a:pt x="2393" y="623"/>
                  <a:pt x="2393" y="623"/>
                  <a:pt x="2393" y="623"/>
                </a:cubicBezTo>
                <a:cubicBezTo>
                  <a:pt x="2393" y="623"/>
                  <a:pt x="2394" y="624"/>
                  <a:pt x="2394" y="624"/>
                </a:cubicBezTo>
                <a:cubicBezTo>
                  <a:pt x="2394" y="624"/>
                  <a:pt x="2395" y="624"/>
                  <a:pt x="2395" y="624"/>
                </a:cubicBezTo>
                <a:cubicBezTo>
                  <a:pt x="2396" y="624"/>
                  <a:pt x="2396" y="623"/>
                  <a:pt x="2396" y="623"/>
                </a:cubicBezTo>
                <a:cubicBezTo>
                  <a:pt x="2397" y="623"/>
                  <a:pt x="2398" y="622"/>
                  <a:pt x="2398" y="622"/>
                </a:cubicBezTo>
                <a:cubicBezTo>
                  <a:pt x="2400" y="622"/>
                  <a:pt x="2402" y="623"/>
                  <a:pt x="2404" y="623"/>
                </a:cubicBezTo>
                <a:cubicBezTo>
                  <a:pt x="2405" y="623"/>
                  <a:pt x="2406" y="624"/>
                  <a:pt x="2407" y="624"/>
                </a:cubicBezTo>
                <a:cubicBezTo>
                  <a:pt x="2408" y="625"/>
                  <a:pt x="2409" y="625"/>
                  <a:pt x="2410" y="626"/>
                </a:cubicBezTo>
                <a:cubicBezTo>
                  <a:pt x="2411" y="626"/>
                  <a:pt x="2411" y="627"/>
                  <a:pt x="2412" y="627"/>
                </a:cubicBezTo>
                <a:cubicBezTo>
                  <a:pt x="2412" y="627"/>
                  <a:pt x="2412" y="627"/>
                  <a:pt x="2412" y="627"/>
                </a:cubicBezTo>
                <a:cubicBezTo>
                  <a:pt x="2412" y="628"/>
                  <a:pt x="2413" y="628"/>
                  <a:pt x="2413" y="628"/>
                </a:cubicBezTo>
                <a:cubicBezTo>
                  <a:pt x="2413" y="628"/>
                  <a:pt x="2413" y="628"/>
                  <a:pt x="2413" y="627"/>
                </a:cubicBezTo>
                <a:cubicBezTo>
                  <a:pt x="2413" y="627"/>
                  <a:pt x="2414" y="627"/>
                  <a:pt x="2414" y="627"/>
                </a:cubicBezTo>
                <a:cubicBezTo>
                  <a:pt x="2415" y="627"/>
                  <a:pt x="2417" y="629"/>
                  <a:pt x="2418" y="629"/>
                </a:cubicBezTo>
                <a:cubicBezTo>
                  <a:pt x="2418" y="629"/>
                  <a:pt x="2418" y="629"/>
                  <a:pt x="2419" y="629"/>
                </a:cubicBezTo>
                <a:cubicBezTo>
                  <a:pt x="2420" y="630"/>
                  <a:pt x="2421" y="629"/>
                  <a:pt x="2422" y="629"/>
                </a:cubicBezTo>
                <a:cubicBezTo>
                  <a:pt x="2423" y="629"/>
                  <a:pt x="2424" y="629"/>
                  <a:pt x="2425" y="629"/>
                </a:cubicBezTo>
                <a:cubicBezTo>
                  <a:pt x="2425" y="628"/>
                  <a:pt x="2426" y="628"/>
                  <a:pt x="2427" y="628"/>
                </a:cubicBezTo>
                <a:cubicBezTo>
                  <a:pt x="2428" y="627"/>
                  <a:pt x="2428" y="628"/>
                  <a:pt x="2429" y="629"/>
                </a:cubicBezTo>
                <a:cubicBezTo>
                  <a:pt x="2430" y="630"/>
                  <a:pt x="2431" y="630"/>
                  <a:pt x="2431" y="631"/>
                </a:cubicBezTo>
                <a:cubicBezTo>
                  <a:pt x="2433" y="632"/>
                  <a:pt x="2435" y="632"/>
                  <a:pt x="2437" y="633"/>
                </a:cubicBezTo>
                <a:cubicBezTo>
                  <a:pt x="2439" y="633"/>
                  <a:pt x="2440" y="634"/>
                  <a:pt x="2441" y="635"/>
                </a:cubicBezTo>
                <a:cubicBezTo>
                  <a:pt x="2442" y="635"/>
                  <a:pt x="2444" y="635"/>
                  <a:pt x="2444" y="636"/>
                </a:cubicBezTo>
                <a:cubicBezTo>
                  <a:pt x="2445" y="636"/>
                  <a:pt x="2445" y="637"/>
                  <a:pt x="2445" y="637"/>
                </a:cubicBezTo>
                <a:cubicBezTo>
                  <a:pt x="2445" y="637"/>
                  <a:pt x="2446" y="637"/>
                  <a:pt x="2446" y="636"/>
                </a:cubicBezTo>
                <a:cubicBezTo>
                  <a:pt x="2446" y="636"/>
                  <a:pt x="2446" y="636"/>
                  <a:pt x="2446" y="636"/>
                </a:cubicBezTo>
                <a:cubicBezTo>
                  <a:pt x="2446" y="636"/>
                  <a:pt x="2447" y="637"/>
                  <a:pt x="2446" y="637"/>
                </a:cubicBezTo>
                <a:cubicBezTo>
                  <a:pt x="2447" y="637"/>
                  <a:pt x="2447" y="637"/>
                  <a:pt x="2447" y="636"/>
                </a:cubicBezTo>
                <a:cubicBezTo>
                  <a:pt x="2448" y="636"/>
                  <a:pt x="2448" y="636"/>
                  <a:pt x="2448" y="636"/>
                </a:cubicBezTo>
                <a:cubicBezTo>
                  <a:pt x="2448" y="636"/>
                  <a:pt x="2449" y="637"/>
                  <a:pt x="2449" y="637"/>
                </a:cubicBezTo>
                <a:cubicBezTo>
                  <a:pt x="2449" y="637"/>
                  <a:pt x="2449" y="637"/>
                  <a:pt x="2450" y="638"/>
                </a:cubicBezTo>
                <a:cubicBezTo>
                  <a:pt x="2454" y="638"/>
                  <a:pt x="2458" y="638"/>
                  <a:pt x="2462" y="639"/>
                </a:cubicBezTo>
                <a:cubicBezTo>
                  <a:pt x="2464" y="639"/>
                  <a:pt x="2465" y="639"/>
                  <a:pt x="2467" y="640"/>
                </a:cubicBezTo>
                <a:cubicBezTo>
                  <a:pt x="2468" y="640"/>
                  <a:pt x="2469" y="641"/>
                  <a:pt x="2469" y="642"/>
                </a:cubicBezTo>
                <a:cubicBezTo>
                  <a:pt x="2470" y="642"/>
                  <a:pt x="2470" y="643"/>
                  <a:pt x="2470" y="643"/>
                </a:cubicBezTo>
                <a:cubicBezTo>
                  <a:pt x="2471" y="644"/>
                  <a:pt x="2472" y="644"/>
                  <a:pt x="2473" y="645"/>
                </a:cubicBezTo>
                <a:cubicBezTo>
                  <a:pt x="2474" y="645"/>
                  <a:pt x="2475" y="646"/>
                  <a:pt x="2476" y="645"/>
                </a:cubicBezTo>
                <a:cubicBezTo>
                  <a:pt x="2477" y="644"/>
                  <a:pt x="2479" y="646"/>
                  <a:pt x="2479" y="646"/>
                </a:cubicBezTo>
                <a:cubicBezTo>
                  <a:pt x="2481" y="647"/>
                  <a:pt x="2483" y="647"/>
                  <a:pt x="2484" y="648"/>
                </a:cubicBezTo>
                <a:cubicBezTo>
                  <a:pt x="2485" y="648"/>
                  <a:pt x="2486" y="648"/>
                  <a:pt x="2487" y="648"/>
                </a:cubicBezTo>
                <a:cubicBezTo>
                  <a:pt x="2488" y="648"/>
                  <a:pt x="2488" y="648"/>
                  <a:pt x="2489" y="647"/>
                </a:cubicBezTo>
                <a:cubicBezTo>
                  <a:pt x="2490" y="647"/>
                  <a:pt x="2490" y="647"/>
                  <a:pt x="2491" y="648"/>
                </a:cubicBezTo>
                <a:cubicBezTo>
                  <a:pt x="2491" y="648"/>
                  <a:pt x="2491" y="648"/>
                  <a:pt x="2491" y="648"/>
                </a:cubicBezTo>
                <a:cubicBezTo>
                  <a:pt x="2491" y="649"/>
                  <a:pt x="2492" y="650"/>
                  <a:pt x="2493" y="650"/>
                </a:cubicBezTo>
                <a:cubicBezTo>
                  <a:pt x="2493" y="650"/>
                  <a:pt x="2494" y="650"/>
                  <a:pt x="2494" y="650"/>
                </a:cubicBezTo>
                <a:cubicBezTo>
                  <a:pt x="2495" y="650"/>
                  <a:pt x="2496" y="651"/>
                  <a:pt x="2497" y="650"/>
                </a:cubicBezTo>
                <a:cubicBezTo>
                  <a:pt x="2497" y="650"/>
                  <a:pt x="2497" y="650"/>
                  <a:pt x="2497" y="650"/>
                </a:cubicBezTo>
                <a:cubicBezTo>
                  <a:pt x="2497" y="649"/>
                  <a:pt x="2497" y="649"/>
                  <a:pt x="2498" y="649"/>
                </a:cubicBezTo>
                <a:cubicBezTo>
                  <a:pt x="2499" y="649"/>
                  <a:pt x="2500" y="649"/>
                  <a:pt x="2500" y="649"/>
                </a:cubicBezTo>
                <a:cubicBezTo>
                  <a:pt x="2502" y="650"/>
                  <a:pt x="2503" y="650"/>
                  <a:pt x="2504" y="651"/>
                </a:cubicBezTo>
                <a:cubicBezTo>
                  <a:pt x="2508" y="652"/>
                  <a:pt x="2516" y="655"/>
                  <a:pt x="2522" y="656"/>
                </a:cubicBezTo>
                <a:cubicBezTo>
                  <a:pt x="2524" y="657"/>
                  <a:pt x="2526" y="657"/>
                  <a:pt x="2528" y="658"/>
                </a:cubicBezTo>
                <a:cubicBezTo>
                  <a:pt x="2530" y="658"/>
                  <a:pt x="2532" y="658"/>
                  <a:pt x="2534" y="659"/>
                </a:cubicBezTo>
                <a:cubicBezTo>
                  <a:pt x="2535" y="660"/>
                  <a:pt x="2535" y="660"/>
                  <a:pt x="2536" y="661"/>
                </a:cubicBezTo>
                <a:cubicBezTo>
                  <a:pt x="2536" y="661"/>
                  <a:pt x="2536" y="661"/>
                  <a:pt x="2536" y="661"/>
                </a:cubicBezTo>
                <a:cubicBezTo>
                  <a:pt x="2537" y="661"/>
                  <a:pt x="2537" y="661"/>
                  <a:pt x="2537" y="661"/>
                </a:cubicBezTo>
                <a:cubicBezTo>
                  <a:pt x="2538" y="660"/>
                  <a:pt x="2538" y="660"/>
                  <a:pt x="2538" y="660"/>
                </a:cubicBezTo>
                <a:cubicBezTo>
                  <a:pt x="2538" y="660"/>
                  <a:pt x="2538" y="659"/>
                  <a:pt x="2539" y="659"/>
                </a:cubicBezTo>
                <a:cubicBezTo>
                  <a:pt x="2540" y="660"/>
                  <a:pt x="2541" y="660"/>
                  <a:pt x="2541" y="661"/>
                </a:cubicBezTo>
                <a:cubicBezTo>
                  <a:pt x="2543" y="661"/>
                  <a:pt x="2545" y="662"/>
                  <a:pt x="2547" y="663"/>
                </a:cubicBezTo>
                <a:cubicBezTo>
                  <a:pt x="2548" y="663"/>
                  <a:pt x="2548" y="663"/>
                  <a:pt x="2549" y="664"/>
                </a:cubicBezTo>
                <a:cubicBezTo>
                  <a:pt x="2549" y="664"/>
                  <a:pt x="2550" y="664"/>
                  <a:pt x="2551" y="665"/>
                </a:cubicBezTo>
                <a:cubicBezTo>
                  <a:pt x="2551" y="665"/>
                  <a:pt x="2551" y="665"/>
                  <a:pt x="2551" y="665"/>
                </a:cubicBezTo>
                <a:cubicBezTo>
                  <a:pt x="2551" y="665"/>
                  <a:pt x="2551" y="664"/>
                  <a:pt x="2551" y="663"/>
                </a:cubicBezTo>
                <a:cubicBezTo>
                  <a:pt x="2551" y="663"/>
                  <a:pt x="2551" y="663"/>
                  <a:pt x="2552" y="663"/>
                </a:cubicBezTo>
                <a:cubicBezTo>
                  <a:pt x="2552" y="663"/>
                  <a:pt x="2552" y="663"/>
                  <a:pt x="2552" y="663"/>
                </a:cubicBezTo>
                <a:cubicBezTo>
                  <a:pt x="2554" y="663"/>
                  <a:pt x="2555" y="664"/>
                  <a:pt x="2556" y="664"/>
                </a:cubicBezTo>
                <a:cubicBezTo>
                  <a:pt x="2559" y="665"/>
                  <a:pt x="2563" y="666"/>
                  <a:pt x="2564" y="666"/>
                </a:cubicBezTo>
                <a:cubicBezTo>
                  <a:pt x="2566" y="667"/>
                  <a:pt x="2571" y="668"/>
                  <a:pt x="2574" y="668"/>
                </a:cubicBezTo>
                <a:cubicBezTo>
                  <a:pt x="2578" y="669"/>
                  <a:pt x="2587" y="672"/>
                  <a:pt x="2595" y="674"/>
                </a:cubicBezTo>
                <a:cubicBezTo>
                  <a:pt x="2598" y="674"/>
                  <a:pt x="2600" y="675"/>
                  <a:pt x="2603" y="675"/>
                </a:cubicBezTo>
                <a:cubicBezTo>
                  <a:pt x="2604" y="676"/>
                  <a:pt x="2605" y="676"/>
                  <a:pt x="2607" y="676"/>
                </a:cubicBezTo>
                <a:cubicBezTo>
                  <a:pt x="2607" y="677"/>
                  <a:pt x="2609" y="677"/>
                  <a:pt x="2609" y="678"/>
                </a:cubicBezTo>
                <a:cubicBezTo>
                  <a:pt x="2609" y="678"/>
                  <a:pt x="2609" y="678"/>
                  <a:pt x="2609" y="679"/>
                </a:cubicBezTo>
                <a:cubicBezTo>
                  <a:pt x="2610" y="680"/>
                  <a:pt x="2612" y="680"/>
                  <a:pt x="2613" y="680"/>
                </a:cubicBezTo>
                <a:cubicBezTo>
                  <a:pt x="2614" y="680"/>
                  <a:pt x="2615" y="680"/>
                  <a:pt x="2616" y="681"/>
                </a:cubicBezTo>
                <a:cubicBezTo>
                  <a:pt x="2617" y="681"/>
                  <a:pt x="2617" y="681"/>
                  <a:pt x="2617" y="681"/>
                </a:cubicBezTo>
                <a:cubicBezTo>
                  <a:pt x="2618" y="681"/>
                  <a:pt x="2618" y="682"/>
                  <a:pt x="2618" y="682"/>
                </a:cubicBezTo>
                <a:cubicBezTo>
                  <a:pt x="2618" y="682"/>
                  <a:pt x="2618" y="682"/>
                  <a:pt x="2619" y="682"/>
                </a:cubicBezTo>
                <a:cubicBezTo>
                  <a:pt x="2619" y="682"/>
                  <a:pt x="2619" y="682"/>
                  <a:pt x="2620" y="681"/>
                </a:cubicBezTo>
                <a:cubicBezTo>
                  <a:pt x="2621" y="680"/>
                  <a:pt x="2622" y="681"/>
                  <a:pt x="2624" y="681"/>
                </a:cubicBezTo>
                <a:cubicBezTo>
                  <a:pt x="2625" y="681"/>
                  <a:pt x="2628" y="682"/>
                  <a:pt x="2630" y="682"/>
                </a:cubicBezTo>
                <a:cubicBezTo>
                  <a:pt x="2631" y="682"/>
                  <a:pt x="2631" y="682"/>
                  <a:pt x="2632" y="682"/>
                </a:cubicBezTo>
                <a:cubicBezTo>
                  <a:pt x="2633" y="682"/>
                  <a:pt x="2633" y="682"/>
                  <a:pt x="2634" y="683"/>
                </a:cubicBezTo>
                <a:cubicBezTo>
                  <a:pt x="2634" y="683"/>
                  <a:pt x="2634" y="683"/>
                  <a:pt x="2635" y="683"/>
                </a:cubicBezTo>
                <a:cubicBezTo>
                  <a:pt x="2635" y="684"/>
                  <a:pt x="2637" y="684"/>
                  <a:pt x="2638" y="684"/>
                </a:cubicBezTo>
                <a:cubicBezTo>
                  <a:pt x="2639" y="685"/>
                  <a:pt x="2640" y="684"/>
                  <a:pt x="2640" y="685"/>
                </a:cubicBezTo>
                <a:cubicBezTo>
                  <a:pt x="2641" y="685"/>
                  <a:pt x="2642" y="686"/>
                  <a:pt x="2642" y="687"/>
                </a:cubicBezTo>
                <a:cubicBezTo>
                  <a:pt x="2643" y="687"/>
                  <a:pt x="2643" y="688"/>
                  <a:pt x="2644" y="688"/>
                </a:cubicBezTo>
                <a:cubicBezTo>
                  <a:pt x="2644" y="688"/>
                  <a:pt x="2645" y="687"/>
                  <a:pt x="2645" y="687"/>
                </a:cubicBezTo>
                <a:cubicBezTo>
                  <a:pt x="2646" y="687"/>
                  <a:pt x="2647" y="687"/>
                  <a:pt x="2648" y="687"/>
                </a:cubicBezTo>
                <a:cubicBezTo>
                  <a:pt x="2650" y="688"/>
                  <a:pt x="2652" y="688"/>
                  <a:pt x="2653" y="688"/>
                </a:cubicBezTo>
                <a:cubicBezTo>
                  <a:pt x="2655" y="687"/>
                  <a:pt x="2656" y="688"/>
                  <a:pt x="2658" y="688"/>
                </a:cubicBezTo>
                <a:cubicBezTo>
                  <a:pt x="2660" y="689"/>
                  <a:pt x="2662" y="690"/>
                  <a:pt x="2664" y="691"/>
                </a:cubicBezTo>
                <a:cubicBezTo>
                  <a:pt x="2664" y="691"/>
                  <a:pt x="2665" y="692"/>
                  <a:pt x="2666" y="692"/>
                </a:cubicBezTo>
                <a:cubicBezTo>
                  <a:pt x="2666" y="692"/>
                  <a:pt x="2667" y="692"/>
                  <a:pt x="2667" y="692"/>
                </a:cubicBezTo>
                <a:cubicBezTo>
                  <a:pt x="2667" y="691"/>
                  <a:pt x="2667" y="691"/>
                  <a:pt x="2668" y="691"/>
                </a:cubicBezTo>
                <a:cubicBezTo>
                  <a:pt x="2668" y="691"/>
                  <a:pt x="2669" y="691"/>
                  <a:pt x="2669" y="691"/>
                </a:cubicBezTo>
                <a:cubicBezTo>
                  <a:pt x="2670" y="691"/>
                  <a:pt x="2671" y="691"/>
                  <a:pt x="2671" y="692"/>
                </a:cubicBezTo>
                <a:cubicBezTo>
                  <a:pt x="2671" y="692"/>
                  <a:pt x="2671" y="693"/>
                  <a:pt x="2671" y="693"/>
                </a:cubicBezTo>
                <a:cubicBezTo>
                  <a:pt x="2672" y="693"/>
                  <a:pt x="2672" y="694"/>
                  <a:pt x="2672" y="694"/>
                </a:cubicBezTo>
                <a:cubicBezTo>
                  <a:pt x="2672" y="695"/>
                  <a:pt x="2673" y="695"/>
                  <a:pt x="2673" y="696"/>
                </a:cubicBezTo>
                <a:cubicBezTo>
                  <a:pt x="2674" y="696"/>
                  <a:pt x="2674" y="695"/>
                  <a:pt x="2675" y="695"/>
                </a:cubicBezTo>
                <a:cubicBezTo>
                  <a:pt x="2675" y="695"/>
                  <a:pt x="2675" y="695"/>
                  <a:pt x="2675" y="695"/>
                </a:cubicBezTo>
                <a:cubicBezTo>
                  <a:pt x="2675" y="696"/>
                  <a:pt x="2675" y="696"/>
                  <a:pt x="2675" y="697"/>
                </a:cubicBezTo>
                <a:cubicBezTo>
                  <a:pt x="2675" y="697"/>
                  <a:pt x="2675" y="697"/>
                  <a:pt x="2675" y="697"/>
                </a:cubicBezTo>
                <a:cubicBezTo>
                  <a:pt x="2675" y="697"/>
                  <a:pt x="2676" y="697"/>
                  <a:pt x="2676" y="697"/>
                </a:cubicBezTo>
                <a:cubicBezTo>
                  <a:pt x="2676" y="697"/>
                  <a:pt x="2677" y="696"/>
                  <a:pt x="2677" y="696"/>
                </a:cubicBezTo>
                <a:cubicBezTo>
                  <a:pt x="2677" y="696"/>
                  <a:pt x="2677" y="696"/>
                  <a:pt x="2677" y="696"/>
                </a:cubicBezTo>
                <a:cubicBezTo>
                  <a:pt x="2677" y="695"/>
                  <a:pt x="2676" y="695"/>
                  <a:pt x="2676" y="695"/>
                </a:cubicBezTo>
                <a:cubicBezTo>
                  <a:pt x="2676" y="694"/>
                  <a:pt x="2677" y="694"/>
                  <a:pt x="2677" y="693"/>
                </a:cubicBezTo>
                <a:cubicBezTo>
                  <a:pt x="2678" y="693"/>
                  <a:pt x="2678" y="693"/>
                  <a:pt x="2678" y="693"/>
                </a:cubicBezTo>
                <a:cubicBezTo>
                  <a:pt x="2679" y="694"/>
                  <a:pt x="2679" y="694"/>
                  <a:pt x="2679" y="695"/>
                </a:cubicBezTo>
                <a:cubicBezTo>
                  <a:pt x="2679" y="695"/>
                  <a:pt x="2680" y="696"/>
                  <a:pt x="2680" y="697"/>
                </a:cubicBezTo>
                <a:cubicBezTo>
                  <a:pt x="2681" y="697"/>
                  <a:pt x="2682" y="697"/>
                  <a:pt x="2682" y="697"/>
                </a:cubicBezTo>
                <a:cubicBezTo>
                  <a:pt x="2683" y="698"/>
                  <a:pt x="2687" y="699"/>
                  <a:pt x="2690" y="700"/>
                </a:cubicBezTo>
                <a:cubicBezTo>
                  <a:pt x="2690" y="700"/>
                  <a:pt x="2691" y="700"/>
                  <a:pt x="2692" y="701"/>
                </a:cubicBezTo>
                <a:cubicBezTo>
                  <a:pt x="2692" y="701"/>
                  <a:pt x="2694" y="701"/>
                  <a:pt x="2694" y="701"/>
                </a:cubicBezTo>
                <a:cubicBezTo>
                  <a:pt x="2695" y="701"/>
                  <a:pt x="2695" y="700"/>
                  <a:pt x="2695" y="700"/>
                </a:cubicBezTo>
                <a:cubicBezTo>
                  <a:pt x="2696" y="700"/>
                  <a:pt x="2696" y="700"/>
                  <a:pt x="2697" y="700"/>
                </a:cubicBezTo>
                <a:cubicBezTo>
                  <a:pt x="2698" y="700"/>
                  <a:pt x="2699" y="700"/>
                  <a:pt x="2700" y="700"/>
                </a:cubicBezTo>
                <a:cubicBezTo>
                  <a:pt x="2701" y="700"/>
                  <a:pt x="2703" y="700"/>
                  <a:pt x="2704" y="701"/>
                </a:cubicBezTo>
                <a:cubicBezTo>
                  <a:pt x="2704" y="702"/>
                  <a:pt x="2705" y="702"/>
                  <a:pt x="2705" y="703"/>
                </a:cubicBezTo>
                <a:cubicBezTo>
                  <a:pt x="2705" y="703"/>
                  <a:pt x="2705" y="703"/>
                  <a:pt x="2705" y="704"/>
                </a:cubicBezTo>
                <a:cubicBezTo>
                  <a:pt x="2705" y="704"/>
                  <a:pt x="2705" y="704"/>
                  <a:pt x="2705" y="705"/>
                </a:cubicBezTo>
                <a:cubicBezTo>
                  <a:pt x="2706" y="705"/>
                  <a:pt x="2707" y="705"/>
                  <a:pt x="2708" y="705"/>
                </a:cubicBezTo>
                <a:cubicBezTo>
                  <a:pt x="2709" y="705"/>
                  <a:pt x="2710" y="705"/>
                  <a:pt x="2710" y="705"/>
                </a:cubicBezTo>
                <a:cubicBezTo>
                  <a:pt x="2711" y="705"/>
                  <a:pt x="2711" y="706"/>
                  <a:pt x="2712" y="706"/>
                </a:cubicBezTo>
                <a:cubicBezTo>
                  <a:pt x="2712" y="706"/>
                  <a:pt x="2712" y="705"/>
                  <a:pt x="2712" y="705"/>
                </a:cubicBezTo>
                <a:cubicBezTo>
                  <a:pt x="2713" y="705"/>
                  <a:pt x="2714" y="705"/>
                  <a:pt x="2715" y="704"/>
                </a:cubicBezTo>
                <a:cubicBezTo>
                  <a:pt x="2715" y="704"/>
                  <a:pt x="2715" y="704"/>
                  <a:pt x="2715" y="704"/>
                </a:cubicBezTo>
                <a:cubicBezTo>
                  <a:pt x="2716" y="704"/>
                  <a:pt x="2716" y="704"/>
                  <a:pt x="2716" y="704"/>
                </a:cubicBezTo>
                <a:cubicBezTo>
                  <a:pt x="2716" y="704"/>
                  <a:pt x="2716" y="705"/>
                  <a:pt x="2717" y="705"/>
                </a:cubicBezTo>
                <a:cubicBezTo>
                  <a:pt x="2717" y="706"/>
                  <a:pt x="2717" y="706"/>
                  <a:pt x="2717" y="706"/>
                </a:cubicBezTo>
                <a:cubicBezTo>
                  <a:pt x="2719" y="706"/>
                  <a:pt x="2721" y="706"/>
                  <a:pt x="2723" y="707"/>
                </a:cubicBezTo>
                <a:cubicBezTo>
                  <a:pt x="2723" y="707"/>
                  <a:pt x="2725" y="707"/>
                  <a:pt x="2726" y="707"/>
                </a:cubicBezTo>
                <a:cubicBezTo>
                  <a:pt x="2726" y="707"/>
                  <a:pt x="2729" y="708"/>
                  <a:pt x="2733" y="709"/>
                </a:cubicBezTo>
                <a:cubicBezTo>
                  <a:pt x="2734" y="710"/>
                  <a:pt x="2736" y="710"/>
                  <a:pt x="2737" y="710"/>
                </a:cubicBezTo>
                <a:cubicBezTo>
                  <a:pt x="2738" y="711"/>
                  <a:pt x="2739" y="711"/>
                  <a:pt x="2740" y="711"/>
                </a:cubicBezTo>
                <a:cubicBezTo>
                  <a:pt x="2740" y="711"/>
                  <a:pt x="2741" y="711"/>
                  <a:pt x="2741" y="710"/>
                </a:cubicBezTo>
                <a:cubicBezTo>
                  <a:pt x="2742" y="709"/>
                  <a:pt x="2743" y="710"/>
                  <a:pt x="2744" y="710"/>
                </a:cubicBezTo>
                <a:cubicBezTo>
                  <a:pt x="2744" y="710"/>
                  <a:pt x="2745" y="711"/>
                  <a:pt x="2745" y="711"/>
                </a:cubicBezTo>
                <a:cubicBezTo>
                  <a:pt x="2746" y="711"/>
                  <a:pt x="2746" y="712"/>
                  <a:pt x="2746" y="712"/>
                </a:cubicBezTo>
                <a:cubicBezTo>
                  <a:pt x="2747" y="713"/>
                  <a:pt x="2747" y="713"/>
                  <a:pt x="2748" y="713"/>
                </a:cubicBezTo>
                <a:cubicBezTo>
                  <a:pt x="2749" y="714"/>
                  <a:pt x="2750" y="714"/>
                  <a:pt x="2750" y="714"/>
                </a:cubicBezTo>
                <a:cubicBezTo>
                  <a:pt x="2752" y="714"/>
                  <a:pt x="2754" y="714"/>
                  <a:pt x="2756" y="714"/>
                </a:cubicBezTo>
                <a:cubicBezTo>
                  <a:pt x="2757" y="713"/>
                  <a:pt x="2759" y="713"/>
                  <a:pt x="2760" y="713"/>
                </a:cubicBezTo>
                <a:cubicBezTo>
                  <a:pt x="2760" y="713"/>
                  <a:pt x="2761" y="714"/>
                  <a:pt x="2762" y="715"/>
                </a:cubicBezTo>
                <a:cubicBezTo>
                  <a:pt x="2762" y="715"/>
                  <a:pt x="2762" y="716"/>
                  <a:pt x="2763" y="716"/>
                </a:cubicBezTo>
                <a:cubicBezTo>
                  <a:pt x="2764" y="717"/>
                  <a:pt x="2765" y="717"/>
                  <a:pt x="2766" y="717"/>
                </a:cubicBezTo>
                <a:cubicBezTo>
                  <a:pt x="2768" y="718"/>
                  <a:pt x="2771" y="719"/>
                  <a:pt x="2772" y="719"/>
                </a:cubicBezTo>
                <a:cubicBezTo>
                  <a:pt x="2773" y="720"/>
                  <a:pt x="2776" y="721"/>
                  <a:pt x="2780" y="722"/>
                </a:cubicBezTo>
                <a:cubicBezTo>
                  <a:pt x="2782" y="722"/>
                  <a:pt x="2784" y="722"/>
                  <a:pt x="2785" y="723"/>
                </a:cubicBezTo>
                <a:cubicBezTo>
                  <a:pt x="2786" y="723"/>
                  <a:pt x="2786" y="723"/>
                  <a:pt x="2786" y="723"/>
                </a:cubicBezTo>
                <a:cubicBezTo>
                  <a:pt x="2786" y="723"/>
                  <a:pt x="2786" y="722"/>
                  <a:pt x="2786" y="722"/>
                </a:cubicBezTo>
                <a:cubicBezTo>
                  <a:pt x="2786" y="722"/>
                  <a:pt x="2786" y="722"/>
                  <a:pt x="2787" y="722"/>
                </a:cubicBezTo>
                <a:cubicBezTo>
                  <a:pt x="2787" y="722"/>
                  <a:pt x="2787" y="722"/>
                  <a:pt x="2788" y="722"/>
                </a:cubicBezTo>
                <a:cubicBezTo>
                  <a:pt x="2789" y="722"/>
                  <a:pt x="2789" y="721"/>
                  <a:pt x="2791" y="721"/>
                </a:cubicBezTo>
                <a:cubicBezTo>
                  <a:pt x="2791" y="721"/>
                  <a:pt x="2792" y="721"/>
                  <a:pt x="2792" y="721"/>
                </a:cubicBezTo>
                <a:cubicBezTo>
                  <a:pt x="2794" y="722"/>
                  <a:pt x="2795" y="722"/>
                  <a:pt x="2796" y="723"/>
                </a:cubicBezTo>
                <a:cubicBezTo>
                  <a:pt x="2798" y="723"/>
                  <a:pt x="2800" y="724"/>
                  <a:pt x="2802" y="724"/>
                </a:cubicBezTo>
                <a:cubicBezTo>
                  <a:pt x="2803" y="725"/>
                  <a:pt x="2804" y="725"/>
                  <a:pt x="2805" y="725"/>
                </a:cubicBezTo>
                <a:cubicBezTo>
                  <a:pt x="2805" y="725"/>
                  <a:pt x="2806" y="725"/>
                  <a:pt x="2806" y="725"/>
                </a:cubicBezTo>
                <a:cubicBezTo>
                  <a:pt x="2806" y="726"/>
                  <a:pt x="2806" y="726"/>
                  <a:pt x="2806" y="726"/>
                </a:cubicBezTo>
                <a:cubicBezTo>
                  <a:pt x="2806" y="727"/>
                  <a:pt x="2806" y="727"/>
                  <a:pt x="2807" y="727"/>
                </a:cubicBezTo>
                <a:cubicBezTo>
                  <a:pt x="2807" y="727"/>
                  <a:pt x="2808" y="727"/>
                  <a:pt x="2809" y="728"/>
                </a:cubicBezTo>
                <a:cubicBezTo>
                  <a:pt x="2810" y="728"/>
                  <a:pt x="2813" y="729"/>
                  <a:pt x="2815" y="729"/>
                </a:cubicBezTo>
                <a:cubicBezTo>
                  <a:pt x="2816" y="730"/>
                  <a:pt x="2817" y="730"/>
                  <a:pt x="2818" y="730"/>
                </a:cubicBezTo>
                <a:cubicBezTo>
                  <a:pt x="2818" y="730"/>
                  <a:pt x="2819" y="729"/>
                  <a:pt x="2819" y="729"/>
                </a:cubicBezTo>
                <a:cubicBezTo>
                  <a:pt x="2819" y="729"/>
                  <a:pt x="2819" y="729"/>
                  <a:pt x="2819" y="729"/>
                </a:cubicBezTo>
                <a:cubicBezTo>
                  <a:pt x="2819" y="728"/>
                  <a:pt x="2819" y="728"/>
                  <a:pt x="2820" y="728"/>
                </a:cubicBezTo>
                <a:cubicBezTo>
                  <a:pt x="2822" y="729"/>
                  <a:pt x="2824" y="729"/>
                  <a:pt x="2826" y="730"/>
                </a:cubicBezTo>
                <a:cubicBezTo>
                  <a:pt x="2827" y="730"/>
                  <a:pt x="2829" y="731"/>
                  <a:pt x="2831" y="731"/>
                </a:cubicBezTo>
                <a:cubicBezTo>
                  <a:pt x="2831" y="731"/>
                  <a:pt x="2832" y="731"/>
                  <a:pt x="2832" y="731"/>
                </a:cubicBezTo>
                <a:cubicBezTo>
                  <a:pt x="2832" y="731"/>
                  <a:pt x="2832" y="732"/>
                  <a:pt x="2832" y="732"/>
                </a:cubicBezTo>
                <a:cubicBezTo>
                  <a:pt x="2832" y="732"/>
                  <a:pt x="2832" y="732"/>
                  <a:pt x="2832" y="732"/>
                </a:cubicBezTo>
                <a:cubicBezTo>
                  <a:pt x="2834" y="732"/>
                  <a:pt x="2836" y="731"/>
                  <a:pt x="2837" y="732"/>
                </a:cubicBezTo>
                <a:cubicBezTo>
                  <a:pt x="2837" y="732"/>
                  <a:pt x="2837" y="733"/>
                  <a:pt x="2837" y="733"/>
                </a:cubicBezTo>
                <a:cubicBezTo>
                  <a:pt x="2836" y="733"/>
                  <a:pt x="2836" y="734"/>
                  <a:pt x="2836" y="734"/>
                </a:cubicBezTo>
                <a:cubicBezTo>
                  <a:pt x="2836" y="734"/>
                  <a:pt x="2836" y="735"/>
                  <a:pt x="2837" y="735"/>
                </a:cubicBezTo>
                <a:cubicBezTo>
                  <a:pt x="2837" y="735"/>
                  <a:pt x="2837" y="735"/>
                  <a:pt x="2838" y="736"/>
                </a:cubicBezTo>
                <a:cubicBezTo>
                  <a:pt x="2838" y="736"/>
                  <a:pt x="2838" y="736"/>
                  <a:pt x="2839" y="736"/>
                </a:cubicBezTo>
                <a:cubicBezTo>
                  <a:pt x="2839" y="736"/>
                  <a:pt x="2839" y="735"/>
                  <a:pt x="2839" y="735"/>
                </a:cubicBezTo>
                <a:cubicBezTo>
                  <a:pt x="2840" y="735"/>
                  <a:pt x="2840" y="737"/>
                  <a:pt x="2840" y="737"/>
                </a:cubicBezTo>
                <a:cubicBezTo>
                  <a:pt x="2841" y="737"/>
                  <a:pt x="2843" y="738"/>
                  <a:pt x="2844" y="738"/>
                </a:cubicBezTo>
                <a:cubicBezTo>
                  <a:pt x="2846" y="738"/>
                  <a:pt x="2849" y="739"/>
                  <a:pt x="2852" y="740"/>
                </a:cubicBezTo>
                <a:cubicBezTo>
                  <a:pt x="2854" y="740"/>
                  <a:pt x="2856" y="741"/>
                  <a:pt x="2859" y="741"/>
                </a:cubicBezTo>
                <a:cubicBezTo>
                  <a:pt x="2860" y="741"/>
                  <a:pt x="2861" y="742"/>
                  <a:pt x="2862" y="742"/>
                </a:cubicBezTo>
                <a:cubicBezTo>
                  <a:pt x="2863" y="742"/>
                  <a:pt x="2864" y="742"/>
                  <a:pt x="2865" y="742"/>
                </a:cubicBezTo>
                <a:cubicBezTo>
                  <a:pt x="2865" y="741"/>
                  <a:pt x="2865" y="741"/>
                  <a:pt x="2866" y="741"/>
                </a:cubicBezTo>
                <a:cubicBezTo>
                  <a:pt x="2867" y="741"/>
                  <a:pt x="2868" y="741"/>
                  <a:pt x="2868" y="740"/>
                </a:cubicBezTo>
                <a:cubicBezTo>
                  <a:pt x="2869" y="739"/>
                  <a:pt x="2870" y="739"/>
                  <a:pt x="2871" y="739"/>
                </a:cubicBezTo>
                <a:cubicBezTo>
                  <a:pt x="2872" y="739"/>
                  <a:pt x="2873" y="740"/>
                  <a:pt x="2874" y="740"/>
                </a:cubicBezTo>
                <a:cubicBezTo>
                  <a:pt x="2876" y="740"/>
                  <a:pt x="2877" y="741"/>
                  <a:pt x="2879" y="741"/>
                </a:cubicBezTo>
                <a:cubicBezTo>
                  <a:pt x="2879" y="742"/>
                  <a:pt x="2880" y="742"/>
                  <a:pt x="2880" y="742"/>
                </a:cubicBezTo>
                <a:cubicBezTo>
                  <a:pt x="2880" y="742"/>
                  <a:pt x="2880" y="741"/>
                  <a:pt x="2881" y="741"/>
                </a:cubicBezTo>
                <a:cubicBezTo>
                  <a:pt x="2881" y="741"/>
                  <a:pt x="2881" y="742"/>
                  <a:pt x="2882" y="742"/>
                </a:cubicBezTo>
                <a:cubicBezTo>
                  <a:pt x="2882" y="742"/>
                  <a:pt x="2883" y="742"/>
                  <a:pt x="2884" y="742"/>
                </a:cubicBezTo>
                <a:cubicBezTo>
                  <a:pt x="2885" y="742"/>
                  <a:pt x="2886" y="742"/>
                  <a:pt x="2887" y="743"/>
                </a:cubicBezTo>
                <a:cubicBezTo>
                  <a:pt x="2887" y="743"/>
                  <a:pt x="2887" y="743"/>
                  <a:pt x="2887" y="743"/>
                </a:cubicBezTo>
                <a:cubicBezTo>
                  <a:pt x="2887" y="744"/>
                  <a:pt x="2887" y="744"/>
                  <a:pt x="2887" y="745"/>
                </a:cubicBezTo>
                <a:cubicBezTo>
                  <a:pt x="2887" y="745"/>
                  <a:pt x="2888" y="745"/>
                  <a:pt x="2888" y="745"/>
                </a:cubicBezTo>
                <a:cubicBezTo>
                  <a:pt x="2889" y="745"/>
                  <a:pt x="2889" y="745"/>
                  <a:pt x="2889" y="745"/>
                </a:cubicBezTo>
                <a:cubicBezTo>
                  <a:pt x="2890" y="745"/>
                  <a:pt x="2890" y="745"/>
                  <a:pt x="2890" y="745"/>
                </a:cubicBezTo>
                <a:cubicBezTo>
                  <a:pt x="2890" y="745"/>
                  <a:pt x="2890" y="745"/>
                  <a:pt x="2890" y="745"/>
                </a:cubicBezTo>
                <a:cubicBezTo>
                  <a:pt x="2889" y="743"/>
                  <a:pt x="2891" y="744"/>
                  <a:pt x="2892" y="744"/>
                </a:cubicBezTo>
                <a:cubicBezTo>
                  <a:pt x="2893" y="744"/>
                  <a:pt x="2894" y="745"/>
                  <a:pt x="2894" y="746"/>
                </a:cubicBezTo>
                <a:cubicBezTo>
                  <a:pt x="2895" y="747"/>
                  <a:pt x="2896" y="746"/>
                  <a:pt x="2897" y="747"/>
                </a:cubicBezTo>
                <a:cubicBezTo>
                  <a:pt x="2898" y="747"/>
                  <a:pt x="2898" y="747"/>
                  <a:pt x="2899" y="747"/>
                </a:cubicBezTo>
                <a:cubicBezTo>
                  <a:pt x="2899" y="747"/>
                  <a:pt x="2899" y="747"/>
                  <a:pt x="2899" y="747"/>
                </a:cubicBezTo>
                <a:cubicBezTo>
                  <a:pt x="2899" y="747"/>
                  <a:pt x="2899" y="746"/>
                  <a:pt x="2899" y="746"/>
                </a:cubicBezTo>
                <a:cubicBezTo>
                  <a:pt x="2900" y="746"/>
                  <a:pt x="2900" y="746"/>
                  <a:pt x="2900" y="746"/>
                </a:cubicBezTo>
                <a:cubicBezTo>
                  <a:pt x="2902" y="746"/>
                  <a:pt x="2904" y="747"/>
                  <a:pt x="2905" y="747"/>
                </a:cubicBezTo>
                <a:cubicBezTo>
                  <a:pt x="2907" y="747"/>
                  <a:pt x="2909" y="748"/>
                  <a:pt x="2911" y="748"/>
                </a:cubicBezTo>
                <a:cubicBezTo>
                  <a:pt x="2913" y="748"/>
                  <a:pt x="2916" y="749"/>
                  <a:pt x="2918" y="749"/>
                </a:cubicBezTo>
                <a:cubicBezTo>
                  <a:pt x="2919" y="750"/>
                  <a:pt x="2920" y="750"/>
                  <a:pt x="2921" y="750"/>
                </a:cubicBezTo>
                <a:cubicBezTo>
                  <a:pt x="2922" y="750"/>
                  <a:pt x="2922" y="750"/>
                  <a:pt x="2922" y="751"/>
                </a:cubicBezTo>
                <a:cubicBezTo>
                  <a:pt x="2922" y="751"/>
                  <a:pt x="2922" y="752"/>
                  <a:pt x="2922" y="752"/>
                </a:cubicBezTo>
                <a:cubicBezTo>
                  <a:pt x="2923" y="752"/>
                  <a:pt x="2925" y="752"/>
                  <a:pt x="2926" y="753"/>
                </a:cubicBezTo>
                <a:cubicBezTo>
                  <a:pt x="2926" y="753"/>
                  <a:pt x="2926" y="753"/>
                  <a:pt x="2926" y="754"/>
                </a:cubicBezTo>
                <a:cubicBezTo>
                  <a:pt x="2925" y="754"/>
                  <a:pt x="2926" y="754"/>
                  <a:pt x="2926" y="754"/>
                </a:cubicBezTo>
                <a:cubicBezTo>
                  <a:pt x="2926" y="754"/>
                  <a:pt x="2926" y="755"/>
                  <a:pt x="2926" y="755"/>
                </a:cubicBezTo>
                <a:cubicBezTo>
                  <a:pt x="2930" y="755"/>
                  <a:pt x="2934" y="756"/>
                  <a:pt x="2938" y="756"/>
                </a:cubicBezTo>
                <a:cubicBezTo>
                  <a:pt x="2939" y="757"/>
                  <a:pt x="2939" y="757"/>
                  <a:pt x="2940" y="757"/>
                </a:cubicBezTo>
                <a:cubicBezTo>
                  <a:pt x="2942" y="757"/>
                  <a:pt x="2942" y="756"/>
                  <a:pt x="2943" y="756"/>
                </a:cubicBezTo>
                <a:cubicBezTo>
                  <a:pt x="2944" y="755"/>
                  <a:pt x="2945" y="754"/>
                  <a:pt x="2946" y="754"/>
                </a:cubicBezTo>
                <a:cubicBezTo>
                  <a:pt x="2946" y="754"/>
                  <a:pt x="2947" y="755"/>
                  <a:pt x="2948" y="755"/>
                </a:cubicBezTo>
                <a:cubicBezTo>
                  <a:pt x="2949" y="755"/>
                  <a:pt x="2950" y="755"/>
                  <a:pt x="2950" y="756"/>
                </a:cubicBezTo>
                <a:cubicBezTo>
                  <a:pt x="2950" y="756"/>
                  <a:pt x="2951" y="756"/>
                  <a:pt x="2951" y="756"/>
                </a:cubicBezTo>
                <a:cubicBezTo>
                  <a:pt x="2950" y="757"/>
                  <a:pt x="2950" y="757"/>
                  <a:pt x="2951" y="757"/>
                </a:cubicBezTo>
                <a:cubicBezTo>
                  <a:pt x="2952" y="758"/>
                  <a:pt x="2952" y="758"/>
                  <a:pt x="2953" y="758"/>
                </a:cubicBezTo>
                <a:cubicBezTo>
                  <a:pt x="2954" y="758"/>
                  <a:pt x="2954" y="759"/>
                  <a:pt x="2955" y="760"/>
                </a:cubicBezTo>
                <a:cubicBezTo>
                  <a:pt x="2955" y="760"/>
                  <a:pt x="2956" y="761"/>
                  <a:pt x="2957" y="761"/>
                </a:cubicBezTo>
                <a:cubicBezTo>
                  <a:pt x="2958" y="762"/>
                  <a:pt x="2959" y="762"/>
                  <a:pt x="2960" y="762"/>
                </a:cubicBezTo>
                <a:cubicBezTo>
                  <a:pt x="2961" y="762"/>
                  <a:pt x="2962" y="763"/>
                  <a:pt x="2963" y="763"/>
                </a:cubicBezTo>
                <a:cubicBezTo>
                  <a:pt x="2964" y="763"/>
                  <a:pt x="2964" y="762"/>
                  <a:pt x="2965" y="761"/>
                </a:cubicBezTo>
                <a:cubicBezTo>
                  <a:pt x="2966" y="761"/>
                  <a:pt x="2966" y="762"/>
                  <a:pt x="2967" y="762"/>
                </a:cubicBezTo>
                <a:cubicBezTo>
                  <a:pt x="2968" y="763"/>
                  <a:pt x="2972" y="764"/>
                  <a:pt x="2976" y="765"/>
                </a:cubicBezTo>
                <a:cubicBezTo>
                  <a:pt x="2978" y="765"/>
                  <a:pt x="2979" y="765"/>
                  <a:pt x="2980" y="765"/>
                </a:cubicBezTo>
                <a:cubicBezTo>
                  <a:pt x="2993" y="768"/>
                  <a:pt x="3002" y="773"/>
                  <a:pt x="3017" y="776"/>
                </a:cubicBezTo>
                <a:cubicBezTo>
                  <a:pt x="3025" y="777"/>
                  <a:pt x="3036" y="784"/>
                  <a:pt x="3043" y="777"/>
                </a:cubicBezTo>
                <a:cubicBezTo>
                  <a:pt x="3048" y="773"/>
                  <a:pt x="3047" y="764"/>
                  <a:pt x="3049" y="759"/>
                </a:cubicBezTo>
                <a:cubicBezTo>
                  <a:pt x="3050" y="754"/>
                  <a:pt x="3048" y="751"/>
                  <a:pt x="3048" y="747"/>
                </a:cubicBezTo>
                <a:cubicBezTo>
                  <a:pt x="3048" y="746"/>
                  <a:pt x="3050" y="742"/>
                  <a:pt x="3049" y="741"/>
                </a:cubicBezTo>
                <a:cubicBezTo>
                  <a:pt x="3049" y="739"/>
                  <a:pt x="3047" y="738"/>
                  <a:pt x="3046" y="737"/>
                </a:cubicBezTo>
                <a:cubicBezTo>
                  <a:pt x="3042" y="734"/>
                  <a:pt x="3041" y="733"/>
                  <a:pt x="3036" y="730"/>
                </a:cubicBezTo>
                <a:cubicBezTo>
                  <a:pt x="3031" y="728"/>
                  <a:pt x="3027" y="726"/>
                  <a:pt x="3022" y="725"/>
                </a:cubicBezTo>
                <a:cubicBezTo>
                  <a:pt x="3018" y="723"/>
                  <a:pt x="3013" y="722"/>
                  <a:pt x="3009" y="721"/>
                </a:cubicBezTo>
                <a:cubicBezTo>
                  <a:pt x="3007" y="721"/>
                  <a:pt x="3006" y="720"/>
                  <a:pt x="3004" y="720"/>
                </a:cubicBezTo>
                <a:cubicBezTo>
                  <a:pt x="3003" y="720"/>
                  <a:pt x="3002" y="721"/>
                  <a:pt x="3002" y="720"/>
                </a:cubicBezTo>
                <a:cubicBezTo>
                  <a:pt x="3000" y="720"/>
                  <a:pt x="2999" y="719"/>
                  <a:pt x="2997" y="718"/>
                </a:cubicBezTo>
                <a:cubicBezTo>
                  <a:pt x="2996" y="718"/>
                  <a:pt x="2995" y="718"/>
                  <a:pt x="2993" y="717"/>
                </a:cubicBezTo>
                <a:cubicBezTo>
                  <a:pt x="2991" y="717"/>
                  <a:pt x="2990" y="716"/>
                  <a:pt x="2988" y="715"/>
                </a:cubicBezTo>
                <a:cubicBezTo>
                  <a:pt x="2985" y="715"/>
                  <a:pt x="2983" y="715"/>
                  <a:pt x="2981" y="714"/>
                </a:cubicBezTo>
                <a:cubicBezTo>
                  <a:pt x="2979" y="714"/>
                  <a:pt x="2977" y="713"/>
                  <a:pt x="2974" y="712"/>
                </a:cubicBezTo>
                <a:cubicBezTo>
                  <a:pt x="2973" y="712"/>
                  <a:pt x="2972" y="713"/>
                  <a:pt x="2970" y="713"/>
                </a:cubicBezTo>
                <a:cubicBezTo>
                  <a:pt x="2968" y="713"/>
                  <a:pt x="2966" y="712"/>
                  <a:pt x="2964" y="712"/>
                </a:cubicBezTo>
                <a:cubicBezTo>
                  <a:pt x="2929" y="702"/>
                  <a:pt x="2842" y="681"/>
                  <a:pt x="2825" y="677"/>
                </a:cubicBezTo>
                <a:cubicBezTo>
                  <a:pt x="2821" y="677"/>
                  <a:pt x="2813" y="675"/>
                  <a:pt x="2807" y="674"/>
                </a:cubicBezTo>
                <a:cubicBezTo>
                  <a:pt x="2801" y="672"/>
                  <a:pt x="2792" y="670"/>
                  <a:pt x="2787" y="669"/>
                </a:cubicBezTo>
                <a:cubicBezTo>
                  <a:pt x="2758" y="663"/>
                  <a:pt x="2747" y="661"/>
                  <a:pt x="2718" y="654"/>
                </a:cubicBezTo>
                <a:cubicBezTo>
                  <a:pt x="2716" y="654"/>
                  <a:pt x="2714" y="653"/>
                  <a:pt x="2711" y="653"/>
                </a:cubicBezTo>
                <a:cubicBezTo>
                  <a:pt x="2710" y="652"/>
                  <a:pt x="2707" y="651"/>
                  <a:pt x="2705" y="652"/>
                </a:cubicBezTo>
                <a:cubicBezTo>
                  <a:pt x="2705" y="652"/>
                  <a:pt x="2705" y="652"/>
                  <a:pt x="2704" y="652"/>
                </a:cubicBezTo>
                <a:cubicBezTo>
                  <a:pt x="2704" y="652"/>
                  <a:pt x="2703" y="651"/>
                  <a:pt x="2703" y="650"/>
                </a:cubicBezTo>
                <a:cubicBezTo>
                  <a:pt x="2702" y="650"/>
                  <a:pt x="2702" y="649"/>
                  <a:pt x="2700" y="649"/>
                </a:cubicBezTo>
                <a:cubicBezTo>
                  <a:pt x="2700" y="649"/>
                  <a:pt x="2700" y="649"/>
                  <a:pt x="2700" y="650"/>
                </a:cubicBezTo>
                <a:cubicBezTo>
                  <a:pt x="2699" y="650"/>
                  <a:pt x="2697" y="650"/>
                  <a:pt x="2696" y="650"/>
                </a:cubicBezTo>
                <a:cubicBezTo>
                  <a:pt x="2695" y="650"/>
                  <a:pt x="2693" y="649"/>
                  <a:pt x="2691" y="649"/>
                </a:cubicBezTo>
                <a:cubicBezTo>
                  <a:pt x="2687" y="648"/>
                  <a:pt x="2684" y="647"/>
                  <a:pt x="2680" y="646"/>
                </a:cubicBezTo>
                <a:cubicBezTo>
                  <a:pt x="2676" y="645"/>
                  <a:pt x="2672" y="644"/>
                  <a:pt x="2669" y="643"/>
                </a:cubicBezTo>
                <a:cubicBezTo>
                  <a:pt x="2667" y="643"/>
                  <a:pt x="2666" y="642"/>
                  <a:pt x="2664" y="642"/>
                </a:cubicBezTo>
                <a:cubicBezTo>
                  <a:pt x="2663" y="642"/>
                  <a:pt x="2661" y="642"/>
                  <a:pt x="2660" y="640"/>
                </a:cubicBezTo>
                <a:cubicBezTo>
                  <a:pt x="2659" y="639"/>
                  <a:pt x="2658" y="638"/>
                  <a:pt x="2656" y="639"/>
                </a:cubicBezTo>
                <a:cubicBezTo>
                  <a:pt x="2656" y="639"/>
                  <a:pt x="2656" y="639"/>
                  <a:pt x="2656" y="639"/>
                </a:cubicBezTo>
                <a:cubicBezTo>
                  <a:pt x="2655" y="639"/>
                  <a:pt x="2655" y="640"/>
                  <a:pt x="2655" y="640"/>
                </a:cubicBezTo>
                <a:cubicBezTo>
                  <a:pt x="2651" y="640"/>
                  <a:pt x="2647" y="638"/>
                  <a:pt x="2643" y="637"/>
                </a:cubicBezTo>
                <a:cubicBezTo>
                  <a:pt x="2639" y="636"/>
                  <a:pt x="2635" y="635"/>
                  <a:pt x="2630" y="634"/>
                </a:cubicBezTo>
                <a:cubicBezTo>
                  <a:pt x="2622" y="632"/>
                  <a:pt x="2614" y="630"/>
                  <a:pt x="2605" y="627"/>
                </a:cubicBezTo>
                <a:cubicBezTo>
                  <a:pt x="2598" y="626"/>
                  <a:pt x="2591" y="624"/>
                  <a:pt x="2584" y="622"/>
                </a:cubicBezTo>
                <a:cubicBezTo>
                  <a:pt x="2567" y="618"/>
                  <a:pt x="2550" y="614"/>
                  <a:pt x="2534" y="610"/>
                </a:cubicBezTo>
                <a:cubicBezTo>
                  <a:pt x="2530" y="609"/>
                  <a:pt x="2526" y="608"/>
                  <a:pt x="2522" y="607"/>
                </a:cubicBezTo>
                <a:cubicBezTo>
                  <a:pt x="2521" y="607"/>
                  <a:pt x="2519" y="606"/>
                  <a:pt x="2517" y="606"/>
                </a:cubicBezTo>
                <a:cubicBezTo>
                  <a:pt x="2515" y="605"/>
                  <a:pt x="2514" y="605"/>
                  <a:pt x="2512" y="605"/>
                </a:cubicBezTo>
                <a:cubicBezTo>
                  <a:pt x="2511" y="605"/>
                  <a:pt x="2511" y="605"/>
                  <a:pt x="2510" y="604"/>
                </a:cubicBezTo>
                <a:cubicBezTo>
                  <a:pt x="2510" y="604"/>
                  <a:pt x="2508" y="603"/>
                  <a:pt x="2508" y="603"/>
                </a:cubicBezTo>
                <a:cubicBezTo>
                  <a:pt x="2507" y="604"/>
                  <a:pt x="2506" y="603"/>
                  <a:pt x="2506" y="603"/>
                </a:cubicBezTo>
                <a:cubicBezTo>
                  <a:pt x="2504" y="603"/>
                  <a:pt x="2502" y="602"/>
                  <a:pt x="2501" y="602"/>
                </a:cubicBezTo>
                <a:cubicBezTo>
                  <a:pt x="2497" y="601"/>
                  <a:pt x="2494" y="600"/>
                  <a:pt x="2490" y="599"/>
                </a:cubicBezTo>
                <a:cubicBezTo>
                  <a:pt x="2490" y="599"/>
                  <a:pt x="2489" y="599"/>
                  <a:pt x="2489" y="599"/>
                </a:cubicBezTo>
                <a:cubicBezTo>
                  <a:pt x="2489" y="599"/>
                  <a:pt x="2488" y="600"/>
                  <a:pt x="2488" y="600"/>
                </a:cubicBezTo>
                <a:cubicBezTo>
                  <a:pt x="2487" y="600"/>
                  <a:pt x="2485" y="600"/>
                  <a:pt x="2483" y="600"/>
                </a:cubicBezTo>
                <a:cubicBezTo>
                  <a:pt x="2483" y="600"/>
                  <a:pt x="2482" y="600"/>
                  <a:pt x="2482" y="599"/>
                </a:cubicBezTo>
                <a:cubicBezTo>
                  <a:pt x="2482" y="599"/>
                  <a:pt x="2484" y="598"/>
                  <a:pt x="2482" y="597"/>
                </a:cubicBezTo>
                <a:cubicBezTo>
                  <a:pt x="2481" y="597"/>
                  <a:pt x="2481" y="598"/>
                  <a:pt x="2480" y="598"/>
                </a:cubicBezTo>
                <a:cubicBezTo>
                  <a:pt x="2479" y="598"/>
                  <a:pt x="2479" y="598"/>
                  <a:pt x="2479" y="597"/>
                </a:cubicBezTo>
                <a:cubicBezTo>
                  <a:pt x="2479" y="597"/>
                  <a:pt x="2478" y="597"/>
                  <a:pt x="2478" y="596"/>
                </a:cubicBezTo>
                <a:cubicBezTo>
                  <a:pt x="2476" y="596"/>
                  <a:pt x="2474" y="596"/>
                  <a:pt x="2471" y="595"/>
                </a:cubicBezTo>
                <a:cubicBezTo>
                  <a:pt x="2469" y="595"/>
                  <a:pt x="2466" y="593"/>
                  <a:pt x="2464" y="594"/>
                </a:cubicBezTo>
                <a:cubicBezTo>
                  <a:pt x="2464" y="594"/>
                  <a:pt x="2464" y="594"/>
                  <a:pt x="2463" y="594"/>
                </a:cubicBezTo>
                <a:cubicBezTo>
                  <a:pt x="2462" y="595"/>
                  <a:pt x="2461" y="594"/>
                  <a:pt x="2460" y="594"/>
                </a:cubicBezTo>
                <a:cubicBezTo>
                  <a:pt x="2459" y="594"/>
                  <a:pt x="2457" y="592"/>
                  <a:pt x="2456" y="592"/>
                </a:cubicBezTo>
                <a:cubicBezTo>
                  <a:pt x="2455" y="591"/>
                  <a:pt x="2453" y="590"/>
                  <a:pt x="2452" y="591"/>
                </a:cubicBezTo>
                <a:cubicBezTo>
                  <a:pt x="2451" y="591"/>
                  <a:pt x="2451" y="591"/>
                  <a:pt x="2451" y="591"/>
                </a:cubicBezTo>
                <a:cubicBezTo>
                  <a:pt x="2451" y="591"/>
                  <a:pt x="2450" y="591"/>
                  <a:pt x="2450" y="591"/>
                </a:cubicBezTo>
                <a:cubicBezTo>
                  <a:pt x="2450" y="591"/>
                  <a:pt x="2449" y="591"/>
                  <a:pt x="2448" y="590"/>
                </a:cubicBezTo>
                <a:cubicBezTo>
                  <a:pt x="2448" y="589"/>
                  <a:pt x="2444" y="589"/>
                  <a:pt x="2443" y="588"/>
                </a:cubicBezTo>
                <a:lnTo>
                  <a:pt x="2437" y="587"/>
                </a:lnTo>
                <a:cubicBezTo>
                  <a:pt x="2431" y="585"/>
                  <a:pt x="2425" y="583"/>
                  <a:pt x="2419" y="582"/>
                </a:cubicBezTo>
                <a:cubicBezTo>
                  <a:pt x="2417" y="581"/>
                  <a:pt x="2415" y="581"/>
                  <a:pt x="2412" y="580"/>
                </a:cubicBezTo>
                <a:cubicBezTo>
                  <a:pt x="2411" y="580"/>
                  <a:pt x="2410" y="580"/>
                  <a:pt x="2409" y="580"/>
                </a:cubicBezTo>
                <a:cubicBezTo>
                  <a:pt x="2408" y="579"/>
                  <a:pt x="2407" y="580"/>
                  <a:pt x="2406" y="580"/>
                </a:cubicBezTo>
                <a:cubicBezTo>
                  <a:pt x="2405" y="580"/>
                  <a:pt x="2404" y="579"/>
                  <a:pt x="2403" y="579"/>
                </a:cubicBezTo>
                <a:cubicBezTo>
                  <a:pt x="2402" y="579"/>
                  <a:pt x="2402" y="578"/>
                  <a:pt x="2401" y="578"/>
                </a:cubicBezTo>
                <a:cubicBezTo>
                  <a:pt x="2401" y="578"/>
                  <a:pt x="2400" y="579"/>
                  <a:pt x="2399" y="578"/>
                </a:cubicBezTo>
                <a:cubicBezTo>
                  <a:pt x="2399" y="578"/>
                  <a:pt x="2398" y="577"/>
                  <a:pt x="2397" y="577"/>
                </a:cubicBezTo>
                <a:cubicBezTo>
                  <a:pt x="2395" y="576"/>
                  <a:pt x="2393" y="576"/>
                  <a:pt x="2390" y="575"/>
                </a:cubicBezTo>
                <a:cubicBezTo>
                  <a:pt x="2387" y="574"/>
                  <a:pt x="2384" y="573"/>
                  <a:pt x="2383" y="573"/>
                </a:cubicBezTo>
                <a:cubicBezTo>
                  <a:pt x="2382" y="573"/>
                  <a:pt x="2377" y="572"/>
                  <a:pt x="2372" y="570"/>
                </a:cubicBezTo>
                <a:cubicBezTo>
                  <a:pt x="2370" y="570"/>
                  <a:pt x="2368" y="570"/>
                  <a:pt x="2366" y="569"/>
                </a:cubicBezTo>
                <a:cubicBezTo>
                  <a:pt x="2366" y="569"/>
                  <a:pt x="2365" y="569"/>
                  <a:pt x="2364" y="568"/>
                </a:cubicBezTo>
                <a:cubicBezTo>
                  <a:pt x="2363" y="568"/>
                  <a:pt x="2363" y="568"/>
                  <a:pt x="2362" y="568"/>
                </a:cubicBezTo>
                <a:cubicBezTo>
                  <a:pt x="2362" y="568"/>
                  <a:pt x="2361" y="569"/>
                  <a:pt x="2361" y="568"/>
                </a:cubicBezTo>
                <a:cubicBezTo>
                  <a:pt x="2361" y="568"/>
                  <a:pt x="2361" y="568"/>
                  <a:pt x="2361" y="568"/>
                </a:cubicBezTo>
                <a:cubicBezTo>
                  <a:pt x="2361" y="567"/>
                  <a:pt x="2359" y="567"/>
                  <a:pt x="2358" y="567"/>
                </a:cubicBezTo>
                <a:cubicBezTo>
                  <a:pt x="2357" y="567"/>
                  <a:pt x="2355" y="567"/>
                  <a:pt x="2354" y="566"/>
                </a:cubicBezTo>
                <a:cubicBezTo>
                  <a:pt x="2348" y="565"/>
                  <a:pt x="2345" y="564"/>
                  <a:pt x="2341" y="562"/>
                </a:cubicBezTo>
                <a:cubicBezTo>
                  <a:pt x="2338" y="560"/>
                  <a:pt x="2325" y="557"/>
                  <a:pt x="2317" y="556"/>
                </a:cubicBezTo>
                <a:cubicBezTo>
                  <a:pt x="2315" y="556"/>
                  <a:pt x="2312" y="554"/>
                  <a:pt x="2310" y="555"/>
                </a:cubicBezTo>
                <a:cubicBezTo>
                  <a:pt x="2309" y="556"/>
                  <a:pt x="2308" y="556"/>
                  <a:pt x="2308" y="555"/>
                </a:cubicBezTo>
                <a:cubicBezTo>
                  <a:pt x="2308" y="555"/>
                  <a:pt x="2308" y="554"/>
                  <a:pt x="2307" y="554"/>
                </a:cubicBezTo>
                <a:cubicBezTo>
                  <a:pt x="2307" y="553"/>
                  <a:pt x="2305" y="553"/>
                  <a:pt x="2304" y="553"/>
                </a:cubicBezTo>
                <a:cubicBezTo>
                  <a:pt x="2303" y="553"/>
                  <a:pt x="2301" y="552"/>
                  <a:pt x="2300" y="553"/>
                </a:cubicBezTo>
                <a:cubicBezTo>
                  <a:pt x="2300" y="553"/>
                  <a:pt x="2300" y="554"/>
                  <a:pt x="2299" y="554"/>
                </a:cubicBezTo>
                <a:cubicBezTo>
                  <a:pt x="2299" y="554"/>
                  <a:pt x="2299" y="554"/>
                  <a:pt x="2299" y="554"/>
                </a:cubicBezTo>
                <a:cubicBezTo>
                  <a:pt x="2298" y="554"/>
                  <a:pt x="2297" y="553"/>
                  <a:pt x="2296" y="553"/>
                </a:cubicBezTo>
                <a:cubicBezTo>
                  <a:pt x="2296" y="553"/>
                  <a:pt x="2296" y="553"/>
                  <a:pt x="2297" y="552"/>
                </a:cubicBezTo>
                <a:cubicBezTo>
                  <a:pt x="2297" y="552"/>
                  <a:pt x="2297" y="552"/>
                  <a:pt x="2297" y="552"/>
                </a:cubicBezTo>
                <a:cubicBezTo>
                  <a:pt x="2297" y="551"/>
                  <a:pt x="2297" y="551"/>
                  <a:pt x="2296" y="551"/>
                </a:cubicBezTo>
                <a:cubicBezTo>
                  <a:pt x="2296" y="551"/>
                  <a:pt x="2295" y="551"/>
                  <a:pt x="2295" y="551"/>
                </a:cubicBezTo>
                <a:cubicBezTo>
                  <a:pt x="2294" y="552"/>
                  <a:pt x="2292" y="552"/>
                  <a:pt x="2291" y="552"/>
                </a:cubicBezTo>
                <a:cubicBezTo>
                  <a:pt x="2290" y="552"/>
                  <a:pt x="2289" y="551"/>
                  <a:pt x="2288" y="551"/>
                </a:cubicBezTo>
                <a:cubicBezTo>
                  <a:pt x="2287" y="551"/>
                  <a:pt x="2286" y="551"/>
                  <a:pt x="2285" y="550"/>
                </a:cubicBezTo>
                <a:cubicBezTo>
                  <a:pt x="2285" y="548"/>
                  <a:pt x="2286" y="548"/>
                  <a:pt x="2284" y="548"/>
                </a:cubicBezTo>
                <a:cubicBezTo>
                  <a:pt x="2283" y="548"/>
                  <a:pt x="2283" y="548"/>
                  <a:pt x="2282" y="548"/>
                </a:cubicBezTo>
                <a:cubicBezTo>
                  <a:pt x="2281" y="548"/>
                  <a:pt x="2279" y="547"/>
                  <a:pt x="2277" y="546"/>
                </a:cubicBezTo>
                <a:cubicBezTo>
                  <a:pt x="2275" y="546"/>
                  <a:pt x="2272" y="545"/>
                  <a:pt x="2271" y="545"/>
                </a:cubicBezTo>
                <a:cubicBezTo>
                  <a:pt x="2270" y="546"/>
                  <a:pt x="2270" y="546"/>
                  <a:pt x="2269" y="546"/>
                </a:cubicBezTo>
                <a:cubicBezTo>
                  <a:pt x="2268" y="547"/>
                  <a:pt x="2265" y="546"/>
                  <a:pt x="2264" y="545"/>
                </a:cubicBezTo>
                <a:cubicBezTo>
                  <a:pt x="2264" y="545"/>
                  <a:pt x="2264" y="544"/>
                  <a:pt x="2264" y="544"/>
                </a:cubicBezTo>
                <a:cubicBezTo>
                  <a:pt x="2264" y="543"/>
                  <a:pt x="2264" y="543"/>
                  <a:pt x="2263" y="542"/>
                </a:cubicBezTo>
                <a:cubicBezTo>
                  <a:pt x="2263" y="542"/>
                  <a:pt x="2262" y="542"/>
                  <a:pt x="2262" y="542"/>
                </a:cubicBezTo>
                <a:cubicBezTo>
                  <a:pt x="2262" y="543"/>
                  <a:pt x="2261" y="543"/>
                  <a:pt x="2261" y="543"/>
                </a:cubicBezTo>
                <a:cubicBezTo>
                  <a:pt x="2261" y="542"/>
                  <a:pt x="2261" y="542"/>
                  <a:pt x="2260" y="542"/>
                </a:cubicBezTo>
                <a:cubicBezTo>
                  <a:pt x="2260" y="542"/>
                  <a:pt x="2260" y="542"/>
                  <a:pt x="2260" y="542"/>
                </a:cubicBezTo>
                <a:cubicBezTo>
                  <a:pt x="2252" y="540"/>
                  <a:pt x="2243" y="538"/>
                  <a:pt x="2236" y="535"/>
                </a:cubicBezTo>
                <a:cubicBezTo>
                  <a:pt x="2235" y="535"/>
                  <a:pt x="2233" y="534"/>
                  <a:pt x="2231" y="534"/>
                </a:cubicBezTo>
                <a:cubicBezTo>
                  <a:pt x="2229" y="534"/>
                  <a:pt x="2226" y="533"/>
                  <a:pt x="2224" y="532"/>
                </a:cubicBezTo>
                <a:cubicBezTo>
                  <a:pt x="2222" y="531"/>
                  <a:pt x="2219" y="530"/>
                  <a:pt x="2216" y="529"/>
                </a:cubicBezTo>
                <a:cubicBezTo>
                  <a:pt x="2215" y="529"/>
                  <a:pt x="2213" y="528"/>
                  <a:pt x="2212" y="528"/>
                </a:cubicBezTo>
                <a:cubicBezTo>
                  <a:pt x="2211" y="527"/>
                  <a:pt x="2209" y="526"/>
                  <a:pt x="2208" y="526"/>
                </a:cubicBezTo>
                <a:cubicBezTo>
                  <a:pt x="2206" y="526"/>
                  <a:pt x="2205" y="527"/>
                  <a:pt x="2204" y="527"/>
                </a:cubicBezTo>
                <a:cubicBezTo>
                  <a:pt x="2201" y="526"/>
                  <a:pt x="2199" y="526"/>
                  <a:pt x="2197" y="525"/>
                </a:cubicBezTo>
                <a:cubicBezTo>
                  <a:pt x="2194" y="525"/>
                  <a:pt x="2191" y="524"/>
                  <a:pt x="2188" y="523"/>
                </a:cubicBezTo>
                <a:cubicBezTo>
                  <a:pt x="2185" y="523"/>
                  <a:pt x="2182" y="522"/>
                  <a:pt x="2179" y="521"/>
                </a:cubicBezTo>
                <a:cubicBezTo>
                  <a:pt x="2178" y="522"/>
                  <a:pt x="2178" y="522"/>
                  <a:pt x="2177" y="522"/>
                </a:cubicBezTo>
                <a:cubicBezTo>
                  <a:pt x="2177" y="522"/>
                  <a:pt x="2176" y="522"/>
                  <a:pt x="2176" y="522"/>
                </a:cubicBezTo>
                <a:cubicBezTo>
                  <a:pt x="2176" y="520"/>
                  <a:pt x="2173" y="520"/>
                  <a:pt x="2172" y="520"/>
                </a:cubicBezTo>
                <a:cubicBezTo>
                  <a:pt x="2171" y="520"/>
                  <a:pt x="2169" y="519"/>
                  <a:pt x="2168" y="519"/>
                </a:cubicBezTo>
                <a:cubicBezTo>
                  <a:pt x="2167" y="519"/>
                  <a:pt x="2166" y="520"/>
                  <a:pt x="2166" y="520"/>
                </a:cubicBezTo>
                <a:cubicBezTo>
                  <a:pt x="2166" y="519"/>
                  <a:pt x="2166" y="519"/>
                  <a:pt x="2166" y="518"/>
                </a:cubicBezTo>
                <a:cubicBezTo>
                  <a:pt x="2165" y="518"/>
                  <a:pt x="2165" y="518"/>
                  <a:pt x="2164" y="518"/>
                </a:cubicBezTo>
                <a:cubicBezTo>
                  <a:pt x="2163" y="518"/>
                  <a:pt x="2161" y="518"/>
                  <a:pt x="2161" y="517"/>
                </a:cubicBezTo>
                <a:cubicBezTo>
                  <a:pt x="2160" y="516"/>
                  <a:pt x="2161" y="514"/>
                  <a:pt x="2159" y="514"/>
                </a:cubicBezTo>
                <a:cubicBezTo>
                  <a:pt x="2158" y="514"/>
                  <a:pt x="2158" y="515"/>
                  <a:pt x="2157" y="515"/>
                </a:cubicBezTo>
                <a:cubicBezTo>
                  <a:pt x="2156" y="517"/>
                  <a:pt x="2154" y="516"/>
                  <a:pt x="2152" y="515"/>
                </a:cubicBezTo>
                <a:cubicBezTo>
                  <a:pt x="2150" y="515"/>
                  <a:pt x="2148" y="514"/>
                  <a:pt x="2145" y="513"/>
                </a:cubicBezTo>
                <a:cubicBezTo>
                  <a:pt x="2141" y="512"/>
                  <a:pt x="2136" y="511"/>
                  <a:pt x="2131" y="510"/>
                </a:cubicBezTo>
                <a:cubicBezTo>
                  <a:pt x="2118" y="507"/>
                  <a:pt x="2104" y="503"/>
                  <a:pt x="2101" y="503"/>
                </a:cubicBezTo>
                <a:cubicBezTo>
                  <a:pt x="2099" y="502"/>
                  <a:pt x="2088" y="499"/>
                  <a:pt x="2077" y="497"/>
                </a:cubicBezTo>
                <a:cubicBezTo>
                  <a:pt x="2067" y="495"/>
                  <a:pt x="2049" y="491"/>
                  <a:pt x="2039" y="488"/>
                </a:cubicBezTo>
                <a:cubicBezTo>
                  <a:pt x="2028" y="485"/>
                  <a:pt x="2000" y="478"/>
                  <a:pt x="1976" y="472"/>
                </a:cubicBezTo>
                <a:cubicBezTo>
                  <a:pt x="1969" y="471"/>
                  <a:pt x="1962" y="469"/>
                  <a:pt x="1954" y="467"/>
                </a:cubicBezTo>
                <a:cubicBezTo>
                  <a:pt x="1951" y="466"/>
                  <a:pt x="1947" y="465"/>
                  <a:pt x="1943" y="465"/>
                </a:cubicBezTo>
                <a:cubicBezTo>
                  <a:pt x="1940" y="464"/>
                  <a:pt x="1936" y="462"/>
                  <a:pt x="1933" y="462"/>
                </a:cubicBezTo>
                <a:cubicBezTo>
                  <a:pt x="1933" y="462"/>
                  <a:pt x="1932" y="462"/>
                  <a:pt x="1932" y="462"/>
                </a:cubicBezTo>
                <a:cubicBezTo>
                  <a:pt x="1931" y="462"/>
                  <a:pt x="1930" y="461"/>
                  <a:pt x="1928" y="461"/>
                </a:cubicBezTo>
                <a:cubicBezTo>
                  <a:pt x="1926" y="461"/>
                  <a:pt x="1925" y="460"/>
                  <a:pt x="1923" y="460"/>
                </a:cubicBezTo>
                <a:cubicBezTo>
                  <a:pt x="1919" y="459"/>
                  <a:pt x="1915" y="458"/>
                  <a:pt x="1911" y="457"/>
                </a:cubicBezTo>
                <a:cubicBezTo>
                  <a:pt x="1908" y="457"/>
                  <a:pt x="1904" y="456"/>
                  <a:pt x="1901" y="455"/>
                </a:cubicBezTo>
                <a:cubicBezTo>
                  <a:pt x="1899" y="455"/>
                  <a:pt x="1898" y="454"/>
                  <a:pt x="1896" y="454"/>
                </a:cubicBezTo>
                <a:cubicBezTo>
                  <a:pt x="1895" y="454"/>
                  <a:pt x="1893" y="453"/>
                  <a:pt x="1891" y="453"/>
                </a:cubicBezTo>
                <a:cubicBezTo>
                  <a:pt x="1891" y="453"/>
                  <a:pt x="1891" y="452"/>
                  <a:pt x="1890" y="452"/>
                </a:cubicBezTo>
                <a:cubicBezTo>
                  <a:pt x="1889" y="452"/>
                  <a:pt x="1888" y="452"/>
                  <a:pt x="1887" y="452"/>
                </a:cubicBezTo>
                <a:cubicBezTo>
                  <a:pt x="1886" y="451"/>
                  <a:pt x="1884" y="451"/>
                  <a:pt x="1883" y="451"/>
                </a:cubicBezTo>
                <a:cubicBezTo>
                  <a:pt x="1879" y="450"/>
                  <a:pt x="1869" y="447"/>
                  <a:pt x="1860" y="445"/>
                </a:cubicBezTo>
                <a:cubicBezTo>
                  <a:pt x="1858" y="445"/>
                  <a:pt x="1855" y="444"/>
                  <a:pt x="1853" y="444"/>
                </a:cubicBezTo>
                <a:cubicBezTo>
                  <a:pt x="1851" y="443"/>
                  <a:pt x="1848" y="443"/>
                  <a:pt x="1846" y="442"/>
                </a:cubicBezTo>
                <a:cubicBezTo>
                  <a:pt x="1846" y="442"/>
                  <a:pt x="1846" y="442"/>
                  <a:pt x="1846" y="442"/>
                </a:cubicBezTo>
                <a:cubicBezTo>
                  <a:pt x="1846" y="442"/>
                  <a:pt x="1846" y="441"/>
                  <a:pt x="1846" y="441"/>
                </a:cubicBezTo>
                <a:cubicBezTo>
                  <a:pt x="1846" y="441"/>
                  <a:pt x="1845" y="440"/>
                  <a:pt x="1845" y="440"/>
                </a:cubicBezTo>
                <a:cubicBezTo>
                  <a:pt x="1844" y="439"/>
                  <a:pt x="1844" y="440"/>
                  <a:pt x="1843" y="440"/>
                </a:cubicBezTo>
                <a:cubicBezTo>
                  <a:pt x="1841" y="440"/>
                  <a:pt x="1840" y="439"/>
                  <a:pt x="1839" y="439"/>
                </a:cubicBezTo>
                <a:cubicBezTo>
                  <a:pt x="1838" y="439"/>
                  <a:pt x="1837" y="439"/>
                  <a:pt x="1837" y="439"/>
                </a:cubicBezTo>
                <a:cubicBezTo>
                  <a:pt x="1836" y="439"/>
                  <a:pt x="1836" y="439"/>
                  <a:pt x="1836" y="439"/>
                </a:cubicBezTo>
                <a:cubicBezTo>
                  <a:pt x="1835" y="439"/>
                  <a:pt x="1835" y="439"/>
                  <a:pt x="1835" y="439"/>
                </a:cubicBezTo>
                <a:cubicBezTo>
                  <a:pt x="1834" y="439"/>
                  <a:pt x="1834" y="439"/>
                  <a:pt x="1834" y="439"/>
                </a:cubicBezTo>
                <a:cubicBezTo>
                  <a:pt x="1833" y="439"/>
                  <a:pt x="1831" y="439"/>
                  <a:pt x="1830" y="438"/>
                </a:cubicBezTo>
                <a:cubicBezTo>
                  <a:pt x="1829" y="437"/>
                  <a:pt x="1828" y="437"/>
                  <a:pt x="1826" y="437"/>
                </a:cubicBezTo>
                <a:cubicBezTo>
                  <a:pt x="1825" y="436"/>
                  <a:pt x="1823" y="436"/>
                  <a:pt x="1822" y="436"/>
                </a:cubicBezTo>
                <a:cubicBezTo>
                  <a:pt x="1820" y="436"/>
                  <a:pt x="1819" y="435"/>
                  <a:pt x="1817" y="435"/>
                </a:cubicBezTo>
                <a:cubicBezTo>
                  <a:pt x="1815" y="434"/>
                  <a:pt x="1813" y="434"/>
                  <a:pt x="1811" y="434"/>
                </a:cubicBezTo>
                <a:cubicBezTo>
                  <a:pt x="1810" y="433"/>
                  <a:pt x="1808" y="433"/>
                  <a:pt x="1807" y="432"/>
                </a:cubicBezTo>
                <a:cubicBezTo>
                  <a:pt x="1807" y="432"/>
                  <a:pt x="1807" y="431"/>
                  <a:pt x="1807" y="431"/>
                </a:cubicBezTo>
                <a:cubicBezTo>
                  <a:pt x="1806" y="430"/>
                  <a:pt x="1806" y="430"/>
                  <a:pt x="1805" y="430"/>
                </a:cubicBezTo>
                <a:cubicBezTo>
                  <a:pt x="1805" y="430"/>
                  <a:pt x="1804" y="430"/>
                  <a:pt x="1804" y="431"/>
                </a:cubicBezTo>
                <a:cubicBezTo>
                  <a:pt x="1802" y="431"/>
                  <a:pt x="1800" y="431"/>
                  <a:pt x="1798" y="431"/>
                </a:cubicBez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40" name="Freeform 15">
            <a:extLst>
              <a:ext uri="{FF2B5EF4-FFF2-40B4-BE49-F238E27FC236}">
                <a16:creationId xmlns:a16="http://schemas.microsoft.com/office/drawing/2014/main" id="{9EDD1D89-7892-39E7-C600-DDE78C326E2D}"/>
              </a:ext>
            </a:extLst>
          </p:cNvPr>
          <p:cNvSpPr>
            <a:spLocks noChangeAspect="1"/>
          </p:cNvSpPr>
          <p:nvPr userDrawn="1"/>
        </p:nvSpPr>
        <p:spPr bwMode="auto">
          <a:xfrm>
            <a:off x="8906510" y="6026481"/>
            <a:ext cx="2091556" cy="2097880"/>
          </a:xfrm>
          <a:custGeom>
            <a:avLst/>
            <a:gdLst>
              <a:gd name="T0" fmla="*/ 373 w 2197"/>
              <a:gd name="T1" fmla="*/ 99 h 2200"/>
              <a:gd name="T2" fmla="*/ 373 w 2197"/>
              <a:gd name="T3" fmla="*/ 99 h 2200"/>
              <a:gd name="T4" fmla="*/ 0 w 2197"/>
              <a:gd name="T5" fmla="*/ 658 h 2200"/>
              <a:gd name="T6" fmla="*/ 13 w 2197"/>
              <a:gd name="T7" fmla="*/ 1568 h 2200"/>
              <a:gd name="T8" fmla="*/ 379 w 2197"/>
              <a:gd name="T9" fmla="*/ 2053 h 2200"/>
              <a:gd name="T10" fmla="*/ 1028 w 2197"/>
              <a:gd name="T11" fmla="*/ 2200 h 2200"/>
              <a:gd name="T12" fmla="*/ 1593 w 2197"/>
              <a:gd name="T13" fmla="*/ 2116 h 2200"/>
              <a:gd name="T14" fmla="*/ 2197 w 2197"/>
              <a:gd name="T15" fmla="*/ 1652 h 2200"/>
              <a:gd name="T16" fmla="*/ 2189 w 2197"/>
              <a:gd name="T17" fmla="*/ 752 h 2200"/>
              <a:gd name="T18" fmla="*/ 1909 w 2197"/>
              <a:gd name="T19" fmla="*/ 313 h 2200"/>
              <a:gd name="T20" fmla="*/ 1444 w 2197"/>
              <a:gd name="T21" fmla="*/ 0 h 2200"/>
              <a:gd name="T22" fmla="*/ 373 w 2197"/>
              <a:gd name="T23" fmla="*/ 99 h 2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97" h="2200">
                <a:moveTo>
                  <a:pt x="373" y="99"/>
                </a:moveTo>
                <a:lnTo>
                  <a:pt x="373" y="99"/>
                </a:lnTo>
                <a:lnTo>
                  <a:pt x="0" y="658"/>
                </a:lnTo>
                <a:lnTo>
                  <a:pt x="13" y="1568"/>
                </a:lnTo>
                <a:lnTo>
                  <a:pt x="379" y="2053"/>
                </a:lnTo>
                <a:lnTo>
                  <a:pt x="1028" y="2200"/>
                </a:lnTo>
                <a:lnTo>
                  <a:pt x="1593" y="2116"/>
                </a:lnTo>
                <a:lnTo>
                  <a:pt x="2197" y="1652"/>
                </a:lnTo>
                <a:lnTo>
                  <a:pt x="2189" y="752"/>
                </a:lnTo>
                <a:lnTo>
                  <a:pt x="1909" y="313"/>
                </a:lnTo>
                <a:lnTo>
                  <a:pt x="1444" y="0"/>
                </a:lnTo>
                <a:lnTo>
                  <a:pt x="373" y="99"/>
                </a:lnTo>
                <a:close/>
              </a:path>
            </a:pathLst>
          </a:custGeom>
          <a:solidFill>
            <a:srgbClr val="7F003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41" name="Freeform 16">
            <a:extLst>
              <a:ext uri="{FF2B5EF4-FFF2-40B4-BE49-F238E27FC236}">
                <a16:creationId xmlns:a16="http://schemas.microsoft.com/office/drawing/2014/main" id="{77384D4A-40FC-046A-6AF6-D85EBCDA79E6}"/>
              </a:ext>
            </a:extLst>
          </p:cNvPr>
          <p:cNvSpPr>
            <a:spLocks noChangeAspect="1"/>
          </p:cNvSpPr>
          <p:nvPr userDrawn="1"/>
        </p:nvSpPr>
        <p:spPr bwMode="auto">
          <a:xfrm>
            <a:off x="11365275" y="1811366"/>
            <a:ext cx="1653449" cy="1617634"/>
          </a:xfrm>
          <a:custGeom>
            <a:avLst/>
            <a:gdLst>
              <a:gd name="T0" fmla="*/ 1444 w 1444"/>
              <a:gd name="T1" fmla="*/ 574 h 1412"/>
              <a:gd name="T2" fmla="*/ 1444 w 1444"/>
              <a:gd name="T3" fmla="*/ 574 h 1412"/>
              <a:gd name="T4" fmla="*/ 1329 w 1444"/>
              <a:gd name="T5" fmla="*/ 1044 h 1412"/>
              <a:gd name="T6" fmla="*/ 864 w 1444"/>
              <a:gd name="T7" fmla="*/ 1412 h 1412"/>
              <a:gd name="T8" fmla="*/ 326 w 1444"/>
              <a:gd name="T9" fmla="*/ 1343 h 1412"/>
              <a:gd name="T10" fmla="*/ 0 w 1444"/>
              <a:gd name="T11" fmla="*/ 941 h 1412"/>
              <a:gd name="T12" fmla="*/ 64 w 1444"/>
              <a:gd name="T13" fmla="*/ 468 h 1412"/>
              <a:gd name="T14" fmla="*/ 347 w 1444"/>
              <a:gd name="T15" fmla="*/ 83 h 1412"/>
              <a:gd name="T16" fmla="*/ 916 w 1444"/>
              <a:gd name="T17" fmla="*/ 0 h 1412"/>
              <a:gd name="T18" fmla="*/ 1275 w 1444"/>
              <a:gd name="T19" fmla="*/ 210 h 1412"/>
              <a:gd name="T20" fmla="*/ 1444 w 1444"/>
              <a:gd name="T21" fmla="*/ 574 h 1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44" h="1412">
                <a:moveTo>
                  <a:pt x="1444" y="574"/>
                </a:moveTo>
                <a:lnTo>
                  <a:pt x="1444" y="574"/>
                </a:lnTo>
                <a:lnTo>
                  <a:pt x="1329" y="1044"/>
                </a:lnTo>
                <a:lnTo>
                  <a:pt x="864" y="1412"/>
                </a:lnTo>
                <a:lnTo>
                  <a:pt x="326" y="1343"/>
                </a:lnTo>
                <a:lnTo>
                  <a:pt x="0" y="941"/>
                </a:lnTo>
                <a:lnTo>
                  <a:pt x="64" y="468"/>
                </a:lnTo>
                <a:lnTo>
                  <a:pt x="347" y="83"/>
                </a:lnTo>
                <a:lnTo>
                  <a:pt x="916" y="0"/>
                </a:lnTo>
                <a:lnTo>
                  <a:pt x="1275" y="210"/>
                </a:lnTo>
                <a:lnTo>
                  <a:pt x="1444" y="574"/>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43" name="Freeform 18">
            <a:extLst>
              <a:ext uri="{FF2B5EF4-FFF2-40B4-BE49-F238E27FC236}">
                <a16:creationId xmlns:a16="http://schemas.microsoft.com/office/drawing/2014/main" id="{52AF8E18-FBF7-5C17-09E7-0A18B23349CC}"/>
              </a:ext>
            </a:extLst>
          </p:cNvPr>
          <p:cNvSpPr>
            <a:spLocks noChangeAspect="1"/>
          </p:cNvSpPr>
          <p:nvPr userDrawn="1"/>
        </p:nvSpPr>
        <p:spPr bwMode="auto">
          <a:xfrm>
            <a:off x="8574627" y="2779421"/>
            <a:ext cx="826603" cy="819820"/>
          </a:xfrm>
          <a:custGeom>
            <a:avLst/>
            <a:gdLst>
              <a:gd name="T0" fmla="*/ 868 w 868"/>
              <a:gd name="T1" fmla="*/ 326 h 861"/>
              <a:gd name="T2" fmla="*/ 868 w 868"/>
              <a:gd name="T3" fmla="*/ 326 h 861"/>
              <a:gd name="T4" fmla="*/ 841 w 868"/>
              <a:gd name="T5" fmla="*/ 682 h 861"/>
              <a:gd name="T6" fmla="*/ 622 w 868"/>
              <a:gd name="T7" fmla="*/ 861 h 861"/>
              <a:gd name="T8" fmla="*/ 269 w 868"/>
              <a:gd name="T9" fmla="*/ 840 h 861"/>
              <a:gd name="T10" fmla="*/ 49 w 868"/>
              <a:gd name="T11" fmla="*/ 651 h 861"/>
              <a:gd name="T12" fmla="*/ 0 w 868"/>
              <a:gd name="T13" fmla="*/ 308 h 861"/>
              <a:gd name="T14" fmla="*/ 190 w 868"/>
              <a:gd name="T15" fmla="*/ 55 h 861"/>
              <a:gd name="T16" fmla="*/ 487 w 868"/>
              <a:gd name="T17" fmla="*/ 0 h 861"/>
              <a:gd name="T18" fmla="*/ 806 w 868"/>
              <a:gd name="T19" fmla="*/ 136 h 861"/>
              <a:gd name="T20" fmla="*/ 868 w 868"/>
              <a:gd name="T21" fmla="*/ 326 h 8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8" h="861">
                <a:moveTo>
                  <a:pt x="868" y="326"/>
                </a:moveTo>
                <a:lnTo>
                  <a:pt x="868" y="326"/>
                </a:lnTo>
                <a:lnTo>
                  <a:pt x="841" y="682"/>
                </a:lnTo>
                <a:lnTo>
                  <a:pt x="622" y="861"/>
                </a:lnTo>
                <a:lnTo>
                  <a:pt x="269" y="840"/>
                </a:lnTo>
                <a:lnTo>
                  <a:pt x="49" y="651"/>
                </a:lnTo>
                <a:lnTo>
                  <a:pt x="0" y="308"/>
                </a:lnTo>
                <a:lnTo>
                  <a:pt x="190" y="55"/>
                </a:lnTo>
                <a:lnTo>
                  <a:pt x="487" y="0"/>
                </a:lnTo>
                <a:lnTo>
                  <a:pt x="806" y="136"/>
                </a:lnTo>
                <a:lnTo>
                  <a:pt x="868" y="326"/>
                </a:lnTo>
                <a:close/>
              </a:path>
            </a:pathLst>
          </a:custGeom>
          <a:solidFill>
            <a:srgbClr val="D0A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46" name="Freeform 21">
            <a:extLst>
              <a:ext uri="{FF2B5EF4-FFF2-40B4-BE49-F238E27FC236}">
                <a16:creationId xmlns:a16="http://schemas.microsoft.com/office/drawing/2014/main" id="{B03FB942-0472-2D6E-42E8-0772BDE3B8C2}"/>
              </a:ext>
            </a:extLst>
          </p:cNvPr>
          <p:cNvSpPr>
            <a:spLocks noChangeAspect="1"/>
          </p:cNvSpPr>
          <p:nvPr userDrawn="1"/>
        </p:nvSpPr>
        <p:spPr bwMode="auto">
          <a:xfrm>
            <a:off x="5671662" y="3580958"/>
            <a:ext cx="3050562" cy="2939840"/>
          </a:xfrm>
          <a:custGeom>
            <a:avLst/>
            <a:gdLst>
              <a:gd name="T0" fmla="*/ 556 w 2300"/>
              <a:gd name="T1" fmla="*/ 134 h 2214"/>
              <a:gd name="T2" fmla="*/ 556 w 2300"/>
              <a:gd name="T3" fmla="*/ 134 h 2214"/>
              <a:gd name="T4" fmla="*/ 104 w 2300"/>
              <a:gd name="T5" fmla="*/ 738 h 2214"/>
              <a:gd name="T6" fmla="*/ 0 w 2300"/>
              <a:gd name="T7" fmla="*/ 1480 h 2214"/>
              <a:gd name="T8" fmla="*/ 516 w 2300"/>
              <a:gd name="T9" fmla="*/ 2109 h 2214"/>
              <a:gd name="T10" fmla="*/ 1373 w 2300"/>
              <a:gd name="T11" fmla="*/ 2214 h 2214"/>
              <a:gd name="T12" fmla="*/ 2115 w 2300"/>
              <a:gd name="T13" fmla="*/ 1634 h 2214"/>
              <a:gd name="T14" fmla="*/ 2300 w 2300"/>
              <a:gd name="T15" fmla="*/ 896 h 2214"/>
              <a:gd name="T16" fmla="*/ 2033 w 2300"/>
              <a:gd name="T17" fmla="*/ 328 h 2214"/>
              <a:gd name="T18" fmla="*/ 1463 w 2300"/>
              <a:gd name="T19" fmla="*/ 0 h 2214"/>
              <a:gd name="T20" fmla="*/ 556 w 2300"/>
              <a:gd name="T21" fmla="*/ 134 h 2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00" h="2214">
                <a:moveTo>
                  <a:pt x="556" y="134"/>
                </a:moveTo>
                <a:lnTo>
                  <a:pt x="556" y="134"/>
                </a:lnTo>
                <a:lnTo>
                  <a:pt x="104" y="738"/>
                </a:lnTo>
                <a:lnTo>
                  <a:pt x="0" y="1480"/>
                </a:lnTo>
                <a:lnTo>
                  <a:pt x="516" y="2109"/>
                </a:lnTo>
                <a:lnTo>
                  <a:pt x="1373" y="2214"/>
                </a:lnTo>
                <a:lnTo>
                  <a:pt x="2115" y="1634"/>
                </a:lnTo>
                <a:lnTo>
                  <a:pt x="2300" y="896"/>
                </a:lnTo>
                <a:lnTo>
                  <a:pt x="2033" y="328"/>
                </a:lnTo>
                <a:lnTo>
                  <a:pt x="1463" y="0"/>
                </a:lnTo>
                <a:lnTo>
                  <a:pt x="556" y="134"/>
                </a:lnTo>
                <a:close/>
              </a:path>
            </a:pathLst>
          </a:custGeom>
          <a:solidFill>
            <a:srgbClr val="65FFD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51" name="Picture Placeholder 50">
            <a:extLst>
              <a:ext uri="{FF2B5EF4-FFF2-40B4-BE49-F238E27FC236}">
                <a16:creationId xmlns:a16="http://schemas.microsoft.com/office/drawing/2014/main" id="{5EFCFA7E-A857-40F9-D93E-0FA0464BD5A2}"/>
              </a:ext>
            </a:extLst>
          </p:cNvPr>
          <p:cNvSpPr>
            <a:spLocks noGrp="1"/>
          </p:cNvSpPr>
          <p:nvPr>
            <p:ph type="pic" sz="quarter" idx="17"/>
          </p:nvPr>
        </p:nvSpPr>
        <p:spPr>
          <a:xfrm>
            <a:off x="7311359" y="3885639"/>
            <a:ext cx="1676466" cy="1643220"/>
          </a:xfrm>
          <a:custGeom>
            <a:avLst/>
            <a:gdLst>
              <a:gd name="connsiteX0" fmla="*/ 1017685 w 1676466"/>
              <a:gd name="connsiteY0" fmla="*/ 0 h 1643220"/>
              <a:gd name="connsiteX1" fmla="*/ 1378491 w 1676466"/>
              <a:gd name="connsiteY1" fmla="*/ 200160 h 1643220"/>
              <a:gd name="connsiteX2" fmla="*/ 1612682 w 1676466"/>
              <a:gd name="connsiteY2" fmla="*/ 505166 h 1643220"/>
              <a:gd name="connsiteX3" fmla="*/ 1676466 w 1676466"/>
              <a:gd name="connsiteY3" fmla="*/ 1165695 h 1643220"/>
              <a:gd name="connsiteX4" fmla="*/ 1263300 w 1676466"/>
              <a:gd name="connsiteY4" fmla="*/ 1546000 h 1643220"/>
              <a:gd name="connsiteX5" fmla="*/ 852989 w 1676466"/>
              <a:gd name="connsiteY5" fmla="*/ 1643220 h 1643220"/>
              <a:gd name="connsiteX6" fmla="*/ 367471 w 1676466"/>
              <a:gd name="connsiteY6" fmla="*/ 1577453 h 1643220"/>
              <a:gd name="connsiteX7" fmla="*/ 67592 w 1676466"/>
              <a:gd name="connsiteY7" fmla="*/ 1244806 h 1643220"/>
              <a:gd name="connsiteX8" fmla="*/ 0 w 1676466"/>
              <a:gd name="connsiteY8" fmla="*/ 576652 h 1643220"/>
              <a:gd name="connsiteX9" fmla="*/ 237047 w 1676466"/>
              <a:gd name="connsiteY9" fmla="*/ 142019 h 1643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76466" h="1643220">
                <a:moveTo>
                  <a:pt x="1017685" y="0"/>
                </a:moveTo>
                <a:lnTo>
                  <a:pt x="1378491" y="200160"/>
                </a:lnTo>
                <a:lnTo>
                  <a:pt x="1612682" y="505166"/>
                </a:lnTo>
                <a:lnTo>
                  <a:pt x="1676466" y="1165695"/>
                </a:lnTo>
                <a:lnTo>
                  <a:pt x="1263300" y="1546000"/>
                </a:lnTo>
                <a:lnTo>
                  <a:pt x="852989" y="1643220"/>
                </a:lnTo>
                <a:lnTo>
                  <a:pt x="367471" y="1577453"/>
                </a:lnTo>
                <a:lnTo>
                  <a:pt x="67592" y="1244806"/>
                </a:lnTo>
                <a:lnTo>
                  <a:pt x="0" y="576652"/>
                </a:lnTo>
                <a:lnTo>
                  <a:pt x="237047" y="142019"/>
                </a:lnTo>
                <a:close/>
              </a:path>
            </a:pathLst>
          </a:custGeom>
          <a:solidFill>
            <a:schemeClr val="bg1">
              <a:lumMod val="95000"/>
            </a:schemeClr>
          </a:solidFill>
        </p:spPr>
        <p:txBody>
          <a:bodyPr wrap="square" anchor="ctr" anchorCtr="1">
            <a:noAutofit/>
          </a:bodyPr>
          <a:lstStyle>
            <a:lvl1pPr algn="ctr">
              <a:defRPr b="0"/>
            </a:lvl1pPr>
          </a:lstStyle>
          <a:p>
            <a:r>
              <a:rPr lang="en-GB"/>
              <a:t>Click icon to add picture</a:t>
            </a:r>
          </a:p>
        </p:txBody>
      </p:sp>
      <p:sp>
        <p:nvSpPr>
          <p:cNvPr id="49" name="Picture Placeholder 48">
            <a:extLst>
              <a:ext uri="{FF2B5EF4-FFF2-40B4-BE49-F238E27FC236}">
                <a16:creationId xmlns:a16="http://schemas.microsoft.com/office/drawing/2014/main" id="{E6CFCA05-A612-BACF-7C06-51DE6CC42BB1}"/>
              </a:ext>
            </a:extLst>
          </p:cNvPr>
          <p:cNvSpPr>
            <a:spLocks noGrp="1"/>
          </p:cNvSpPr>
          <p:nvPr>
            <p:ph type="pic" sz="quarter" idx="16"/>
          </p:nvPr>
        </p:nvSpPr>
        <p:spPr>
          <a:xfrm>
            <a:off x="9382549" y="3002789"/>
            <a:ext cx="2630100" cy="2548960"/>
          </a:xfrm>
          <a:custGeom>
            <a:avLst/>
            <a:gdLst>
              <a:gd name="connsiteX0" fmla="*/ 1081581 w 2630100"/>
              <a:gd name="connsiteY0" fmla="*/ 0 h 2548960"/>
              <a:gd name="connsiteX1" fmla="*/ 1803905 w 2630100"/>
              <a:gd name="connsiteY1" fmla="*/ 0 h 2548960"/>
              <a:gd name="connsiteX2" fmla="*/ 2389007 w 2630100"/>
              <a:gd name="connsiteY2" fmla="*/ 470900 h 2548960"/>
              <a:gd name="connsiteX3" fmla="*/ 2630100 w 2630100"/>
              <a:gd name="connsiteY3" fmla="*/ 1310703 h 2548960"/>
              <a:gd name="connsiteX4" fmla="*/ 2149821 w 2630100"/>
              <a:gd name="connsiteY4" fmla="*/ 2339248 h 2548960"/>
              <a:gd name="connsiteX5" fmla="*/ 1225474 w 2630100"/>
              <a:gd name="connsiteY5" fmla="*/ 2548960 h 2548960"/>
              <a:gd name="connsiteX6" fmla="*/ 309704 w 2630100"/>
              <a:gd name="connsiteY6" fmla="*/ 2087593 h 2548960"/>
              <a:gd name="connsiteX7" fmla="*/ 0 w 2630100"/>
              <a:gd name="connsiteY7" fmla="*/ 1260182 h 2548960"/>
              <a:gd name="connsiteX8" fmla="*/ 250622 w 2630100"/>
              <a:gd name="connsiteY8" fmla="*/ 401314 h 2548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30100" h="2548960">
                <a:moveTo>
                  <a:pt x="1081581" y="0"/>
                </a:moveTo>
                <a:lnTo>
                  <a:pt x="1803905" y="0"/>
                </a:lnTo>
                <a:lnTo>
                  <a:pt x="2389007" y="470900"/>
                </a:lnTo>
                <a:lnTo>
                  <a:pt x="2630100" y="1310703"/>
                </a:lnTo>
                <a:lnTo>
                  <a:pt x="2149821" y="2339248"/>
                </a:lnTo>
                <a:lnTo>
                  <a:pt x="1225474" y="2548960"/>
                </a:lnTo>
                <a:lnTo>
                  <a:pt x="309704" y="2087593"/>
                </a:lnTo>
                <a:lnTo>
                  <a:pt x="0" y="1260182"/>
                </a:lnTo>
                <a:lnTo>
                  <a:pt x="250622" y="401314"/>
                </a:lnTo>
                <a:close/>
              </a:path>
            </a:pathLst>
          </a:custGeom>
          <a:solidFill>
            <a:schemeClr val="bg1">
              <a:lumMod val="95000"/>
            </a:schemeClr>
          </a:solidFill>
        </p:spPr>
        <p:txBody>
          <a:bodyPr wrap="square" anchor="ctr" anchorCtr="1">
            <a:noAutofit/>
          </a:bodyPr>
          <a:lstStyle>
            <a:lvl1pPr algn="ctr">
              <a:defRPr b="0"/>
            </a:lvl1pPr>
          </a:lstStyle>
          <a:p>
            <a:r>
              <a:rPr lang="en-GB"/>
              <a:t>Click icon to add picture</a:t>
            </a:r>
          </a:p>
        </p:txBody>
      </p:sp>
      <p:sp>
        <p:nvSpPr>
          <p:cNvPr id="29" name="Picture Placeholder 28">
            <a:extLst>
              <a:ext uri="{FF2B5EF4-FFF2-40B4-BE49-F238E27FC236}">
                <a16:creationId xmlns:a16="http://schemas.microsoft.com/office/drawing/2014/main" id="{9D93C95C-367C-3BC4-CD38-FD5F9511BDB2}"/>
              </a:ext>
            </a:extLst>
          </p:cNvPr>
          <p:cNvSpPr>
            <a:spLocks noGrp="1"/>
          </p:cNvSpPr>
          <p:nvPr>
            <p:ph type="pic" sz="quarter" idx="15"/>
          </p:nvPr>
        </p:nvSpPr>
        <p:spPr>
          <a:xfrm>
            <a:off x="9672691" y="517758"/>
            <a:ext cx="1656784" cy="1754200"/>
          </a:xfrm>
          <a:custGeom>
            <a:avLst/>
            <a:gdLst>
              <a:gd name="connsiteX0" fmla="*/ 519887 w 1656784"/>
              <a:gd name="connsiteY0" fmla="*/ 0 h 1754200"/>
              <a:gd name="connsiteX1" fmla="*/ 1179744 w 1656784"/>
              <a:gd name="connsiteY1" fmla="*/ 46715 h 1754200"/>
              <a:gd name="connsiteX2" fmla="*/ 1555854 w 1656784"/>
              <a:gd name="connsiteY2" fmla="*/ 451897 h 1754200"/>
              <a:gd name="connsiteX3" fmla="*/ 1656784 w 1656784"/>
              <a:gd name="connsiteY3" fmla="*/ 1155484 h 1754200"/>
              <a:gd name="connsiteX4" fmla="*/ 1220688 w 1656784"/>
              <a:gd name="connsiteY4" fmla="*/ 1671257 h 1754200"/>
              <a:gd name="connsiteX5" fmla="*/ 703657 w 1656784"/>
              <a:gd name="connsiteY5" fmla="*/ 1754200 h 1754200"/>
              <a:gd name="connsiteX6" fmla="*/ 184722 w 1656784"/>
              <a:gd name="connsiteY6" fmla="*/ 1512044 h 1754200"/>
              <a:gd name="connsiteX7" fmla="*/ 0 w 1656784"/>
              <a:gd name="connsiteY7" fmla="*/ 1049660 h 1754200"/>
              <a:gd name="connsiteX8" fmla="*/ 58083 w 1656784"/>
              <a:gd name="connsiteY8" fmla="*/ 437597 h 1754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6784" h="1754200">
                <a:moveTo>
                  <a:pt x="519887" y="0"/>
                </a:moveTo>
                <a:lnTo>
                  <a:pt x="1179744" y="46715"/>
                </a:lnTo>
                <a:lnTo>
                  <a:pt x="1555854" y="451897"/>
                </a:lnTo>
                <a:lnTo>
                  <a:pt x="1656784" y="1155484"/>
                </a:lnTo>
                <a:lnTo>
                  <a:pt x="1220688" y="1671257"/>
                </a:lnTo>
                <a:lnTo>
                  <a:pt x="703657" y="1754200"/>
                </a:lnTo>
                <a:lnTo>
                  <a:pt x="184722" y="1512044"/>
                </a:lnTo>
                <a:lnTo>
                  <a:pt x="0" y="1049660"/>
                </a:lnTo>
                <a:lnTo>
                  <a:pt x="58083" y="437597"/>
                </a:lnTo>
                <a:close/>
              </a:path>
            </a:pathLst>
          </a:custGeom>
          <a:solidFill>
            <a:schemeClr val="bg1">
              <a:lumMod val="95000"/>
            </a:schemeClr>
          </a:solidFill>
        </p:spPr>
        <p:txBody>
          <a:bodyPr wrap="square" anchor="ctr" anchorCtr="1">
            <a:noAutofit/>
          </a:bodyPr>
          <a:lstStyle>
            <a:lvl1pPr algn="ctr">
              <a:defRPr b="0"/>
            </a:lvl1pPr>
          </a:lstStyle>
          <a:p>
            <a:r>
              <a:rPr lang="en-GB"/>
              <a:t>Click icon to add picture</a:t>
            </a:r>
          </a:p>
        </p:txBody>
      </p:sp>
      <p:sp>
        <p:nvSpPr>
          <p:cNvPr id="27" name="Picture Placeholder 26">
            <a:extLst>
              <a:ext uri="{FF2B5EF4-FFF2-40B4-BE49-F238E27FC236}">
                <a16:creationId xmlns:a16="http://schemas.microsoft.com/office/drawing/2014/main" id="{22E976D3-BA98-A959-C099-DF2CDEEA19F6}"/>
              </a:ext>
            </a:extLst>
          </p:cNvPr>
          <p:cNvSpPr>
            <a:spLocks noGrp="1"/>
          </p:cNvSpPr>
          <p:nvPr>
            <p:ph type="pic" sz="quarter" idx="14"/>
          </p:nvPr>
        </p:nvSpPr>
        <p:spPr>
          <a:xfrm>
            <a:off x="6977100" y="198370"/>
            <a:ext cx="2336674" cy="2387860"/>
          </a:xfrm>
          <a:custGeom>
            <a:avLst/>
            <a:gdLst>
              <a:gd name="connsiteX0" fmla="*/ 1609561 w 2336674"/>
              <a:gd name="connsiteY0" fmla="*/ 0 h 2387860"/>
              <a:gd name="connsiteX1" fmla="*/ 2151799 w 2336674"/>
              <a:gd name="connsiteY1" fmla="*/ 414824 h 2387860"/>
              <a:gd name="connsiteX2" fmla="*/ 2336674 w 2336674"/>
              <a:gd name="connsiteY2" fmla="*/ 1207281 h 2387860"/>
              <a:gd name="connsiteX3" fmla="*/ 2151799 w 2336674"/>
              <a:gd name="connsiteY3" fmla="*/ 2014995 h 2387860"/>
              <a:gd name="connsiteX4" fmla="*/ 1668645 w 2336674"/>
              <a:gd name="connsiteY4" fmla="*/ 2387860 h 2387860"/>
              <a:gd name="connsiteX5" fmla="*/ 896742 w 2336674"/>
              <a:gd name="connsiteY5" fmla="*/ 2387860 h 2387860"/>
              <a:gd name="connsiteX6" fmla="*/ 360222 w 2336674"/>
              <a:gd name="connsiteY6" fmla="*/ 2212394 h 2387860"/>
              <a:gd name="connsiteX7" fmla="*/ 0 w 2336674"/>
              <a:gd name="connsiteY7" fmla="*/ 1545815 h 2387860"/>
              <a:gd name="connsiteX8" fmla="*/ 0 w 2336674"/>
              <a:gd name="connsiteY8" fmla="*/ 925010 h 2387860"/>
              <a:gd name="connsiteX9" fmla="*/ 490778 w 2336674"/>
              <a:gd name="connsiteY9" fmla="*/ 158301 h 2387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36674" h="2387860">
                <a:moveTo>
                  <a:pt x="1609561" y="0"/>
                </a:moveTo>
                <a:lnTo>
                  <a:pt x="2151799" y="414824"/>
                </a:lnTo>
                <a:lnTo>
                  <a:pt x="2336674" y="1207281"/>
                </a:lnTo>
                <a:lnTo>
                  <a:pt x="2151799" y="2014995"/>
                </a:lnTo>
                <a:cubicBezTo>
                  <a:pt x="2151799" y="2014995"/>
                  <a:pt x="1723917" y="2387860"/>
                  <a:pt x="1668645" y="2387860"/>
                </a:cubicBezTo>
                <a:lnTo>
                  <a:pt x="896742" y="2387860"/>
                </a:lnTo>
                <a:lnTo>
                  <a:pt x="360222" y="2212394"/>
                </a:lnTo>
                <a:lnTo>
                  <a:pt x="0" y="1545815"/>
                </a:lnTo>
                <a:lnTo>
                  <a:pt x="0" y="925010"/>
                </a:lnTo>
                <a:lnTo>
                  <a:pt x="490778" y="158301"/>
                </a:lnTo>
                <a:close/>
              </a:path>
            </a:pathLst>
          </a:custGeom>
          <a:solidFill>
            <a:schemeClr val="bg1">
              <a:lumMod val="95000"/>
            </a:schemeClr>
          </a:solidFill>
        </p:spPr>
        <p:txBody>
          <a:bodyPr wrap="square" anchor="ctr" anchorCtr="1">
            <a:noAutofit/>
          </a:bodyPr>
          <a:lstStyle>
            <a:lvl1pPr algn="ctr">
              <a:defRPr b="0"/>
            </a:lvl1pPr>
          </a:lstStyle>
          <a:p>
            <a:r>
              <a:rPr lang="en-GB"/>
              <a:t>Click icon to add picture</a:t>
            </a:r>
          </a:p>
        </p:txBody>
      </p:sp>
    </p:spTree>
    <p:extLst>
      <p:ext uri="{BB962C8B-B14F-4D97-AF65-F5344CB8AC3E}">
        <p14:creationId xmlns:p14="http://schemas.microsoft.com/office/powerpoint/2010/main" val="365713426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bg2"/>
        </a:solidFill>
        <a:effectLst/>
      </p:bgPr>
    </p:bg>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01A9196B-05EB-E2C1-7E72-D8811229D8D2}"/>
              </a:ext>
            </a:extLst>
          </p:cNvPr>
          <p:cNvSpPr>
            <a:spLocks noGrp="1"/>
          </p:cNvSpPr>
          <p:nvPr>
            <p:ph type="subTitle" idx="1"/>
          </p:nvPr>
        </p:nvSpPr>
        <p:spPr>
          <a:xfrm>
            <a:off x="442914" y="2894852"/>
            <a:ext cx="2977045" cy="235898"/>
          </a:xfrm>
        </p:spPr>
        <p:txBody>
          <a:bodyPr wrap="square">
            <a:spAutoFit/>
          </a:bodyPr>
          <a:lstStyle>
            <a:lvl1pPr marL="0" indent="0" algn="l">
              <a:buNone/>
              <a:defRPr sz="15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10" name="Title 9">
            <a:extLst>
              <a:ext uri="{FF2B5EF4-FFF2-40B4-BE49-F238E27FC236}">
                <a16:creationId xmlns:a16="http://schemas.microsoft.com/office/drawing/2014/main" id="{61AC5D26-4661-1187-F6D3-B7AC649531E9}"/>
              </a:ext>
            </a:extLst>
          </p:cNvPr>
          <p:cNvSpPr>
            <a:spLocks noGrp="1"/>
          </p:cNvSpPr>
          <p:nvPr>
            <p:ph type="title" hasCustomPrompt="1"/>
          </p:nvPr>
        </p:nvSpPr>
        <p:spPr>
          <a:xfrm>
            <a:off x="442914" y="404813"/>
            <a:ext cx="5761036" cy="567848"/>
          </a:xfrm>
        </p:spPr>
        <p:txBody>
          <a:bodyPr anchor="t" anchorCtr="0"/>
          <a:lstStyle>
            <a:lvl1pPr>
              <a:lnSpc>
                <a:spcPct val="90000"/>
              </a:lnSpc>
              <a:defRPr sz="4000" spc="-100" baseline="0">
                <a:solidFill>
                  <a:schemeClr val="tx1"/>
                </a:solidFill>
              </a:defRPr>
            </a:lvl1pPr>
          </a:lstStyle>
          <a:p>
            <a:r>
              <a:rPr lang="en-US"/>
              <a:t>Click to add title</a:t>
            </a:r>
            <a:endParaRPr lang="en-GB"/>
          </a:p>
        </p:txBody>
      </p:sp>
      <p:sp>
        <p:nvSpPr>
          <p:cNvPr id="6" name="Text Placeholder 5">
            <a:extLst>
              <a:ext uri="{FF2B5EF4-FFF2-40B4-BE49-F238E27FC236}">
                <a16:creationId xmlns:a16="http://schemas.microsoft.com/office/drawing/2014/main" id="{F02328D3-E2BD-2F5E-17E7-9CFF874D58B9}"/>
              </a:ext>
            </a:extLst>
          </p:cNvPr>
          <p:cNvSpPr>
            <a:spLocks noGrp="1"/>
          </p:cNvSpPr>
          <p:nvPr>
            <p:ph type="body" sz="quarter" idx="10"/>
          </p:nvPr>
        </p:nvSpPr>
        <p:spPr>
          <a:xfrm>
            <a:off x="442914" y="4575892"/>
            <a:ext cx="2977044" cy="1877295"/>
          </a:xfrm>
        </p:spPr>
        <p:txBody>
          <a:bodyPr/>
          <a:lstStyle>
            <a:lvl1pPr>
              <a:spcAft>
                <a:spcPts val="1200"/>
              </a:spcAft>
              <a:defRPr sz="1500" b="0">
                <a:solidFill>
                  <a:schemeClr val="tx1"/>
                </a:solidFill>
              </a:defRPr>
            </a:lvl1pPr>
          </a:lstStyle>
          <a:p>
            <a:pPr lvl="0"/>
            <a:r>
              <a:rPr lang="en-GB"/>
              <a:t>Click to edit Master text styles</a:t>
            </a:r>
          </a:p>
        </p:txBody>
      </p:sp>
    </p:spTree>
    <p:extLst>
      <p:ext uri="{BB962C8B-B14F-4D97-AF65-F5344CB8AC3E}">
        <p14:creationId xmlns:p14="http://schemas.microsoft.com/office/powerpoint/2010/main" val="144242958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End Slide multiple partners">
    <p:bg>
      <p:bgPr>
        <a:solidFill>
          <a:schemeClr val="bg2"/>
        </a:solidFill>
        <a:effectLst/>
      </p:bgPr>
    </p:bg>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01A9196B-05EB-E2C1-7E72-D8811229D8D2}"/>
              </a:ext>
            </a:extLst>
          </p:cNvPr>
          <p:cNvSpPr>
            <a:spLocks noGrp="1"/>
          </p:cNvSpPr>
          <p:nvPr>
            <p:ph type="subTitle" idx="1"/>
          </p:nvPr>
        </p:nvSpPr>
        <p:spPr>
          <a:xfrm>
            <a:off x="442914" y="2894852"/>
            <a:ext cx="2977045" cy="235898"/>
          </a:xfrm>
        </p:spPr>
        <p:txBody>
          <a:bodyPr wrap="square">
            <a:spAutoFit/>
          </a:bodyPr>
          <a:lstStyle>
            <a:lvl1pPr marL="0" indent="0" algn="l">
              <a:buNone/>
              <a:defRPr sz="15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10" name="Title 9">
            <a:extLst>
              <a:ext uri="{FF2B5EF4-FFF2-40B4-BE49-F238E27FC236}">
                <a16:creationId xmlns:a16="http://schemas.microsoft.com/office/drawing/2014/main" id="{61AC5D26-4661-1187-F6D3-B7AC649531E9}"/>
              </a:ext>
            </a:extLst>
          </p:cNvPr>
          <p:cNvSpPr>
            <a:spLocks noGrp="1"/>
          </p:cNvSpPr>
          <p:nvPr>
            <p:ph type="title" hasCustomPrompt="1"/>
          </p:nvPr>
        </p:nvSpPr>
        <p:spPr>
          <a:xfrm>
            <a:off x="442914" y="404813"/>
            <a:ext cx="5761036" cy="567848"/>
          </a:xfrm>
        </p:spPr>
        <p:txBody>
          <a:bodyPr anchor="t" anchorCtr="0"/>
          <a:lstStyle>
            <a:lvl1pPr>
              <a:lnSpc>
                <a:spcPct val="90000"/>
              </a:lnSpc>
              <a:defRPr sz="4000" spc="-100" baseline="0">
                <a:solidFill>
                  <a:schemeClr val="tx1"/>
                </a:solidFill>
              </a:defRPr>
            </a:lvl1pPr>
          </a:lstStyle>
          <a:p>
            <a:r>
              <a:rPr lang="en-US"/>
              <a:t>Click to add title</a:t>
            </a:r>
            <a:endParaRPr lang="en-GB"/>
          </a:p>
        </p:txBody>
      </p:sp>
      <p:sp>
        <p:nvSpPr>
          <p:cNvPr id="6" name="Text Placeholder 5">
            <a:extLst>
              <a:ext uri="{FF2B5EF4-FFF2-40B4-BE49-F238E27FC236}">
                <a16:creationId xmlns:a16="http://schemas.microsoft.com/office/drawing/2014/main" id="{F02328D3-E2BD-2F5E-17E7-9CFF874D58B9}"/>
              </a:ext>
            </a:extLst>
          </p:cNvPr>
          <p:cNvSpPr>
            <a:spLocks noGrp="1"/>
          </p:cNvSpPr>
          <p:nvPr>
            <p:ph type="body" sz="quarter" idx="10"/>
          </p:nvPr>
        </p:nvSpPr>
        <p:spPr>
          <a:xfrm>
            <a:off x="442914" y="4575892"/>
            <a:ext cx="2977044" cy="1877295"/>
          </a:xfrm>
        </p:spPr>
        <p:txBody>
          <a:bodyPr/>
          <a:lstStyle>
            <a:lvl1pPr>
              <a:spcAft>
                <a:spcPts val="1200"/>
              </a:spcAft>
              <a:defRPr sz="1500" b="0">
                <a:solidFill>
                  <a:schemeClr val="tx1"/>
                </a:solidFill>
              </a:defRPr>
            </a:lvl1pPr>
          </a:lstStyle>
          <a:p>
            <a:pPr lvl="0"/>
            <a:r>
              <a:rPr lang="en-GB"/>
              <a:t>Click to edit Master text styles</a:t>
            </a:r>
          </a:p>
        </p:txBody>
      </p:sp>
    </p:spTree>
    <p:extLst>
      <p:ext uri="{BB962C8B-B14F-4D97-AF65-F5344CB8AC3E}">
        <p14:creationId xmlns:p14="http://schemas.microsoft.com/office/powerpoint/2010/main" val="34124548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vA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01A9196B-05EB-E2C1-7E72-D8811229D8D2}"/>
              </a:ext>
            </a:extLst>
          </p:cNvPr>
          <p:cNvSpPr>
            <a:spLocks noGrp="1"/>
          </p:cNvSpPr>
          <p:nvPr>
            <p:ph type="subTitle" idx="1"/>
          </p:nvPr>
        </p:nvSpPr>
        <p:spPr>
          <a:xfrm>
            <a:off x="442914" y="4217374"/>
            <a:ext cx="5537199" cy="235898"/>
          </a:xfrm>
        </p:spPr>
        <p:txBody>
          <a:bodyPr wrap="square">
            <a:spAutoFit/>
          </a:bodyPr>
          <a:lstStyle>
            <a:lvl1pPr marL="0" indent="0" algn="l">
              <a:buNone/>
              <a:defRPr sz="15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10" name="Title 9">
            <a:extLst>
              <a:ext uri="{FF2B5EF4-FFF2-40B4-BE49-F238E27FC236}">
                <a16:creationId xmlns:a16="http://schemas.microsoft.com/office/drawing/2014/main" id="{61AC5D26-4661-1187-F6D3-B7AC649531E9}"/>
              </a:ext>
            </a:extLst>
          </p:cNvPr>
          <p:cNvSpPr>
            <a:spLocks noGrp="1"/>
          </p:cNvSpPr>
          <p:nvPr>
            <p:ph type="title" hasCustomPrompt="1"/>
          </p:nvPr>
        </p:nvSpPr>
        <p:spPr>
          <a:xfrm>
            <a:off x="442914" y="3145139"/>
            <a:ext cx="7456486" cy="567848"/>
          </a:xfrm>
        </p:spPr>
        <p:txBody>
          <a:bodyPr wrap="square" anchor="b" anchorCtr="0">
            <a:spAutoFit/>
          </a:bodyPr>
          <a:lstStyle>
            <a:lvl1pPr>
              <a:lnSpc>
                <a:spcPct val="90000"/>
              </a:lnSpc>
              <a:defRPr sz="4000" spc="-100" baseline="0">
                <a:solidFill>
                  <a:schemeClr val="tx1"/>
                </a:solidFill>
              </a:defRPr>
            </a:lvl1pPr>
          </a:lstStyle>
          <a:p>
            <a:r>
              <a:rPr lang="en-US"/>
              <a:t>Click to add title</a:t>
            </a:r>
            <a:endParaRPr lang="en-GB"/>
          </a:p>
        </p:txBody>
      </p:sp>
      <p:sp>
        <p:nvSpPr>
          <p:cNvPr id="35" name="Picture Placeholder 34">
            <a:extLst>
              <a:ext uri="{FF2B5EF4-FFF2-40B4-BE49-F238E27FC236}">
                <a16:creationId xmlns:a16="http://schemas.microsoft.com/office/drawing/2014/main" id="{CED56BC5-AA9A-B7BD-B894-8C188FB05DFC}"/>
              </a:ext>
            </a:extLst>
          </p:cNvPr>
          <p:cNvSpPr>
            <a:spLocks noGrp="1" noChangeAspect="1"/>
          </p:cNvSpPr>
          <p:nvPr>
            <p:ph type="pic" sz="quarter" idx="10"/>
          </p:nvPr>
        </p:nvSpPr>
        <p:spPr>
          <a:xfrm>
            <a:off x="8949600" y="1306800"/>
            <a:ext cx="2898914" cy="2905611"/>
          </a:xfrm>
          <a:custGeom>
            <a:avLst/>
            <a:gdLst>
              <a:gd name="connsiteX0" fmla="*/ 1979909 w 2898914"/>
              <a:gd name="connsiteY0" fmla="*/ 0 h 2905611"/>
              <a:gd name="connsiteX1" fmla="*/ 2669401 w 2898914"/>
              <a:gd name="connsiteY1" fmla="*/ 430461 h 2905611"/>
              <a:gd name="connsiteX2" fmla="*/ 2898914 w 2898914"/>
              <a:gd name="connsiteY2" fmla="*/ 1413283 h 2905611"/>
              <a:gd name="connsiteX3" fmla="*/ 2669401 w 2898914"/>
              <a:gd name="connsiteY3" fmla="*/ 2415152 h 2905611"/>
              <a:gd name="connsiteX4" fmla="*/ 1979909 w 2898914"/>
              <a:gd name="connsiteY4" fmla="*/ 2905611 h 2905611"/>
              <a:gd name="connsiteX5" fmla="*/ 918053 w 2898914"/>
              <a:gd name="connsiteY5" fmla="*/ 2837042 h 2905611"/>
              <a:gd name="connsiteX6" fmla="*/ 383792 w 2898914"/>
              <a:gd name="connsiteY6" fmla="*/ 2600860 h 2905611"/>
              <a:gd name="connsiteX7" fmla="*/ 0 w 2898914"/>
              <a:gd name="connsiteY7" fmla="*/ 1833268 h 2905611"/>
              <a:gd name="connsiteX8" fmla="*/ 0 w 2898914"/>
              <a:gd name="connsiteY8" fmla="*/ 1063772 h 2905611"/>
              <a:gd name="connsiteX9" fmla="*/ 624733 w 2898914"/>
              <a:gd name="connsiteY9" fmla="*/ 130472 h 29056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98914" h="2905611">
                <a:moveTo>
                  <a:pt x="1979909" y="0"/>
                </a:moveTo>
                <a:lnTo>
                  <a:pt x="2669401" y="430461"/>
                </a:lnTo>
                <a:lnTo>
                  <a:pt x="2898914" y="1413283"/>
                </a:lnTo>
                <a:lnTo>
                  <a:pt x="2669401" y="2415152"/>
                </a:lnTo>
                <a:lnTo>
                  <a:pt x="1979909" y="2905611"/>
                </a:lnTo>
                <a:lnTo>
                  <a:pt x="918053" y="2837042"/>
                </a:lnTo>
                <a:lnTo>
                  <a:pt x="383792" y="2600860"/>
                </a:lnTo>
                <a:lnTo>
                  <a:pt x="0" y="1833268"/>
                </a:lnTo>
                <a:lnTo>
                  <a:pt x="0" y="1063772"/>
                </a:lnTo>
                <a:lnTo>
                  <a:pt x="624733" y="130472"/>
                </a:lnTo>
                <a:close/>
              </a:path>
            </a:pathLst>
          </a:custGeom>
          <a:solidFill>
            <a:schemeClr val="bg1">
              <a:lumMod val="95000"/>
            </a:schemeClr>
          </a:solidFill>
        </p:spPr>
        <p:txBody>
          <a:bodyPr wrap="square" anchor="ctr" anchorCtr="1">
            <a:noAutofit/>
          </a:bodyPr>
          <a:lstStyle>
            <a:lvl1pPr>
              <a:defRPr b="0"/>
            </a:lvl1pPr>
          </a:lstStyle>
          <a:p>
            <a:r>
              <a:rPr lang="en-GB"/>
              <a:t>Click icon to add picture</a:t>
            </a:r>
          </a:p>
        </p:txBody>
      </p:sp>
      <p:sp>
        <p:nvSpPr>
          <p:cNvPr id="36" name="Picture Placeholder 35">
            <a:extLst>
              <a:ext uri="{FF2B5EF4-FFF2-40B4-BE49-F238E27FC236}">
                <a16:creationId xmlns:a16="http://schemas.microsoft.com/office/drawing/2014/main" id="{4FA892A0-1A11-1B5D-8BEA-AC8857482791}"/>
              </a:ext>
            </a:extLst>
          </p:cNvPr>
          <p:cNvSpPr>
            <a:spLocks noGrp="1" noChangeAspect="1"/>
          </p:cNvSpPr>
          <p:nvPr>
            <p:ph type="pic" sz="quarter" idx="11"/>
          </p:nvPr>
        </p:nvSpPr>
        <p:spPr>
          <a:xfrm>
            <a:off x="6480000" y="3898800"/>
            <a:ext cx="3199793" cy="3191437"/>
          </a:xfrm>
          <a:custGeom>
            <a:avLst/>
            <a:gdLst>
              <a:gd name="connsiteX0" fmla="*/ 1639429 w 3199793"/>
              <a:gd name="connsiteY0" fmla="*/ 0 h 3191437"/>
              <a:gd name="connsiteX1" fmla="*/ 2751117 w 3199793"/>
              <a:gd name="connsiteY1" fmla="*/ 389641 h 3191437"/>
              <a:gd name="connsiteX2" fmla="*/ 3199793 w 3199793"/>
              <a:gd name="connsiteY2" fmla="*/ 1495689 h 3191437"/>
              <a:gd name="connsiteX3" fmla="*/ 2982599 w 3199793"/>
              <a:gd name="connsiteY3" fmla="*/ 2594114 h 3191437"/>
              <a:gd name="connsiteX4" fmla="*/ 1940452 w 3199793"/>
              <a:gd name="connsiteY4" fmla="*/ 3191437 h 3191437"/>
              <a:gd name="connsiteX5" fmla="*/ 565846 w 3199793"/>
              <a:gd name="connsiteY5" fmla="*/ 2984708 h 3191437"/>
              <a:gd name="connsiteX6" fmla="*/ 0 w 3199793"/>
              <a:gd name="connsiteY6" fmla="*/ 1993934 h 3191437"/>
              <a:gd name="connsiteX7" fmla="*/ 135270 w 3199793"/>
              <a:gd name="connsiteY7" fmla="*/ 1144154 h 3191437"/>
              <a:gd name="connsiteX8" fmla="*/ 453439 w 3199793"/>
              <a:gd name="connsiteY8" fmla="*/ 307712 h 3191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99793" h="3191437">
                <a:moveTo>
                  <a:pt x="1639429" y="0"/>
                </a:moveTo>
                <a:lnTo>
                  <a:pt x="2751117" y="389641"/>
                </a:lnTo>
                <a:lnTo>
                  <a:pt x="3199793" y="1495689"/>
                </a:lnTo>
                <a:lnTo>
                  <a:pt x="2982599" y="2594114"/>
                </a:lnTo>
                <a:lnTo>
                  <a:pt x="1940452" y="3191437"/>
                </a:lnTo>
                <a:lnTo>
                  <a:pt x="565846" y="2984708"/>
                </a:lnTo>
                <a:lnTo>
                  <a:pt x="0" y="1993934"/>
                </a:lnTo>
                <a:lnTo>
                  <a:pt x="135270" y="1144154"/>
                </a:lnTo>
                <a:lnTo>
                  <a:pt x="453439" y="307712"/>
                </a:lnTo>
                <a:close/>
              </a:path>
            </a:pathLst>
          </a:custGeom>
          <a:solidFill>
            <a:schemeClr val="bg1">
              <a:lumMod val="95000"/>
            </a:schemeClr>
          </a:solidFill>
        </p:spPr>
        <p:txBody>
          <a:bodyPr wrap="square" anchor="ctr" anchorCtr="1">
            <a:noAutofit/>
          </a:bodyPr>
          <a:lstStyle>
            <a:lvl1pPr>
              <a:defRPr b="0"/>
            </a:lvl1pPr>
          </a:lstStyle>
          <a:p>
            <a:r>
              <a:rPr lang="en-GB"/>
              <a:t>Click icon to add picture</a:t>
            </a:r>
          </a:p>
        </p:txBody>
      </p:sp>
      <p:sp>
        <p:nvSpPr>
          <p:cNvPr id="2" name="Freeform 22">
            <a:extLst>
              <a:ext uri="{FF2B5EF4-FFF2-40B4-BE49-F238E27FC236}">
                <a16:creationId xmlns:a16="http://schemas.microsoft.com/office/drawing/2014/main" id="{30E97FEB-DD82-37E3-C48C-EA87FB4F26A1}"/>
              </a:ext>
            </a:extLst>
          </p:cNvPr>
          <p:cNvSpPr>
            <a:spLocks noChangeAspect="1" noEditPoints="1"/>
          </p:cNvSpPr>
          <p:nvPr userDrawn="1"/>
        </p:nvSpPr>
        <p:spPr bwMode="auto">
          <a:xfrm>
            <a:off x="457200" y="442800"/>
            <a:ext cx="964800" cy="914400"/>
          </a:xfrm>
          <a:custGeom>
            <a:avLst/>
            <a:gdLst>
              <a:gd name="T0" fmla="*/ 791 w 1013"/>
              <a:gd name="T1" fmla="*/ 656 h 959"/>
              <a:gd name="T2" fmla="*/ 872 w 1013"/>
              <a:gd name="T3" fmla="*/ 922 h 959"/>
              <a:gd name="T4" fmla="*/ 791 w 1013"/>
              <a:gd name="T5" fmla="*/ 656 h 959"/>
              <a:gd name="T6" fmla="*/ 345 w 1013"/>
              <a:gd name="T7" fmla="*/ 262 h 959"/>
              <a:gd name="T8" fmla="*/ 435 w 1013"/>
              <a:gd name="T9" fmla="*/ 232 h 959"/>
              <a:gd name="T10" fmla="*/ 207 w 1013"/>
              <a:gd name="T11" fmla="*/ 73 h 959"/>
              <a:gd name="T12" fmla="*/ 345 w 1013"/>
              <a:gd name="T13" fmla="*/ 262 h 959"/>
              <a:gd name="T14" fmla="*/ 240 w 1013"/>
              <a:gd name="T15" fmla="*/ 583 h 959"/>
              <a:gd name="T16" fmla="*/ 159 w 1013"/>
              <a:gd name="T17" fmla="*/ 849 h 959"/>
              <a:gd name="T18" fmla="*/ 240 w 1013"/>
              <a:gd name="T19" fmla="*/ 583 h 959"/>
              <a:gd name="T20" fmla="*/ 495 w 1013"/>
              <a:gd name="T21" fmla="*/ 725 h 959"/>
              <a:gd name="T22" fmla="*/ 495 w 1013"/>
              <a:gd name="T23" fmla="*/ 959 h 959"/>
              <a:gd name="T24" fmla="*/ 586 w 1013"/>
              <a:gd name="T25" fmla="*/ 695 h 959"/>
              <a:gd name="T26" fmla="*/ 495 w 1013"/>
              <a:gd name="T27" fmla="*/ 725 h 959"/>
              <a:gd name="T28" fmla="*/ 207 w 1013"/>
              <a:gd name="T29" fmla="*/ 884 h 959"/>
              <a:gd name="T30" fmla="*/ 435 w 1013"/>
              <a:gd name="T31" fmla="*/ 725 h 959"/>
              <a:gd name="T32" fmla="*/ 207 w 1013"/>
              <a:gd name="T33" fmla="*/ 884 h 959"/>
              <a:gd name="T34" fmla="*/ 709 w 1013"/>
              <a:gd name="T35" fmla="*/ 526 h 959"/>
              <a:gd name="T36" fmla="*/ 931 w 1013"/>
              <a:gd name="T37" fmla="*/ 598 h 959"/>
              <a:gd name="T38" fmla="*/ 709 w 1013"/>
              <a:gd name="T39" fmla="*/ 431 h 959"/>
              <a:gd name="T40" fmla="*/ 709 w 1013"/>
              <a:gd name="T41" fmla="*/ 526 h 959"/>
              <a:gd name="T42" fmla="*/ 222 w 1013"/>
              <a:gd name="T43" fmla="*/ 431 h 959"/>
              <a:gd name="T44" fmla="*/ 0 w 1013"/>
              <a:gd name="T45" fmla="*/ 598 h 959"/>
              <a:gd name="T46" fmla="*/ 222 w 1013"/>
              <a:gd name="T47" fmla="*/ 431 h 959"/>
              <a:gd name="T48" fmla="*/ 690 w 1013"/>
              <a:gd name="T49" fmla="*/ 374 h 959"/>
              <a:gd name="T50" fmla="*/ 913 w 1013"/>
              <a:gd name="T51" fmla="*/ 302 h 959"/>
              <a:gd name="T52" fmla="*/ 634 w 1013"/>
              <a:gd name="T53" fmla="*/ 297 h 959"/>
              <a:gd name="T54" fmla="*/ 690 w 1013"/>
              <a:gd name="T55" fmla="*/ 374 h 959"/>
              <a:gd name="T56" fmla="*/ 296 w 1013"/>
              <a:gd name="T57" fmla="*/ 297 h 959"/>
              <a:gd name="T58" fmla="*/ 18 w 1013"/>
              <a:gd name="T59" fmla="*/ 302 h 959"/>
              <a:gd name="T60" fmla="*/ 296 w 1013"/>
              <a:gd name="T61" fmla="*/ 297 h 959"/>
              <a:gd name="T62" fmla="*/ 586 w 1013"/>
              <a:gd name="T63" fmla="*/ 262 h 959"/>
              <a:gd name="T64" fmla="*/ 495 w 1013"/>
              <a:gd name="T65" fmla="*/ 232 h 959"/>
              <a:gd name="T66" fmla="*/ 723 w 1013"/>
              <a:gd name="T67" fmla="*/ 73 h 9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13" h="959">
                <a:moveTo>
                  <a:pt x="791" y="656"/>
                </a:moveTo>
                <a:lnTo>
                  <a:pt x="791" y="656"/>
                </a:lnTo>
                <a:lnTo>
                  <a:pt x="735" y="733"/>
                </a:lnTo>
                <a:lnTo>
                  <a:pt x="872" y="922"/>
                </a:lnTo>
                <a:lnTo>
                  <a:pt x="1013" y="729"/>
                </a:lnTo>
                <a:lnTo>
                  <a:pt x="791" y="656"/>
                </a:lnTo>
                <a:lnTo>
                  <a:pt x="791" y="656"/>
                </a:lnTo>
                <a:close/>
                <a:moveTo>
                  <a:pt x="345" y="262"/>
                </a:moveTo>
                <a:lnTo>
                  <a:pt x="345" y="262"/>
                </a:lnTo>
                <a:lnTo>
                  <a:pt x="435" y="232"/>
                </a:lnTo>
                <a:lnTo>
                  <a:pt x="435" y="0"/>
                </a:lnTo>
                <a:lnTo>
                  <a:pt x="207" y="73"/>
                </a:lnTo>
                <a:lnTo>
                  <a:pt x="345" y="262"/>
                </a:lnTo>
                <a:lnTo>
                  <a:pt x="345" y="262"/>
                </a:lnTo>
                <a:close/>
                <a:moveTo>
                  <a:pt x="240" y="583"/>
                </a:moveTo>
                <a:lnTo>
                  <a:pt x="240" y="583"/>
                </a:lnTo>
                <a:lnTo>
                  <a:pt x="18" y="655"/>
                </a:lnTo>
                <a:lnTo>
                  <a:pt x="159" y="849"/>
                </a:lnTo>
                <a:lnTo>
                  <a:pt x="296" y="660"/>
                </a:lnTo>
                <a:lnTo>
                  <a:pt x="240" y="583"/>
                </a:lnTo>
                <a:lnTo>
                  <a:pt x="240" y="583"/>
                </a:lnTo>
                <a:close/>
                <a:moveTo>
                  <a:pt x="495" y="725"/>
                </a:moveTo>
                <a:lnTo>
                  <a:pt x="495" y="725"/>
                </a:lnTo>
                <a:lnTo>
                  <a:pt x="495" y="959"/>
                </a:lnTo>
                <a:lnTo>
                  <a:pt x="723" y="884"/>
                </a:lnTo>
                <a:lnTo>
                  <a:pt x="586" y="695"/>
                </a:lnTo>
                <a:lnTo>
                  <a:pt x="495" y="725"/>
                </a:lnTo>
                <a:lnTo>
                  <a:pt x="495" y="725"/>
                </a:lnTo>
                <a:close/>
                <a:moveTo>
                  <a:pt x="207" y="884"/>
                </a:moveTo>
                <a:lnTo>
                  <a:pt x="207" y="884"/>
                </a:lnTo>
                <a:lnTo>
                  <a:pt x="435" y="959"/>
                </a:lnTo>
                <a:lnTo>
                  <a:pt x="435" y="725"/>
                </a:lnTo>
                <a:lnTo>
                  <a:pt x="345" y="695"/>
                </a:lnTo>
                <a:lnTo>
                  <a:pt x="207" y="884"/>
                </a:lnTo>
                <a:lnTo>
                  <a:pt x="207" y="884"/>
                </a:lnTo>
                <a:close/>
                <a:moveTo>
                  <a:pt x="709" y="526"/>
                </a:moveTo>
                <a:lnTo>
                  <a:pt x="709" y="526"/>
                </a:lnTo>
                <a:lnTo>
                  <a:pt x="931" y="598"/>
                </a:lnTo>
                <a:lnTo>
                  <a:pt x="931" y="359"/>
                </a:lnTo>
                <a:lnTo>
                  <a:pt x="709" y="431"/>
                </a:lnTo>
                <a:lnTo>
                  <a:pt x="709" y="526"/>
                </a:lnTo>
                <a:lnTo>
                  <a:pt x="709" y="526"/>
                </a:lnTo>
                <a:close/>
                <a:moveTo>
                  <a:pt x="222" y="431"/>
                </a:moveTo>
                <a:lnTo>
                  <a:pt x="222" y="431"/>
                </a:lnTo>
                <a:lnTo>
                  <a:pt x="0" y="359"/>
                </a:lnTo>
                <a:lnTo>
                  <a:pt x="0" y="598"/>
                </a:lnTo>
                <a:lnTo>
                  <a:pt x="222" y="526"/>
                </a:lnTo>
                <a:lnTo>
                  <a:pt x="222" y="431"/>
                </a:lnTo>
                <a:lnTo>
                  <a:pt x="222" y="431"/>
                </a:lnTo>
                <a:close/>
                <a:moveTo>
                  <a:pt x="690" y="374"/>
                </a:moveTo>
                <a:lnTo>
                  <a:pt x="690" y="374"/>
                </a:lnTo>
                <a:lnTo>
                  <a:pt x="913" y="302"/>
                </a:lnTo>
                <a:lnTo>
                  <a:pt x="772" y="108"/>
                </a:lnTo>
                <a:lnTo>
                  <a:pt x="634" y="297"/>
                </a:lnTo>
                <a:lnTo>
                  <a:pt x="690" y="374"/>
                </a:lnTo>
                <a:lnTo>
                  <a:pt x="690" y="374"/>
                </a:lnTo>
                <a:close/>
                <a:moveTo>
                  <a:pt x="296" y="297"/>
                </a:moveTo>
                <a:lnTo>
                  <a:pt x="296" y="297"/>
                </a:lnTo>
                <a:lnTo>
                  <a:pt x="159" y="108"/>
                </a:lnTo>
                <a:lnTo>
                  <a:pt x="18" y="302"/>
                </a:lnTo>
                <a:lnTo>
                  <a:pt x="240" y="374"/>
                </a:lnTo>
                <a:lnTo>
                  <a:pt x="296" y="297"/>
                </a:lnTo>
                <a:lnTo>
                  <a:pt x="296" y="297"/>
                </a:lnTo>
                <a:close/>
                <a:moveTo>
                  <a:pt x="586" y="262"/>
                </a:moveTo>
                <a:lnTo>
                  <a:pt x="586" y="262"/>
                </a:lnTo>
                <a:lnTo>
                  <a:pt x="495" y="232"/>
                </a:lnTo>
                <a:lnTo>
                  <a:pt x="495" y="0"/>
                </a:lnTo>
                <a:lnTo>
                  <a:pt x="723" y="73"/>
                </a:lnTo>
                <a:lnTo>
                  <a:pt x="586" y="262"/>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pic>
        <p:nvPicPr>
          <p:cNvPr id="4" name="Picture 3" descr="A logo on a black background&#10;&#10;AI-generated content may be incorrect.">
            <a:extLst>
              <a:ext uri="{FF2B5EF4-FFF2-40B4-BE49-F238E27FC236}">
                <a16:creationId xmlns:a16="http://schemas.microsoft.com/office/drawing/2014/main" id="{A44F84FD-0C6B-B827-2F8D-FEA67E087DC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47991" y="5434641"/>
            <a:ext cx="5628173" cy="1330780"/>
          </a:xfrm>
          <a:prstGeom prst="rect">
            <a:avLst/>
          </a:prstGeom>
        </p:spPr>
      </p:pic>
    </p:spTree>
    <p:extLst>
      <p:ext uri="{BB962C8B-B14F-4D97-AF65-F5344CB8AC3E}">
        <p14:creationId xmlns:p14="http://schemas.microsoft.com/office/powerpoint/2010/main" val="115489192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4" name="Date Placeholder 3"/>
          <p:cNvSpPr>
            <a:spLocks noGrp="1"/>
          </p:cNvSpPr>
          <p:nvPr>
            <p:ph type="dt" sz="half" idx="10"/>
          </p:nvPr>
        </p:nvSpPr>
        <p:spPr/>
        <p:txBody>
          <a:bodyPr/>
          <a:lstStyle/>
          <a:p>
            <a:fld id="{846CE7D5-CF57-46EF-B807-FDD0502418D4}" type="datetimeFigureOut">
              <a:rPr lang="en-GB" smtClean="0"/>
              <a:t>30/03/202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330EA680-D336-4FF7-8B7A-9848BB0A1C32}" type="slidenum">
              <a:rPr lang="en-GB" smtClean="0"/>
              <a:t>‹#›</a:t>
            </a:fld>
            <a:endParaRPr lang="en-GB"/>
          </a:p>
        </p:txBody>
      </p:sp>
    </p:spTree>
    <p:extLst>
      <p:ext uri="{BB962C8B-B14F-4D97-AF65-F5344CB8AC3E}">
        <p14:creationId xmlns:p14="http://schemas.microsoft.com/office/powerpoint/2010/main" val="182392881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p>
        </p:txBody>
      </p:sp>
      <p:sp>
        <p:nvSpPr>
          <p:cNvPr id="3" name="Content Placeholder 2"/>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p:cNvSpPr>
            <a:spLocks noGrp="1"/>
          </p:cNvSpPr>
          <p:nvPr>
            <p:ph type="dt" sz="half" idx="10"/>
          </p:nvPr>
        </p:nvSpPr>
        <p:spPr/>
        <p:txBody>
          <a:bodyPr/>
          <a:lstStyle/>
          <a:p>
            <a:fld id="{846CE7D5-CF57-46EF-B807-FDD0502418D4}" type="datetimeFigureOut">
              <a:rPr lang="en-GB" smtClean="0"/>
              <a:t>30/03/202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330EA680-D336-4FF7-8B7A-9848BB0A1C32}" type="slidenum">
              <a:rPr lang="en-GB" smtClean="0"/>
              <a:t>‹#›</a:t>
            </a:fld>
            <a:endParaRPr lang="en-GB"/>
          </a:p>
        </p:txBody>
      </p:sp>
    </p:spTree>
    <p:extLst>
      <p:ext uri="{BB962C8B-B14F-4D97-AF65-F5344CB8AC3E}">
        <p14:creationId xmlns:p14="http://schemas.microsoft.com/office/powerpoint/2010/main" val="403581189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GB"/>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GB"/>
              <a:t>Click to edit Master text styles</a:t>
            </a:r>
          </a:p>
        </p:txBody>
      </p:sp>
      <p:sp>
        <p:nvSpPr>
          <p:cNvPr id="4" name="Date Placeholder 3"/>
          <p:cNvSpPr>
            <a:spLocks noGrp="1"/>
          </p:cNvSpPr>
          <p:nvPr>
            <p:ph type="dt" sz="half" idx="10"/>
          </p:nvPr>
        </p:nvSpPr>
        <p:spPr/>
        <p:txBody>
          <a:bodyPr/>
          <a:lstStyle/>
          <a:p>
            <a:fld id="{846CE7D5-CF57-46EF-B807-FDD0502418D4}" type="datetimeFigureOut">
              <a:rPr lang="en-GB" smtClean="0"/>
              <a:t>30/03/202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330EA680-D336-4FF7-8B7A-9848BB0A1C32}" type="slidenum">
              <a:rPr lang="en-GB" smtClean="0"/>
              <a:t>‹#›</a:t>
            </a:fld>
            <a:endParaRPr lang="en-GB"/>
          </a:p>
        </p:txBody>
      </p:sp>
    </p:spTree>
    <p:extLst>
      <p:ext uri="{BB962C8B-B14F-4D97-AF65-F5344CB8AC3E}">
        <p14:creationId xmlns:p14="http://schemas.microsoft.com/office/powerpoint/2010/main" val="83412996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Content Placeholder 3"/>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Date Placeholder 4"/>
          <p:cNvSpPr>
            <a:spLocks noGrp="1"/>
          </p:cNvSpPr>
          <p:nvPr>
            <p:ph type="dt" sz="half" idx="10"/>
          </p:nvPr>
        </p:nvSpPr>
        <p:spPr/>
        <p:txBody>
          <a:bodyPr/>
          <a:lstStyle/>
          <a:p>
            <a:fld id="{846CE7D5-CF57-46EF-B807-FDD0502418D4}" type="datetimeFigureOut">
              <a:rPr lang="en-GB" smtClean="0"/>
              <a:t>30/03/2026</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330EA680-D336-4FF7-8B7A-9848BB0A1C32}" type="slidenum">
              <a:rPr lang="en-GB" smtClean="0"/>
              <a:t>‹#›</a:t>
            </a:fld>
            <a:endParaRPr lang="en-GB"/>
          </a:p>
        </p:txBody>
      </p:sp>
    </p:spTree>
    <p:extLst>
      <p:ext uri="{BB962C8B-B14F-4D97-AF65-F5344CB8AC3E}">
        <p14:creationId xmlns:p14="http://schemas.microsoft.com/office/powerpoint/2010/main" val="246463388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GB"/>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Date Placeholder 6"/>
          <p:cNvSpPr>
            <a:spLocks noGrp="1"/>
          </p:cNvSpPr>
          <p:nvPr>
            <p:ph type="dt" sz="half" idx="10"/>
          </p:nvPr>
        </p:nvSpPr>
        <p:spPr/>
        <p:txBody>
          <a:bodyPr/>
          <a:lstStyle/>
          <a:p>
            <a:fld id="{846CE7D5-CF57-46EF-B807-FDD0502418D4}" type="datetimeFigureOut">
              <a:rPr lang="en-GB" smtClean="0"/>
              <a:t>30/03/2026</a:t>
            </a:fld>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nvPr>
        </p:nvSpPr>
        <p:spPr/>
        <p:txBody>
          <a:bodyPr/>
          <a:lstStyle/>
          <a:p>
            <a:fld id="{330EA680-D336-4FF7-8B7A-9848BB0A1C32}" type="slidenum">
              <a:rPr lang="en-GB" smtClean="0"/>
              <a:t>‹#›</a:t>
            </a:fld>
            <a:endParaRPr lang="en-GB"/>
          </a:p>
        </p:txBody>
      </p:sp>
    </p:spTree>
    <p:extLst>
      <p:ext uri="{BB962C8B-B14F-4D97-AF65-F5344CB8AC3E}">
        <p14:creationId xmlns:p14="http://schemas.microsoft.com/office/powerpoint/2010/main" val="330313636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p>
        </p:txBody>
      </p:sp>
      <p:sp>
        <p:nvSpPr>
          <p:cNvPr id="3" name="Date Placeholder 2"/>
          <p:cNvSpPr>
            <a:spLocks noGrp="1"/>
          </p:cNvSpPr>
          <p:nvPr>
            <p:ph type="dt" sz="half" idx="10"/>
          </p:nvPr>
        </p:nvSpPr>
        <p:spPr/>
        <p:txBody>
          <a:bodyPr/>
          <a:lstStyle/>
          <a:p>
            <a:fld id="{846CE7D5-CF57-46EF-B807-FDD0502418D4}" type="datetimeFigureOut">
              <a:rPr lang="en-GB" smtClean="0"/>
              <a:t>30/03/2026</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330EA680-D336-4FF7-8B7A-9848BB0A1C32}" type="slidenum">
              <a:rPr lang="en-GB" smtClean="0"/>
              <a:t>‹#›</a:t>
            </a:fld>
            <a:endParaRPr lang="en-GB"/>
          </a:p>
        </p:txBody>
      </p:sp>
    </p:spTree>
    <p:extLst>
      <p:ext uri="{BB962C8B-B14F-4D97-AF65-F5344CB8AC3E}">
        <p14:creationId xmlns:p14="http://schemas.microsoft.com/office/powerpoint/2010/main" val="105628003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46CE7D5-CF57-46EF-B807-FDD0502418D4}" type="datetimeFigureOut">
              <a:rPr lang="en-GB" smtClean="0"/>
              <a:t>30/03/2026</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330EA680-D336-4FF7-8B7A-9848BB0A1C32}" type="slidenum">
              <a:rPr lang="en-GB" smtClean="0"/>
              <a:t>‹#›</a:t>
            </a:fld>
            <a:endParaRPr lang="en-GB"/>
          </a:p>
        </p:txBody>
      </p:sp>
    </p:spTree>
    <p:extLst>
      <p:ext uri="{BB962C8B-B14F-4D97-AF65-F5344CB8AC3E}">
        <p14:creationId xmlns:p14="http://schemas.microsoft.com/office/powerpoint/2010/main" val="91174269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GB"/>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GB" smtClean="0"/>
              <a:t>30/03/2026</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330EA680-D336-4FF7-8B7A-9848BB0A1C32}" type="slidenum">
              <a:rPr lang="en-GB" smtClean="0"/>
              <a:t>‹#›</a:t>
            </a:fld>
            <a:endParaRPr lang="en-GB"/>
          </a:p>
        </p:txBody>
      </p:sp>
    </p:spTree>
    <p:extLst>
      <p:ext uri="{BB962C8B-B14F-4D97-AF65-F5344CB8AC3E}">
        <p14:creationId xmlns:p14="http://schemas.microsoft.com/office/powerpoint/2010/main" val="374861768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GB"/>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GB" smtClean="0"/>
              <a:t>30/03/2026</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330EA680-D336-4FF7-8B7A-9848BB0A1C32}" type="slidenum">
              <a:rPr lang="en-GB" smtClean="0"/>
              <a:t>‹#›</a:t>
            </a:fld>
            <a:endParaRPr lang="en-GB"/>
          </a:p>
        </p:txBody>
      </p:sp>
    </p:spTree>
    <p:extLst>
      <p:ext uri="{BB962C8B-B14F-4D97-AF65-F5344CB8AC3E}">
        <p14:creationId xmlns:p14="http://schemas.microsoft.com/office/powerpoint/2010/main" val="311938619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p>
        </p:txBody>
      </p:sp>
      <p:sp>
        <p:nvSpPr>
          <p:cNvPr id="3" name="Vertical Text Placeholder 2"/>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p:cNvSpPr>
            <a:spLocks noGrp="1"/>
          </p:cNvSpPr>
          <p:nvPr>
            <p:ph type="dt" sz="half" idx="10"/>
          </p:nvPr>
        </p:nvSpPr>
        <p:spPr/>
        <p:txBody>
          <a:bodyPr/>
          <a:lstStyle/>
          <a:p>
            <a:fld id="{846CE7D5-CF57-46EF-B807-FDD0502418D4}" type="datetimeFigureOut">
              <a:rPr lang="en-GB" smtClean="0"/>
              <a:t>30/03/202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330EA680-D336-4FF7-8B7A-9848BB0A1C32}" type="slidenum">
              <a:rPr lang="en-GB" smtClean="0"/>
              <a:t>‹#›</a:t>
            </a:fld>
            <a:endParaRPr lang="en-GB"/>
          </a:p>
        </p:txBody>
      </p:sp>
    </p:spTree>
    <p:extLst>
      <p:ext uri="{BB962C8B-B14F-4D97-AF65-F5344CB8AC3E}">
        <p14:creationId xmlns:p14="http://schemas.microsoft.com/office/powerpoint/2010/main" val="373392112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vA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5" name="Freeform 8">
            <a:extLst>
              <a:ext uri="{FF2B5EF4-FFF2-40B4-BE49-F238E27FC236}">
                <a16:creationId xmlns:a16="http://schemas.microsoft.com/office/drawing/2014/main" id="{532B9038-B13C-E0B4-03A6-46D18D37D62C}"/>
              </a:ext>
            </a:extLst>
          </p:cNvPr>
          <p:cNvSpPr>
            <a:spLocks noChangeAspect="1"/>
          </p:cNvSpPr>
          <p:nvPr userDrawn="1"/>
        </p:nvSpPr>
        <p:spPr bwMode="auto">
          <a:xfrm rot="297759">
            <a:off x="8471436" y="309217"/>
            <a:ext cx="1989517" cy="2274765"/>
          </a:xfrm>
          <a:custGeom>
            <a:avLst/>
            <a:gdLst>
              <a:gd name="T0" fmla="*/ 885 w 2088"/>
              <a:gd name="T1" fmla="*/ 1051 h 2388"/>
              <a:gd name="T2" fmla="*/ 957 w 2088"/>
              <a:gd name="T3" fmla="*/ 1133 h 2388"/>
              <a:gd name="T4" fmla="*/ 1054 w 2088"/>
              <a:gd name="T5" fmla="*/ 1243 h 2388"/>
              <a:gd name="T6" fmla="*/ 1114 w 2088"/>
              <a:gd name="T7" fmla="*/ 1310 h 2388"/>
              <a:gd name="T8" fmla="*/ 1155 w 2088"/>
              <a:gd name="T9" fmla="*/ 1366 h 2388"/>
              <a:gd name="T10" fmla="*/ 1196 w 2088"/>
              <a:gd name="T11" fmla="*/ 1406 h 2388"/>
              <a:gd name="T12" fmla="*/ 1226 w 2088"/>
              <a:gd name="T13" fmla="*/ 1440 h 2388"/>
              <a:gd name="T14" fmla="*/ 1271 w 2088"/>
              <a:gd name="T15" fmla="*/ 1489 h 2388"/>
              <a:gd name="T16" fmla="*/ 1327 w 2088"/>
              <a:gd name="T17" fmla="*/ 1559 h 2388"/>
              <a:gd name="T18" fmla="*/ 1417 w 2088"/>
              <a:gd name="T19" fmla="*/ 1653 h 2388"/>
              <a:gd name="T20" fmla="*/ 1470 w 2088"/>
              <a:gd name="T21" fmla="*/ 1713 h 2388"/>
              <a:gd name="T22" fmla="*/ 1550 w 2088"/>
              <a:gd name="T23" fmla="*/ 1804 h 2388"/>
              <a:gd name="T24" fmla="*/ 1592 w 2088"/>
              <a:gd name="T25" fmla="*/ 1853 h 2388"/>
              <a:gd name="T26" fmla="*/ 1626 w 2088"/>
              <a:gd name="T27" fmla="*/ 1892 h 2388"/>
              <a:gd name="T28" fmla="*/ 1673 w 2088"/>
              <a:gd name="T29" fmla="*/ 1947 h 2388"/>
              <a:gd name="T30" fmla="*/ 1721 w 2088"/>
              <a:gd name="T31" fmla="*/ 2006 h 2388"/>
              <a:gd name="T32" fmla="*/ 1801 w 2088"/>
              <a:gd name="T33" fmla="*/ 2096 h 2388"/>
              <a:gd name="T34" fmla="*/ 1830 w 2088"/>
              <a:gd name="T35" fmla="*/ 2132 h 2388"/>
              <a:gd name="T36" fmla="*/ 1872 w 2088"/>
              <a:gd name="T37" fmla="*/ 2182 h 2388"/>
              <a:gd name="T38" fmla="*/ 1920 w 2088"/>
              <a:gd name="T39" fmla="*/ 2239 h 2388"/>
              <a:gd name="T40" fmla="*/ 1959 w 2088"/>
              <a:gd name="T41" fmla="*/ 2276 h 2388"/>
              <a:gd name="T42" fmla="*/ 1999 w 2088"/>
              <a:gd name="T43" fmla="*/ 2318 h 2388"/>
              <a:gd name="T44" fmla="*/ 2081 w 2088"/>
              <a:gd name="T45" fmla="*/ 2364 h 2388"/>
              <a:gd name="T46" fmla="*/ 1856 w 2088"/>
              <a:gd name="T47" fmla="*/ 2089 h 2388"/>
              <a:gd name="T48" fmla="*/ 1713 w 2088"/>
              <a:gd name="T49" fmla="*/ 1928 h 2388"/>
              <a:gd name="T50" fmla="*/ 1649 w 2088"/>
              <a:gd name="T51" fmla="*/ 1854 h 2388"/>
              <a:gd name="T52" fmla="*/ 1583 w 2088"/>
              <a:gd name="T53" fmla="*/ 1774 h 2388"/>
              <a:gd name="T54" fmla="*/ 1532 w 2088"/>
              <a:gd name="T55" fmla="*/ 1711 h 2388"/>
              <a:gd name="T56" fmla="*/ 1473 w 2088"/>
              <a:gd name="T57" fmla="*/ 1646 h 2388"/>
              <a:gd name="T58" fmla="*/ 1267 w 2088"/>
              <a:gd name="T59" fmla="*/ 1412 h 2388"/>
              <a:gd name="T60" fmla="*/ 1206 w 2088"/>
              <a:gd name="T61" fmla="*/ 1344 h 2388"/>
              <a:gd name="T62" fmla="*/ 1125 w 2088"/>
              <a:gd name="T63" fmla="*/ 1251 h 2388"/>
              <a:gd name="T64" fmla="*/ 1057 w 2088"/>
              <a:gd name="T65" fmla="*/ 1178 h 2388"/>
              <a:gd name="T66" fmla="*/ 1009 w 2088"/>
              <a:gd name="T67" fmla="*/ 1118 h 2388"/>
              <a:gd name="T68" fmla="*/ 983 w 2088"/>
              <a:gd name="T69" fmla="*/ 1089 h 2388"/>
              <a:gd name="T70" fmla="*/ 943 w 2088"/>
              <a:gd name="T71" fmla="*/ 1042 h 2388"/>
              <a:gd name="T72" fmla="*/ 893 w 2088"/>
              <a:gd name="T73" fmla="*/ 984 h 2388"/>
              <a:gd name="T74" fmla="*/ 858 w 2088"/>
              <a:gd name="T75" fmla="*/ 944 h 2388"/>
              <a:gd name="T76" fmla="*/ 805 w 2088"/>
              <a:gd name="T77" fmla="*/ 885 h 2388"/>
              <a:gd name="T78" fmla="*/ 755 w 2088"/>
              <a:gd name="T79" fmla="*/ 827 h 2388"/>
              <a:gd name="T80" fmla="*/ 669 w 2088"/>
              <a:gd name="T81" fmla="*/ 736 h 2388"/>
              <a:gd name="T82" fmla="*/ 582 w 2088"/>
              <a:gd name="T83" fmla="*/ 639 h 2388"/>
              <a:gd name="T84" fmla="*/ 512 w 2088"/>
              <a:gd name="T85" fmla="*/ 557 h 2388"/>
              <a:gd name="T86" fmla="*/ 472 w 2088"/>
              <a:gd name="T87" fmla="*/ 508 h 2388"/>
              <a:gd name="T88" fmla="*/ 435 w 2088"/>
              <a:gd name="T89" fmla="*/ 465 h 2388"/>
              <a:gd name="T90" fmla="*/ 399 w 2088"/>
              <a:gd name="T91" fmla="*/ 421 h 2388"/>
              <a:gd name="T92" fmla="*/ 332 w 2088"/>
              <a:gd name="T93" fmla="*/ 345 h 2388"/>
              <a:gd name="T94" fmla="*/ 286 w 2088"/>
              <a:gd name="T95" fmla="*/ 291 h 2388"/>
              <a:gd name="T96" fmla="*/ 267 w 2088"/>
              <a:gd name="T97" fmla="*/ 265 h 2388"/>
              <a:gd name="T98" fmla="*/ 231 w 2088"/>
              <a:gd name="T99" fmla="*/ 228 h 2388"/>
              <a:gd name="T100" fmla="*/ 189 w 2088"/>
              <a:gd name="T101" fmla="*/ 177 h 2388"/>
              <a:gd name="T102" fmla="*/ 150 w 2088"/>
              <a:gd name="T103" fmla="*/ 133 h 2388"/>
              <a:gd name="T104" fmla="*/ 117 w 2088"/>
              <a:gd name="T105" fmla="*/ 102 h 2388"/>
              <a:gd name="T106" fmla="*/ 74 w 2088"/>
              <a:gd name="T107" fmla="*/ 50 h 2388"/>
              <a:gd name="T108" fmla="*/ 225 w 2088"/>
              <a:gd name="T109" fmla="*/ 295 h 2388"/>
              <a:gd name="T110" fmla="*/ 363 w 2088"/>
              <a:gd name="T111" fmla="*/ 453 h 2388"/>
              <a:gd name="T112" fmla="*/ 428 w 2088"/>
              <a:gd name="T113" fmla="*/ 526 h 2388"/>
              <a:gd name="T114" fmla="*/ 505 w 2088"/>
              <a:gd name="T115" fmla="*/ 613 h 2388"/>
              <a:gd name="T116" fmla="*/ 554 w 2088"/>
              <a:gd name="T117" fmla="*/ 675 h 2388"/>
              <a:gd name="T118" fmla="*/ 722 w 2088"/>
              <a:gd name="T119" fmla="*/ 866 h 2388"/>
              <a:gd name="T120" fmla="*/ 818 w 2088"/>
              <a:gd name="T121" fmla="*/ 976 h 2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088" h="2388">
                <a:moveTo>
                  <a:pt x="843" y="1003"/>
                </a:moveTo>
                <a:lnTo>
                  <a:pt x="843" y="1003"/>
                </a:lnTo>
                <a:cubicBezTo>
                  <a:pt x="843" y="1004"/>
                  <a:pt x="844" y="1004"/>
                  <a:pt x="845" y="1005"/>
                </a:cubicBezTo>
                <a:cubicBezTo>
                  <a:pt x="846" y="1007"/>
                  <a:pt x="847" y="1009"/>
                  <a:pt x="848" y="1012"/>
                </a:cubicBezTo>
                <a:cubicBezTo>
                  <a:pt x="849" y="1013"/>
                  <a:pt x="849" y="1014"/>
                  <a:pt x="850" y="1015"/>
                </a:cubicBezTo>
                <a:cubicBezTo>
                  <a:pt x="850" y="1016"/>
                  <a:pt x="851" y="1017"/>
                  <a:pt x="851" y="1018"/>
                </a:cubicBezTo>
                <a:cubicBezTo>
                  <a:pt x="852" y="1018"/>
                  <a:pt x="853" y="1018"/>
                  <a:pt x="854" y="1019"/>
                </a:cubicBezTo>
                <a:cubicBezTo>
                  <a:pt x="855" y="1019"/>
                  <a:pt x="856" y="1019"/>
                  <a:pt x="856" y="1020"/>
                </a:cubicBezTo>
                <a:cubicBezTo>
                  <a:pt x="857" y="1021"/>
                  <a:pt x="856" y="1022"/>
                  <a:pt x="856" y="1023"/>
                </a:cubicBezTo>
                <a:cubicBezTo>
                  <a:pt x="857" y="1024"/>
                  <a:pt x="858" y="1024"/>
                  <a:pt x="859" y="1024"/>
                </a:cubicBezTo>
                <a:cubicBezTo>
                  <a:pt x="859" y="1025"/>
                  <a:pt x="859" y="1025"/>
                  <a:pt x="859" y="1025"/>
                </a:cubicBezTo>
                <a:cubicBezTo>
                  <a:pt x="859" y="1026"/>
                  <a:pt x="859" y="1026"/>
                  <a:pt x="859" y="1027"/>
                </a:cubicBezTo>
                <a:cubicBezTo>
                  <a:pt x="859" y="1027"/>
                  <a:pt x="859" y="1027"/>
                  <a:pt x="859" y="1028"/>
                </a:cubicBezTo>
                <a:cubicBezTo>
                  <a:pt x="859" y="1028"/>
                  <a:pt x="859" y="1028"/>
                  <a:pt x="859" y="1028"/>
                </a:cubicBezTo>
                <a:cubicBezTo>
                  <a:pt x="860" y="1028"/>
                  <a:pt x="860" y="1029"/>
                  <a:pt x="860" y="1029"/>
                </a:cubicBezTo>
                <a:cubicBezTo>
                  <a:pt x="861" y="1030"/>
                  <a:pt x="862" y="1030"/>
                  <a:pt x="863" y="1031"/>
                </a:cubicBezTo>
                <a:cubicBezTo>
                  <a:pt x="863" y="1032"/>
                  <a:pt x="864" y="1033"/>
                  <a:pt x="865" y="1034"/>
                </a:cubicBezTo>
                <a:cubicBezTo>
                  <a:pt x="867" y="1035"/>
                  <a:pt x="869" y="1038"/>
                  <a:pt x="871" y="1039"/>
                </a:cubicBezTo>
                <a:cubicBezTo>
                  <a:pt x="872" y="1040"/>
                  <a:pt x="872" y="1038"/>
                  <a:pt x="873" y="1038"/>
                </a:cubicBezTo>
                <a:cubicBezTo>
                  <a:pt x="873" y="1037"/>
                  <a:pt x="874" y="1038"/>
                  <a:pt x="874" y="1038"/>
                </a:cubicBezTo>
                <a:cubicBezTo>
                  <a:pt x="874" y="1038"/>
                  <a:pt x="874" y="1039"/>
                  <a:pt x="875" y="1040"/>
                </a:cubicBezTo>
                <a:cubicBezTo>
                  <a:pt x="875" y="1040"/>
                  <a:pt x="876" y="1041"/>
                  <a:pt x="876" y="1041"/>
                </a:cubicBezTo>
                <a:cubicBezTo>
                  <a:pt x="878" y="1043"/>
                  <a:pt x="879" y="1045"/>
                  <a:pt x="880" y="1046"/>
                </a:cubicBezTo>
                <a:cubicBezTo>
                  <a:pt x="881" y="1047"/>
                  <a:pt x="882" y="1052"/>
                  <a:pt x="885" y="1051"/>
                </a:cubicBezTo>
                <a:cubicBezTo>
                  <a:pt x="885" y="1051"/>
                  <a:pt x="885" y="1051"/>
                  <a:pt x="885" y="1051"/>
                </a:cubicBezTo>
                <a:cubicBezTo>
                  <a:pt x="886" y="1050"/>
                  <a:pt x="887" y="1053"/>
                  <a:pt x="888" y="1053"/>
                </a:cubicBezTo>
                <a:cubicBezTo>
                  <a:pt x="893" y="1061"/>
                  <a:pt x="897" y="1066"/>
                  <a:pt x="904" y="1074"/>
                </a:cubicBezTo>
                <a:cubicBezTo>
                  <a:pt x="905" y="1076"/>
                  <a:pt x="908" y="1077"/>
                  <a:pt x="909" y="1079"/>
                </a:cubicBezTo>
                <a:cubicBezTo>
                  <a:pt x="909" y="1080"/>
                  <a:pt x="909" y="1080"/>
                  <a:pt x="909" y="1081"/>
                </a:cubicBezTo>
                <a:cubicBezTo>
                  <a:pt x="909" y="1082"/>
                  <a:pt x="910" y="1083"/>
                  <a:pt x="910" y="1084"/>
                </a:cubicBezTo>
                <a:cubicBezTo>
                  <a:pt x="911" y="1085"/>
                  <a:pt x="913" y="1086"/>
                  <a:pt x="913" y="1087"/>
                </a:cubicBezTo>
                <a:cubicBezTo>
                  <a:pt x="914" y="1088"/>
                  <a:pt x="913" y="1089"/>
                  <a:pt x="914" y="1090"/>
                </a:cubicBezTo>
                <a:cubicBezTo>
                  <a:pt x="914" y="1091"/>
                  <a:pt x="916" y="1091"/>
                  <a:pt x="917" y="1091"/>
                </a:cubicBezTo>
                <a:cubicBezTo>
                  <a:pt x="919" y="1091"/>
                  <a:pt x="919" y="1091"/>
                  <a:pt x="920" y="1093"/>
                </a:cubicBezTo>
                <a:cubicBezTo>
                  <a:pt x="921" y="1094"/>
                  <a:pt x="923" y="1095"/>
                  <a:pt x="924" y="1097"/>
                </a:cubicBezTo>
                <a:cubicBezTo>
                  <a:pt x="928" y="1100"/>
                  <a:pt x="931" y="1104"/>
                  <a:pt x="932" y="1105"/>
                </a:cubicBezTo>
                <a:cubicBezTo>
                  <a:pt x="932" y="1106"/>
                  <a:pt x="933" y="1106"/>
                  <a:pt x="933" y="1107"/>
                </a:cubicBezTo>
                <a:cubicBezTo>
                  <a:pt x="934" y="1108"/>
                  <a:pt x="933" y="1109"/>
                  <a:pt x="933" y="1109"/>
                </a:cubicBezTo>
                <a:cubicBezTo>
                  <a:pt x="933" y="1110"/>
                  <a:pt x="934" y="1111"/>
                  <a:pt x="934" y="1112"/>
                </a:cubicBezTo>
                <a:cubicBezTo>
                  <a:pt x="935" y="1113"/>
                  <a:pt x="936" y="1114"/>
                  <a:pt x="937" y="1116"/>
                </a:cubicBezTo>
                <a:cubicBezTo>
                  <a:pt x="937" y="1116"/>
                  <a:pt x="937" y="1116"/>
                  <a:pt x="938" y="1116"/>
                </a:cubicBezTo>
                <a:cubicBezTo>
                  <a:pt x="938" y="1117"/>
                  <a:pt x="939" y="1117"/>
                  <a:pt x="939" y="1117"/>
                </a:cubicBezTo>
                <a:cubicBezTo>
                  <a:pt x="942" y="1117"/>
                  <a:pt x="945" y="1120"/>
                  <a:pt x="946" y="1122"/>
                </a:cubicBezTo>
                <a:cubicBezTo>
                  <a:pt x="946" y="1124"/>
                  <a:pt x="948" y="1126"/>
                  <a:pt x="949" y="1127"/>
                </a:cubicBezTo>
                <a:cubicBezTo>
                  <a:pt x="949" y="1128"/>
                  <a:pt x="950" y="1128"/>
                  <a:pt x="951" y="1128"/>
                </a:cubicBezTo>
                <a:cubicBezTo>
                  <a:pt x="951" y="1128"/>
                  <a:pt x="951" y="1128"/>
                  <a:pt x="952" y="1128"/>
                </a:cubicBezTo>
                <a:cubicBezTo>
                  <a:pt x="953" y="1128"/>
                  <a:pt x="954" y="1129"/>
                  <a:pt x="955" y="1130"/>
                </a:cubicBezTo>
                <a:cubicBezTo>
                  <a:pt x="956" y="1131"/>
                  <a:pt x="956" y="1132"/>
                  <a:pt x="957" y="1133"/>
                </a:cubicBezTo>
                <a:cubicBezTo>
                  <a:pt x="958" y="1135"/>
                  <a:pt x="959" y="1136"/>
                  <a:pt x="960" y="1137"/>
                </a:cubicBezTo>
                <a:cubicBezTo>
                  <a:pt x="962" y="1139"/>
                  <a:pt x="963" y="1140"/>
                  <a:pt x="965" y="1142"/>
                </a:cubicBezTo>
                <a:cubicBezTo>
                  <a:pt x="970" y="1146"/>
                  <a:pt x="975" y="1152"/>
                  <a:pt x="976" y="1153"/>
                </a:cubicBezTo>
                <a:cubicBezTo>
                  <a:pt x="977" y="1154"/>
                  <a:pt x="979" y="1156"/>
                  <a:pt x="980" y="1157"/>
                </a:cubicBezTo>
                <a:cubicBezTo>
                  <a:pt x="980" y="1157"/>
                  <a:pt x="981" y="1157"/>
                  <a:pt x="981" y="1157"/>
                </a:cubicBezTo>
                <a:cubicBezTo>
                  <a:pt x="982" y="1158"/>
                  <a:pt x="982" y="1160"/>
                  <a:pt x="983" y="1161"/>
                </a:cubicBezTo>
                <a:cubicBezTo>
                  <a:pt x="983" y="1162"/>
                  <a:pt x="984" y="1163"/>
                  <a:pt x="985" y="1164"/>
                </a:cubicBezTo>
                <a:cubicBezTo>
                  <a:pt x="988" y="1167"/>
                  <a:pt x="990" y="1170"/>
                  <a:pt x="993" y="1172"/>
                </a:cubicBezTo>
                <a:cubicBezTo>
                  <a:pt x="995" y="1175"/>
                  <a:pt x="997" y="1177"/>
                  <a:pt x="999" y="1179"/>
                </a:cubicBezTo>
                <a:cubicBezTo>
                  <a:pt x="1000" y="1181"/>
                  <a:pt x="1002" y="1185"/>
                  <a:pt x="1004" y="1186"/>
                </a:cubicBezTo>
                <a:cubicBezTo>
                  <a:pt x="1005" y="1186"/>
                  <a:pt x="1005" y="1186"/>
                  <a:pt x="1006" y="1186"/>
                </a:cubicBezTo>
                <a:cubicBezTo>
                  <a:pt x="1006" y="1186"/>
                  <a:pt x="1006" y="1187"/>
                  <a:pt x="1006" y="1187"/>
                </a:cubicBezTo>
                <a:cubicBezTo>
                  <a:pt x="1007" y="1188"/>
                  <a:pt x="1007" y="1188"/>
                  <a:pt x="1008" y="1190"/>
                </a:cubicBezTo>
                <a:cubicBezTo>
                  <a:pt x="1008" y="1191"/>
                  <a:pt x="1009" y="1192"/>
                  <a:pt x="1009" y="1193"/>
                </a:cubicBezTo>
                <a:cubicBezTo>
                  <a:pt x="1011" y="1195"/>
                  <a:pt x="1013" y="1196"/>
                  <a:pt x="1014" y="1198"/>
                </a:cubicBezTo>
                <a:cubicBezTo>
                  <a:pt x="1016" y="1199"/>
                  <a:pt x="1017" y="1201"/>
                  <a:pt x="1019" y="1202"/>
                </a:cubicBezTo>
                <a:cubicBezTo>
                  <a:pt x="1019" y="1203"/>
                  <a:pt x="1020" y="1203"/>
                  <a:pt x="1020" y="1204"/>
                </a:cubicBezTo>
                <a:cubicBezTo>
                  <a:pt x="1021" y="1204"/>
                  <a:pt x="1022" y="1204"/>
                  <a:pt x="1023" y="1204"/>
                </a:cubicBezTo>
                <a:cubicBezTo>
                  <a:pt x="1024" y="1204"/>
                  <a:pt x="1024" y="1205"/>
                  <a:pt x="1024" y="1205"/>
                </a:cubicBezTo>
                <a:cubicBezTo>
                  <a:pt x="1027" y="1208"/>
                  <a:pt x="1029" y="1210"/>
                  <a:pt x="1031" y="1213"/>
                </a:cubicBezTo>
                <a:cubicBezTo>
                  <a:pt x="1034" y="1215"/>
                  <a:pt x="1035" y="1218"/>
                  <a:pt x="1037" y="1220"/>
                </a:cubicBezTo>
                <a:cubicBezTo>
                  <a:pt x="1039" y="1223"/>
                  <a:pt x="1042" y="1226"/>
                  <a:pt x="1044" y="1228"/>
                </a:cubicBezTo>
                <a:cubicBezTo>
                  <a:pt x="1046" y="1231"/>
                  <a:pt x="1046" y="1234"/>
                  <a:pt x="1048" y="1237"/>
                </a:cubicBezTo>
                <a:cubicBezTo>
                  <a:pt x="1050" y="1239"/>
                  <a:pt x="1052" y="1241"/>
                  <a:pt x="1054" y="1243"/>
                </a:cubicBezTo>
                <a:cubicBezTo>
                  <a:pt x="1055" y="1244"/>
                  <a:pt x="1056" y="1245"/>
                  <a:pt x="1057" y="1246"/>
                </a:cubicBezTo>
                <a:cubicBezTo>
                  <a:pt x="1058" y="1247"/>
                  <a:pt x="1059" y="1248"/>
                  <a:pt x="1060" y="1249"/>
                </a:cubicBezTo>
                <a:cubicBezTo>
                  <a:pt x="1060" y="1249"/>
                  <a:pt x="1060" y="1250"/>
                  <a:pt x="1060" y="1250"/>
                </a:cubicBezTo>
                <a:cubicBezTo>
                  <a:pt x="1061" y="1252"/>
                  <a:pt x="1063" y="1254"/>
                  <a:pt x="1064" y="1256"/>
                </a:cubicBezTo>
                <a:cubicBezTo>
                  <a:pt x="1066" y="1258"/>
                  <a:pt x="1068" y="1261"/>
                  <a:pt x="1069" y="1263"/>
                </a:cubicBezTo>
                <a:cubicBezTo>
                  <a:pt x="1070" y="1264"/>
                  <a:pt x="1072" y="1266"/>
                  <a:pt x="1073" y="1267"/>
                </a:cubicBezTo>
                <a:cubicBezTo>
                  <a:pt x="1075" y="1268"/>
                  <a:pt x="1076" y="1268"/>
                  <a:pt x="1077" y="1269"/>
                </a:cubicBezTo>
                <a:cubicBezTo>
                  <a:pt x="1077" y="1270"/>
                  <a:pt x="1077" y="1270"/>
                  <a:pt x="1078" y="1270"/>
                </a:cubicBezTo>
                <a:cubicBezTo>
                  <a:pt x="1078" y="1271"/>
                  <a:pt x="1078" y="1271"/>
                  <a:pt x="1079" y="1272"/>
                </a:cubicBezTo>
                <a:cubicBezTo>
                  <a:pt x="1080" y="1273"/>
                  <a:pt x="1081" y="1274"/>
                  <a:pt x="1083" y="1275"/>
                </a:cubicBezTo>
                <a:cubicBezTo>
                  <a:pt x="1083" y="1275"/>
                  <a:pt x="1083" y="1275"/>
                  <a:pt x="1084" y="1275"/>
                </a:cubicBezTo>
                <a:cubicBezTo>
                  <a:pt x="1084" y="1276"/>
                  <a:pt x="1084" y="1276"/>
                  <a:pt x="1085" y="1276"/>
                </a:cubicBezTo>
                <a:cubicBezTo>
                  <a:pt x="1086" y="1278"/>
                  <a:pt x="1088" y="1279"/>
                  <a:pt x="1088" y="1281"/>
                </a:cubicBezTo>
                <a:cubicBezTo>
                  <a:pt x="1089" y="1283"/>
                  <a:pt x="1091" y="1285"/>
                  <a:pt x="1092" y="1287"/>
                </a:cubicBezTo>
                <a:cubicBezTo>
                  <a:pt x="1093" y="1289"/>
                  <a:pt x="1094" y="1292"/>
                  <a:pt x="1096" y="1294"/>
                </a:cubicBezTo>
                <a:cubicBezTo>
                  <a:pt x="1097" y="1296"/>
                  <a:pt x="1099" y="1297"/>
                  <a:pt x="1100" y="1298"/>
                </a:cubicBezTo>
                <a:cubicBezTo>
                  <a:pt x="1101" y="1298"/>
                  <a:pt x="1101" y="1299"/>
                  <a:pt x="1101" y="1299"/>
                </a:cubicBezTo>
                <a:cubicBezTo>
                  <a:pt x="1101" y="1299"/>
                  <a:pt x="1101" y="1299"/>
                  <a:pt x="1101" y="1300"/>
                </a:cubicBezTo>
                <a:cubicBezTo>
                  <a:pt x="1101" y="1300"/>
                  <a:pt x="1102" y="1300"/>
                  <a:pt x="1102" y="1301"/>
                </a:cubicBezTo>
                <a:cubicBezTo>
                  <a:pt x="1103" y="1302"/>
                  <a:pt x="1104" y="1304"/>
                  <a:pt x="1105" y="1305"/>
                </a:cubicBezTo>
                <a:cubicBezTo>
                  <a:pt x="1105" y="1306"/>
                  <a:pt x="1106" y="1307"/>
                  <a:pt x="1107" y="1308"/>
                </a:cubicBezTo>
                <a:cubicBezTo>
                  <a:pt x="1107" y="1308"/>
                  <a:pt x="1108" y="1309"/>
                  <a:pt x="1109" y="1309"/>
                </a:cubicBezTo>
                <a:cubicBezTo>
                  <a:pt x="1110" y="1310"/>
                  <a:pt x="1109" y="1308"/>
                  <a:pt x="1110" y="1307"/>
                </a:cubicBezTo>
                <a:cubicBezTo>
                  <a:pt x="1112" y="1307"/>
                  <a:pt x="1113" y="1309"/>
                  <a:pt x="1114" y="1310"/>
                </a:cubicBezTo>
                <a:cubicBezTo>
                  <a:pt x="1115" y="1311"/>
                  <a:pt x="1116" y="1313"/>
                  <a:pt x="1117" y="1314"/>
                </a:cubicBezTo>
                <a:cubicBezTo>
                  <a:pt x="1118" y="1316"/>
                  <a:pt x="1120" y="1317"/>
                  <a:pt x="1121" y="1319"/>
                </a:cubicBezTo>
                <a:cubicBezTo>
                  <a:pt x="1122" y="1320"/>
                  <a:pt x="1123" y="1320"/>
                  <a:pt x="1122" y="1322"/>
                </a:cubicBezTo>
                <a:cubicBezTo>
                  <a:pt x="1121" y="1323"/>
                  <a:pt x="1121" y="1324"/>
                  <a:pt x="1122" y="1325"/>
                </a:cubicBezTo>
                <a:cubicBezTo>
                  <a:pt x="1122" y="1325"/>
                  <a:pt x="1122" y="1325"/>
                  <a:pt x="1122" y="1325"/>
                </a:cubicBezTo>
                <a:cubicBezTo>
                  <a:pt x="1123" y="1325"/>
                  <a:pt x="1123" y="1326"/>
                  <a:pt x="1123" y="1326"/>
                </a:cubicBezTo>
                <a:cubicBezTo>
                  <a:pt x="1123" y="1326"/>
                  <a:pt x="1123" y="1327"/>
                  <a:pt x="1123" y="1327"/>
                </a:cubicBezTo>
                <a:cubicBezTo>
                  <a:pt x="1124" y="1328"/>
                  <a:pt x="1124" y="1328"/>
                  <a:pt x="1125" y="1329"/>
                </a:cubicBezTo>
                <a:cubicBezTo>
                  <a:pt x="1125" y="1329"/>
                  <a:pt x="1125" y="1329"/>
                  <a:pt x="1125" y="1329"/>
                </a:cubicBezTo>
                <a:cubicBezTo>
                  <a:pt x="1126" y="1330"/>
                  <a:pt x="1126" y="1330"/>
                  <a:pt x="1126" y="1330"/>
                </a:cubicBezTo>
                <a:cubicBezTo>
                  <a:pt x="1126" y="1331"/>
                  <a:pt x="1127" y="1332"/>
                  <a:pt x="1128" y="1333"/>
                </a:cubicBezTo>
                <a:cubicBezTo>
                  <a:pt x="1129" y="1334"/>
                  <a:pt x="1131" y="1335"/>
                  <a:pt x="1132" y="1337"/>
                </a:cubicBezTo>
                <a:cubicBezTo>
                  <a:pt x="1133" y="1338"/>
                  <a:pt x="1134" y="1340"/>
                  <a:pt x="1135" y="1341"/>
                </a:cubicBezTo>
                <a:cubicBezTo>
                  <a:pt x="1135" y="1342"/>
                  <a:pt x="1136" y="1343"/>
                  <a:pt x="1136" y="1343"/>
                </a:cubicBezTo>
                <a:cubicBezTo>
                  <a:pt x="1137" y="1343"/>
                  <a:pt x="1137" y="1344"/>
                  <a:pt x="1138" y="1344"/>
                </a:cubicBezTo>
                <a:cubicBezTo>
                  <a:pt x="1139" y="1345"/>
                  <a:pt x="1141" y="1346"/>
                  <a:pt x="1142" y="1348"/>
                </a:cubicBezTo>
                <a:cubicBezTo>
                  <a:pt x="1143" y="1349"/>
                  <a:pt x="1144" y="1350"/>
                  <a:pt x="1146" y="1351"/>
                </a:cubicBezTo>
                <a:cubicBezTo>
                  <a:pt x="1147" y="1352"/>
                  <a:pt x="1149" y="1353"/>
                  <a:pt x="1150" y="1355"/>
                </a:cubicBezTo>
                <a:cubicBezTo>
                  <a:pt x="1151" y="1356"/>
                  <a:pt x="1152" y="1358"/>
                  <a:pt x="1153" y="1359"/>
                </a:cubicBezTo>
                <a:cubicBezTo>
                  <a:pt x="1153" y="1360"/>
                  <a:pt x="1154" y="1361"/>
                  <a:pt x="1154" y="1362"/>
                </a:cubicBezTo>
                <a:cubicBezTo>
                  <a:pt x="1155" y="1362"/>
                  <a:pt x="1156" y="1363"/>
                  <a:pt x="1157" y="1364"/>
                </a:cubicBezTo>
                <a:cubicBezTo>
                  <a:pt x="1156" y="1364"/>
                  <a:pt x="1156" y="1364"/>
                  <a:pt x="1156" y="1364"/>
                </a:cubicBezTo>
                <a:cubicBezTo>
                  <a:pt x="1156" y="1364"/>
                  <a:pt x="1155" y="1364"/>
                  <a:pt x="1155" y="1365"/>
                </a:cubicBezTo>
                <a:cubicBezTo>
                  <a:pt x="1155" y="1365"/>
                  <a:pt x="1155" y="1365"/>
                  <a:pt x="1155" y="1366"/>
                </a:cubicBezTo>
                <a:cubicBezTo>
                  <a:pt x="1155" y="1366"/>
                  <a:pt x="1156" y="1366"/>
                  <a:pt x="1156" y="1366"/>
                </a:cubicBezTo>
                <a:cubicBezTo>
                  <a:pt x="1156" y="1366"/>
                  <a:pt x="1157" y="1366"/>
                  <a:pt x="1157" y="1366"/>
                </a:cubicBezTo>
                <a:cubicBezTo>
                  <a:pt x="1157" y="1367"/>
                  <a:pt x="1157" y="1367"/>
                  <a:pt x="1158" y="1367"/>
                </a:cubicBezTo>
                <a:cubicBezTo>
                  <a:pt x="1158" y="1367"/>
                  <a:pt x="1158" y="1367"/>
                  <a:pt x="1158" y="1367"/>
                </a:cubicBezTo>
                <a:cubicBezTo>
                  <a:pt x="1157" y="1368"/>
                  <a:pt x="1158" y="1368"/>
                  <a:pt x="1158" y="1368"/>
                </a:cubicBezTo>
                <a:cubicBezTo>
                  <a:pt x="1158" y="1368"/>
                  <a:pt x="1158" y="1368"/>
                  <a:pt x="1158" y="1368"/>
                </a:cubicBezTo>
                <a:cubicBezTo>
                  <a:pt x="1159" y="1369"/>
                  <a:pt x="1160" y="1370"/>
                  <a:pt x="1160" y="1370"/>
                </a:cubicBezTo>
                <a:cubicBezTo>
                  <a:pt x="1161" y="1371"/>
                  <a:pt x="1162" y="1373"/>
                  <a:pt x="1163" y="1374"/>
                </a:cubicBezTo>
                <a:cubicBezTo>
                  <a:pt x="1165" y="1377"/>
                  <a:pt x="1167" y="1379"/>
                  <a:pt x="1170" y="1381"/>
                </a:cubicBezTo>
                <a:cubicBezTo>
                  <a:pt x="1171" y="1383"/>
                  <a:pt x="1173" y="1384"/>
                  <a:pt x="1174" y="1385"/>
                </a:cubicBezTo>
                <a:cubicBezTo>
                  <a:pt x="1175" y="1385"/>
                  <a:pt x="1175" y="1386"/>
                  <a:pt x="1176" y="1386"/>
                </a:cubicBezTo>
                <a:cubicBezTo>
                  <a:pt x="1177" y="1387"/>
                  <a:pt x="1177" y="1387"/>
                  <a:pt x="1178" y="1388"/>
                </a:cubicBezTo>
                <a:cubicBezTo>
                  <a:pt x="1178" y="1388"/>
                  <a:pt x="1178" y="1388"/>
                  <a:pt x="1178" y="1388"/>
                </a:cubicBezTo>
                <a:cubicBezTo>
                  <a:pt x="1178" y="1388"/>
                  <a:pt x="1178" y="1389"/>
                  <a:pt x="1178" y="1389"/>
                </a:cubicBezTo>
                <a:cubicBezTo>
                  <a:pt x="1178" y="1390"/>
                  <a:pt x="1178" y="1390"/>
                  <a:pt x="1179" y="1391"/>
                </a:cubicBezTo>
                <a:cubicBezTo>
                  <a:pt x="1179" y="1391"/>
                  <a:pt x="1179" y="1392"/>
                  <a:pt x="1179" y="1392"/>
                </a:cubicBezTo>
                <a:cubicBezTo>
                  <a:pt x="1180" y="1392"/>
                  <a:pt x="1180" y="1392"/>
                  <a:pt x="1181" y="1392"/>
                </a:cubicBezTo>
                <a:cubicBezTo>
                  <a:pt x="1182" y="1392"/>
                  <a:pt x="1182" y="1392"/>
                  <a:pt x="1183" y="1392"/>
                </a:cubicBezTo>
                <a:cubicBezTo>
                  <a:pt x="1184" y="1393"/>
                  <a:pt x="1184" y="1393"/>
                  <a:pt x="1185" y="1393"/>
                </a:cubicBezTo>
                <a:cubicBezTo>
                  <a:pt x="1185" y="1394"/>
                  <a:pt x="1185" y="1395"/>
                  <a:pt x="1186" y="1396"/>
                </a:cubicBezTo>
                <a:cubicBezTo>
                  <a:pt x="1187" y="1397"/>
                  <a:pt x="1187" y="1396"/>
                  <a:pt x="1188" y="1396"/>
                </a:cubicBezTo>
                <a:cubicBezTo>
                  <a:pt x="1189" y="1397"/>
                  <a:pt x="1190" y="1399"/>
                  <a:pt x="1191" y="1399"/>
                </a:cubicBezTo>
                <a:cubicBezTo>
                  <a:pt x="1192" y="1401"/>
                  <a:pt x="1193" y="1402"/>
                  <a:pt x="1194" y="1404"/>
                </a:cubicBezTo>
                <a:cubicBezTo>
                  <a:pt x="1195" y="1404"/>
                  <a:pt x="1195" y="1405"/>
                  <a:pt x="1196" y="1406"/>
                </a:cubicBezTo>
                <a:cubicBezTo>
                  <a:pt x="1196" y="1407"/>
                  <a:pt x="1195" y="1408"/>
                  <a:pt x="1196" y="1408"/>
                </a:cubicBezTo>
                <a:cubicBezTo>
                  <a:pt x="1196" y="1409"/>
                  <a:pt x="1197" y="1410"/>
                  <a:pt x="1197" y="1410"/>
                </a:cubicBezTo>
                <a:cubicBezTo>
                  <a:pt x="1198" y="1410"/>
                  <a:pt x="1198" y="1409"/>
                  <a:pt x="1198" y="1409"/>
                </a:cubicBezTo>
                <a:cubicBezTo>
                  <a:pt x="1199" y="1409"/>
                  <a:pt x="1199" y="1410"/>
                  <a:pt x="1199" y="1410"/>
                </a:cubicBezTo>
                <a:cubicBezTo>
                  <a:pt x="1198" y="1411"/>
                  <a:pt x="1198" y="1411"/>
                  <a:pt x="1198" y="1411"/>
                </a:cubicBezTo>
                <a:cubicBezTo>
                  <a:pt x="1198" y="1412"/>
                  <a:pt x="1199" y="1412"/>
                  <a:pt x="1199" y="1412"/>
                </a:cubicBezTo>
                <a:cubicBezTo>
                  <a:pt x="1200" y="1412"/>
                  <a:pt x="1201" y="1412"/>
                  <a:pt x="1201" y="1412"/>
                </a:cubicBezTo>
                <a:cubicBezTo>
                  <a:pt x="1202" y="1412"/>
                  <a:pt x="1202" y="1413"/>
                  <a:pt x="1203" y="1413"/>
                </a:cubicBezTo>
                <a:cubicBezTo>
                  <a:pt x="1203" y="1414"/>
                  <a:pt x="1203" y="1414"/>
                  <a:pt x="1203" y="1414"/>
                </a:cubicBezTo>
                <a:cubicBezTo>
                  <a:pt x="1203" y="1415"/>
                  <a:pt x="1204" y="1416"/>
                  <a:pt x="1204" y="1417"/>
                </a:cubicBezTo>
                <a:cubicBezTo>
                  <a:pt x="1204" y="1417"/>
                  <a:pt x="1203" y="1418"/>
                  <a:pt x="1204" y="1419"/>
                </a:cubicBezTo>
                <a:cubicBezTo>
                  <a:pt x="1204" y="1419"/>
                  <a:pt x="1205" y="1420"/>
                  <a:pt x="1205" y="1420"/>
                </a:cubicBezTo>
                <a:cubicBezTo>
                  <a:pt x="1205" y="1420"/>
                  <a:pt x="1206" y="1421"/>
                  <a:pt x="1206" y="1421"/>
                </a:cubicBezTo>
                <a:cubicBezTo>
                  <a:pt x="1206" y="1421"/>
                  <a:pt x="1207" y="1421"/>
                  <a:pt x="1208" y="1421"/>
                </a:cubicBezTo>
                <a:cubicBezTo>
                  <a:pt x="1208" y="1421"/>
                  <a:pt x="1208" y="1421"/>
                  <a:pt x="1208" y="1421"/>
                </a:cubicBezTo>
                <a:cubicBezTo>
                  <a:pt x="1208" y="1421"/>
                  <a:pt x="1209" y="1421"/>
                  <a:pt x="1209" y="1421"/>
                </a:cubicBezTo>
                <a:cubicBezTo>
                  <a:pt x="1209" y="1421"/>
                  <a:pt x="1210" y="1421"/>
                  <a:pt x="1210" y="1422"/>
                </a:cubicBezTo>
                <a:cubicBezTo>
                  <a:pt x="1210" y="1422"/>
                  <a:pt x="1211" y="1422"/>
                  <a:pt x="1211" y="1423"/>
                </a:cubicBezTo>
                <a:cubicBezTo>
                  <a:pt x="1212" y="1423"/>
                  <a:pt x="1212" y="1424"/>
                  <a:pt x="1213" y="1425"/>
                </a:cubicBezTo>
                <a:cubicBezTo>
                  <a:pt x="1214" y="1426"/>
                  <a:pt x="1215" y="1428"/>
                  <a:pt x="1216" y="1429"/>
                </a:cubicBezTo>
                <a:cubicBezTo>
                  <a:pt x="1217" y="1430"/>
                  <a:pt x="1219" y="1433"/>
                  <a:pt x="1219" y="1435"/>
                </a:cubicBezTo>
                <a:cubicBezTo>
                  <a:pt x="1218" y="1435"/>
                  <a:pt x="1219" y="1436"/>
                  <a:pt x="1220" y="1437"/>
                </a:cubicBezTo>
                <a:cubicBezTo>
                  <a:pt x="1221" y="1438"/>
                  <a:pt x="1221" y="1439"/>
                  <a:pt x="1222" y="1439"/>
                </a:cubicBezTo>
                <a:cubicBezTo>
                  <a:pt x="1223" y="1440"/>
                  <a:pt x="1225" y="1439"/>
                  <a:pt x="1226" y="1440"/>
                </a:cubicBezTo>
                <a:cubicBezTo>
                  <a:pt x="1227" y="1440"/>
                  <a:pt x="1227" y="1442"/>
                  <a:pt x="1228" y="1443"/>
                </a:cubicBezTo>
                <a:cubicBezTo>
                  <a:pt x="1228" y="1444"/>
                  <a:pt x="1229" y="1445"/>
                  <a:pt x="1229" y="1447"/>
                </a:cubicBezTo>
                <a:cubicBezTo>
                  <a:pt x="1229" y="1448"/>
                  <a:pt x="1229" y="1449"/>
                  <a:pt x="1231" y="1449"/>
                </a:cubicBezTo>
                <a:cubicBezTo>
                  <a:pt x="1231" y="1449"/>
                  <a:pt x="1231" y="1449"/>
                  <a:pt x="1232" y="1449"/>
                </a:cubicBezTo>
                <a:cubicBezTo>
                  <a:pt x="1232" y="1449"/>
                  <a:pt x="1233" y="1449"/>
                  <a:pt x="1234" y="1449"/>
                </a:cubicBezTo>
                <a:cubicBezTo>
                  <a:pt x="1234" y="1450"/>
                  <a:pt x="1235" y="1451"/>
                  <a:pt x="1235" y="1451"/>
                </a:cubicBezTo>
                <a:cubicBezTo>
                  <a:pt x="1236" y="1452"/>
                  <a:pt x="1238" y="1454"/>
                  <a:pt x="1239" y="1454"/>
                </a:cubicBezTo>
                <a:cubicBezTo>
                  <a:pt x="1239" y="1454"/>
                  <a:pt x="1239" y="1454"/>
                  <a:pt x="1240" y="1454"/>
                </a:cubicBezTo>
                <a:cubicBezTo>
                  <a:pt x="1240" y="1455"/>
                  <a:pt x="1240" y="1455"/>
                  <a:pt x="1241" y="1455"/>
                </a:cubicBezTo>
                <a:cubicBezTo>
                  <a:pt x="1241" y="1456"/>
                  <a:pt x="1241" y="1456"/>
                  <a:pt x="1241" y="1456"/>
                </a:cubicBezTo>
                <a:cubicBezTo>
                  <a:pt x="1241" y="1456"/>
                  <a:pt x="1242" y="1457"/>
                  <a:pt x="1242" y="1457"/>
                </a:cubicBezTo>
                <a:cubicBezTo>
                  <a:pt x="1242" y="1457"/>
                  <a:pt x="1242" y="1458"/>
                  <a:pt x="1242" y="1458"/>
                </a:cubicBezTo>
                <a:cubicBezTo>
                  <a:pt x="1242" y="1459"/>
                  <a:pt x="1243" y="1460"/>
                  <a:pt x="1244" y="1461"/>
                </a:cubicBezTo>
                <a:cubicBezTo>
                  <a:pt x="1245" y="1462"/>
                  <a:pt x="1246" y="1463"/>
                  <a:pt x="1247" y="1465"/>
                </a:cubicBezTo>
                <a:cubicBezTo>
                  <a:pt x="1248" y="1466"/>
                  <a:pt x="1249" y="1467"/>
                  <a:pt x="1250" y="1468"/>
                </a:cubicBezTo>
                <a:cubicBezTo>
                  <a:pt x="1251" y="1468"/>
                  <a:pt x="1252" y="1469"/>
                  <a:pt x="1252" y="1469"/>
                </a:cubicBezTo>
                <a:cubicBezTo>
                  <a:pt x="1253" y="1469"/>
                  <a:pt x="1253" y="1470"/>
                  <a:pt x="1254" y="1470"/>
                </a:cubicBezTo>
                <a:cubicBezTo>
                  <a:pt x="1254" y="1470"/>
                  <a:pt x="1255" y="1470"/>
                  <a:pt x="1255" y="1471"/>
                </a:cubicBezTo>
                <a:cubicBezTo>
                  <a:pt x="1255" y="1471"/>
                  <a:pt x="1255" y="1471"/>
                  <a:pt x="1255" y="1471"/>
                </a:cubicBezTo>
                <a:cubicBezTo>
                  <a:pt x="1255" y="1472"/>
                  <a:pt x="1256" y="1472"/>
                  <a:pt x="1256" y="1472"/>
                </a:cubicBezTo>
                <a:cubicBezTo>
                  <a:pt x="1256" y="1472"/>
                  <a:pt x="1256" y="1472"/>
                  <a:pt x="1256" y="1473"/>
                </a:cubicBezTo>
                <a:cubicBezTo>
                  <a:pt x="1256" y="1474"/>
                  <a:pt x="1258" y="1475"/>
                  <a:pt x="1259" y="1476"/>
                </a:cubicBezTo>
                <a:cubicBezTo>
                  <a:pt x="1260" y="1477"/>
                  <a:pt x="1262" y="1479"/>
                  <a:pt x="1263" y="1480"/>
                </a:cubicBezTo>
                <a:cubicBezTo>
                  <a:pt x="1266" y="1483"/>
                  <a:pt x="1269" y="1486"/>
                  <a:pt x="1271" y="1489"/>
                </a:cubicBezTo>
                <a:cubicBezTo>
                  <a:pt x="1273" y="1491"/>
                  <a:pt x="1274" y="1492"/>
                  <a:pt x="1274" y="1494"/>
                </a:cubicBezTo>
                <a:cubicBezTo>
                  <a:pt x="1275" y="1495"/>
                  <a:pt x="1275" y="1496"/>
                  <a:pt x="1275" y="1496"/>
                </a:cubicBezTo>
                <a:cubicBezTo>
                  <a:pt x="1276" y="1497"/>
                  <a:pt x="1277" y="1496"/>
                  <a:pt x="1277" y="1497"/>
                </a:cubicBezTo>
                <a:cubicBezTo>
                  <a:pt x="1278" y="1497"/>
                  <a:pt x="1279" y="1499"/>
                  <a:pt x="1280" y="1500"/>
                </a:cubicBezTo>
                <a:cubicBezTo>
                  <a:pt x="1281" y="1502"/>
                  <a:pt x="1283" y="1503"/>
                  <a:pt x="1285" y="1506"/>
                </a:cubicBezTo>
                <a:cubicBezTo>
                  <a:pt x="1285" y="1506"/>
                  <a:pt x="1284" y="1506"/>
                  <a:pt x="1284" y="1507"/>
                </a:cubicBezTo>
                <a:cubicBezTo>
                  <a:pt x="1285" y="1508"/>
                  <a:pt x="1285" y="1508"/>
                  <a:pt x="1286" y="1509"/>
                </a:cubicBezTo>
                <a:cubicBezTo>
                  <a:pt x="1287" y="1509"/>
                  <a:pt x="1287" y="1510"/>
                  <a:pt x="1288" y="1510"/>
                </a:cubicBezTo>
                <a:cubicBezTo>
                  <a:pt x="1288" y="1510"/>
                  <a:pt x="1288" y="1509"/>
                  <a:pt x="1289" y="1509"/>
                </a:cubicBezTo>
                <a:cubicBezTo>
                  <a:pt x="1290" y="1509"/>
                  <a:pt x="1289" y="1510"/>
                  <a:pt x="1289" y="1510"/>
                </a:cubicBezTo>
                <a:cubicBezTo>
                  <a:pt x="1290" y="1511"/>
                  <a:pt x="1291" y="1511"/>
                  <a:pt x="1291" y="1512"/>
                </a:cubicBezTo>
                <a:cubicBezTo>
                  <a:pt x="1292" y="1513"/>
                  <a:pt x="1291" y="1515"/>
                  <a:pt x="1292" y="1516"/>
                </a:cubicBezTo>
                <a:cubicBezTo>
                  <a:pt x="1293" y="1516"/>
                  <a:pt x="1294" y="1516"/>
                  <a:pt x="1294" y="1516"/>
                </a:cubicBezTo>
                <a:cubicBezTo>
                  <a:pt x="1295" y="1517"/>
                  <a:pt x="1295" y="1518"/>
                  <a:pt x="1295" y="1518"/>
                </a:cubicBezTo>
                <a:cubicBezTo>
                  <a:pt x="1296" y="1519"/>
                  <a:pt x="1297" y="1518"/>
                  <a:pt x="1297" y="1519"/>
                </a:cubicBezTo>
                <a:cubicBezTo>
                  <a:pt x="1298" y="1519"/>
                  <a:pt x="1298" y="1519"/>
                  <a:pt x="1298" y="1520"/>
                </a:cubicBezTo>
                <a:cubicBezTo>
                  <a:pt x="1298" y="1520"/>
                  <a:pt x="1298" y="1521"/>
                  <a:pt x="1299" y="1521"/>
                </a:cubicBezTo>
                <a:cubicBezTo>
                  <a:pt x="1300" y="1522"/>
                  <a:pt x="1301" y="1523"/>
                  <a:pt x="1302" y="1525"/>
                </a:cubicBezTo>
                <a:cubicBezTo>
                  <a:pt x="1313" y="1536"/>
                  <a:pt x="1318" y="1542"/>
                  <a:pt x="1318" y="1542"/>
                </a:cubicBezTo>
                <a:cubicBezTo>
                  <a:pt x="1319" y="1542"/>
                  <a:pt x="1324" y="1548"/>
                  <a:pt x="1325" y="1550"/>
                </a:cubicBezTo>
                <a:cubicBezTo>
                  <a:pt x="1326" y="1552"/>
                  <a:pt x="1326" y="1554"/>
                  <a:pt x="1327" y="1555"/>
                </a:cubicBezTo>
                <a:cubicBezTo>
                  <a:pt x="1328" y="1556"/>
                  <a:pt x="1329" y="1557"/>
                  <a:pt x="1329" y="1557"/>
                </a:cubicBezTo>
                <a:cubicBezTo>
                  <a:pt x="1329" y="1558"/>
                  <a:pt x="1328" y="1558"/>
                  <a:pt x="1327" y="1558"/>
                </a:cubicBezTo>
                <a:cubicBezTo>
                  <a:pt x="1327" y="1558"/>
                  <a:pt x="1327" y="1558"/>
                  <a:pt x="1327" y="1559"/>
                </a:cubicBezTo>
                <a:cubicBezTo>
                  <a:pt x="1327" y="1559"/>
                  <a:pt x="1328" y="1559"/>
                  <a:pt x="1328" y="1560"/>
                </a:cubicBezTo>
                <a:cubicBezTo>
                  <a:pt x="1329" y="1560"/>
                  <a:pt x="1330" y="1561"/>
                  <a:pt x="1331" y="1561"/>
                </a:cubicBezTo>
                <a:cubicBezTo>
                  <a:pt x="1332" y="1562"/>
                  <a:pt x="1333" y="1563"/>
                  <a:pt x="1334" y="1564"/>
                </a:cubicBezTo>
                <a:cubicBezTo>
                  <a:pt x="1334" y="1564"/>
                  <a:pt x="1335" y="1564"/>
                  <a:pt x="1335" y="1565"/>
                </a:cubicBezTo>
                <a:cubicBezTo>
                  <a:pt x="1335" y="1565"/>
                  <a:pt x="1335" y="1566"/>
                  <a:pt x="1334" y="1566"/>
                </a:cubicBezTo>
                <a:cubicBezTo>
                  <a:pt x="1334" y="1567"/>
                  <a:pt x="1334" y="1568"/>
                  <a:pt x="1335" y="1568"/>
                </a:cubicBezTo>
                <a:cubicBezTo>
                  <a:pt x="1335" y="1568"/>
                  <a:pt x="1335" y="1568"/>
                  <a:pt x="1336" y="1568"/>
                </a:cubicBezTo>
                <a:cubicBezTo>
                  <a:pt x="1338" y="1567"/>
                  <a:pt x="1341" y="1570"/>
                  <a:pt x="1342" y="1572"/>
                </a:cubicBezTo>
                <a:cubicBezTo>
                  <a:pt x="1345" y="1575"/>
                  <a:pt x="1349" y="1579"/>
                  <a:pt x="1350" y="1580"/>
                </a:cubicBezTo>
                <a:cubicBezTo>
                  <a:pt x="1352" y="1582"/>
                  <a:pt x="1353" y="1584"/>
                  <a:pt x="1356" y="1585"/>
                </a:cubicBezTo>
                <a:cubicBezTo>
                  <a:pt x="1357" y="1585"/>
                  <a:pt x="1358" y="1586"/>
                  <a:pt x="1358" y="1588"/>
                </a:cubicBezTo>
                <a:cubicBezTo>
                  <a:pt x="1359" y="1589"/>
                  <a:pt x="1359" y="1590"/>
                  <a:pt x="1360" y="1591"/>
                </a:cubicBezTo>
                <a:cubicBezTo>
                  <a:pt x="1361" y="1592"/>
                  <a:pt x="1361" y="1593"/>
                  <a:pt x="1362" y="1593"/>
                </a:cubicBezTo>
                <a:cubicBezTo>
                  <a:pt x="1365" y="1596"/>
                  <a:pt x="1368" y="1599"/>
                  <a:pt x="1370" y="1602"/>
                </a:cubicBezTo>
                <a:cubicBezTo>
                  <a:pt x="1373" y="1605"/>
                  <a:pt x="1376" y="1608"/>
                  <a:pt x="1379" y="1611"/>
                </a:cubicBezTo>
                <a:cubicBezTo>
                  <a:pt x="1389" y="1622"/>
                  <a:pt x="1399" y="1634"/>
                  <a:pt x="1402" y="1637"/>
                </a:cubicBezTo>
                <a:cubicBezTo>
                  <a:pt x="1403" y="1638"/>
                  <a:pt x="1404" y="1639"/>
                  <a:pt x="1405" y="1640"/>
                </a:cubicBezTo>
                <a:cubicBezTo>
                  <a:pt x="1406" y="1641"/>
                  <a:pt x="1406" y="1643"/>
                  <a:pt x="1408" y="1643"/>
                </a:cubicBezTo>
                <a:cubicBezTo>
                  <a:pt x="1408" y="1643"/>
                  <a:pt x="1408" y="1643"/>
                  <a:pt x="1407" y="1643"/>
                </a:cubicBezTo>
                <a:cubicBezTo>
                  <a:pt x="1407" y="1644"/>
                  <a:pt x="1407" y="1644"/>
                  <a:pt x="1408" y="1645"/>
                </a:cubicBezTo>
                <a:cubicBezTo>
                  <a:pt x="1408" y="1645"/>
                  <a:pt x="1409" y="1645"/>
                  <a:pt x="1409" y="1645"/>
                </a:cubicBezTo>
                <a:cubicBezTo>
                  <a:pt x="1409" y="1645"/>
                  <a:pt x="1410" y="1645"/>
                  <a:pt x="1410" y="1645"/>
                </a:cubicBezTo>
                <a:cubicBezTo>
                  <a:pt x="1412" y="1646"/>
                  <a:pt x="1413" y="1648"/>
                  <a:pt x="1414" y="1650"/>
                </a:cubicBezTo>
                <a:cubicBezTo>
                  <a:pt x="1415" y="1651"/>
                  <a:pt x="1416" y="1653"/>
                  <a:pt x="1417" y="1653"/>
                </a:cubicBezTo>
                <a:cubicBezTo>
                  <a:pt x="1417" y="1653"/>
                  <a:pt x="1417" y="1653"/>
                  <a:pt x="1417" y="1653"/>
                </a:cubicBezTo>
                <a:cubicBezTo>
                  <a:pt x="1418" y="1654"/>
                  <a:pt x="1418" y="1654"/>
                  <a:pt x="1419" y="1654"/>
                </a:cubicBezTo>
                <a:cubicBezTo>
                  <a:pt x="1419" y="1654"/>
                  <a:pt x="1419" y="1654"/>
                  <a:pt x="1420" y="1654"/>
                </a:cubicBezTo>
                <a:cubicBezTo>
                  <a:pt x="1420" y="1655"/>
                  <a:pt x="1421" y="1656"/>
                  <a:pt x="1420" y="1656"/>
                </a:cubicBezTo>
                <a:cubicBezTo>
                  <a:pt x="1420" y="1657"/>
                  <a:pt x="1419" y="1657"/>
                  <a:pt x="1419" y="1657"/>
                </a:cubicBezTo>
                <a:cubicBezTo>
                  <a:pt x="1419" y="1657"/>
                  <a:pt x="1419" y="1657"/>
                  <a:pt x="1419" y="1658"/>
                </a:cubicBezTo>
                <a:cubicBezTo>
                  <a:pt x="1419" y="1658"/>
                  <a:pt x="1420" y="1658"/>
                  <a:pt x="1420" y="1658"/>
                </a:cubicBezTo>
                <a:cubicBezTo>
                  <a:pt x="1421" y="1659"/>
                  <a:pt x="1423" y="1660"/>
                  <a:pt x="1424" y="1661"/>
                </a:cubicBezTo>
                <a:cubicBezTo>
                  <a:pt x="1425" y="1662"/>
                  <a:pt x="1427" y="1664"/>
                  <a:pt x="1428" y="1665"/>
                </a:cubicBezTo>
                <a:cubicBezTo>
                  <a:pt x="1428" y="1666"/>
                  <a:pt x="1428" y="1666"/>
                  <a:pt x="1428" y="1666"/>
                </a:cubicBezTo>
                <a:cubicBezTo>
                  <a:pt x="1428" y="1667"/>
                  <a:pt x="1428" y="1667"/>
                  <a:pt x="1429" y="1667"/>
                </a:cubicBezTo>
                <a:cubicBezTo>
                  <a:pt x="1429" y="1668"/>
                  <a:pt x="1430" y="1670"/>
                  <a:pt x="1431" y="1670"/>
                </a:cubicBezTo>
                <a:cubicBezTo>
                  <a:pt x="1432" y="1671"/>
                  <a:pt x="1436" y="1675"/>
                  <a:pt x="1439" y="1679"/>
                </a:cubicBezTo>
                <a:cubicBezTo>
                  <a:pt x="1440" y="1680"/>
                  <a:pt x="1442" y="1681"/>
                  <a:pt x="1443" y="1683"/>
                </a:cubicBezTo>
                <a:cubicBezTo>
                  <a:pt x="1443" y="1684"/>
                  <a:pt x="1444" y="1685"/>
                  <a:pt x="1445" y="1685"/>
                </a:cubicBezTo>
                <a:cubicBezTo>
                  <a:pt x="1445" y="1685"/>
                  <a:pt x="1446" y="1685"/>
                  <a:pt x="1447" y="1685"/>
                </a:cubicBezTo>
                <a:cubicBezTo>
                  <a:pt x="1447" y="1686"/>
                  <a:pt x="1448" y="1686"/>
                  <a:pt x="1448" y="1687"/>
                </a:cubicBezTo>
                <a:cubicBezTo>
                  <a:pt x="1448" y="1687"/>
                  <a:pt x="1448" y="1688"/>
                  <a:pt x="1448" y="1688"/>
                </a:cubicBezTo>
                <a:cubicBezTo>
                  <a:pt x="1448" y="1689"/>
                  <a:pt x="1448" y="1689"/>
                  <a:pt x="1449" y="1690"/>
                </a:cubicBezTo>
                <a:cubicBezTo>
                  <a:pt x="1450" y="1691"/>
                  <a:pt x="1451" y="1692"/>
                  <a:pt x="1452" y="1693"/>
                </a:cubicBezTo>
                <a:cubicBezTo>
                  <a:pt x="1454" y="1695"/>
                  <a:pt x="1456" y="1698"/>
                  <a:pt x="1458" y="1700"/>
                </a:cubicBezTo>
                <a:cubicBezTo>
                  <a:pt x="1460" y="1702"/>
                  <a:pt x="1462" y="1705"/>
                  <a:pt x="1464" y="1707"/>
                </a:cubicBezTo>
                <a:cubicBezTo>
                  <a:pt x="1465" y="1709"/>
                  <a:pt x="1467" y="1712"/>
                  <a:pt x="1469" y="1712"/>
                </a:cubicBezTo>
                <a:cubicBezTo>
                  <a:pt x="1469" y="1713"/>
                  <a:pt x="1470" y="1713"/>
                  <a:pt x="1470" y="1713"/>
                </a:cubicBezTo>
                <a:cubicBezTo>
                  <a:pt x="1470" y="1713"/>
                  <a:pt x="1470" y="1713"/>
                  <a:pt x="1471" y="1714"/>
                </a:cubicBezTo>
                <a:cubicBezTo>
                  <a:pt x="1471" y="1714"/>
                  <a:pt x="1471" y="1714"/>
                  <a:pt x="1472" y="1714"/>
                </a:cubicBezTo>
                <a:cubicBezTo>
                  <a:pt x="1472" y="1714"/>
                  <a:pt x="1472" y="1715"/>
                  <a:pt x="1472" y="1715"/>
                </a:cubicBezTo>
                <a:cubicBezTo>
                  <a:pt x="1474" y="1716"/>
                  <a:pt x="1475" y="1718"/>
                  <a:pt x="1477" y="1720"/>
                </a:cubicBezTo>
                <a:cubicBezTo>
                  <a:pt x="1478" y="1722"/>
                  <a:pt x="1479" y="1723"/>
                  <a:pt x="1480" y="1725"/>
                </a:cubicBezTo>
                <a:cubicBezTo>
                  <a:pt x="1483" y="1729"/>
                  <a:pt x="1487" y="1732"/>
                  <a:pt x="1490" y="1736"/>
                </a:cubicBezTo>
                <a:cubicBezTo>
                  <a:pt x="1496" y="1742"/>
                  <a:pt x="1501" y="1748"/>
                  <a:pt x="1507" y="1754"/>
                </a:cubicBezTo>
                <a:cubicBezTo>
                  <a:pt x="1507" y="1754"/>
                  <a:pt x="1507" y="1754"/>
                  <a:pt x="1507" y="1755"/>
                </a:cubicBezTo>
                <a:cubicBezTo>
                  <a:pt x="1507" y="1755"/>
                  <a:pt x="1507" y="1755"/>
                  <a:pt x="1507" y="1755"/>
                </a:cubicBezTo>
                <a:cubicBezTo>
                  <a:pt x="1507" y="1755"/>
                  <a:pt x="1507" y="1756"/>
                  <a:pt x="1507" y="1756"/>
                </a:cubicBezTo>
                <a:cubicBezTo>
                  <a:pt x="1508" y="1756"/>
                  <a:pt x="1509" y="1757"/>
                  <a:pt x="1509" y="1758"/>
                </a:cubicBezTo>
                <a:cubicBezTo>
                  <a:pt x="1510" y="1759"/>
                  <a:pt x="1510" y="1760"/>
                  <a:pt x="1511" y="1761"/>
                </a:cubicBezTo>
                <a:cubicBezTo>
                  <a:pt x="1511" y="1761"/>
                  <a:pt x="1511" y="1762"/>
                  <a:pt x="1512" y="1763"/>
                </a:cubicBezTo>
                <a:cubicBezTo>
                  <a:pt x="1512" y="1763"/>
                  <a:pt x="1513" y="1763"/>
                  <a:pt x="1514" y="1763"/>
                </a:cubicBezTo>
                <a:cubicBezTo>
                  <a:pt x="1515" y="1763"/>
                  <a:pt x="1515" y="1765"/>
                  <a:pt x="1516" y="1765"/>
                </a:cubicBezTo>
                <a:cubicBezTo>
                  <a:pt x="1517" y="1767"/>
                  <a:pt x="1520" y="1771"/>
                  <a:pt x="1522" y="1772"/>
                </a:cubicBezTo>
                <a:cubicBezTo>
                  <a:pt x="1525" y="1775"/>
                  <a:pt x="1532" y="1784"/>
                  <a:pt x="1536" y="1788"/>
                </a:cubicBezTo>
                <a:cubicBezTo>
                  <a:pt x="1537" y="1789"/>
                  <a:pt x="1539" y="1792"/>
                  <a:pt x="1541" y="1794"/>
                </a:cubicBezTo>
                <a:cubicBezTo>
                  <a:pt x="1542" y="1795"/>
                  <a:pt x="1543" y="1796"/>
                  <a:pt x="1544" y="1797"/>
                </a:cubicBezTo>
                <a:cubicBezTo>
                  <a:pt x="1543" y="1797"/>
                  <a:pt x="1543" y="1798"/>
                  <a:pt x="1543" y="1798"/>
                </a:cubicBezTo>
                <a:cubicBezTo>
                  <a:pt x="1543" y="1798"/>
                  <a:pt x="1544" y="1799"/>
                  <a:pt x="1544" y="1799"/>
                </a:cubicBezTo>
                <a:cubicBezTo>
                  <a:pt x="1544" y="1800"/>
                  <a:pt x="1545" y="1800"/>
                  <a:pt x="1545" y="1801"/>
                </a:cubicBezTo>
                <a:cubicBezTo>
                  <a:pt x="1545" y="1801"/>
                  <a:pt x="1546" y="1801"/>
                  <a:pt x="1546" y="1801"/>
                </a:cubicBezTo>
                <a:cubicBezTo>
                  <a:pt x="1547" y="1802"/>
                  <a:pt x="1549" y="1803"/>
                  <a:pt x="1550" y="1804"/>
                </a:cubicBezTo>
                <a:cubicBezTo>
                  <a:pt x="1550" y="1806"/>
                  <a:pt x="1550" y="1808"/>
                  <a:pt x="1550" y="1809"/>
                </a:cubicBezTo>
                <a:cubicBezTo>
                  <a:pt x="1549" y="1810"/>
                  <a:pt x="1550" y="1810"/>
                  <a:pt x="1551" y="1810"/>
                </a:cubicBezTo>
                <a:cubicBezTo>
                  <a:pt x="1552" y="1810"/>
                  <a:pt x="1553" y="1811"/>
                  <a:pt x="1554" y="1811"/>
                </a:cubicBezTo>
                <a:cubicBezTo>
                  <a:pt x="1554" y="1811"/>
                  <a:pt x="1554" y="1811"/>
                  <a:pt x="1554" y="1811"/>
                </a:cubicBezTo>
                <a:cubicBezTo>
                  <a:pt x="1555" y="1811"/>
                  <a:pt x="1555" y="1811"/>
                  <a:pt x="1555" y="1811"/>
                </a:cubicBezTo>
                <a:cubicBezTo>
                  <a:pt x="1555" y="1811"/>
                  <a:pt x="1555" y="1812"/>
                  <a:pt x="1556" y="1812"/>
                </a:cubicBezTo>
                <a:cubicBezTo>
                  <a:pt x="1557" y="1812"/>
                  <a:pt x="1558" y="1814"/>
                  <a:pt x="1559" y="1815"/>
                </a:cubicBezTo>
                <a:cubicBezTo>
                  <a:pt x="1560" y="1817"/>
                  <a:pt x="1562" y="1819"/>
                  <a:pt x="1564" y="1821"/>
                </a:cubicBezTo>
                <a:cubicBezTo>
                  <a:pt x="1567" y="1825"/>
                  <a:pt x="1570" y="1828"/>
                  <a:pt x="1573" y="1832"/>
                </a:cubicBezTo>
                <a:cubicBezTo>
                  <a:pt x="1573" y="1832"/>
                  <a:pt x="1574" y="1833"/>
                  <a:pt x="1574" y="1833"/>
                </a:cubicBezTo>
                <a:cubicBezTo>
                  <a:pt x="1575" y="1833"/>
                  <a:pt x="1575" y="1833"/>
                  <a:pt x="1575" y="1833"/>
                </a:cubicBezTo>
                <a:cubicBezTo>
                  <a:pt x="1575" y="1833"/>
                  <a:pt x="1575" y="1833"/>
                  <a:pt x="1576" y="1833"/>
                </a:cubicBezTo>
                <a:cubicBezTo>
                  <a:pt x="1576" y="1833"/>
                  <a:pt x="1576" y="1833"/>
                  <a:pt x="1576" y="1833"/>
                </a:cubicBezTo>
                <a:cubicBezTo>
                  <a:pt x="1576" y="1834"/>
                  <a:pt x="1578" y="1835"/>
                  <a:pt x="1578" y="1836"/>
                </a:cubicBezTo>
                <a:cubicBezTo>
                  <a:pt x="1578" y="1836"/>
                  <a:pt x="1579" y="1838"/>
                  <a:pt x="1580" y="1839"/>
                </a:cubicBezTo>
                <a:cubicBezTo>
                  <a:pt x="1580" y="1840"/>
                  <a:pt x="1581" y="1841"/>
                  <a:pt x="1582" y="1842"/>
                </a:cubicBezTo>
                <a:cubicBezTo>
                  <a:pt x="1582" y="1842"/>
                  <a:pt x="1582" y="1842"/>
                  <a:pt x="1582" y="1842"/>
                </a:cubicBezTo>
                <a:cubicBezTo>
                  <a:pt x="1582" y="1842"/>
                  <a:pt x="1582" y="1842"/>
                  <a:pt x="1583" y="1842"/>
                </a:cubicBezTo>
                <a:cubicBezTo>
                  <a:pt x="1583" y="1842"/>
                  <a:pt x="1584" y="1843"/>
                  <a:pt x="1584" y="1843"/>
                </a:cubicBezTo>
                <a:cubicBezTo>
                  <a:pt x="1584" y="1843"/>
                  <a:pt x="1584" y="1844"/>
                  <a:pt x="1584" y="1844"/>
                </a:cubicBezTo>
                <a:cubicBezTo>
                  <a:pt x="1584" y="1845"/>
                  <a:pt x="1585" y="1846"/>
                  <a:pt x="1586" y="1847"/>
                </a:cubicBezTo>
                <a:cubicBezTo>
                  <a:pt x="1587" y="1847"/>
                  <a:pt x="1587" y="1848"/>
                  <a:pt x="1588" y="1849"/>
                </a:cubicBezTo>
                <a:cubicBezTo>
                  <a:pt x="1588" y="1850"/>
                  <a:pt x="1587" y="1851"/>
                  <a:pt x="1588" y="1852"/>
                </a:cubicBezTo>
                <a:cubicBezTo>
                  <a:pt x="1589" y="1852"/>
                  <a:pt x="1592" y="1852"/>
                  <a:pt x="1592" y="1853"/>
                </a:cubicBezTo>
                <a:cubicBezTo>
                  <a:pt x="1592" y="1854"/>
                  <a:pt x="1592" y="1854"/>
                  <a:pt x="1591" y="1854"/>
                </a:cubicBezTo>
                <a:cubicBezTo>
                  <a:pt x="1591" y="1854"/>
                  <a:pt x="1591" y="1854"/>
                  <a:pt x="1591" y="1854"/>
                </a:cubicBezTo>
                <a:cubicBezTo>
                  <a:pt x="1591" y="1854"/>
                  <a:pt x="1591" y="1855"/>
                  <a:pt x="1591" y="1855"/>
                </a:cubicBezTo>
                <a:cubicBezTo>
                  <a:pt x="1591" y="1855"/>
                  <a:pt x="1592" y="1856"/>
                  <a:pt x="1592" y="1856"/>
                </a:cubicBezTo>
                <a:cubicBezTo>
                  <a:pt x="1593" y="1856"/>
                  <a:pt x="1593" y="1856"/>
                  <a:pt x="1593" y="1856"/>
                </a:cubicBezTo>
                <a:cubicBezTo>
                  <a:pt x="1595" y="1857"/>
                  <a:pt x="1597" y="1859"/>
                  <a:pt x="1599" y="1861"/>
                </a:cubicBezTo>
                <a:cubicBezTo>
                  <a:pt x="1600" y="1863"/>
                  <a:pt x="1602" y="1865"/>
                  <a:pt x="1603" y="1866"/>
                </a:cubicBezTo>
                <a:cubicBezTo>
                  <a:pt x="1604" y="1867"/>
                  <a:pt x="1604" y="1868"/>
                  <a:pt x="1605" y="1869"/>
                </a:cubicBezTo>
                <a:cubicBezTo>
                  <a:pt x="1606" y="1870"/>
                  <a:pt x="1605" y="1870"/>
                  <a:pt x="1605" y="1871"/>
                </a:cubicBezTo>
                <a:cubicBezTo>
                  <a:pt x="1605" y="1872"/>
                  <a:pt x="1605" y="1872"/>
                  <a:pt x="1604" y="1873"/>
                </a:cubicBezTo>
                <a:cubicBezTo>
                  <a:pt x="1604" y="1873"/>
                  <a:pt x="1604" y="1873"/>
                  <a:pt x="1605" y="1874"/>
                </a:cubicBezTo>
                <a:cubicBezTo>
                  <a:pt x="1605" y="1874"/>
                  <a:pt x="1606" y="1874"/>
                  <a:pt x="1606" y="1874"/>
                </a:cubicBezTo>
                <a:cubicBezTo>
                  <a:pt x="1607" y="1874"/>
                  <a:pt x="1607" y="1874"/>
                  <a:pt x="1608" y="1874"/>
                </a:cubicBezTo>
                <a:cubicBezTo>
                  <a:pt x="1609" y="1875"/>
                  <a:pt x="1610" y="1875"/>
                  <a:pt x="1611" y="1876"/>
                </a:cubicBezTo>
                <a:cubicBezTo>
                  <a:pt x="1612" y="1877"/>
                  <a:pt x="1612" y="1879"/>
                  <a:pt x="1613" y="1880"/>
                </a:cubicBezTo>
                <a:cubicBezTo>
                  <a:pt x="1615" y="1882"/>
                  <a:pt x="1616" y="1883"/>
                  <a:pt x="1618" y="1885"/>
                </a:cubicBezTo>
                <a:cubicBezTo>
                  <a:pt x="1618" y="1886"/>
                  <a:pt x="1619" y="1886"/>
                  <a:pt x="1620" y="1887"/>
                </a:cubicBezTo>
                <a:cubicBezTo>
                  <a:pt x="1620" y="1887"/>
                  <a:pt x="1621" y="1887"/>
                  <a:pt x="1621" y="1888"/>
                </a:cubicBezTo>
                <a:cubicBezTo>
                  <a:pt x="1621" y="1888"/>
                  <a:pt x="1621" y="1889"/>
                  <a:pt x="1621" y="1889"/>
                </a:cubicBezTo>
                <a:cubicBezTo>
                  <a:pt x="1621" y="1890"/>
                  <a:pt x="1621" y="1890"/>
                  <a:pt x="1621" y="1890"/>
                </a:cubicBezTo>
                <a:cubicBezTo>
                  <a:pt x="1621" y="1891"/>
                  <a:pt x="1621" y="1891"/>
                  <a:pt x="1621" y="1891"/>
                </a:cubicBezTo>
                <a:cubicBezTo>
                  <a:pt x="1622" y="1891"/>
                  <a:pt x="1622" y="1891"/>
                  <a:pt x="1622" y="1891"/>
                </a:cubicBezTo>
                <a:cubicBezTo>
                  <a:pt x="1622" y="1891"/>
                  <a:pt x="1623" y="1892"/>
                  <a:pt x="1624" y="1892"/>
                </a:cubicBezTo>
                <a:cubicBezTo>
                  <a:pt x="1625" y="1892"/>
                  <a:pt x="1625" y="1892"/>
                  <a:pt x="1626" y="1892"/>
                </a:cubicBezTo>
                <a:cubicBezTo>
                  <a:pt x="1627" y="1893"/>
                  <a:pt x="1627" y="1893"/>
                  <a:pt x="1627" y="1893"/>
                </a:cubicBezTo>
                <a:cubicBezTo>
                  <a:pt x="1629" y="1895"/>
                  <a:pt x="1631" y="1897"/>
                  <a:pt x="1633" y="1899"/>
                </a:cubicBezTo>
                <a:cubicBezTo>
                  <a:pt x="1634" y="1901"/>
                  <a:pt x="1634" y="1903"/>
                  <a:pt x="1634" y="1905"/>
                </a:cubicBezTo>
                <a:cubicBezTo>
                  <a:pt x="1634" y="1905"/>
                  <a:pt x="1634" y="1905"/>
                  <a:pt x="1634" y="1905"/>
                </a:cubicBezTo>
                <a:cubicBezTo>
                  <a:pt x="1635" y="1906"/>
                  <a:pt x="1636" y="1906"/>
                  <a:pt x="1637" y="1906"/>
                </a:cubicBezTo>
                <a:cubicBezTo>
                  <a:pt x="1637" y="1906"/>
                  <a:pt x="1637" y="1907"/>
                  <a:pt x="1638" y="1908"/>
                </a:cubicBezTo>
                <a:cubicBezTo>
                  <a:pt x="1638" y="1910"/>
                  <a:pt x="1640" y="1911"/>
                  <a:pt x="1642" y="1912"/>
                </a:cubicBezTo>
                <a:cubicBezTo>
                  <a:pt x="1643" y="1912"/>
                  <a:pt x="1644" y="1912"/>
                  <a:pt x="1644" y="1913"/>
                </a:cubicBezTo>
                <a:cubicBezTo>
                  <a:pt x="1646" y="1914"/>
                  <a:pt x="1647" y="1916"/>
                  <a:pt x="1648" y="1917"/>
                </a:cubicBezTo>
                <a:cubicBezTo>
                  <a:pt x="1648" y="1918"/>
                  <a:pt x="1648" y="1918"/>
                  <a:pt x="1649" y="1919"/>
                </a:cubicBezTo>
                <a:cubicBezTo>
                  <a:pt x="1650" y="1920"/>
                  <a:pt x="1651" y="1922"/>
                  <a:pt x="1652" y="1923"/>
                </a:cubicBezTo>
                <a:cubicBezTo>
                  <a:pt x="1653" y="1925"/>
                  <a:pt x="1654" y="1926"/>
                  <a:pt x="1655" y="1927"/>
                </a:cubicBezTo>
                <a:cubicBezTo>
                  <a:pt x="1655" y="1928"/>
                  <a:pt x="1655" y="1930"/>
                  <a:pt x="1656" y="1931"/>
                </a:cubicBezTo>
                <a:cubicBezTo>
                  <a:pt x="1656" y="1932"/>
                  <a:pt x="1656" y="1932"/>
                  <a:pt x="1656" y="1932"/>
                </a:cubicBezTo>
                <a:cubicBezTo>
                  <a:pt x="1656" y="1933"/>
                  <a:pt x="1656" y="1933"/>
                  <a:pt x="1657" y="1933"/>
                </a:cubicBezTo>
                <a:cubicBezTo>
                  <a:pt x="1657" y="1933"/>
                  <a:pt x="1657" y="1933"/>
                  <a:pt x="1657" y="1933"/>
                </a:cubicBezTo>
                <a:cubicBezTo>
                  <a:pt x="1657" y="1932"/>
                  <a:pt x="1657" y="1933"/>
                  <a:pt x="1657" y="1933"/>
                </a:cubicBezTo>
                <a:cubicBezTo>
                  <a:pt x="1658" y="1933"/>
                  <a:pt x="1657" y="1933"/>
                  <a:pt x="1657" y="1934"/>
                </a:cubicBezTo>
                <a:cubicBezTo>
                  <a:pt x="1658" y="1934"/>
                  <a:pt x="1658" y="1934"/>
                  <a:pt x="1659" y="1934"/>
                </a:cubicBezTo>
                <a:cubicBezTo>
                  <a:pt x="1659" y="1934"/>
                  <a:pt x="1659" y="1934"/>
                  <a:pt x="1659" y="1934"/>
                </a:cubicBezTo>
                <a:cubicBezTo>
                  <a:pt x="1659" y="1934"/>
                  <a:pt x="1659" y="1935"/>
                  <a:pt x="1659" y="1935"/>
                </a:cubicBezTo>
                <a:cubicBezTo>
                  <a:pt x="1659" y="1936"/>
                  <a:pt x="1660" y="1936"/>
                  <a:pt x="1661" y="1936"/>
                </a:cubicBezTo>
                <a:cubicBezTo>
                  <a:pt x="1664" y="1936"/>
                  <a:pt x="1667" y="1940"/>
                  <a:pt x="1669" y="1943"/>
                </a:cubicBezTo>
                <a:cubicBezTo>
                  <a:pt x="1670" y="1944"/>
                  <a:pt x="1672" y="1945"/>
                  <a:pt x="1673" y="1947"/>
                </a:cubicBezTo>
                <a:cubicBezTo>
                  <a:pt x="1673" y="1947"/>
                  <a:pt x="1673" y="1947"/>
                  <a:pt x="1673" y="1948"/>
                </a:cubicBezTo>
                <a:cubicBezTo>
                  <a:pt x="1673" y="1948"/>
                  <a:pt x="1673" y="1949"/>
                  <a:pt x="1673" y="1949"/>
                </a:cubicBezTo>
                <a:cubicBezTo>
                  <a:pt x="1673" y="1950"/>
                  <a:pt x="1673" y="1950"/>
                  <a:pt x="1673" y="1951"/>
                </a:cubicBezTo>
                <a:cubicBezTo>
                  <a:pt x="1673" y="1952"/>
                  <a:pt x="1674" y="1953"/>
                  <a:pt x="1675" y="1954"/>
                </a:cubicBezTo>
                <a:cubicBezTo>
                  <a:pt x="1675" y="1955"/>
                  <a:pt x="1676" y="1957"/>
                  <a:pt x="1678" y="1957"/>
                </a:cubicBezTo>
                <a:cubicBezTo>
                  <a:pt x="1678" y="1957"/>
                  <a:pt x="1679" y="1959"/>
                  <a:pt x="1680" y="1960"/>
                </a:cubicBezTo>
                <a:cubicBezTo>
                  <a:pt x="1681" y="1961"/>
                  <a:pt x="1682" y="1962"/>
                  <a:pt x="1683" y="1963"/>
                </a:cubicBezTo>
                <a:cubicBezTo>
                  <a:pt x="1683" y="1964"/>
                  <a:pt x="1684" y="1965"/>
                  <a:pt x="1685" y="1965"/>
                </a:cubicBezTo>
                <a:cubicBezTo>
                  <a:pt x="1685" y="1965"/>
                  <a:pt x="1686" y="1965"/>
                  <a:pt x="1687" y="1966"/>
                </a:cubicBezTo>
                <a:cubicBezTo>
                  <a:pt x="1688" y="1966"/>
                  <a:pt x="1688" y="1967"/>
                  <a:pt x="1687" y="1967"/>
                </a:cubicBezTo>
                <a:cubicBezTo>
                  <a:pt x="1687" y="1967"/>
                  <a:pt x="1687" y="1967"/>
                  <a:pt x="1687" y="1968"/>
                </a:cubicBezTo>
                <a:cubicBezTo>
                  <a:pt x="1686" y="1968"/>
                  <a:pt x="1689" y="1970"/>
                  <a:pt x="1689" y="1970"/>
                </a:cubicBezTo>
                <a:cubicBezTo>
                  <a:pt x="1690" y="1971"/>
                  <a:pt x="1691" y="1973"/>
                  <a:pt x="1692" y="1973"/>
                </a:cubicBezTo>
                <a:cubicBezTo>
                  <a:pt x="1692" y="1973"/>
                  <a:pt x="1693" y="1972"/>
                  <a:pt x="1693" y="1972"/>
                </a:cubicBezTo>
                <a:cubicBezTo>
                  <a:pt x="1693" y="1972"/>
                  <a:pt x="1694" y="1974"/>
                  <a:pt x="1695" y="1974"/>
                </a:cubicBezTo>
                <a:cubicBezTo>
                  <a:pt x="1695" y="1975"/>
                  <a:pt x="1696" y="1976"/>
                  <a:pt x="1697" y="1977"/>
                </a:cubicBezTo>
                <a:cubicBezTo>
                  <a:pt x="1699" y="1980"/>
                  <a:pt x="1704" y="1986"/>
                  <a:pt x="1708" y="1991"/>
                </a:cubicBezTo>
                <a:cubicBezTo>
                  <a:pt x="1709" y="1993"/>
                  <a:pt x="1711" y="1995"/>
                  <a:pt x="1712" y="1996"/>
                </a:cubicBezTo>
                <a:cubicBezTo>
                  <a:pt x="1713" y="1998"/>
                  <a:pt x="1716" y="1999"/>
                  <a:pt x="1716" y="2001"/>
                </a:cubicBezTo>
                <a:cubicBezTo>
                  <a:pt x="1716" y="2001"/>
                  <a:pt x="1716" y="2002"/>
                  <a:pt x="1716" y="2002"/>
                </a:cubicBezTo>
                <a:cubicBezTo>
                  <a:pt x="1717" y="2003"/>
                  <a:pt x="1717" y="2003"/>
                  <a:pt x="1718" y="2004"/>
                </a:cubicBezTo>
                <a:cubicBezTo>
                  <a:pt x="1718" y="2004"/>
                  <a:pt x="1719" y="2004"/>
                  <a:pt x="1720" y="2005"/>
                </a:cubicBezTo>
                <a:cubicBezTo>
                  <a:pt x="1720" y="2005"/>
                  <a:pt x="1720" y="2005"/>
                  <a:pt x="1721" y="2005"/>
                </a:cubicBezTo>
                <a:cubicBezTo>
                  <a:pt x="1721" y="2005"/>
                  <a:pt x="1721" y="2006"/>
                  <a:pt x="1721" y="2006"/>
                </a:cubicBezTo>
                <a:cubicBezTo>
                  <a:pt x="1723" y="2009"/>
                  <a:pt x="1724" y="2013"/>
                  <a:pt x="1727" y="2014"/>
                </a:cubicBezTo>
                <a:cubicBezTo>
                  <a:pt x="1727" y="2014"/>
                  <a:pt x="1727" y="2014"/>
                  <a:pt x="1728" y="2014"/>
                </a:cubicBezTo>
                <a:cubicBezTo>
                  <a:pt x="1729" y="2013"/>
                  <a:pt x="1731" y="2017"/>
                  <a:pt x="1731" y="2018"/>
                </a:cubicBezTo>
                <a:cubicBezTo>
                  <a:pt x="1733" y="2020"/>
                  <a:pt x="1735" y="2023"/>
                  <a:pt x="1737" y="2024"/>
                </a:cubicBezTo>
                <a:cubicBezTo>
                  <a:pt x="1738" y="2025"/>
                  <a:pt x="1741" y="2029"/>
                  <a:pt x="1744" y="2032"/>
                </a:cubicBezTo>
                <a:cubicBezTo>
                  <a:pt x="1746" y="2035"/>
                  <a:pt x="1752" y="2042"/>
                  <a:pt x="1758" y="2048"/>
                </a:cubicBezTo>
                <a:cubicBezTo>
                  <a:pt x="1759" y="2050"/>
                  <a:pt x="1761" y="2052"/>
                  <a:pt x="1763" y="2054"/>
                </a:cubicBezTo>
                <a:cubicBezTo>
                  <a:pt x="1763" y="2054"/>
                  <a:pt x="1767" y="2058"/>
                  <a:pt x="1766" y="2058"/>
                </a:cubicBezTo>
                <a:cubicBezTo>
                  <a:pt x="1766" y="2059"/>
                  <a:pt x="1766" y="2059"/>
                  <a:pt x="1766" y="2059"/>
                </a:cubicBezTo>
                <a:cubicBezTo>
                  <a:pt x="1765" y="2059"/>
                  <a:pt x="1765" y="2059"/>
                  <a:pt x="1765" y="2060"/>
                </a:cubicBezTo>
                <a:cubicBezTo>
                  <a:pt x="1765" y="2061"/>
                  <a:pt x="1766" y="2061"/>
                  <a:pt x="1767" y="2061"/>
                </a:cubicBezTo>
                <a:cubicBezTo>
                  <a:pt x="1767" y="2062"/>
                  <a:pt x="1768" y="2063"/>
                  <a:pt x="1769" y="2063"/>
                </a:cubicBezTo>
                <a:cubicBezTo>
                  <a:pt x="1769" y="2064"/>
                  <a:pt x="1770" y="2065"/>
                  <a:pt x="1771" y="2066"/>
                </a:cubicBezTo>
                <a:cubicBezTo>
                  <a:pt x="1771" y="2067"/>
                  <a:pt x="1772" y="2068"/>
                  <a:pt x="1773" y="2069"/>
                </a:cubicBezTo>
                <a:cubicBezTo>
                  <a:pt x="1773" y="2069"/>
                  <a:pt x="1774" y="2069"/>
                  <a:pt x="1775" y="2069"/>
                </a:cubicBezTo>
                <a:cubicBezTo>
                  <a:pt x="1776" y="2069"/>
                  <a:pt x="1776" y="2070"/>
                  <a:pt x="1777" y="2070"/>
                </a:cubicBezTo>
                <a:cubicBezTo>
                  <a:pt x="1778" y="2071"/>
                  <a:pt x="1780" y="2073"/>
                  <a:pt x="1781" y="2075"/>
                </a:cubicBezTo>
                <a:cubicBezTo>
                  <a:pt x="1782" y="2076"/>
                  <a:pt x="1784" y="2077"/>
                  <a:pt x="1784" y="2078"/>
                </a:cubicBezTo>
                <a:cubicBezTo>
                  <a:pt x="1785" y="2080"/>
                  <a:pt x="1785" y="2080"/>
                  <a:pt x="1786" y="2081"/>
                </a:cubicBezTo>
                <a:cubicBezTo>
                  <a:pt x="1787" y="2082"/>
                  <a:pt x="1788" y="2083"/>
                  <a:pt x="1789" y="2084"/>
                </a:cubicBezTo>
                <a:cubicBezTo>
                  <a:pt x="1789" y="2085"/>
                  <a:pt x="1789" y="2086"/>
                  <a:pt x="1789" y="2087"/>
                </a:cubicBezTo>
                <a:cubicBezTo>
                  <a:pt x="1790" y="2088"/>
                  <a:pt x="1792" y="2089"/>
                  <a:pt x="1793" y="2090"/>
                </a:cubicBezTo>
                <a:cubicBezTo>
                  <a:pt x="1795" y="2091"/>
                  <a:pt x="1796" y="2092"/>
                  <a:pt x="1798" y="2093"/>
                </a:cubicBezTo>
                <a:cubicBezTo>
                  <a:pt x="1799" y="2094"/>
                  <a:pt x="1800" y="2095"/>
                  <a:pt x="1801" y="2096"/>
                </a:cubicBezTo>
                <a:cubicBezTo>
                  <a:pt x="1802" y="2098"/>
                  <a:pt x="1802" y="2099"/>
                  <a:pt x="1803" y="2100"/>
                </a:cubicBezTo>
                <a:cubicBezTo>
                  <a:pt x="1804" y="2102"/>
                  <a:pt x="1804" y="2103"/>
                  <a:pt x="1806" y="2104"/>
                </a:cubicBezTo>
                <a:cubicBezTo>
                  <a:pt x="1806" y="2104"/>
                  <a:pt x="1806" y="2104"/>
                  <a:pt x="1806" y="2104"/>
                </a:cubicBezTo>
                <a:cubicBezTo>
                  <a:pt x="1807" y="2104"/>
                  <a:pt x="1808" y="2105"/>
                  <a:pt x="1808" y="2105"/>
                </a:cubicBezTo>
                <a:cubicBezTo>
                  <a:pt x="1809" y="2106"/>
                  <a:pt x="1810" y="2108"/>
                  <a:pt x="1808" y="2108"/>
                </a:cubicBezTo>
                <a:cubicBezTo>
                  <a:pt x="1808" y="2108"/>
                  <a:pt x="1808" y="2108"/>
                  <a:pt x="1808" y="2108"/>
                </a:cubicBezTo>
                <a:cubicBezTo>
                  <a:pt x="1808" y="2109"/>
                  <a:pt x="1808" y="2109"/>
                  <a:pt x="1808" y="2110"/>
                </a:cubicBezTo>
                <a:cubicBezTo>
                  <a:pt x="1808" y="2110"/>
                  <a:pt x="1808" y="2110"/>
                  <a:pt x="1808" y="2111"/>
                </a:cubicBezTo>
                <a:cubicBezTo>
                  <a:pt x="1808" y="2111"/>
                  <a:pt x="1809" y="2111"/>
                  <a:pt x="1809" y="2111"/>
                </a:cubicBezTo>
                <a:cubicBezTo>
                  <a:pt x="1809" y="2111"/>
                  <a:pt x="1809" y="2112"/>
                  <a:pt x="1809" y="2113"/>
                </a:cubicBezTo>
                <a:cubicBezTo>
                  <a:pt x="1809" y="2113"/>
                  <a:pt x="1809" y="2114"/>
                  <a:pt x="1810" y="2114"/>
                </a:cubicBezTo>
                <a:cubicBezTo>
                  <a:pt x="1810" y="2114"/>
                  <a:pt x="1811" y="2114"/>
                  <a:pt x="1811" y="2113"/>
                </a:cubicBezTo>
                <a:cubicBezTo>
                  <a:pt x="1812" y="2113"/>
                  <a:pt x="1812" y="2113"/>
                  <a:pt x="1812" y="2113"/>
                </a:cubicBezTo>
                <a:cubicBezTo>
                  <a:pt x="1812" y="2112"/>
                  <a:pt x="1813" y="2113"/>
                  <a:pt x="1813" y="2113"/>
                </a:cubicBezTo>
                <a:cubicBezTo>
                  <a:pt x="1813" y="2113"/>
                  <a:pt x="1813" y="2114"/>
                  <a:pt x="1813" y="2114"/>
                </a:cubicBezTo>
                <a:cubicBezTo>
                  <a:pt x="1813" y="2114"/>
                  <a:pt x="1813" y="2114"/>
                  <a:pt x="1813" y="2115"/>
                </a:cubicBezTo>
                <a:cubicBezTo>
                  <a:pt x="1814" y="2116"/>
                  <a:pt x="1814" y="2117"/>
                  <a:pt x="1815" y="2118"/>
                </a:cubicBezTo>
                <a:cubicBezTo>
                  <a:pt x="1816" y="2119"/>
                  <a:pt x="1817" y="2120"/>
                  <a:pt x="1818" y="2122"/>
                </a:cubicBezTo>
                <a:cubicBezTo>
                  <a:pt x="1819" y="2122"/>
                  <a:pt x="1819" y="2123"/>
                  <a:pt x="1820" y="2124"/>
                </a:cubicBezTo>
                <a:cubicBezTo>
                  <a:pt x="1820" y="2125"/>
                  <a:pt x="1821" y="2125"/>
                  <a:pt x="1822" y="2126"/>
                </a:cubicBezTo>
                <a:cubicBezTo>
                  <a:pt x="1823" y="2127"/>
                  <a:pt x="1823" y="2127"/>
                  <a:pt x="1824" y="2128"/>
                </a:cubicBezTo>
                <a:cubicBezTo>
                  <a:pt x="1824" y="2128"/>
                  <a:pt x="1824" y="2128"/>
                  <a:pt x="1825" y="2128"/>
                </a:cubicBezTo>
                <a:cubicBezTo>
                  <a:pt x="1825" y="2128"/>
                  <a:pt x="1826" y="2129"/>
                  <a:pt x="1826" y="2129"/>
                </a:cubicBezTo>
                <a:cubicBezTo>
                  <a:pt x="1827" y="2130"/>
                  <a:pt x="1829" y="2131"/>
                  <a:pt x="1830" y="2132"/>
                </a:cubicBezTo>
                <a:cubicBezTo>
                  <a:pt x="1830" y="2132"/>
                  <a:pt x="1830" y="2132"/>
                  <a:pt x="1830" y="2133"/>
                </a:cubicBezTo>
                <a:cubicBezTo>
                  <a:pt x="1830" y="2133"/>
                  <a:pt x="1830" y="2133"/>
                  <a:pt x="1830" y="2134"/>
                </a:cubicBezTo>
                <a:cubicBezTo>
                  <a:pt x="1830" y="2134"/>
                  <a:pt x="1829" y="2134"/>
                  <a:pt x="1829" y="2134"/>
                </a:cubicBezTo>
                <a:cubicBezTo>
                  <a:pt x="1829" y="2134"/>
                  <a:pt x="1829" y="2135"/>
                  <a:pt x="1829" y="2135"/>
                </a:cubicBezTo>
                <a:cubicBezTo>
                  <a:pt x="1829" y="2136"/>
                  <a:pt x="1829" y="2136"/>
                  <a:pt x="1830" y="2136"/>
                </a:cubicBezTo>
                <a:cubicBezTo>
                  <a:pt x="1829" y="2138"/>
                  <a:pt x="1831" y="2138"/>
                  <a:pt x="1832" y="2138"/>
                </a:cubicBezTo>
                <a:cubicBezTo>
                  <a:pt x="1833" y="2139"/>
                  <a:pt x="1834" y="2141"/>
                  <a:pt x="1835" y="2142"/>
                </a:cubicBezTo>
                <a:cubicBezTo>
                  <a:pt x="1835" y="2142"/>
                  <a:pt x="1836" y="2142"/>
                  <a:pt x="1837" y="2142"/>
                </a:cubicBezTo>
                <a:cubicBezTo>
                  <a:pt x="1837" y="2142"/>
                  <a:pt x="1837" y="2142"/>
                  <a:pt x="1838" y="2142"/>
                </a:cubicBezTo>
                <a:cubicBezTo>
                  <a:pt x="1838" y="2142"/>
                  <a:pt x="1838" y="2142"/>
                  <a:pt x="1838" y="2143"/>
                </a:cubicBezTo>
                <a:cubicBezTo>
                  <a:pt x="1838" y="2145"/>
                  <a:pt x="1840" y="2146"/>
                  <a:pt x="1842" y="2147"/>
                </a:cubicBezTo>
                <a:cubicBezTo>
                  <a:pt x="1843" y="2149"/>
                  <a:pt x="1845" y="2150"/>
                  <a:pt x="1845" y="2151"/>
                </a:cubicBezTo>
                <a:cubicBezTo>
                  <a:pt x="1845" y="2151"/>
                  <a:pt x="1847" y="2154"/>
                  <a:pt x="1850" y="2157"/>
                </a:cubicBezTo>
                <a:cubicBezTo>
                  <a:pt x="1850" y="2158"/>
                  <a:pt x="1851" y="2159"/>
                  <a:pt x="1852" y="2160"/>
                </a:cubicBezTo>
                <a:cubicBezTo>
                  <a:pt x="1853" y="2161"/>
                  <a:pt x="1853" y="2162"/>
                  <a:pt x="1854" y="2162"/>
                </a:cubicBezTo>
                <a:cubicBezTo>
                  <a:pt x="1855" y="2162"/>
                  <a:pt x="1855" y="2162"/>
                  <a:pt x="1856" y="2162"/>
                </a:cubicBezTo>
                <a:cubicBezTo>
                  <a:pt x="1856" y="2162"/>
                  <a:pt x="1857" y="2162"/>
                  <a:pt x="1857" y="2163"/>
                </a:cubicBezTo>
                <a:cubicBezTo>
                  <a:pt x="1858" y="2163"/>
                  <a:pt x="1858" y="2163"/>
                  <a:pt x="1858" y="2164"/>
                </a:cubicBezTo>
                <a:cubicBezTo>
                  <a:pt x="1859" y="2165"/>
                  <a:pt x="1859" y="2166"/>
                  <a:pt x="1859" y="2167"/>
                </a:cubicBezTo>
                <a:cubicBezTo>
                  <a:pt x="1859" y="2168"/>
                  <a:pt x="1863" y="2173"/>
                  <a:pt x="1866" y="2173"/>
                </a:cubicBezTo>
                <a:cubicBezTo>
                  <a:pt x="1867" y="2174"/>
                  <a:pt x="1870" y="2175"/>
                  <a:pt x="1869" y="2176"/>
                </a:cubicBezTo>
                <a:cubicBezTo>
                  <a:pt x="1869" y="2177"/>
                  <a:pt x="1869" y="2177"/>
                  <a:pt x="1869" y="2177"/>
                </a:cubicBezTo>
                <a:cubicBezTo>
                  <a:pt x="1869" y="2177"/>
                  <a:pt x="1869" y="2178"/>
                  <a:pt x="1869" y="2178"/>
                </a:cubicBezTo>
                <a:cubicBezTo>
                  <a:pt x="1870" y="2180"/>
                  <a:pt x="1871" y="2181"/>
                  <a:pt x="1872" y="2182"/>
                </a:cubicBezTo>
                <a:cubicBezTo>
                  <a:pt x="1873" y="2184"/>
                  <a:pt x="1875" y="2186"/>
                  <a:pt x="1875" y="2187"/>
                </a:cubicBezTo>
                <a:cubicBezTo>
                  <a:pt x="1876" y="2188"/>
                  <a:pt x="1878" y="2191"/>
                  <a:pt x="1881" y="2194"/>
                </a:cubicBezTo>
                <a:cubicBezTo>
                  <a:pt x="1882" y="2195"/>
                  <a:pt x="1885" y="2199"/>
                  <a:pt x="1888" y="2198"/>
                </a:cubicBezTo>
                <a:cubicBezTo>
                  <a:pt x="1888" y="2198"/>
                  <a:pt x="1888" y="2198"/>
                  <a:pt x="1888" y="2198"/>
                </a:cubicBezTo>
                <a:cubicBezTo>
                  <a:pt x="1889" y="2198"/>
                  <a:pt x="1889" y="2199"/>
                  <a:pt x="1889" y="2199"/>
                </a:cubicBezTo>
                <a:cubicBezTo>
                  <a:pt x="1890" y="2200"/>
                  <a:pt x="1891" y="2200"/>
                  <a:pt x="1891" y="2201"/>
                </a:cubicBezTo>
                <a:cubicBezTo>
                  <a:pt x="1892" y="2202"/>
                  <a:pt x="1893" y="2203"/>
                  <a:pt x="1893" y="2204"/>
                </a:cubicBezTo>
                <a:cubicBezTo>
                  <a:pt x="1895" y="2205"/>
                  <a:pt x="1896" y="2207"/>
                  <a:pt x="1897" y="2208"/>
                </a:cubicBezTo>
                <a:cubicBezTo>
                  <a:pt x="1897" y="2209"/>
                  <a:pt x="1899" y="2211"/>
                  <a:pt x="1899" y="2212"/>
                </a:cubicBezTo>
                <a:cubicBezTo>
                  <a:pt x="1899" y="2212"/>
                  <a:pt x="1899" y="2212"/>
                  <a:pt x="1899" y="2212"/>
                </a:cubicBezTo>
                <a:cubicBezTo>
                  <a:pt x="1899" y="2213"/>
                  <a:pt x="1900" y="2214"/>
                  <a:pt x="1901" y="2215"/>
                </a:cubicBezTo>
                <a:cubicBezTo>
                  <a:pt x="1902" y="2217"/>
                  <a:pt x="1904" y="2219"/>
                  <a:pt x="1905" y="2220"/>
                </a:cubicBezTo>
                <a:cubicBezTo>
                  <a:pt x="1906" y="2221"/>
                  <a:pt x="1906" y="2222"/>
                  <a:pt x="1908" y="2222"/>
                </a:cubicBezTo>
                <a:cubicBezTo>
                  <a:pt x="1909" y="2222"/>
                  <a:pt x="1910" y="2223"/>
                  <a:pt x="1911" y="2223"/>
                </a:cubicBezTo>
                <a:cubicBezTo>
                  <a:pt x="1912" y="2225"/>
                  <a:pt x="1913" y="2226"/>
                  <a:pt x="1914" y="2227"/>
                </a:cubicBezTo>
                <a:cubicBezTo>
                  <a:pt x="1915" y="2228"/>
                  <a:pt x="1916" y="2230"/>
                  <a:pt x="1917" y="2231"/>
                </a:cubicBezTo>
                <a:cubicBezTo>
                  <a:pt x="1917" y="2231"/>
                  <a:pt x="1917" y="2231"/>
                  <a:pt x="1917" y="2232"/>
                </a:cubicBezTo>
                <a:cubicBezTo>
                  <a:pt x="1916" y="2232"/>
                  <a:pt x="1916" y="2232"/>
                  <a:pt x="1917" y="2233"/>
                </a:cubicBezTo>
                <a:cubicBezTo>
                  <a:pt x="1917" y="2233"/>
                  <a:pt x="1917" y="2233"/>
                  <a:pt x="1917" y="2233"/>
                </a:cubicBezTo>
                <a:cubicBezTo>
                  <a:pt x="1918" y="2233"/>
                  <a:pt x="1921" y="2233"/>
                  <a:pt x="1921" y="2235"/>
                </a:cubicBezTo>
                <a:cubicBezTo>
                  <a:pt x="1921" y="2236"/>
                  <a:pt x="1920" y="2236"/>
                  <a:pt x="1920" y="2236"/>
                </a:cubicBezTo>
                <a:cubicBezTo>
                  <a:pt x="1919" y="2236"/>
                  <a:pt x="1919" y="2236"/>
                  <a:pt x="1919" y="2236"/>
                </a:cubicBezTo>
                <a:cubicBezTo>
                  <a:pt x="1919" y="2237"/>
                  <a:pt x="1919" y="2237"/>
                  <a:pt x="1919" y="2238"/>
                </a:cubicBezTo>
                <a:cubicBezTo>
                  <a:pt x="1919" y="2238"/>
                  <a:pt x="1919" y="2239"/>
                  <a:pt x="1920" y="2239"/>
                </a:cubicBezTo>
                <a:cubicBezTo>
                  <a:pt x="1920" y="2239"/>
                  <a:pt x="1921" y="2239"/>
                  <a:pt x="1922" y="2239"/>
                </a:cubicBezTo>
                <a:cubicBezTo>
                  <a:pt x="1922" y="2240"/>
                  <a:pt x="1922" y="2240"/>
                  <a:pt x="1922" y="2240"/>
                </a:cubicBezTo>
                <a:cubicBezTo>
                  <a:pt x="1922" y="2240"/>
                  <a:pt x="1922" y="2240"/>
                  <a:pt x="1921" y="2240"/>
                </a:cubicBezTo>
                <a:cubicBezTo>
                  <a:pt x="1920" y="2241"/>
                  <a:pt x="1924" y="2244"/>
                  <a:pt x="1924" y="2244"/>
                </a:cubicBezTo>
                <a:cubicBezTo>
                  <a:pt x="1926" y="2246"/>
                  <a:pt x="1928" y="2248"/>
                  <a:pt x="1929" y="2250"/>
                </a:cubicBezTo>
                <a:cubicBezTo>
                  <a:pt x="1931" y="2252"/>
                  <a:pt x="1932" y="2253"/>
                  <a:pt x="1934" y="2255"/>
                </a:cubicBezTo>
                <a:cubicBezTo>
                  <a:pt x="1935" y="2256"/>
                  <a:pt x="1936" y="2259"/>
                  <a:pt x="1938" y="2259"/>
                </a:cubicBezTo>
                <a:cubicBezTo>
                  <a:pt x="1938" y="2259"/>
                  <a:pt x="1939" y="2259"/>
                  <a:pt x="1939" y="2259"/>
                </a:cubicBezTo>
                <a:cubicBezTo>
                  <a:pt x="1940" y="2259"/>
                  <a:pt x="1940" y="2259"/>
                  <a:pt x="1941" y="2259"/>
                </a:cubicBezTo>
                <a:cubicBezTo>
                  <a:pt x="1941" y="2260"/>
                  <a:pt x="1942" y="2260"/>
                  <a:pt x="1943" y="2261"/>
                </a:cubicBezTo>
                <a:cubicBezTo>
                  <a:pt x="1944" y="2261"/>
                  <a:pt x="1945" y="2261"/>
                  <a:pt x="1945" y="2261"/>
                </a:cubicBezTo>
                <a:cubicBezTo>
                  <a:pt x="1946" y="2262"/>
                  <a:pt x="1947" y="2263"/>
                  <a:pt x="1947" y="2263"/>
                </a:cubicBezTo>
                <a:cubicBezTo>
                  <a:pt x="1948" y="2264"/>
                  <a:pt x="1951" y="2266"/>
                  <a:pt x="1950" y="2267"/>
                </a:cubicBezTo>
                <a:cubicBezTo>
                  <a:pt x="1950" y="2267"/>
                  <a:pt x="1950" y="2268"/>
                  <a:pt x="1949" y="2268"/>
                </a:cubicBezTo>
                <a:cubicBezTo>
                  <a:pt x="1949" y="2268"/>
                  <a:pt x="1949" y="2269"/>
                  <a:pt x="1950" y="2269"/>
                </a:cubicBezTo>
                <a:cubicBezTo>
                  <a:pt x="1950" y="2269"/>
                  <a:pt x="1951" y="2269"/>
                  <a:pt x="1951" y="2269"/>
                </a:cubicBezTo>
                <a:cubicBezTo>
                  <a:pt x="1951" y="2269"/>
                  <a:pt x="1952" y="2269"/>
                  <a:pt x="1952" y="2269"/>
                </a:cubicBezTo>
                <a:cubicBezTo>
                  <a:pt x="1954" y="2270"/>
                  <a:pt x="1955" y="2271"/>
                  <a:pt x="1956" y="2273"/>
                </a:cubicBezTo>
                <a:cubicBezTo>
                  <a:pt x="1956" y="2273"/>
                  <a:pt x="1956" y="2273"/>
                  <a:pt x="1956" y="2273"/>
                </a:cubicBezTo>
                <a:cubicBezTo>
                  <a:pt x="1956" y="2273"/>
                  <a:pt x="1956" y="2273"/>
                  <a:pt x="1956" y="2274"/>
                </a:cubicBezTo>
                <a:cubicBezTo>
                  <a:pt x="1954" y="2274"/>
                  <a:pt x="1953" y="2278"/>
                  <a:pt x="1956" y="2278"/>
                </a:cubicBezTo>
                <a:cubicBezTo>
                  <a:pt x="1956" y="2278"/>
                  <a:pt x="1956" y="2277"/>
                  <a:pt x="1957" y="2277"/>
                </a:cubicBezTo>
                <a:cubicBezTo>
                  <a:pt x="1957" y="2276"/>
                  <a:pt x="1957" y="2276"/>
                  <a:pt x="1958" y="2276"/>
                </a:cubicBezTo>
                <a:cubicBezTo>
                  <a:pt x="1958" y="2276"/>
                  <a:pt x="1958" y="2276"/>
                  <a:pt x="1959" y="2276"/>
                </a:cubicBezTo>
                <a:cubicBezTo>
                  <a:pt x="1959" y="2276"/>
                  <a:pt x="1960" y="2277"/>
                  <a:pt x="1960" y="2278"/>
                </a:cubicBezTo>
                <a:cubicBezTo>
                  <a:pt x="1961" y="2279"/>
                  <a:pt x="1960" y="2279"/>
                  <a:pt x="1960" y="2280"/>
                </a:cubicBezTo>
                <a:cubicBezTo>
                  <a:pt x="1960" y="2280"/>
                  <a:pt x="1961" y="2281"/>
                  <a:pt x="1961" y="2281"/>
                </a:cubicBezTo>
                <a:cubicBezTo>
                  <a:pt x="1962" y="2282"/>
                  <a:pt x="1963" y="2284"/>
                  <a:pt x="1964" y="2284"/>
                </a:cubicBezTo>
                <a:cubicBezTo>
                  <a:pt x="1965" y="2285"/>
                  <a:pt x="1966" y="2284"/>
                  <a:pt x="1967" y="2285"/>
                </a:cubicBezTo>
                <a:cubicBezTo>
                  <a:pt x="1969" y="2286"/>
                  <a:pt x="1971" y="2289"/>
                  <a:pt x="1973" y="2291"/>
                </a:cubicBezTo>
                <a:cubicBezTo>
                  <a:pt x="1974" y="2292"/>
                  <a:pt x="1980" y="2297"/>
                  <a:pt x="1979" y="2298"/>
                </a:cubicBezTo>
                <a:cubicBezTo>
                  <a:pt x="1979" y="2299"/>
                  <a:pt x="1978" y="2299"/>
                  <a:pt x="1978" y="2299"/>
                </a:cubicBezTo>
                <a:cubicBezTo>
                  <a:pt x="1978" y="2299"/>
                  <a:pt x="1979" y="2300"/>
                  <a:pt x="1979" y="2300"/>
                </a:cubicBezTo>
                <a:cubicBezTo>
                  <a:pt x="1979" y="2300"/>
                  <a:pt x="1982" y="2302"/>
                  <a:pt x="1980" y="2302"/>
                </a:cubicBezTo>
                <a:cubicBezTo>
                  <a:pt x="1979" y="2302"/>
                  <a:pt x="1979" y="2302"/>
                  <a:pt x="1979" y="2302"/>
                </a:cubicBezTo>
                <a:cubicBezTo>
                  <a:pt x="1978" y="2303"/>
                  <a:pt x="1979" y="2303"/>
                  <a:pt x="1979" y="2303"/>
                </a:cubicBezTo>
                <a:cubicBezTo>
                  <a:pt x="1980" y="2304"/>
                  <a:pt x="1980" y="2304"/>
                  <a:pt x="1981" y="2304"/>
                </a:cubicBezTo>
                <a:cubicBezTo>
                  <a:pt x="1981" y="2304"/>
                  <a:pt x="1981" y="2305"/>
                  <a:pt x="1982" y="2306"/>
                </a:cubicBezTo>
                <a:cubicBezTo>
                  <a:pt x="1982" y="2306"/>
                  <a:pt x="1983" y="2306"/>
                  <a:pt x="1983" y="2307"/>
                </a:cubicBezTo>
                <a:cubicBezTo>
                  <a:pt x="1985" y="2308"/>
                  <a:pt x="1986" y="2310"/>
                  <a:pt x="1988" y="2311"/>
                </a:cubicBezTo>
                <a:cubicBezTo>
                  <a:pt x="1988" y="2312"/>
                  <a:pt x="1989" y="2312"/>
                  <a:pt x="1989" y="2313"/>
                </a:cubicBezTo>
                <a:cubicBezTo>
                  <a:pt x="1990" y="2314"/>
                  <a:pt x="1990" y="2314"/>
                  <a:pt x="1991" y="2315"/>
                </a:cubicBezTo>
                <a:cubicBezTo>
                  <a:pt x="1991" y="2315"/>
                  <a:pt x="1992" y="2316"/>
                  <a:pt x="1992" y="2316"/>
                </a:cubicBezTo>
                <a:cubicBezTo>
                  <a:pt x="1993" y="2316"/>
                  <a:pt x="1993" y="2316"/>
                  <a:pt x="1994" y="2316"/>
                </a:cubicBezTo>
                <a:cubicBezTo>
                  <a:pt x="1995" y="2316"/>
                  <a:pt x="1995" y="2317"/>
                  <a:pt x="1996" y="2316"/>
                </a:cubicBezTo>
                <a:cubicBezTo>
                  <a:pt x="1996" y="2316"/>
                  <a:pt x="1996" y="2316"/>
                  <a:pt x="1997" y="2316"/>
                </a:cubicBezTo>
                <a:cubicBezTo>
                  <a:pt x="1997" y="2316"/>
                  <a:pt x="1997" y="2316"/>
                  <a:pt x="1998" y="2316"/>
                </a:cubicBezTo>
                <a:cubicBezTo>
                  <a:pt x="1998" y="2317"/>
                  <a:pt x="1998" y="2317"/>
                  <a:pt x="1999" y="2318"/>
                </a:cubicBezTo>
                <a:cubicBezTo>
                  <a:pt x="1999" y="2319"/>
                  <a:pt x="2000" y="2319"/>
                  <a:pt x="2000" y="2320"/>
                </a:cubicBezTo>
                <a:cubicBezTo>
                  <a:pt x="1999" y="2320"/>
                  <a:pt x="1999" y="2321"/>
                  <a:pt x="1999" y="2321"/>
                </a:cubicBezTo>
                <a:cubicBezTo>
                  <a:pt x="1999" y="2322"/>
                  <a:pt x="2001" y="2323"/>
                  <a:pt x="2001" y="2323"/>
                </a:cubicBezTo>
                <a:cubicBezTo>
                  <a:pt x="2002" y="2325"/>
                  <a:pt x="2001" y="2326"/>
                  <a:pt x="2002" y="2328"/>
                </a:cubicBezTo>
                <a:cubicBezTo>
                  <a:pt x="2002" y="2329"/>
                  <a:pt x="2004" y="2330"/>
                  <a:pt x="2005" y="2331"/>
                </a:cubicBezTo>
                <a:cubicBezTo>
                  <a:pt x="2005" y="2332"/>
                  <a:pt x="2006" y="2333"/>
                  <a:pt x="2007" y="2333"/>
                </a:cubicBezTo>
                <a:cubicBezTo>
                  <a:pt x="2007" y="2333"/>
                  <a:pt x="2008" y="2333"/>
                  <a:pt x="2009" y="2333"/>
                </a:cubicBezTo>
                <a:cubicBezTo>
                  <a:pt x="2010" y="2334"/>
                  <a:pt x="2011" y="2336"/>
                  <a:pt x="2012" y="2337"/>
                </a:cubicBezTo>
                <a:cubicBezTo>
                  <a:pt x="2013" y="2339"/>
                  <a:pt x="2015" y="2341"/>
                  <a:pt x="2016" y="2342"/>
                </a:cubicBezTo>
                <a:cubicBezTo>
                  <a:pt x="2017" y="2343"/>
                  <a:pt x="2018" y="2344"/>
                  <a:pt x="2019" y="2345"/>
                </a:cubicBezTo>
                <a:cubicBezTo>
                  <a:pt x="2029" y="2355"/>
                  <a:pt x="2034" y="2369"/>
                  <a:pt x="2044" y="2379"/>
                </a:cubicBezTo>
                <a:cubicBezTo>
                  <a:pt x="2047" y="2382"/>
                  <a:pt x="2050" y="2384"/>
                  <a:pt x="2054" y="2386"/>
                </a:cubicBezTo>
                <a:cubicBezTo>
                  <a:pt x="2055" y="2386"/>
                  <a:pt x="2057" y="2388"/>
                  <a:pt x="2059" y="2388"/>
                </a:cubicBezTo>
                <a:cubicBezTo>
                  <a:pt x="2060" y="2387"/>
                  <a:pt x="2061" y="2387"/>
                  <a:pt x="2062" y="2385"/>
                </a:cubicBezTo>
                <a:cubicBezTo>
                  <a:pt x="2062" y="2385"/>
                  <a:pt x="2062" y="2385"/>
                  <a:pt x="2062" y="2384"/>
                </a:cubicBezTo>
                <a:cubicBezTo>
                  <a:pt x="2062" y="2384"/>
                  <a:pt x="2063" y="2384"/>
                  <a:pt x="2063" y="2384"/>
                </a:cubicBezTo>
                <a:cubicBezTo>
                  <a:pt x="2064" y="2384"/>
                  <a:pt x="2064" y="2382"/>
                  <a:pt x="2064" y="2382"/>
                </a:cubicBezTo>
                <a:cubicBezTo>
                  <a:pt x="2065" y="2382"/>
                  <a:pt x="2066" y="2382"/>
                  <a:pt x="2067" y="2382"/>
                </a:cubicBezTo>
                <a:cubicBezTo>
                  <a:pt x="2068" y="2381"/>
                  <a:pt x="2068" y="2380"/>
                  <a:pt x="2069" y="2379"/>
                </a:cubicBezTo>
                <a:cubicBezTo>
                  <a:pt x="2069" y="2379"/>
                  <a:pt x="2070" y="2379"/>
                  <a:pt x="2070" y="2379"/>
                </a:cubicBezTo>
                <a:cubicBezTo>
                  <a:pt x="2071" y="2378"/>
                  <a:pt x="2072" y="2377"/>
                  <a:pt x="2073" y="2377"/>
                </a:cubicBezTo>
                <a:cubicBezTo>
                  <a:pt x="2073" y="2376"/>
                  <a:pt x="2074" y="2375"/>
                  <a:pt x="2075" y="2374"/>
                </a:cubicBezTo>
                <a:cubicBezTo>
                  <a:pt x="2077" y="2372"/>
                  <a:pt x="2078" y="2370"/>
                  <a:pt x="2079" y="2367"/>
                </a:cubicBezTo>
                <a:cubicBezTo>
                  <a:pt x="2080" y="2366"/>
                  <a:pt x="2080" y="2365"/>
                  <a:pt x="2081" y="2364"/>
                </a:cubicBezTo>
                <a:cubicBezTo>
                  <a:pt x="2081" y="2364"/>
                  <a:pt x="2081" y="2363"/>
                  <a:pt x="2081" y="2363"/>
                </a:cubicBezTo>
                <a:cubicBezTo>
                  <a:pt x="2081" y="2362"/>
                  <a:pt x="2081" y="2362"/>
                  <a:pt x="2082" y="2361"/>
                </a:cubicBezTo>
                <a:cubicBezTo>
                  <a:pt x="2083" y="2360"/>
                  <a:pt x="2084" y="2359"/>
                  <a:pt x="2086" y="2358"/>
                </a:cubicBezTo>
                <a:cubicBezTo>
                  <a:pt x="2087" y="2356"/>
                  <a:pt x="2088" y="2355"/>
                  <a:pt x="2088" y="2353"/>
                </a:cubicBezTo>
                <a:cubicBezTo>
                  <a:pt x="2088" y="2353"/>
                  <a:pt x="2088" y="2352"/>
                  <a:pt x="2088" y="2352"/>
                </a:cubicBezTo>
                <a:cubicBezTo>
                  <a:pt x="2088" y="2352"/>
                  <a:pt x="2088" y="2351"/>
                  <a:pt x="2088" y="2351"/>
                </a:cubicBezTo>
                <a:cubicBezTo>
                  <a:pt x="2084" y="2343"/>
                  <a:pt x="2078" y="2338"/>
                  <a:pt x="2073" y="2331"/>
                </a:cubicBezTo>
                <a:cubicBezTo>
                  <a:pt x="2070" y="2326"/>
                  <a:pt x="2067" y="2323"/>
                  <a:pt x="2064" y="2319"/>
                </a:cubicBezTo>
                <a:cubicBezTo>
                  <a:pt x="2062" y="2317"/>
                  <a:pt x="2060" y="2315"/>
                  <a:pt x="2059" y="2313"/>
                </a:cubicBezTo>
                <a:cubicBezTo>
                  <a:pt x="2057" y="2311"/>
                  <a:pt x="2055" y="2310"/>
                  <a:pt x="2053" y="2308"/>
                </a:cubicBezTo>
                <a:cubicBezTo>
                  <a:pt x="2052" y="2306"/>
                  <a:pt x="2051" y="2305"/>
                  <a:pt x="2050" y="2304"/>
                </a:cubicBezTo>
                <a:cubicBezTo>
                  <a:pt x="2048" y="2302"/>
                  <a:pt x="2046" y="2299"/>
                  <a:pt x="2043" y="2298"/>
                </a:cubicBezTo>
                <a:cubicBezTo>
                  <a:pt x="2042" y="2297"/>
                  <a:pt x="2041" y="2297"/>
                  <a:pt x="2040" y="2296"/>
                </a:cubicBezTo>
                <a:cubicBezTo>
                  <a:pt x="2039" y="2295"/>
                  <a:pt x="2038" y="2293"/>
                  <a:pt x="2037" y="2292"/>
                </a:cubicBezTo>
                <a:cubicBezTo>
                  <a:pt x="2014" y="2264"/>
                  <a:pt x="1955" y="2196"/>
                  <a:pt x="1943" y="2184"/>
                </a:cubicBezTo>
                <a:cubicBezTo>
                  <a:pt x="1941" y="2181"/>
                  <a:pt x="1935" y="2175"/>
                  <a:pt x="1931" y="2170"/>
                </a:cubicBezTo>
                <a:cubicBezTo>
                  <a:pt x="1927" y="2166"/>
                  <a:pt x="1920" y="2159"/>
                  <a:pt x="1917" y="2155"/>
                </a:cubicBezTo>
                <a:cubicBezTo>
                  <a:pt x="1897" y="2134"/>
                  <a:pt x="1889" y="2125"/>
                  <a:pt x="1869" y="2103"/>
                </a:cubicBezTo>
                <a:cubicBezTo>
                  <a:pt x="1868" y="2101"/>
                  <a:pt x="1866" y="2099"/>
                  <a:pt x="1864" y="2097"/>
                </a:cubicBezTo>
                <a:cubicBezTo>
                  <a:pt x="1864" y="2097"/>
                  <a:pt x="1863" y="2096"/>
                  <a:pt x="1862" y="2095"/>
                </a:cubicBezTo>
                <a:cubicBezTo>
                  <a:pt x="1862" y="2094"/>
                  <a:pt x="1861" y="2094"/>
                  <a:pt x="1860" y="2094"/>
                </a:cubicBezTo>
                <a:cubicBezTo>
                  <a:pt x="1859" y="2093"/>
                  <a:pt x="1859" y="2093"/>
                  <a:pt x="1859" y="2092"/>
                </a:cubicBezTo>
                <a:cubicBezTo>
                  <a:pt x="1858" y="2091"/>
                  <a:pt x="1858" y="2089"/>
                  <a:pt x="1857" y="2089"/>
                </a:cubicBezTo>
                <a:cubicBezTo>
                  <a:pt x="1857" y="2089"/>
                  <a:pt x="1856" y="2089"/>
                  <a:pt x="1856" y="2089"/>
                </a:cubicBezTo>
                <a:cubicBezTo>
                  <a:pt x="1855" y="2089"/>
                  <a:pt x="1854" y="2087"/>
                  <a:pt x="1853" y="2086"/>
                </a:cubicBezTo>
                <a:cubicBezTo>
                  <a:pt x="1852" y="2085"/>
                  <a:pt x="1851" y="2083"/>
                  <a:pt x="1850" y="2082"/>
                </a:cubicBezTo>
                <a:cubicBezTo>
                  <a:pt x="1847" y="2079"/>
                  <a:pt x="1845" y="2077"/>
                  <a:pt x="1843" y="2074"/>
                </a:cubicBezTo>
                <a:cubicBezTo>
                  <a:pt x="1836" y="2066"/>
                  <a:pt x="1830" y="2059"/>
                  <a:pt x="1829" y="2059"/>
                </a:cubicBezTo>
                <a:cubicBezTo>
                  <a:pt x="1828" y="2058"/>
                  <a:pt x="1828" y="2058"/>
                  <a:pt x="1828" y="2058"/>
                </a:cubicBezTo>
                <a:cubicBezTo>
                  <a:pt x="1828" y="2057"/>
                  <a:pt x="1828" y="2056"/>
                  <a:pt x="1827" y="2055"/>
                </a:cubicBezTo>
                <a:cubicBezTo>
                  <a:pt x="1825" y="2055"/>
                  <a:pt x="1825" y="2053"/>
                  <a:pt x="1823" y="2052"/>
                </a:cubicBezTo>
                <a:cubicBezTo>
                  <a:pt x="1822" y="2051"/>
                  <a:pt x="1821" y="2049"/>
                  <a:pt x="1820" y="2048"/>
                </a:cubicBezTo>
                <a:cubicBezTo>
                  <a:pt x="1817" y="2045"/>
                  <a:pt x="1815" y="2042"/>
                  <a:pt x="1812" y="2039"/>
                </a:cubicBezTo>
                <a:cubicBezTo>
                  <a:pt x="1801" y="2026"/>
                  <a:pt x="1789" y="2013"/>
                  <a:pt x="1778" y="1999"/>
                </a:cubicBezTo>
                <a:cubicBezTo>
                  <a:pt x="1773" y="1994"/>
                  <a:pt x="1768" y="1988"/>
                  <a:pt x="1763" y="1982"/>
                </a:cubicBezTo>
                <a:cubicBezTo>
                  <a:pt x="1760" y="1978"/>
                  <a:pt x="1756" y="1974"/>
                  <a:pt x="1752" y="1969"/>
                </a:cubicBezTo>
                <a:cubicBezTo>
                  <a:pt x="1749" y="1965"/>
                  <a:pt x="1745" y="1961"/>
                  <a:pt x="1741" y="1957"/>
                </a:cubicBezTo>
                <a:cubicBezTo>
                  <a:pt x="1740" y="1955"/>
                  <a:pt x="1738" y="1953"/>
                  <a:pt x="1737" y="1951"/>
                </a:cubicBezTo>
                <a:cubicBezTo>
                  <a:pt x="1736" y="1951"/>
                  <a:pt x="1735" y="1950"/>
                  <a:pt x="1735" y="1949"/>
                </a:cubicBezTo>
                <a:cubicBezTo>
                  <a:pt x="1734" y="1948"/>
                  <a:pt x="1733" y="1947"/>
                  <a:pt x="1733" y="1947"/>
                </a:cubicBezTo>
                <a:cubicBezTo>
                  <a:pt x="1732" y="1946"/>
                  <a:pt x="1732" y="1946"/>
                  <a:pt x="1731" y="1946"/>
                </a:cubicBezTo>
                <a:cubicBezTo>
                  <a:pt x="1731" y="1946"/>
                  <a:pt x="1731" y="1946"/>
                  <a:pt x="1731" y="1945"/>
                </a:cubicBezTo>
                <a:cubicBezTo>
                  <a:pt x="1730" y="1945"/>
                  <a:pt x="1729" y="1945"/>
                  <a:pt x="1728" y="1944"/>
                </a:cubicBezTo>
                <a:cubicBezTo>
                  <a:pt x="1728" y="1944"/>
                  <a:pt x="1728" y="1942"/>
                  <a:pt x="1728" y="1941"/>
                </a:cubicBezTo>
                <a:cubicBezTo>
                  <a:pt x="1727" y="1940"/>
                  <a:pt x="1726" y="1939"/>
                  <a:pt x="1725" y="1938"/>
                </a:cubicBezTo>
                <a:cubicBezTo>
                  <a:pt x="1723" y="1936"/>
                  <a:pt x="1722" y="1935"/>
                  <a:pt x="1720" y="1933"/>
                </a:cubicBezTo>
                <a:cubicBezTo>
                  <a:pt x="1719" y="1932"/>
                  <a:pt x="1715" y="1926"/>
                  <a:pt x="1714" y="1927"/>
                </a:cubicBezTo>
                <a:cubicBezTo>
                  <a:pt x="1713" y="1927"/>
                  <a:pt x="1713" y="1928"/>
                  <a:pt x="1713" y="1928"/>
                </a:cubicBezTo>
                <a:cubicBezTo>
                  <a:pt x="1712" y="1928"/>
                  <a:pt x="1711" y="1926"/>
                  <a:pt x="1710" y="1925"/>
                </a:cubicBezTo>
                <a:cubicBezTo>
                  <a:pt x="1710" y="1925"/>
                  <a:pt x="1707" y="1923"/>
                  <a:pt x="1708" y="1922"/>
                </a:cubicBezTo>
                <a:cubicBezTo>
                  <a:pt x="1708" y="1921"/>
                  <a:pt x="1708" y="1921"/>
                  <a:pt x="1707" y="1920"/>
                </a:cubicBezTo>
                <a:cubicBezTo>
                  <a:pt x="1706" y="1920"/>
                  <a:pt x="1706" y="1921"/>
                  <a:pt x="1705" y="1920"/>
                </a:cubicBezTo>
                <a:cubicBezTo>
                  <a:pt x="1705" y="1920"/>
                  <a:pt x="1704" y="1919"/>
                  <a:pt x="1704" y="1918"/>
                </a:cubicBezTo>
                <a:cubicBezTo>
                  <a:pt x="1704" y="1918"/>
                  <a:pt x="1705" y="1917"/>
                  <a:pt x="1704" y="1916"/>
                </a:cubicBezTo>
                <a:cubicBezTo>
                  <a:pt x="1704" y="1914"/>
                  <a:pt x="1702" y="1912"/>
                  <a:pt x="1700" y="1911"/>
                </a:cubicBezTo>
                <a:cubicBezTo>
                  <a:pt x="1699" y="1909"/>
                  <a:pt x="1698" y="1908"/>
                  <a:pt x="1696" y="1908"/>
                </a:cubicBezTo>
                <a:cubicBezTo>
                  <a:pt x="1694" y="1907"/>
                  <a:pt x="1694" y="1907"/>
                  <a:pt x="1694" y="1905"/>
                </a:cubicBezTo>
                <a:cubicBezTo>
                  <a:pt x="1693" y="1904"/>
                  <a:pt x="1692" y="1902"/>
                  <a:pt x="1691" y="1901"/>
                </a:cubicBezTo>
                <a:cubicBezTo>
                  <a:pt x="1690" y="1900"/>
                  <a:pt x="1689" y="1899"/>
                  <a:pt x="1687" y="1898"/>
                </a:cubicBezTo>
                <a:cubicBezTo>
                  <a:pt x="1687" y="1898"/>
                  <a:pt x="1686" y="1898"/>
                  <a:pt x="1685" y="1897"/>
                </a:cubicBezTo>
                <a:cubicBezTo>
                  <a:pt x="1685" y="1896"/>
                  <a:pt x="1685" y="1896"/>
                  <a:pt x="1684" y="1895"/>
                </a:cubicBezTo>
                <a:cubicBezTo>
                  <a:pt x="1684" y="1894"/>
                  <a:pt x="1684" y="1894"/>
                  <a:pt x="1684" y="1893"/>
                </a:cubicBezTo>
                <a:cubicBezTo>
                  <a:pt x="1684" y="1892"/>
                  <a:pt x="1683" y="1891"/>
                  <a:pt x="1682" y="1890"/>
                </a:cubicBezTo>
                <a:cubicBezTo>
                  <a:pt x="1681" y="1888"/>
                  <a:pt x="1680" y="1887"/>
                  <a:pt x="1678" y="1885"/>
                </a:cubicBezTo>
                <a:cubicBezTo>
                  <a:pt x="1675" y="1881"/>
                  <a:pt x="1671" y="1877"/>
                  <a:pt x="1668" y="1872"/>
                </a:cubicBezTo>
                <a:cubicBezTo>
                  <a:pt x="1666" y="1870"/>
                  <a:pt x="1664" y="1869"/>
                  <a:pt x="1663" y="1867"/>
                </a:cubicBezTo>
                <a:cubicBezTo>
                  <a:pt x="1662" y="1866"/>
                  <a:pt x="1660" y="1864"/>
                  <a:pt x="1659" y="1864"/>
                </a:cubicBezTo>
                <a:cubicBezTo>
                  <a:pt x="1658" y="1863"/>
                  <a:pt x="1656" y="1863"/>
                  <a:pt x="1655" y="1862"/>
                </a:cubicBezTo>
                <a:cubicBezTo>
                  <a:pt x="1654" y="1862"/>
                  <a:pt x="1654" y="1861"/>
                  <a:pt x="1654" y="1860"/>
                </a:cubicBezTo>
                <a:cubicBezTo>
                  <a:pt x="1653" y="1860"/>
                  <a:pt x="1652" y="1858"/>
                  <a:pt x="1651" y="1857"/>
                </a:cubicBezTo>
                <a:cubicBezTo>
                  <a:pt x="1650" y="1856"/>
                  <a:pt x="1649" y="1856"/>
                  <a:pt x="1649" y="1855"/>
                </a:cubicBezTo>
                <a:cubicBezTo>
                  <a:pt x="1649" y="1855"/>
                  <a:pt x="1649" y="1854"/>
                  <a:pt x="1649" y="1854"/>
                </a:cubicBezTo>
                <a:cubicBezTo>
                  <a:pt x="1649" y="1854"/>
                  <a:pt x="1649" y="1854"/>
                  <a:pt x="1650" y="1854"/>
                </a:cubicBezTo>
                <a:cubicBezTo>
                  <a:pt x="1650" y="1853"/>
                  <a:pt x="1650" y="1853"/>
                  <a:pt x="1650" y="1852"/>
                </a:cubicBezTo>
                <a:cubicBezTo>
                  <a:pt x="1649" y="1851"/>
                  <a:pt x="1648" y="1850"/>
                  <a:pt x="1647" y="1849"/>
                </a:cubicBezTo>
                <a:cubicBezTo>
                  <a:pt x="1645" y="1847"/>
                  <a:pt x="1643" y="1844"/>
                  <a:pt x="1643" y="1843"/>
                </a:cubicBezTo>
                <a:cubicBezTo>
                  <a:pt x="1642" y="1843"/>
                  <a:pt x="1639" y="1839"/>
                  <a:pt x="1635" y="1835"/>
                </a:cubicBezTo>
                <a:cubicBezTo>
                  <a:pt x="1634" y="1833"/>
                  <a:pt x="1632" y="1832"/>
                  <a:pt x="1631" y="1831"/>
                </a:cubicBezTo>
                <a:cubicBezTo>
                  <a:pt x="1631" y="1830"/>
                  <a:pt x="1629" y="1828"/>
                  <a:pt x="1628" y="1828"/>
                </a:cubicBezTo>
                <a:cubicBezTo>
                  <a:pt x="1628" y="1828"/>
                  <a:pt x="1627" y="1829"/>
                  <a:pt x="1626" y="1828"/>
                </a:cubicBezTo>
                <a:cubicBezTo>
                  <a:pt x="1626" y="1828"/>
                  <a:pt x="1625" y="1827"/>
                  <a:pt x="1626" y="1826"/>
                </a:cubicBezTo>
                <a:cubicBezTo>
                  <a:pt x="1626" y="1826"/>
                  <a:pt x="1626" y="1826"/>
                  <a:pt x="1626" y="1826"/>
                </a:cubicBezTo>
                <a:cubicBezTo>
                  <a:pt x="1627" y="1825"/>
                  <a:pt x="1623" y="1822"/>
                  <a:pt x="1623" y="1821"/>
                </a:cubicBezTo>
                <a:cubicBezTo>
                  <a:pt x="1619" y="1816"/>
                  <a:pt x="1617" y="1814"/>
                  <a:pt x="1615" y="1810"/>
                </a:cubicBezTo>
                <a:cubicBezTo>
                  <a:pt x="1613" y="1807"/>
                  <a:pt x="1604" y="1797"/>
                  <a:pt x="1599" y="1791"/>
                </a:cubicBezTo>
                <a:cubicBezTo>
                  <a:pt x="1598" y="1791"/>
                  <a:pt x="1597" y="1790"/>
                  <a:pt x="1596" y="1789"/>
                </a:cubicBezTo>
                <a:cubicBezTo>
                  <a:pt x="1596" y="1789"/>
                  <a:pt x="1595" y="1788"/>
                  <a:pt x="1595" y="1788"/>
                </a:cubicBezTo>
                <a:cubicBezTo>
                  <a:pt x="1595" y="1788"/>
                  <a:pt x="1594" y="1788"/>
                  <a:pt x="1594" y="1787"/>
                </a:cubicBezTo>
                <a:cubicBezTo>
                  <a:pt x="1594" y="1787"/>
                  <a:pt x="1594" y="1787"/>
                  <a:pt x="1593" y="1787"/>
                </a:cubicBezTo>
                <a:cubicBezTo>
                  <a:pt x="1593" y="1786"/>
                  <a:pt x="1593" y="1786"/>
                  <a:pt x="1592" y="1786"/>
                </a:cubicBezTo>
                <a:cubicBezTo>
                  <a:pt x="1592" y="1785"/>
                  <a:pt x="1592" y="1784"/>
                  <a:pt x="1591" y="1784"/>
                </a:cubicBezTo>
                <a:cubicBezTo>
                  <a:pt x="1591" y="1783"/>
                  <a:pt x="1590" y="1782"/>
                  <a:pt x="1590" y="1782"/>
                </a:cubicBezTo>
                <a:cubicBezTo>
                  <a:pt x="1589" y="1781"/>
                  <a:pt x="1588" y="1780"/>
                  <a:pt x="1587" y="1779"/>
                </a:cubicBezTo>
                <a:cubicBezTo>
                  <a:pt x="1585" y="1779"/>
                  <a:pt x="1584" y="1779"/>
                  <a:pt x="1584" y="1778"/>
                </a:cubicBezTo>
                <a:cubicBezTo>
                  <a:pt x="1583" y="1777"/>
                  <a:pt x="1584" y="1776"/>
                  <a:pt x="1583" y="1775"/>
                </a:cubicBezTo>
                <a:cubicBezTo>
                  <a:pt x="1583" y="1775"/>
                  <a:pt x="1583" y="1775"/>
                  <a:pt x="1583" y="1774"/>
                </a:cubicBezTo>
                <a:cubicBezTo>
                  <a:pt x="1583" y="1774"/>
                  <a:pt x="1583" y="1774"/>
                  <a:pt x="1582" y="1774"/>
                </a:cubicBezTo>
                <a:cubicBezTo>
                  <a:pt x="1582" y="1774"/>
                  <a:pt x="1582" y="1774"/>
                  <a:pt x="1582" y="1774"/>
                </a:cubicBezTo>
                <a:cubicBezTo>
                  <a:pt x="1580" y="1774"/>
                  <a:pt x="1579" y="1772"/>
                  <a:pt x="1577" y="1771"/>
                </a:cubicBezTo>
                <a:cubicBezTo>
                  <a:pt x="1577" y="1770"/>
                  <a:pt x="1576" y="1770"/>
                  <a:pt x="1577" y="1769"/>
                </a:cubicBezTo>
                <a:cubicBezTo>
                  <a:pt x="1577" y="1769"/>
                  <a:pt x="1577" y="1768"/>
                  <a:pt x="1577" y="1767"/>
                </a:cubicBezTo>
                <a:cubicBezTo>
                  <a:pt x="1577" y="1767"/>
                  <a:pt x="1576" y="1767"/>
                  <a:pt x="1576" y="1767"/>
                </a:cubicBezTo>
                <a:cubicBezTo>
                  <a:pt x="1574" y="1766"/>
                  <a:pt x="1575" y="1764"/>
                  <a:pt x="1574" y="1763"/>
                </a:cubicBezTo>
                <a:cubicBezTo>
                  <a:pt x="1573" y="1762"/>
                  <a:pt x="1572" y="1761"/>
                  <a:pt x="1571" y="1760"/>
                </a:cubicBezTo>
                <a:cubicBezTo>
                  <a:pt x="1571" y="1759"/>
                  <a:pt x="1568" y="1755"/>
                  <a:pt x="1566" y="1755"/>
                </a:cubicBezTo>
                <a:cubicBezTo>
                  <a:pt x="1566" y="1756"/>
                  <a:pt x="1566" y="1756"/>
                  <a:pt x="1566" y="1756"/>
                </a:cubicBezTo>
                <a:cubicBezTo>
                  <a:pt x="1565" y="1757"/>
                  <a:pt x="1564" y="1755"/>
                  <a:pt x="1563" y="1754"/>
                </a:cubicBezTo>
                <a:cubicBezTo>
                  <a:pt x="1562" y="1753"/>
                  <a:pt x="1562" y="1752"/>
                  <a:pt x="1562" y="1751"/>
                </a:cubicBezTo>
                <a:cubicBezTo>
                  <a:pt x="1562" y="1750"/>
                  <a:pt x="1562" y="1750"/>
                  <a:pt x="1561" y="1749"/>
                </a:cubicBezTo>
                <a:cubicBezTo>
                  <a:pt x="1561" y="1749"/>
                  <a:pt x="1560" y="1748"/>
                  <a:pt x="1560" y="1749"/>
                </a:cubicBezTo>
                <a:cubicBezTo>
                  <a:pt x="1560" y="1749"/>
                  <a:pt x="1559" y="1749"/>
                  <a:pt x="1559" y="1749"/>
                </a:cubicBezTo>
                <a:cubicBezTo>
                  <a:pt x="1559" y="1749"/>
                  <a:pt x="1559" y="1749"/>
                  <a:pt x="1559" y="1749"/>
                </a:cubicBezTo>
                <a:cubicBezTo>
                  <a:pt x="1558" y="1748"/>
                  <a:pt x="1558" y="1748"/>
                  <a:pt x="1557" y="1747"/>
                </a:cubicBezTo>
                <a:cubicBezTo>
                  <a:pt x="1557" y="1746"/>
                  <a:pt x="1557" y="1746"/>
                  <a:pt x="1557" y="1745"/>
                </a:cubicBezTo>
                <a:cubicBezTo>
                  <a:pt x="1558" y="1745"/>
                  <a:pt x="1558" y="1745"/>
                  <a:pt x="1558" y="1744"/>
                </a:cubicBezTo>
                <a:cubicBezTo>
                  <a:pt x="1557" y="1744"/>
                  <a:pt x="1557" y="1743"/>
                  <a:pt x="1556" y="1743"/>
                </a:cubicBezTo>
                <a:cubicBezTo>
                  <a:pt x="1553" y="1739"/>
                  <a:pt x="1546" y="1730"/>
                  <a:pt x="1544" y="1727"/>
                </a:cubicBezTo>
                <a:cubicBezTo>
                  <a:pt x="1544" y="1727"/>
                  <a:pt x="1542" y="1725"/>
                  <a:pt x="1541" y="1724"/>
                </a:cubicBezTo>
                <a:cubicBezTo>
                  <a:pt x="1540" y="1722"/>
                  <a:pt x="1538" y="1720"/>
                  <a:pt x="1536" y="1718"/>
                </a:cubicBezTo>
                <a:cubicBezTo>
                  <a:pt x="1535" y="1716"/>
                  <a:pt x="1533" y="1713"/>
                  <a:pt x="1532" y="1711"/>
                </a:cubicBezTo>
                <a:cubicBezTo>
                  <a:pt x="1529" y="1709"/>
                  <a:pt x="1528" y="1705"/>
                  <a:pt x="1525" y="1703"/>
                </a:cubicBezTo>
                <a:cubicBezTo>
                  <a:pt x="1524" y="1703"/>
                  <a:pt x="1523" y="1703"/>
                  <a:pt x="1523" y="1702"/>
                </a:cubicBezTo>
                <a:cubicBezTo>
                  <a:pt x="1521" y="1700"/>
                  <a:pt x="1520" y="1699"/>
                  <a:pt x="1518" y="1697"/>
                </a:cubicBezTo>
                <a:cubicBezTo>
                  <a:pt x="1515" y="1693"/>
                  <a:pt x="1511" y="1689"/>
                  <a:pt x="1509" y="1687"/>
                </a:cubicBezTo>
                <a:cubicBezTo>
                  <a:pt x="1508" y="1686"/>
                  <a:pt x="1507" y="1684"/>
                  <a:pt x="1506" y="1683"/>
                </a:cubicBezTo>
                <a:cubicBezTo>
                  <a:pt x="1505" y="1683"/>
                  <a:pt x="1505" y="1683"/>
                  <a:pt x="1504" y="1683"/>
                </a:cubicBezTo>
                <a:cubicBezTo>
                  <a:pt x="1504" y="1683"/>
                  <a:pt x="1504" y="1684"/>
                  <a:pt x="1504" y="1685"/>
                </a:cubicBezTo>
                <a:cubicBezTo>
                  <a:pt x="1503" y="1684"/>
                  <a:pt x="1503" y="1684"/>
                  <a:pt x="1502" y="1683"/>
                </a:cubicBezTo>
                <a:cubicBezTo>
                  <a:pt x="1502" y="1683"/>
                  <a:pt x="1502" y="1682"/>
                  <a:pt x="1502" y="1682"/>
                </a:cubicBezTo>
                <a:cubicBezTo>
                  <a:pt x="1502" y="1682"/>
                  <a:pt x="1502" y="1682"/>
                  <a:pt x="1503" y="1682"/>
                </a:cubicBezTo>
                <a:cubicBezTo>
                  <a:pt x="1503" y="1682"/>
                  <a:pt x="1503" y="1681"/>
                  <a:pt x="1503" y="1681"/>
                </a:cubicBezTo>
                <a:cubicBezTo>
                  <a:pt x="1503" y="1680"/>
                  <a:pt x="1501" y="1679"/>
                  <a:pt x="1500" y="1678"/>
                </a:cubicBezTo>
                <a:cubicBezTo>
                  <a:pt x="1500" y="1677"/>
                  <a:pt x="1498" y="1676"/>
                  <a:pt x="1498" y="1676"/>
                </a:cubicBezTo>
                <a:cubicBezTo>
                  <a:pt x="1498" y="1675"/>
                  <a:pt x="1497" y="1675"/>
                  <a:pt x="1496" y="1675"/>
                </a:cubicBezTo>
                <a:cubicBezTo>
                  <a:pt x="1495" y="1676"/>
                  <a:pt x="1495" y="1676"/>
                  <a:pt x="1495" y="1674"/>
                </a:cubicBezTo>
                <a:cubicBezTo>
                  <a:pt x="1494" y="1674"/>
                  <a:pt x="1495" y="1673"/>
                  <a:pt x="1495" y="1673"/>
                </a:cubicBezTo>
                <a:cubicBezTo>
                  <a:pt x="1495" y="1673"/>
                  <a:pt x="1495" y="1672"/>
                  <a:pt x="1495" y="1672"/>
                </a:cubicBezTo>
                <a:cubicBezTo>
                  <a:pt x="1494" y="1671"/>
                  <a:pt x="1493" y="1669"/>
                  <a:pt x="1493" y="1668"/>
                </a:cubicBezTo>
                <a:cubicBezTo>
                  <a:pt x="1493" y="1668"/>
                  <a:pt x="1493" y="1668"/>
                  <a:pt x="1493" y="1668"/>
                </a:cubicBezTo>
                <a:cubicBezTo>
                  <a:pt x="1493" y="1667"/>
                  <a:pt x="1493" y="1667"/>
                  <a:pt x="1493" y="1667"/>
                </a:cubicBezTo>
                <a:cubicBezTo>
                  <a:pt x="1492" y="1666"/>
                  <a:pt x="1491" y="1666"/>
                  <a:pt x="1490" y="1666"/>
                </a:cubicBezTo>
                <a:cubicBezTo>
                  <a:pt x="1489" y="1665"/>
                  <a:pt x="1489" y="1664"/>
                  <a:pt x="1488" y="1663"/>
                </a:cubicBezTo>
                <a:cubicBezTo>
                  <a:pt x="1486" y="1662"/>
                  <a:pt x="1485" y="1660"/>
                  <a:pt x="1483" y="1658"/>
                </a:cubicBezTo>
                <a:cubicBezTo>
                  <a:pt x="1480" y="1654"/>
                  <a:pt x="1477" y="1650"/>
                  <a:pt x="1473" y="1646"/>
                </a:cubicBezTo>
                <a:cubicBezTo>
                  <a:pt x="1464" y="1636"/>
                  <a:pt x="1455" y="1625"/>
                  <a:pt x="1453" y="1623"/>
                </a:cubicBezTo>
                <a:cubicBezTo>
                  <a:pt x="1451" y="1621"/>
                  <a:pt x="1444" y="1613"/>
                  <a:pt x="1437" y="1605"/>
                </a:cubicBezTo>
                <a:cubicBezTo>
                  <a:pt x="1429" y="1597"/>
                  <a:pt x="1417" y="1583"/>
                  <a:pt x="1410" y="1575"/>
                </a:cubicBezTo>
                <a:cubicBezTo>
                  <a:pt x="1403" y="1567"/>
                  <a:pt x="1384" y="1545"/>
                  <a:pt x="1368" y="1526"/>
                </a:cubicBezTo>
                <a:cubicBezTo>
                  <a:pt x="1363" y="1520"/>
                  <a:pt x="1357" y="1514"/>
                  <a:pt x="1352" y="1508"/>
                </a:cubicBezTo>
                <a:cubicBezTo>
                  <a:pt x="1349" y="1505"/>
                  <a:pt x="1346" y="1501"/>
                  <a:pt x="1344" y="1498"/>
                </a:cubicBezTo>
                <a:cubicBezTo>
                  <a:pt x="1342" y="1497"/>
                  <a:pt x="1341" y="1495"/>
                  <a:pt x="1340" y="1494"/>
                </a:cubicBezTo>
                <a:cubicBezTo>
                  <a:pt x="1339" y="1493"/>
                  <a:pt x="1337" y="1494"/>
                  <a:pt x="1337" y="1492"/>
                </a:cubicBezTo>
                <a:cubicBezTo>
                  <a:pt x="1337" y="1490"/>
                  <a:pt x="1335" y="1489"/>
                  <a:pt x="1335" y="1488"/>
                </a:cubicBezTo>
                <a:cubicBezTo>
                  <a:pt x="1333" y="1487"/>
                  <a:pt x="1332" y="1486"/>
                  <a:pt x="1331" y="1484"/>
                </a:cubicBezTo>
                <a:cubicBezTo>
                  <a:pt x="1329" y="1482"/>
                  <a:pt x="1326" y="1479"/>
                  <a:pt x="1324" y="1477"/>
                </a:cubicBezTo>
                <a:cubicBezTo>
                  <a:pt x="1321" y="1474"/>
                  <a:pt x="1319" y="1471"/>
                  <a:pt x="1316" y="1468"/>
                </a:cubicBezTo>
                <a:cubicBezTo>
                  <a:pt x="1315" y="1466"/>
                  <a:pt x="1313" y="1463"/>
                  <a:pt x="1310" y="1462"/>
                </a:cubicBezTo>
                <a:cubicBezTo>
                  <a:pt x="1309" y="1462"/>
                  <a:pt x="1309" y="1461"/>
                  <a:pt x="1309" y="1460"/>
                </a:cubicBezTo>
                <a:cubicBezTo>
                  <a:pt x="1308" y="1458"/>
                  <a:pt x="1306" y="1457"/>
                  <a:pt x="1305" y="1455"/>
                </a:cubicBezTo>
                <a:cubicBezTo>
                  <a:pt x="1302" y="1452"/>
                  <a:pt x="1295" y="1444"/>
                  <a:pt x="1289" y="1437"/>
                </a:cubicBezTo>
                <a:cubicBezTo>
                  <a:pt x="1286" y="1434"/>
                  <a:pt x="1283" y="1430"/>
                  <a:pt x="1280" y="1426"/>
                </a:cubicBezTo>
                <a:cubicBezTo>
                  <a:pt x="1279" y="1426"/>
                  <a:pt x="1279" y="1425"/>
                  <a:pt x="1279" y="1425"/>
                </a:cubicBezTo>
                <a:cubicBezTo>
                  <a:pt x="1279" y="1424"/>
                  <a:pt x="1279" y="1424"/>
                  <a:pt x="1279" y="1424"/>
                </a:cubicBezTo>
                <a:cubicBezTo>
                  <a:pt x="1279" y="1422"/>
                  <a:pt x="1277" y="1421"/>
                  <a:pt x="1276" y="1420"/>
                </a:cubicBezTo>
                <a:cubicBezTo>
                  <a:pt x="1275" y="1420"/>
                  <a:pt x="1274" y="1419"/>
                  <a:pt x="1273" y="1418"/>
                </a:cubicBezTo>
                <a:cubicBezTo>
                  <a:pt x="1272" y="1417"/>
                  <a:pt x="1271" y="1417"/>
                  <a:pt x="1271" y="1416"/>
                </a:cubicBezTo>
                <a:cubicBezTo>
                  <a:pt x="1270" y="1416"/>
                  <a:pt x="1269" y="1416"/>
                  <a:pt x="1269" y="1415"/>
                </a:cubicBezTo>
                <a:cubicBezTo>
                  <a:pt x="1268" y="1415"/>
                  <a:pt x="1268" y="1413"/>
                  <a:pt x="1267" y="1412"/>
                </a:cubicBezTo>
                <a:cubicBezTo>
                  <a:pt x="1267" y="1411"/>
                  <a:pt x="1265" y="1412"/>
                  <a:pt x="1264" y="1410"/>
                </a:cubicBezTo>
                <a:cubicBezTo>
                  <a:pt x="1264" y="1410"/>
                  <a:pt x="1264" y="1410"/>
                  <a:pt x="1264" y="1409"/>
                </a:cubicBezTo>
                <a:cubicBezTo>
                  <a:pt x="1264" y="1407"/>
                  <a:pt x="1261" y="1405"/>
                  <a:pt x="1260" y="1404"/>
                </a:cubicBezTo>
                <a:cubicBezTo>
                  <a:pt x="1258" y="1402"/>
                  <a:pt x="1257" y="1401"/>
                  <a:pt x="1256" y="1399"/>
                </a:cubicBezTo>
                <a:cubicBezTo>
                  <a:pt x="1255" y="1398"/>
                  <a:pt x="1253" y="1397"/>
                  <a:pt x="1253" y="1395"/>
                </a:cubicBezTo>
                <a:cubicBezTo>
                  <a:pt x="1253" y="1394"/>
                  <a:pt x="1254" y="1394"/>
                  <a:pt x="1254" y="1393"/>
                </a:cubicBezTo>
                <a:cubicBezTo>
                  <a:pt x="1254" y="1393"/>
                  <a:pt x="1254" y="1393"/>
                  <a:pt x="1254" y="1392"/>
                </a:cubicBezTo>
                <a:cubicBezTo>
                  <a:pt x="1254" y="1391"/>
                  <a:pt x="1253" y="1390"/>
                  <a:pt x="1253" y="1390"/>
                </a:cubicBezTo>
                <a:cubicBezTo>
                  <a:pt x="1252" y="1389"/>
                  <a:pt x="1252" y="1389"/>
                  <a:pt x="1251" y="1389"/>
                </a:cubicBezTo>
                <a:cubicBezTo>
                  <a:pt x="1251" y="1390"/>
                  <a:pt x="1251" y="1390"/>
                  <a:pt x="1250" y="1391"/>
                </a:cubicBezTo>
                <a:cubicBezTo>
                  <a:pt x="1250" y="1391"/>
                  <a:pt x="1250" y="1391"/>
                  <a:pt x="1249" y="1391"/>
                </a:cubicBezTo>
                <a:cubicBezTo>
                  <a:pt x="1247" y="1391"/>
                  <a:pt x="1246" y="1389"/>
                  <a:pt x="1245" y="1387"/>
                </a:cubicBezTo>
                <a:cubicBezTo>
                  <a:pt x="1244" y="1385"/>
                  <a:pt x="1243" y="1383"/>
                  <a:pt x="1242" y="1381"/>
                </a:cubicBezTo>
                <a:cubicBezTo>
                  <a:pt x="1241" y="1379"/>
                  <a:pt x="1240" y="1376"/>
                  <a:pt x="1238" y="1375"/>
                </a:cubicBezTo>
                <a:cubicBezTo>
                  <a:pt x="1236" y="1374"/>
                  <a:pt x="1234" y="1374"/>
                  <a:pt x="1233" y="1371"/>
                </a:cubicBezTo>
                <a:cubicBezTo>
                  <a:pt x="1233" y="1370"/>
                  <a:pt x="1232" y="1370"/>
                  <a:pt x="1231" y="1369"/>
                </a:cubicBezTo>
                <a:cubicBezTo>
                  <a:pt x="1231" y="1368"/>
                  <a:pt x="1231" y="1367"/>
                  <a:pt x="1230" y="1366"/>
                </a:cubicBezTo>
                <a:cubicBezTo>
                  <a:pt x="1230" y="1365"/>
                  <a:pt x="1229" y="1364"/>
                  <a:pt x="1229" y="1363"/>
                </a:cubicBezTo>
                <a:cubicBezTo>
                  <a:pt x="1227" y="1362"/>
                  <a:pt x="1226" y="1360"/>
                  <a:pt x="1225" y="1359"/>
                </a:cubicBezTo>
                <a:cubicBezTo>
                  <a:pt x="1223" y="1357"/>
                  <a:pt x="1222" y="1355"/>
                  <a:pt x="1220" y="1354"/>
                </a:cubicBezTo>
                <a:cubicBezTo>
                  <a:pt x="1218" y="1353"/>
                  <a:pt x="1218" y="1355"/>
                  <a:pt x="1217" y="1354"/>
                </a:cubicBezTo>
                <a:cubicBezTo>
                  <a:pt x="1215" y="1354"/>
                  <a:pt x="1214" y="1352"/>
                  <a:pt x="1213" y="1351"/>
                </a:cubicBezTo>
                <a:cubicBezTo>
                  <a:pt x="1213" y="1350"/>
                  <a:pt x="1208" y="1343"/>
                  <a:pt x="1207" y="1344"/>
                </a:cubicBezTo>
                <a:cubicBezTo>
                  <a:pt x="1207" y="1344"/>
                  <a:pt x="1206" y="1344"/>
                  <a:pt x="1206" y="1344"/>
                </a:cubicBezTo>
                <a:cubicBezTo>
                  <a:pt x="1205" y="1342"/>
                  <a:pt x="1203" y="1341"/>
                  <a:pt x="1202" y="1339"/>
                </a:cubicBezTo>
                <a:cubicBezTo>
                  <a:pt x="1197" y="1331"/>
                  <a:pt x="1193" y="1326"/>
                  <a:pt x="1186" y="1319"/>
                </a:cubicBezTo>
                <a:cubicBezTo>
                  <a:pt x="1184" y="1316"/>
                  <a:pt x="1181" y="1314"/>
                  <a:pt x="1179" y="1311"/>
                </a:cubicBezTo>
                <a:cubicBezTo>
                  <a:pt x="1179" y="1311"/>
                  <a:pt x="1179" y="1310"/>
                  <a:pt x="1179" y="1310"/>
                </a:cubicBezTo>
                <a:cubicBezTo>
                  <a:pt x="1179" y="1310"/>
                  <a:pt x="1179" y="1310"/>
                  <a:pt x="1179" y="1310"/>
                </a:cubicBezTo>
                <a:cubicBezTo>
                  <a:pt x="1179" y="1309"/>
                  <a:pt x="1178" y="1309"/>
                  <a:pt x="1178" y="1309"/>
                </a:cubicBezTo>
                <a:cubicBezTo>
                  <a:pt x="1176" y="1308"/>
                  <a:pt x="1177" y="1306"/>
                  <a:pt x="1176" y="1305"/>
                </a:cubicBezTo>
                <a:cubicBezTo>
                  <a:pt x="1176" y="1304"/>
                  <a:pt x="1175" y="1302"/>
                  <a:pt x="1173" y="1303"/>
                </a:cubicBezTo>
                <a:cubicBezTo>
                  <a:pt x="1173" y="1303"/>
                  <a:pt x="1173" y="1303"/>
                  <a:pt x="1172" y="1303"/>
                </a:cubicBezTo>
                <a:cubicBezTo>
                  <a:pt x="1171" y="1303"/>
                  <a:pt x="1170" y="1300"/>
                  <a:pt x="1169" y="1300"/>
                </a:cubicBezTo>
                <a:cubicBezTo>
                  <a:pt x="1168" y="1298"/>
                  <a:pt x="1167" y="1297"/>
                  <a:pt x="1166" y="1296"/>
                </a:cubicBezTo>
                <a:cubicBezTo>
                  <a:pt x="1162" y="1292"/>
                  <a:pt x="1159" y="1288"/>
                  <a:pt x="1158" y="1288"/>
                </a:cubicBezTo>
                <a:cubicBezTo>
                  <a:pt x="1157" y="1286"/>
                  <a:pt x="1156" y="1284"/>
                  <a:pt x="1155" y="1282"/>
                </a:cubicBezTo>
                <a:cubicBezTo>
                  <a:pt x="1154" y="1282"/>
                  <a:pt x="1154" y="1282"/>
                  <a:pt x="1154" y="1282"/>
                </a:cubicBezTo>
                <a:cubicBezTo>
                  <a:pt x="1155" y="1281"/>
                  <a:pt x="1155" y="1280"/>
                  <a:pt x="1154" y="1279"/>
                </a:cubicBezTo>
                <a:cubicBezTo>
                  <a:pt x="1153" y="1278"/>
                  <a:pt x="1153" y="1277"/>
                  <a:pt x="1152" y="1277"/>
                </a:cubicBezTo>
                <a:cubicBezTo>
                  <a:pt x="1151" y="1276"/>
                  <a:pt x="1151" y="1276"/>
                  <a:pt x="1151" y="1276"/>
                </a:cubicBezTo>
                <a:cubicBezTo>
                  <a:pt x="1150" y="1276"/>
                  <a:pt x="1150" y="1276"/>
                  <a:pt x="1150" y="1276"/>
                </a:cubicBezTo>
                <a:cubicBezTo>
                  <a:pt x="1149" y="1276"/>
                  <a:pt x="1148" y="1275"/>
                  <a:pt x="1147" y="1274"/>
                </a:cubicBezTo>
                <a:cubicBezTo>
                  <a:pt x="1146" y="1272"/>
                  <a:pt x="1144" y="1271"/>
                  <a:pt x="1143" y="1269"/>
                </a:cubicBezTo>
                <a:cubicBezTo>
                  <a:pt x="1142" y="1267"/>
                  <a:pt x="1141" y="1266"/>
                  <a:pt x="1139" y="1265"/>
                </a:cubicBezTo>
                <a:cubicBezTo>
                  <a:pt x="1138" y="1265"/>
                  <a:pt x="1137" y="1265"/>
                  <a:pt x="1136" y="1264"/>
                </a:cubicBezTo>
                <a:cubicBezTo>
                  <a:pt x="1135" y="1263"/>
                  <a:pt x="1134" y="1261"/>
                  <a:pt x="1134" y="1260"/>
                </a:cubicBezTo>
                <a:cubicBezTo>
                  <a:pt x="1131" y="1257"/>
                  <a:pt x="1128" y="1254"/>
                  <a:pt x="1125" y="1251"/>
                </a:cubicBezTo>
                <a:cubicBezTo>
                  <a:pt x="1120" y="1246"/>
                  <a:pt x="1115" y="1241"/>
                  <a:pt x="1114" y="1240"/>
                </a:cubicBezTo>
                <a:cubicBezTo>
                  <a:pt x="1113" y="1238"/>
                  <a:pt x="1111" y="1237"/>
                  <a:pt x="1110" y="1237"/>
                </a:cubicBezTo>
                <a:cubicBezTo>
                  <a:pt x="1109" y="1237"/>
                  <a:pt x="1109" y="1237"/>
                  <a:pt x="1109" y="1237"/>
                </a:cubicBezTo>
                <a:cubicBezTo>
                  <a:pt x="1109" y="1236"/>
                  <a:pt x="1109" y="1236"/>
                  <a:pt x="1109" y="1236"/>
                </a:cubicBezTo>
                <a:cubicBezTo>
                  <a:pt x="1108" y="1236"/>
                  <a:pt x="1108" y="1235"/>
                  <a:pt x="1108" y="1235"/>
                </a:cubicBezTo>
                <a:cubicBezTo>
                  <a:pt x="1108" y="1235"/>
                  <a:pt x="1108" y="1234"/>
                  <a:pt x="1108" y="1234"/>
                </a:cubicBezTo>
                <a:cubicBezTo>
                  <a:pt x="1108" y="1231"/>
                  <a:pt x="1105" y="1229"/>
                  <a:pt x="1103" y="1227"/>
                </a:cubicBezTo>
                <a:cubicBezTo>
                  <a:pt x="1101" y="1225"/>
                  <a:pt x="1099" y="1223"/>
                  <a:pt x="1097" y="1220"/>
                </a:cubicBezTo>
                <a:cubicBezTo>
                  <a:pt x="1095" y="1218"/>
                  <a:pt x="1093" y="1215"/>
                  <a:pt x="1091" y="1212"/>
                </a:cubicBezTo>
                <a:cubicBezTo>
                  <a:pt x="1090" y="1211"/>
                  <a:pt x="1089" y="1210"/>
                  <a:pt x="1087" y="1208"/>
                </a:cubicBezTo>
                <a:cubicBezTo>
                  <a:pt x="1087" y="1208"/>
                  <a:pt x="1085" y="1207"/>
                  <a:pt x="1085" y="1207"/>
                </a:cubicBezTo>
                <a:cubicBezTo>
                  <a:pt x="1084" y="1206"/>
                  <a:pt x="1084" y="1206"/>
                  <a:pt x="1084" y="1206"/>
                </a:cubicBezTo>
                <a:cubicBezTo>
                  <a:pt x="1083" y="1206"/>
                  <a:pt x="1083" y="1206"/>
                  <a:pt x="1083" y="1205"/>
                </a:cubicBezTo>
                <a:cubicBezTo>
                  <a:pt x="1082" y="1204"/>
                  <a:pt x="1081" y="1201"/>
                  <a:pt x="1080" y="1200"/>
                </a:cubicBezTo>
                <a:cubicBezTo>
                  <a:pt x="1079" y="1198"/>
                  <a:pt x="1077" y="1196"/>
                  <a:pt x="1075" y="1195"/>
                </a:cubicBezTo>
                <a:cubicBezTo>
                  <a:pt x="1074" y="1193"/>
                  <a:pt x="1073" y="1192"/>
                  <a:pt x="1071" y="1191"/>
                </a:cubicBezTo>
                <a:cubicBezTo>
                  <a:pt x="1070" y="1190"/>
                  <a:pt x="1069" y="1189"/>
                  <a:pt x="1068" y="1189"/>
                </a:cubicBezTo>
                <a:cubicBezTo>
                  <a:pt x="1067" y="1189"/>
                  <a:pt x="1066" y="1188"/>
                  <a:pt x="1066" y="1188"/>
                </a:cubicBezTo>
                <a:cubicBezTo>
                  <a:pt x="1065" y="1187"/>
                  <a:pt x="1064" y="1185"/>
                  <a:pt x="1063" y="1184"/>
                </a:cubicBezTo>
                <a:cubicBezTo>
                  <a:pt x="1062" y="1183"/>
                  <a:pt x="1061" y="1182"/>
                  <a:pt x="1060" y="1181"/>
                </a:cubicBezTo>
                <a:cubicBezTo>
                  <a:pt x="1059" y="1181"/>
                  <a:pt x="1059" y="1180"/>
                  <a:pt x="1058" y="1180"/>
                </a:cubicBezTo>
                <a:cubicBezTo>
                  <a:pt x="1058" y="1180"/>
                  <a:pt x="1058" y="1180"/>
                  <a:pt x="1058" y="1180"/>
                </a:cubicBezTo>
                <a:cubicBezTo>
                  <a:pt x="1058" y="1180"/>
                  <a:pt x="1057" y="1180"/>
                  <a:pt x="1057" y="1180"/>
                </a:cubicBezTo>
                <a:cubicBezTo>
                  <a:pt x="1057" y="1180"/>
                  <a:pt x="1057" y="1179"/>
                  <a:pt x="1057" y="1178"/>
                </a:cubicBezTo>
                <a:cubicBezTo>
                  <a:pt x="1056" y="1177"/>
                  <a:pt x="1055" y="1176"/>
                  <a:pt x="1055" y="1175"/>
                </a:cubicBezTo>
                <a:cubicBezTo>
                  <a:pt x="1054" y="1174"/>
                  <a:pt x="1053" y="1173"/>
                  <a:pt x="1053" y="1172"/>
                </a:cubicBezTo>
                <a:cubicBezTo>
                  <a:pt x="1052" y="1171"/>
                  <a:pt x="1052" y="1171"/>
                  <a:pt x="1052" y="1171"/>
                </a:cubicBezTo>
                <a:cubicBezTo>
                  <a:pt x="1050" y="1169"/>
                  <a:pt x="1049" y="1168"/>
                  <a:pt x="1048" y="1166"/>
                </a:cubicBezTo>
                <a:cubicBezTo>
                  <a:pt x="1047" y="1165"/>
                  <a:pt x="1046" y="1164"/>
                  <a:pt x="1045" y="1163"/>
                </a:cubicBezTo>
                <a:cubicBezTo>
                  <a:pt x="1045" y="1162"/>
                  <a:pt x="1044" y="1161"/>
                  <a:pt x="1044" y="1160"/>
                </a:cubicBezTo>
                <a:cubicBezTo>
                  <a:pt x="1044" y="1159"/>
                  <a:pt x="1043" y="1158"/>
                  <a:pt x="1043" y="1158"/>
                </a:cubicBezTo>
                <a:cubicBezTo>
                  <a:pt x="1042" y="1156"/>
                  <a:pt x="1040" y="1155"/>
                  <a:pt x="1039" y="1153"/>
                </a:cubicBezTo>
                <a:cubicBezTo>
                  <a:pt x="1036" y="1149"/>
                  <a:pt x="1032" y="1146"/>
                  <a:pt x="1029" y="1143"/>
                </a:cubicBezTo>
                <a:cubicBezTo>
                  <a:pt x="1029" y="1142"/>
                  <a:pt x="1028" y="1142"/>
                  <a:pt x="1028" y="1142"/>
                </a:cubicBezTo>
                <a:cubicBezTo>
                  <a:pt x="1028" y="1141"/>
                  <a:pt x="1028" y="1141"/>
                  <a:pt x="1028" y="1140"/>
                </a:cubicBezTo>
                <a:cubicBezTo>
                  <a:pt x="1028" y="1140"/>
                  <a:pt x="1027" y="1139"/>
                  <a:pt x="1027" y="1138"/>
                </a:cubicBezTo>
                <a:cubicBezTo>
                  <a:pt x="1027" y="1137"/>
                  <a:pt x="1026" y="1137"/>
                  <a:pt x="1025" y="1136"/>
                </a:cubicBezTo>
                <a:cubicBezTo>
                  <a:pt x="1024" y="1135"/>
                  <a:pt x="1023" y="1133"/>
                  <a:pt x="1022" y="1132"/>
                </a:cubicBezTo>
                <a:cubicBezTo>
                  <a:pt x="1021" y="1131"/>
                  <a:pt x="1020" y="1129"/>
                  <a:pt x="1019" y="1128"/>
                </a:cubicBezTo>
                <a:cubicBezTo>
                  <a:pt x="1018" y="1127"/>
                  <a:pt x="1018" y="1127"/>
                  <a:pt x="1017" y="1126"/>
                </a:cubicBezTo>
                <a:cubicBezTo>
                  <a:pt x="1017" y="1126"/>
                  <a:pt x="1017" y="1125"/>
                  <a:pt x="1016" y="1125"/>
                </a:cubicBezTo>
                <a:cubicBezTo>
                  <a:pt x="1015" y="1125"/>
                  <a:pt x="1012" y="1125"/>
                  <a:pt x="1012" y="1124"/>
                </a:cubicBezTo>
                <a:cubicBezTo>
                  <a:pt x="1012" y="1123"/>
                  <a:pt x="1013" y="1123"/>
                  <a:pt x="1014" y="1122"/>
                </a:cubicBezTo>
                <a:cubicBezTo>
                  <a:pt x="1014" y="1121"/>
                  <a:pt x="1013" y="1119"/>
                  <a:pt x="1012" y="1119"/>
                </a:cubicBezTo>
                <a:cubicBezTo>
                  <a:pt x="1012" y="1119"/>
                  <a:pt x="1012" y="1119"/>
                  <a:pt x="1012" y="1120"/>
                </a:cubicBezTo>
                <a:cubicBezTo>
                  <a:pt x="1012" y="1120"/>
                  <a:pt x="1012" y="1121"/>
                  <a:pt x="1012" y="1121"/>
                </a:cubicBezTo>
                <a:cubicBezTo>
                  <a:pt x="1012" y="1121"/>
                  <a:pt x="1011" y="1121"/>
                  <a:pt x="1011" y="1121"/>
                </a:cubicBezTo>
                <a:cubicBezTo>
                  <a:pt x="1010" y="1120"/>
                  <a:pt x="1010" y="1119"/>
                  <a:pt x="1009" y="1118"/>
                </a:cubicBezTo>
                <a:cubicBezTo>
                  <a:pt x="1009" y="1118"/>
                  <a:pt x="1008" y="1117"/>
                  <a:pt x="1008" y="1117"/>
                </a:cubicBezTo>
                <a:cubicBezTo>
                  <a:pt x="1007" y="1117"/>
                  <a:pt x="1007" y="1116"/>
                  <a:pt x="1007" y="1116"/>
                </a:cubicBezTo>
                <a:cubicBezTo>
                  <a:pt x="1007" y="1115"/>
                  <a:pt x="1007" y="1115"/>
                  <a:pt x="1007" y="1115"/>
                </a:cubicBezTo>
                <a:cubicBezTo>
                  <a:pt x="1006" y="1115"/>
                  <a:pt x="1006" y="1115"/>
                  <a:pt x="1006" y="1115"/>
                </a:cubicBezTo>
                <a:cubicBezTo>
                  <a:pt x="1006" y="1115"/>
                  <a:pt x="1006" y="1115"/>
                  <a:pt x="1005" y="1115"/>
                </a:cubicBezTo>
                <a:cubicBezTo>
                  <a:pt x="1004" y="1117"/>
                  <a:pt x="1003" y="1114"/>
                  <a:pt x="1003" y="1113"/>
                </a:cubicBezTo>
                <a:cubicBezTo>
                  <a:pt x="1002" y="1112"/>
                  <a:pt x="1001" y="1109"/>
                  <a:pt x="1001" y="1108"/>
                </a:cubicBezTo>
                <a:cubicBezTo>
                  <a:pt x="1000" y="1106"/>
                  <a:pt x="999" y="1104"/>
                  <a:pt x="998" y="1103"/>
                </a:cubicBezTo>
                <a:cubicBezTo>
                  <a:pt x="997" y="1102"/>
                  <a:pt x="996" y="1101"/>
                  <a:pt x="995" y="1099"/>
                </a:cubicBezTo>
                <a:cubicBezTo>
                  <a:pt x="994" y="1098"/>
                  <a:pt x="993" y="1097"/>
                  <a:pt x="992" y="1096"/>
                </a:cubicBezTo>
                <a:cubicBezTo>
                  <a:pt x="992" y="1096"/>
                  <a:pt x="990" y="1094"/>
                  <a:pt x="990" y="1094"/>
                </a:cubicBezTo>
                <a:cubicBezTo>
                  <a:pt x="990" y="1094"/>
                  <a:pt x="990" y="1094"/>
                  <a:pt x="989" y="1094"/>
                </a:cubicBezTo>
                <a:cubicBezTo>
                  <a:pt x="989" y="1094"/>
                  <a:pt x="989" y="1094"/>
                  <a:pt x="989" y="1094"/>
                </a:cubicBezTo>
                <a:cubicBezTo>
                  <a:pt x="989" y="1094"/>
                  <a:pt x="989" y="1094"/>
                  <a:pt x="988" y="1095"/>
                </a:cubicBezTo>
                <a:cubicBezTo>
                  <a:pt x="988" y="1095"/>
                  <a:pt x="986" y="1093"/>
                  <a:pt x="987" y="1093"/>
                </a:cubicBezTo>
                <a:cubicBezTo>
                  <a:pt x="987" y="1093"/>
                  <a:pt x="988" y="1093"/>
                  <a:pt x="988" y="1093"/>
                </a:cubicBezTo>
                <a:cubicBezTo>
                  <a:pt x="988" y="1092"/>
                  <a:pt x="986" y="1090"/>
                  <a:pt x="986" y="1090"/>
                </a:cubicBezTo>
                <a:cubicBezTo>
                  <a:pt x="985" y="1089"/>
                  <a:pt x="985" y="1088"/>
                  <a:pt x="985" y="1087"/>
                </a:cubicBezTo>
                <a:cubicBezTo>
                  <a:pt x="984" y="1087"/>
                  <a:pt x="984" y="1087"/>
                  <a:pt x="984" y="1087"/>
                </a:cubicBezTo>
                <a:cubicBezTo>
                  <a:pt x="983" y="1087"/>
                  <a:pt x="983" y="1086"/>
                  <a:pt x="983" y="1086"/>
                </a:cubicBezTo>
                <a:cubicBezTo>
                  <a:pt x="983" y="1086"/>
                  <a:pt x="982" y="1085"/>
                  <a:pt x="982" y="1085"/>
                </a:cubicBezTo>
                <a:cubicBezTo>
                  <a:pt x="982" y="1085"/>
                  <a:pt x="982" y="1085"/>
                  <a:pt x="981" y="1085"/>
                </a:cubicBezTo>
                <a:cubicBezTo>
                  <a:pt x="980" y="1085"/>
                  <a:pt x="982" y="1087"/>
                  <a:pt x="982" y="1088"/>
                </a:cubicBezTo>
                <a:cubicBezTo>
                  <a:pt x="983" y="1088"/>
                  <a:pt x="984" y="1088"/>
                  <a:pt x="983" y="1089"/>
                </a:cubicBezTo>
                <a:cubicBezTo>
                  <a:pt x="982" y="1090"/>
                  <a:pt x="982" y="1090"/>
                  <a:pt x="981" y="1089"/>
                </a:cubicBezTo>
                <a:cubicBezTo>
                  <a:pt x="980" y="1088"/>
                  <a:pt x="980" y="1087"/>
                  <a:pt x="979" y="1086"/>
                </a:cubicBezTo>
                <a:cubicBezTo>
                  <a:pt x="977" y="1084"/>
                  <a:pt x="976" y="1082"/>
                  <a:pt x="974" y="1080"/>
                </a:cubicBezTo>
                <a:cubicBezTo>
                  <a:pt x="973" y="1078"/>
                  <a:pt x="971" y="1076"/>
                  <a:pt x="969" y="1074"/>
                </a:cubicBezTo>
                <a:cubicBezTo>
                  <a:pt x="969" y="1073"/>
                  <a:pt x="968" y="1072"/>
                  <a:pt x="967" y="1071"/>
                </a:cubicBezTo>
                <a:cubicBezTo>
                  <a:pt x="967" y="1071"/>
                  <a:pt x="966" y="1070"/>
                  <a:pt x="966" y="1070"/>
                </a:cubicBezTo>
                <a:cubicBezTo>
                  <a:pt x="966" y="1070"/>
                  <a:pt x="966" y="1070"/>
                  <a:pt x="966" y="1070"/>
                </a:cubicBezTo>
                <a:cubicBezTo>
                  <a:pt x="966" y="1069"/>
                  <a:pt x="966" y="1069"/>
                  <a:pt x="965" y="1068"/>
                </a:cubicBezTo>
                <a:cubicBezTo>
                  <a:pt x="965" y="1068"/>
                  <a:pt x="967" y="1069"/>
                  <a:pt x="968" y="1069"/>
                </a:cubicBezTo>
                <a:cubicBezTo>
                  <a:pt x="968" y="1069"/>
                  <a:pt x="968" y="1067"/>
                  <a:pt x="968" y="1067"/>
                </a:cubicBezTo>
                <a:cubicBezTo>
                  <a:pt x="967" y="1067"/>
                  <a:pt x="966" y="1068"/>
                  <a:pt x="965" y="1067"/>
                </a:cubicBezTo>
                <a:cubicBezTo>
                  <a:pt x="965" y="1067"/>
                  <a:pt x="965" y="1066"/>
                  <a:pt x="965" y="1066"/>
                </a:cubicBezTo>
                <a:cubicBezTo>
                  <a:pt x="965" y="1065"/>
                  <a:pt x="965" y="1064"/>
                  <a:pt x="964" y="1063"/>
                </a:cubicBezTo>
                <a:cubicBezTo>
                  <a:pt x="963" y="1062"/>
                  <a:pt x="962" y="1061"/>
                  <a:pt x="961" y="1060"/>
                </a:cubicBezTo>
                <a:cubicBezTo>
                  <a:pt x="959" y="1057"/>
                  <a:pt x="957" y="1055"/>
                  <a:pt x="956" y="1055"/>
                </a:cubicBezTo>
                <a:cubicBezTo>
                  <a:pt x="955" y="1054"/>
                  <a:pt x="954" y="1052"/>
                  <a:pt x="954" y="1050"/>
                </a:cubicBezTo>
                <a:cubicBezTo>
                  <a:pt x="954" y="1050"/>
                  <a:pt x="953" y="1050"/>
                  <a:pt x="953" y="1050"/>
                </a:cubicBezTo>
                <a:cubicBezTo>
                  <a:pt x="952" y="1050"/>
                  <a:pt x="952" y="1050"/>
                  <a:pt x="951" y="1051"/>
                </a:cubicBezTo>
                <a:cubicBezTo>
                  <a:pt x="951" y="1051"/>
                  <a:pt x="951" y="1051"/>
                  <a:pt x="951" y="1051"/>
                </a:cubicBezTo>
                <a:cubicBezTo>
                  <a:pt x="950" y="1050"/>
                  <a:pt x="950" y="1049"/>
                  <a:pt x="950" y="1048"/>
                </a:cubicBezTo>
                <a:cubicBezTo>
                  <a:pt x="950" y="1047"/>
                  <a:pt x="949" y="1047"/>
                  <a:pt x="949" y="1046"/>
                </a:cubicBezTo>
                <a:cubicBezTo>
                  <a:pt x="948" y="1045"/>
                  <a:pt x="947" y="1044"/>
                  <a:pt x="946" y="1042"/>
                </a:cubicBezTo>
                <a:cubicBezTo>
                  <a:pt x="945" y="1042"/>
                  <a:pt x="945" y="1042"/>
                  <a:pt x="944" y="1041"/>
                </a:cubicBezTo>
                <a:cubicBezTo>
                  <a:pt x="944" y="1041"/>
                  <a:pt x="944" y="1042"/>
                  <a:pt x="943" y="1042"/>
                </a:cubicBezTo>
                <a:cubicBezTo>
                  <a:pt x="941" y="1039"/>
                  <a:pt x="939" y="1036"/>
                  <a:pt x="937" y="1034"/>
                </a:cubicBezTo>
                <a:cubicBezTo>
                  <a:pt x="936" y="1032"/>
                  <a:pt x="935" y="1031"/>
                  <a:pt x="933" y="1030"/>
                </a:cubicBezTo>
                <a:cubicBezTo>
                  <a:pt x="933" y="1030"/>
                  <a:pt x="932" y="1029"/>
                  <a:pt x="932" y="1029"/>
                </a:cubicBezTo>
                <a:cubicBezTo>
                  <a:pt x="932" y="1028"/>
                  <a:pt x="930" y="1027"/>
                  <a:pt x="931" y="1027"/>
                </a:cubicBezTo>
                <a:cubicBezTo>
                  <a:pt x="932" y="1027"/>
                  <a:pt x="934" y="1028"/>
                  <a:pt x="934" y="1027"/>
                </a:cubicBezTo>
                <a:cubicBezTo>
                  <a:pt x="935" y="1027"/>
                  <a:pt x="933" y="1026"/>
                  <a:pt x="933" y="1026"/>
                </a:cubicBezTo>
                <a:cubicBezTo>
                  <a:pt x="932" y="1026"/>
                  <a:pt x="931" y="1026"/>
                  <a:pt x="930" y="1025"/>
                </a:cubicBezTo>
                <a:cubicBezTo>
                  <a:pt x="930" y="1025"/>
                  <a:pt x="930" y="1025"/>
                  <a:pt x="930" y="1024"/>
                </a:cubicBezTo>
                <a:cubicBezTo>
                  <a:pt x="930" y="1024"/>
                  <a:pt x="930" y="1024"/>
                  <a:pt x="930" y="1024"/>
                </a:cubicBezTo>
                <a:cubicBezTo>
                  <a:pt x="930" y="1022"/>
                  <a:pt x="928" y="1020"/>
                  <a:pt x="927" y="1019"/>
                </a:cubicBezTo>
                <a:cubicBezTo>
                  <a:pt x="925" y="1016"/>
                  <a:pt x="922" y="1013"/>
                  <a:pt x="919" y="1010"/>
                </a:cubicBezTo>
                <a:cubicBezTo>
                  <a:pt x="918" y="1009"/>
                  <a:pt x="916" y="1008"/>
                  <a:pt x="915" y="1007"/>
                </a:cubicBezTo>
                <a:cubicBezTo>
                  <a:pt x="914" y="1006"/>
                  <a:pt x="912" y="1005"/>
                  <a:pt x="911" y="1004"/>
                </a:cubicBezTo>
                <a:cubicBezTo>
                  <a:pt x="911" y="1004"/>
                  <a:pt x="911" y="1003"/>
                  <a:pt x="911" y="1003"/>
                </a:cubicBezTo>
                <a:cubicBezTo>
                  <a:pt x="910" y="1003"/>
                  <a:pt x="911" y="1003"/>
                  <a:pt x="911" y="1003"/>
                </a:cubicBezTo>
                <a:cubicBezTo>
                  <a:pt x="911" y="1002"/>
                  <a:pt x="910" y="1001"/>
                  <a:pt x="909" y="1001"/>
                </a:cubicBezTo>
                <a:cubicBezTo>
                  <a:pt x="909" y="1001"/>
                  <a:pt x="908" y="1001"/>
                  <a:pt x="908" y="1001"/>
                </a:cubicBezTo>
                <a:cubicBezTo>
                  <a:pt x="907" y="1001"/>
                  <a:pt x="907" y="1001"/>
                  <a:pt x="906" y="1001"/>
                </a:cubicBezTo>
                <a:cubicBezTo>
                  <a:pt x="906" y="1000"/>
                  <a:pt x="905" y="999"/>
                  <a:pt x="905" y="999"/>
                </a:cubicBezTo>
                <a:cubicBezTo>
                  <a:pt x="905" y="998"/>
                  <a:pt x="904" y="997"/>
                  <a:pt x="903" y="996"/>
                </a:cubicBezTo>
                <a:cubicBezTo>
                  <a:pt x="902" y="996"/>
                  <a:pt x="901" y="996"/>
                  <a:pt x="901" y="995"/>
                </a:cubicBezTo>
                <a:cubicBezTo>
                  <a:pt x="900" y="995"/>
                  <a:pt x="899" y="994"/>
                  <a:pt x="899" y="993"/>
                </a:cubicBezTo>
                <a:cubicBezTo>
                  <a:pt x="897" y="991"/>
                  <a:pt x="895" y="988"/>
                  <a:pt x="894" y="986"/>
                </a:cubicBezTo>
                <a:cubicBezTo>
                  <a:pt x="894" y="985"/>
                  <a:pt x="893" y="985"/>
                  <a:pt x="893" y="984"/>
                </a:cubicBezTo>
                <a:cubicBezTo>
                  <a:pt x="893" y="983"/>
                  <a:pt x="892" y="983"/>
                  <a:pt x="891" y="982"/>
                </a:cubicBezTo>
                <a:cubicBezTo>
                  <a:pt x="891" y="982"/>
                  <a:pt x="891" y="982"/>
                  <a:pt x="891" y="982"/>
                </a:cubicBezTo>
                <a:cubicBezTo>
                  <a:pt x="891" y="980"/>
                  <a:pt x="888" y="980"/>
                  <a:pt x="887" y="980"/>
                </a:cubicBezTo>
                <a:cubicBezTo>
                  <a:pt x="887" y="980"/>
                  <a:pt x="887" y="979"/>
                  <a:pt x="886" y="979"/>
                </a:cubicBezTo>
                <a:cubicBezTo>
                  <a:pt x="886" y="978"/>
                  <a:pt x="887" y="978"/>
                  <a:pt x="886" y="977"/>
                </a:cubicBezTo>
                <a:cubicBezTo>
                  <a:pt x="886" y="976"/>
                  <a:pt x="886" y="976"/>
                  <a:pt x="885" y="975"/>
                </a:cubicBezTo>
                <a:cubicBezTo>
                  <a:pt x="885" y="974"/>
                  <a:pt x="885" y="974"/>
                  <a:pt x="885" y="974"/>
                </a:cubicBezTo>
                <a:cubicBezTo>
                  <a:pt x="884" y="973"/>
                  <a:pt x="884" y="973"/>
                  <a:pt x="884" y="973"/>
                </a:cubicBezTo>
                <a:cubicBezTo>
                  <a:pt x="884" y="973"/>
                  <a:pt x="884" y="973"/>
                  <a:pt x="884" y="973"/>
                </a:cubicBezTo>
                <a:cubicBezTo>
                  <a:pt x="884" y="973"/>
                  <a:pt x="884" y="972"/>
                  <a:pt x="883" y="972"/>
                </a:cubicBezTo>
                <a:cubicBezTo>
                  <a:pt x="883" y="972"/>
                  <a:pt x="882" y="971"/>
                  <a:pt x="882" y="972"/>
                </a:cubicBezTo>
                <a:cubicBezTo>
                  <a:pt x="881" y="972"/>
                  <a:pt x="881" y="972"/>
                  <a:pt x="881" y="973"/>
                </a:cubicBezTo>
                <a:cubicBezTo>
                  <a:pt x="880" y="972"/>
                  <a:pt x="880" y="972"/>
                  <a:pt x="880" y="971"/>
                </a:cubicBezTo>
                <a:cubicBezTo>
                  <a:pt x="879" y="971"/>
                  <a:pt x="879" y="970"/>
                  <a:pt x="878" y="970"/>
                </a:cubicBezTo>
                <a:cubicBezTo>
                  <a:pt x="877" y="968"/>
                  <a:pt x="875" y="965"/>
                  <a:pt x="874" y="963"/>
                </a:cubicBezTo>
                <a:cubicBezTo>
                  <a:pt x="873" y="962"/>
                  <a:pt x="873" y="961"/>
                  <a:pt x="872" y="960"/>
                </a:cubicBezTo>
                <a:cubicBezTo>
                  <a:pt x="872" y="960"/>
                  <a:pt x="871" y="959"/>
                  <a:pt x="871" y="958"/>
                </a:cubicBezTo>
                <a:cubicBezTo>
                  <a:pt x="871" y="957"/>
                  <a:pt x="870" y="956"/>
                  <a:pt x="870" y="955"/>
                </a:cubicBezTo>
                <a:cubicBezTo>
                  <a:pt x="869" y="954"/>
                  <a:pt x="868" y="953"/>
                  <a:pt x="867" y="953"/>
                </a:cubicBezTo>
                <a:cubicBezTo>
                  <a:pt x="867" y="953"/>
                  <a:pt x="866" y="953"/>
                  <a:pt x="865" y="953"/>
                </a:cubicBezTo>
                <a:cubicBezTo>
                  <a:pt x="865" y="953"/>
                  <a:pt x="865" y="953"/>
                  <a:pt x="865" y="953"/>
                </a:cubicBezTo>
                <a:cubicBezTo>
                  <a:pt x="864" y="953"/>
                  <a:pt x="864" y="953"/>
                  <a:pt x="864" y="952"/>
                </a:cubicBezTo>
                <a:cubicBezTo>
                  <a:pt x="861" y="950"/>
                  <a:pt x="862" y="946"/>
                  <a:pt x="859" y="944"/>
                </a:cubicBezTo>
                <a:cubicBezTo>
                  <a:pt x="859" y="944"/>
                  <a:pt x="859" y="944"/>
                  <a:pt x="858" y="944"/>
                </a:cubicBezTo>
                <a:cubicBezTo>
                  <a:pt x="856" y="944"/>
                  <a:pt x="856" y="942"/>
                  <a:pt x="855" y="941"/>
                </a:cubicBezTo>
                <a:cubicBezTo>
                  <a:pt x="854" y="941"/>
                  <a:pt x="853" y="940"/>
                  <a:pt x="853" y="939"/>
                </a:cubicBezTo>
                <a:cubicBezTo>
                  <a:pt x="852" y="939"/>
                  <a:pt x="852" y="939"/>
                  <a:pt x="851" y="939"/>
                </a:cubicBezTo>
                <a:cubicBezTo>
                  <a:pt x="851" y="939"/>
                  <a:pt x="850" y="939"/>
                  <a:pt x="850" y="938"/>
                </a:cubicBezTo>
                <a:cubicBezTo>
                  <a:pt x="849" y="937"/>
                  <a:pt x="848" y="937"/>
                  <a:pt x="848" y="936"/>
                </a:cubicBezTo>
                <a:cubicBezTo>
                  <a:pt x="847" y="935"/>
                  <a:pt x="847" y="934"/>
                  <a:pt x="847" y="934"/>
                </a:cubicBezTo>
                <a:cubicBezTo>
                  <a:pt x="847" y="933"/>
                  <a:pt x="846" y="932"/>
                  <a:pt x="845" y="931"/>
                </a:cubicBezTo>
                <a:cubicBezTo>
                  <a:pt x="844" y="930"/>
                  <a:pt x="843" y="929"/>
                  <a:pt x="843" y="928"/>
                </a:cubicBezTo>
                <a:cubicBezTo>
                  <a:pt x="842" y="927"/>
                  <a:pt x="841" y="926"/>
                  <a:pt x="840" y="925"/>
                </a:cubicBezTo>
                <a:cubicBezTo>
                  <a:pt x="840" y="925"/>
                  <a:pt x="839" y="923"/>
                  <a:pt x="838" y="923"/>
                </a:cubicBezTo>
                <a:cubicBezTo>
                  <a:pt x="837" y="923"/>
                  <a:pt x="836" y="924"/>
                  <a:pt x="835" y="923"/>
                </a:cubicBezTo>
                <a:cubicBezTo>
                  <a:pt x="834" y="922"/>
                  <a:pt x="834" y="921"/>
                  <a:pt x="833" y="920"/>
                </a:cubicBezTo>
                <a:cubicBezTo>
                  <a:pt x="832" y="919"/>
                  <a:pt x="832" y="917"/>
                  <a:pt x="831" y="916"/>
                </a:cubicBezTo>
                <a:cubicBezTo>
                  <a:pt x="829" y="915"/>
                  <a:pt x="828" y="914"/>
                  <a:pt x="827" y="912"/>
                </a:cubicBezTo>
                <a:cubicBezTo>
                  <a:pt x="824" y="909"/>
                  <a:pt x="821" y="906"/>
                  <a:pt x="818" y="903"/>
                </a:cubicBezTo>
                <a:cubicBezTo>
                  <a:pt x="817" y="902"/>
                  <a:pt x="817" y="901"/>
                  <a:pt x="816" y="900"/>
                </a:cubicBezTo>
                <a:cubicBezTo>
                  <a:pt x="815" y="899"/>
                  <a:pt x="815" y="898"/>
                  <a:pt x="815" y="897"/>
                </a:cubicBezTo>
                <a:cubicBezTo>
                  <a:pt x="815" y="897"/>
                  <a:pt x="815" y="897"/>
                  <a:pt x="814" y="897"/>
                </a:cubicBezTo>
                <a:cubicBezTo>
                  <a:pt x="814" y="897"/>
                  <a:pt x="814" y="897"/>
                  <a:pt x="814" y="897"/>
                </a:cubicBezTo>
                <a:cubicBezTo>
                  <a:pt x="813" y="897"/>
                  <a:pt x="812" y="896"/>
                  <a:pt x="812" y="895"/>
                </a:cubicBezTo>
                <a:cubicBezTo>
                  <a:pt x="811" y="894"/>
                  <a:pt x="811" y="894"/>
                  <a:pt x="810" y="893"/>
                </a:cubicBezTo>
                <a:cubicBezTo>
                  <a:pt x="809" y="891"/>
                  <a:pt x="808" y="890"/>
                  <a:pt x="807" y="889"/>
                </a:cubicBezTo>
                <a:cubicBezTo>
                  <a:pt x="806" y="889"/>
                  <a:pt x="804" y="888"/>
                  <a:pt x="804" y="887"/>
                </a:cubicBezTo>
                <a:cubicBezTo>
                  <a:pt x="804" y="886"/>
                  <a:pt x="805" y="886"/>
                  <a:pt x="805" y="885"/>
                </a:cubicBezTo>
                <a:cubicBezTo>
                  <a:pt x="804" y="885"/>
                  <a:pt x="804" y="885"/>
                  <a:pt x="804" y="885"/>
                </a:cubicBezTo>
                <a:cubicBezTo>
                  <a:pt x="803" y="885"/>
                  <a:pt x="803" y="885"/>
                  <a:pt x="803" y="885"/>
                </a:cubicBezTo>
                <a:cubicBezTo>
                  <a:pt x="803" y="887"/>
                  <a:pt x="800" y="886"/>
                  <a:pt x="800" y="885"/>
                </a:cubicBezTo>
                <a:cubicBezTo>
                  <a:pt x="799" y="884"/>
                  <a:pt x="800" y="884"/>
                  <a:pt x="800" y="883"/>
                </a:cubicBezTo>
                <a:cubicBezTo>
                  <a:pt x="800" y="882"/>
                  <a:pt x="800" y="882"/>
                  <a:pt x="799" y="882"/>
                </a:cubicBezTo>
                <a:cubicBezTo>
                  <a:pt x="799" y="881"/>
                  <a:pt x="798" y="880"/>
                  <a:pt x="798" y="879"/>
                </a:cubicBezTo>
                <a:cubicBezTo>
                  <a:pt x="798" y="879"/>
                  <a:pt x="797" y="877"/>
                  <a:pt x="796" y="877"/>
                </a:cubicBezTo>
                <a:cubicBezTo>
                  <a:pt x="796" y="877"/>
                  <a:pt x="796" y="877"/>
                  <a:pt x="796" y="877"/>
                </a:cubicBezTo>
                <a:cubicBezTo>
                  <a:pt x="794" y="877"/>
                  <a:pt x="795" y="876"/>
                  <a:pt x="795" y="875"/>
                </a:cubicBezTo>
                <a:cubicBezTo>
                  <a:pt x="794" y="874"/>
                  <a:pt x="793" y="874"/>
                  <a:pt x="792" y="874"/>
                </a:cubicBezTo>
                <a:cubicBezTo>
                  <a:pt x="792" y="874"/>
                  <a:pt x="791" y="873"/>
                  <a:pt x="790" y="873"/>
                </a:cubicBezTo>
                <a:cubicBezTo>
                  <a:pt x="790" y="873"/>
                  <a:pt x="790" y="873"/>
                  <a:pt x="790" y="873"/>
                </a:cubicBezTo>
                <a:cubicBezTo>
                  <a:pt x="790" y="872"/>
                  <a:pt x="790" y="872"/>
                  <a:pt x="790" y="871"/>
                </a:cubicBezTo>
                <a:cubicBezTo>
                  <a:pt x="790" y="870"/>
                  <a:pt x="788" y="869"/>
                  <a:pt x="788" y="868"/>
                </a:cubicBezTo>
                <a:cubicBezTo>
                  <a:pt x="777" y="856"/>
                  <a:pt x="772" y="851"/>
                  <a:pt x="772" y="851"/>
                </a:cubicBezTo>
                <a:cubicBezTo>
                  <a:pt x="771" y="851"/>
                  <a:pt x="766" y="844"/>
                  <a:pt x="765" y="843"/>
                </a:cubicBezTo>
                <a:cubicBezTo>
                  <a:pt x="764" y="842"/>
                  <a:pt x="764" y="841"/>
                  <a:pt x="764" y="840"/>
                </a:cubicBezTo>
                <a:cubicBezTo>
                  <a:pt x="763" y="839"/>
                  <a:pt x="763" y="838"/>
                  <a:pt x="763" y="838"/>
                </a:cubicBezTo>
                <a:cubicBezTo>
                  <a:pt x="762" y="837"/>
                  <a:pt x="762" y="837"/>
                  <a:pt x="761" y="836"/>
                </a:cubicBezTo>
                <a:cubicBezTo>
                  <a:pt x="761" y="836"/>
                  <a:pt x="761" y="836"/>
                  <a:pt x="761" y="835"/>
                </a:cubicBezTo>
                <a:cubicBezTo>
                  <a:pt x="761" y="835"/>
                  <a:pt x="761" y="835"/>
                  <a:pt x="761" y="834"/>
                </a:cubicBezTo>
                <a:cubicBezTo>
                  <a:pt x="761" y="834"/>
                  <a:pt x="761" y="833"/>
                  <a:pt x="760" y="832"/>
                </a:cubicBezTo>
                <a:cubicBezTo>
                  <a:pt x="760" y="832"/>
                  <a:pt x="759" y="831"/>
                  <a:pt x="758" y="831"/>
                </a:cubicBezTo>
                <a:cubicBezTo>
                  <a:pt x="757" y="830"/>
                  <a:pt x="755" y="829"/>
                  <a:pt x="755" y="827"/>
                </a:cubicBezTo>
                <a:cubicBezTo>
                  <a:pt x="755" y="827"/>
                  <a:pt x="755" y="827"/>
                  <a:pt x="755" y="826"/>
                </a:cubicBezTo>
                <a:cubicBezTo>
                  <a:pt x="754" y="825"/>
                  <a:pt x="754" y="826"/>
                  <a:pt x="753" y="826"/>
                </a:cubicBezTo>
                <a:cubicBezTo>
                  <a:pt x="752" y="826"/>
                  <a:pt x="751" y="825"/>
                  <a:pt x="751" y="824"/>
                </a:cubicBezTo>
                <a:cubicBezTo>
                  <a:pt x="750" y="823"/>
                  <a:pt x="749" y="822"/>
                  <a:pt x="748" y="820"/>
                </a:cubicBezTo>
                <a:cubicBezTo>
                  <a:pt x="744" y="817"/>
                  <a:pt x="741" y="814"/>
                  <a:pt x="740" y="813"/>
                </a:cubicBezTo>
                <a:cubicBezTo>
                  <a:pt x="739" y="812"/>
                  <a:pt x="738" y="810"/>
                  <a:pt x="737" y="809"/>
                </a:cubicBezTo>
                <a:cubicBezTo>
                  <a:pt x="736" y="809"/>
                  <a:pt x="736" y="808"/>
                  <a:pt x="735" y="808"/>
                </a:cubicBezTo>
                <a:cubicBezTo>
                  <a:pt x="734" y="808"/>
                  <a:pt x="734" y="808"/>
                  <a:pt x="733" y="808"/>
                </a:cubicBezTo>
                <a:cubicBezTo>
                  <a:pt x="732" y="808"/>
                  <a:pt x="731" y="806"/>
                  <a:pt x="731" y="804"/>
                </a:cubicBezTo>
                <a:cubicBezTo>
                  <a:pt x="730" y="804"/>
                  <a:pt x="730" y="803"/>
                  <a:pt x="729" y="802"/>
                </a:cubicBezTo>
                <a:cubicBezTo>
                  <a:pt x="729" y="801"/>
                  <a:pt x="728" y="801"/>
                  <a:pt x="728" y="800"/>
                </a:cubicBezTo>
                <a:cubicBezTo>
                  <a:pt x="726" y="798"/>
                  <a:pt x="725" y="797"/>
                  <a:pt x="723" y="795"/>
                </a:cubicBezTo>
                <a:cubicBezTo>
                  <a:pt x="720" y="791"/>
                  <a:pt x="716" y="787"/>
                  <a:pt x="711" y="781"/>
                </a:cubicBezTo>
                <a:cubicBezTo>
                  <a:pt x="701" y="770"/>
                  <a:pt x="691" y="759"/>
                  <a:pt x="688" y="756"/>
                </a:cubicBezTo>
                <a:cubicBezTo>
                  <a:pt x="687" y="755"/>
                  <a:pt x="686" y="754"/>
                  <a:pt x="685" y="752"/>
                </a:cubicBezTo>
                <a:cubicBezTo>
                  <a:pt x="684" y="752"/>
                  <a:pt x="683" y="750"/>
                  <a:pt x="682" y="750"/>
                </a:cubicBezTo>
                <a:cubicBezTo>
                  <a:pt x="682" y="750"/>
                  <a:pt x="681" y="750"/>
                  <a:pt x="681" y="750"/>
                </a:cubicBezTo>
                <a:cubicBezTo>
                  <a:pt x="681" y="750"/>
                  <a:pt x="681" y="749"/>
                  <a:pt x="681" y="749"/>
                </a:cubicBezTo>
                <a:cubicBezTo>
                  <a:pt x="681" y="749"/>
                  <a:pt x="681" y="748"/>
                  <a:pt x="681" y="748"/>
                </a:cubicBezTo>
                <a:cubicBezTo>
                  <a:pt x="680" y="748"/>
                  <a:pt x="679" y="747"/>
                  <a:pt x="678" y="746"/>
                </a:cubicBezTo>
                <a:cubicBezTo>
                  <a:pt x="677" y="745"/>
                  <a:pt x="677" y="744"/>
                  <a:pt x="676" y="743"/>
                </a:cubicBezTo>
                <a:cubicBezTo>
                  <a:pt x="675" y="742"/>
                  <a:pt x="674" y="741"/>
                  <a:pt x="673" y="740"/>
                </a:cubicBezTo>
                <a:cubicBezTo>
                  <a:pt x="673" y="740"/>
                  <a:pt x="673" y="740"/>
                  <a:pt x="673" y="739"/>
                </a:cubicBezTo>
                <a:cubicBezTo>
                  <a:pt x="670" y="739"/>
                  <a:pt x="670" y="738"/>
                  <a:pt x="669" y="736"/>
                </a:cubicBezTo>
                <a:cubicBezTo>
                  <a:pt x="669" y="736"/>
                  <a:pt x="669" y="736"/>
                  <a:pt x="669" y="736"/>
                </a:cubicBezTo>
                <a:cubicBezTo>
                  <a:pt x="669" y="736"/>
                  <a:pt x="669" y="735"/>
                  <a:pt x="669" y="735"/>
                </a:cubicBezTo>
                <a:cubicBezTo>
                  <a:pt x="669" y="733"/>
                  <a:pt x="667" y="732"/>
                  <a:pt x="666" y="731"/>
                </a:cubicBezTo>
                <a:cubicBezTo>
                  <a:pt x="665" y="730"/>
                  <a:pt x="663" y="729"/>
                  <a:pt x="662" y="727"/>
                </a:cubicBezTo>
                <a:cubicBezTo>
                  <a:pt x="661" y="725"/>
                  <a:pt x="660" y="724"/>
                  <a:pt x="659" y="722"/>
                </a:cubicBezTo>
                <a:cubicBezTo>
                  <a:pt x="658" y="721"/>
                  <a:pt x="654" y="718"/>
                  <a:pt x="651" y="714"/>
                </a:cubicBezTo>
                <a:cubicBezTo>
                  <a:pt x="650" y="713"/>
                  <a:pt x="649" y="711"/>
                  <a:pt x="647" y="710"/>
                </a:cubicBezTo>
                <a:cubicBezTo>
                  <a:pt x="647" y="709"/>
                  <a:pt x="645" y="708"/>
                  <a:pt x="644" y="708"/>
                </a:cubicBezTo>
                <a:cubicBezTo>
                  <a:pt x="644" y="707"/>
                  <a:pt x="643" y="707"/>
                  <a:pt x="643" y="707"/>
                </a:cubicBezTo>
                <a:cubicBezTo>
                  <a:pt x="642" y="706"/>
                  <a:pt x="642" y="705"/>
                  <a:pt x="642" y="704"/>
                </a:cubicBezTo>
                <a:cubicBezTo>
                  <a:pt x="641" y="702"/>
                  <a:pt x="639" y="700"/>
                  <a:pt x="637" y="698"/>
                </a:cubicBezTo>
                <a:cubicBezTo>
                  <a:pt x="635" y="696"/>
                  <a:pt x="634" y="694"/>
                  <a:pt x="632" y="693"/>
                </a:cubicBezTo>
                <a:cubicBezTo>
                  <a:pt x="630" y="690"/>
                  <a:pt x="628" y="688"/>
                  <a:pt x="626" y="686"/>
                </a:cubicBezTo>
                <a:cubicBezTo>
                  <a:pt x="625" y="685"/>
                  <a:pt x="625" y="684"/>
                  <a:pt x="624" y="683"/>
                </a:cubicBezTo>
                <a:cubicBezTo>
                  <a:pt x="623" y="682"/>
                  <a:pt x="622" y="681"/>
                  <a:pt x="621" y="680"/>
                </a:cubicBezTo>
                <a:cubicBezTo>
                  <a:pt x="620" y="680"/>
                  <a:pt x="618" y="679"/>
                  <a:pt x="617" y="678"/>
                </a:cubicBezTo>
                <a:cubicBezTo>
                  <a:pt x="615" y="676"/>
                  <a:pt x="614" y="674"/>
                  <a:pt x="613" y="673"/>
                </a:cubicBezTo>
                <a:cubicBezTo>
                  <a:pt x="612" y="671"/>
                  <a:pt x="611" y="669"/>
                  <a:pt x="610" y="667"/>
                </a:cubicBezTo>
                <a:cubicBezTo>
                  <a:pt x="606" y="664"/>
                  <a:pt x="603" y="660"/>
                  <a:pt x="600" y="657"/>
                </a:cubicBezTo>
                <a:cubicBezTo>
                  <a:pt x="598" y="654"/>
                  <a:pt x="595" y="651"/>
                  <a:pt x="593" y="649"/>
                </a:cubicBezTo>
                <a:cubicBezTo>
                  <a:pt x="591" y="647"/>
                  <a:pt x="589" y="644"/>
                  <a:pt x="586" y="642"/>
                </a:cubicBezTo>
                <a:cubicBezTo>
                  <a:pt x="586" y="642"/>
                  <a:pt x="585" y="641"/>
                  <a:pt x="585" y="640"/>
                </a:cubicBezTo>
                <a:cubicBezTo>
                  <a:pt x="584" y="640"/>
                  <a:pt x="584" y="640"/>
                  <a:pt x="584" y="640"/>
                </a:cubicBezTo>
                <a:cubicBezTo>
                  <a:pt x="583" y="639"/>
                  <a:pt x="583" y="639"/>
                  <a:pt x="582" y="639"/>
                </a:cubicBezTo>
                <a:cubicBezTo>
                  <a:pt x="582" y="639"/>
                  <a:pt x="582" y="638"/>
                  <a:pt x="582" y="638"/>
                </a:cubicBezTo>
                <a:cubicBezTo>
                  <a:pt x="583" y="637"/>
                  <a:pt x="581" y="635"/>
                  <a:pt x="580" y="634"/>
                </a:cubicBezTo>
                <a:cubicBezTo>
                  <a:pt x="580" y="633"/>
                  <a:pt x="579" y="631"/>
                  <a:pt x="578" y="631"/>
                </a:cubicBezTo>
                <a:cubicBezTo>
                  <a:pt x="577" y="631"/>
                  <a:pt x="577" y="631"/>
                  <a:pt x="577" y="631"/>
                </a:cubicBezTo>
                <a:cubicBezTo>
                  <a:pt x="577" y="631"/>
                  <a:pt x="577" y="631"/>
                  <a:pt x="576" y="630"/>
                </a:cubicBezTo>
                <a:cubicBezTo>
                  <a:pt x="575" y="630"/>
                  <a:pt x="575" y="628"/>
                  <a:pt x="574" y="627"/>
                </a:cubicBezTo>
                <a:cubicBezTo>
                  <a:pt x="572" y="625"/>
                  <a:pt x="570" y="622"/>
                  <a:pt x="568" y="620"/>
                </a:cubicBezTo>
                <a:cubicBezTo>
                  <a:pt x="565" y="617"/>
                  <a:pt x="558" y="609"/>
                  <a:pt x="554" y="604"/>
                </a:cubicBezTo>
                <a:cubicBezTo>
                  <a:pt x="553" y="603"/>
                  <a:pt x="551" y="601"/>
                  <a:pt x="549" y="599"/>
                </a:cubicBezTo>
                <a:cubicBezTo>
                  <a:pt x="548" y="598"/>
                  <a:pt x="546" y="597"/>
                  <a:pt x="546" y="595"/>
                </a:cubicBezTo>
                <a:cubicBezTo>
                  <a:pt x="546" y="594"/>
                  <a:pt x="546" y="593"/>
                  <a:pt x="545" y="593"/>
                </a:cubicBezTo>
                <a:cubicBezTo>
                  <a:pt x="544" y="592"/>
                  <a:pt x="544" y="592"/>
                  <a:pt x="543" y="591"/>
                </a:cubicBezTo>
                <a:cubicBezTo>
                  <a:pt x="542" y="590"/>
                  <a:pt x="540" y="587"/>
                  <a:pt x="539" y="586"/>
                </a:cubicBezTo>
                <a:cubicBezTo>
                  <a:pt x="538" y="585"/>
                  <a:pt x="538" y="585"/>
                  <a:pt x="538" y="584"/>
                </a:cubicBezTo>
                <a:cubicBezTo>
                  <a:pt x="537" y="583"/>
                  <a:pt x="537" y="583"/>
                  <a:pt x="537" y="583"/>
                </a:cubicBezTo>
                <a:cubicBezTo>
                  <a:pt x="537" y="583"/>
                  <a:pt x="536" y="583"/>
                  <a:pt x="536" y="583"/>
                </a:cubicBezTo>
                <a:cubicBezTo>
                  <a:pt x="535" y="583"/>
                  <a:pt x="535" y="582"/>
                  <a:pt x="534" y="581"/>
                </a:cubicBezTo>
                <a:cubicBezTo>
                  <a:pt x="533" y="580"/>
                  <a:pt x="532" y="579"/>
                  <a:pt x="531" y="578"/>
                </a:cubicBezTo>
                <a:cubicBezTo>
                  <a:pt x="530" y="576"/>
                  <a:pt x="528" y="574"/>
                  <a:pt x="526" y="572"/>
                </a:cubicBezTo>
                <a:cubicBezTo>
                  <a:pt x="523" y="568"/>
                  <a:pt x="520" y="565"/>
                  <a:pt x="517" y="561"/>
                </a:cubicBezTo>
                <a:cubicBezTo>
                  <a:pt x="516" y="561"/>
                  <a:pt x="515" y="560"/>
                  <a:pt x="515" y="560"/>
                </a:cubicBezTo>
                <a:cubicBezTo>
                  <a:pt x="514" y="560"/>
                  <a:pt x="513" y="560"/>
                  <a:pt x="513" y="560"/>
                </a:cubicBezTo>
                <a:cubicBezTo>
                  <a:pt x="513" y="560"/>
                  <a:pt x="513" y="559"/>
                  <a:pt x="513" y="559"/>
                </a:cubicBezTo>
                <a:cubicBezTo>
                  <a:pt x="512" y="558"/>
                  <a:pt x="512" y="558"/>
                  <a:pt x="512" y="557"/>
                </a:cubicBezTo>
                <a:cubicBezTo>
                  <a:pt x="511" y="556"/>
                  <a:pt x="511" y="555"/>
                  <a:pt x="510" y="554"/>
                </a:cubicBezTo>
                <a:cubicBezTo>
                  <a:pt x="510" y="553"/>
                  <a:pt x="509" y="551"/>
                  <a:pt x="507" y="551"/>
                </a:cubicBezTo>
                <a:cubicBezTo>
                  <a:pt x="507" y="551"/>
                  <a:pt x="507" y="551"/>
                  <a:pt x="506" y="551"/>
                </a:cubicBezTo>
                <a:cubicBezTo>
                  <a:pt x="506" y="551"/>
                  <a:pt x="506" y="551"/>
                  <a:pt x="506" y="551"/>
                </a:cubicBezTo>
                <a:cubicBezTo>
                  <a:pt x="505" y="551"/>
                  <a:pt x="505" y="550"/>
                  <a:pt x="505" y="550"/>
                </a:cubicBezTo>
                <a:cubicBezTo>
                  <a:pt x="506" y="548"/>
                  <a:pt x="505" y="547"/>
                  <a:pt x="504" y="546"/>
                </a:cubicBezTo>
                <a:cubicBezTo>
                  <a:pt x="503" y="545"/>
                  <a:pt x="502" y="543"/>
                  <a:pt x="502" y="542"/>
                </a:cubicBezTo>
                <a:cubicBezTo>
                  <a:pt x="502" y="542"/>
                  <a:pt x="502" y="542"/>
                  <a:pt x="501" y="541"/>
                </a:cubicBezTo>
                <a:cubicBezTo>
                  <a:pt x="501" y="541"/>
                  <a:pt x="501" y="541"/>
                  <a:pt x="500" y="541"/>
                </a:cubicBezTo>
                <a:cubicBezTo>
                  <a:pt x="500" y="541"/>
                  <a:pt x="499" y="541"/>
                  <a:pt x="499" y="541"/>
                </a:cubicBezTo>
                <a:cubicBezTo>
                  <a:pt x="499" y="540"/>
                  <a:pt x="498" y="540"/>
                  <a:pt x="498" y="540"/>
                </a:cubicBezTo>
                <a:cubicBezTo>
                  <a:pt x="498" y="540"/>
                  <a:pt x="498" y="539"/>
                  <a:pt x="498" y="539"/>
                </a:cubicBezTo>
                <a:cubicBezTo>
                  <a:pt x="498" y="539"/>
                  <a:pt x="498" y="538"/>
                  <a:pt x="499" y="538"/>
                </a:cubicBezTo>
                <a:cubicBezTo>
                  <a:pt x="499" y="538"/>
                  <a:pt x="498" y="537"/>
                  <a:pt x="498" y="537"/>
                </a:cubicBezTo>
                <a:cubicBezTo>
                  <a:pt x="497" y="536"/>
                  <a:pt x="496" y="536"/>
                  <a:pt x="495" y="536"/>
                </a:cubicBezTo>
                <a:cubicBezTo>
                  <a:pt x="495" y="535"/>
                  <a:pt x="494" y="535"/>
                  <a:pt x="494" y="534"/>
                </a:cubicBezTo>
                <a:cubicBezTo>
                  <a:pt x="493" y="533"/>
                  <a:pt x="492" y="532"/>
                  <a:pt x="491" y="531"/>
                </a:cubicBezTo>
                <a:cubicBezTo>
                  <a:pt x="489" y="529"/>
                  <a:pt x="486" y="525"/>
                  <a:pt x="485" y="523"/>
                </a:cubicBezTo>
                <a:cubicBezTo>
                  <a:pt x="484" y="523"/>
                  <a:pt x="484" y="522"/>
                  <a:pt x="484" y="521"/>
                </a:cubicBezTo>
                <a:cubicBezTo>
                  <a:pt x="483" y="521"/>
                  <a:pt x="483" y="520"/>
                  <a:pt x="484" y="520"/>
                </a:cubicBezTo>
                <a:cubicBezTo>
                  <a:pt x="484" y="520"/>
                  <a:pt x="484" y="519"/>
                  <a:pt x="483" y="519"/>
                </a:cubicBezTo>
                <a:cubicBezTo>
                  <a:pt x="482" y="519"/>
                  <a:pt x="482" y="520"/>
                  <a:pt x="481" y="519"/>
                </a:cubicBezTo>
                <a:cubicBezTo>
                  <a:pt x="480" y="519"/>
                  <a:pt x="479" y="517"/>
                  <a:pt x="479" y="516"/>
                </a:cubicBezTo>
                <a:cubicBezTo>
                  <a:pt x="477" y="513"/>
                  <a:pt x="475" y="510"/>
                  <a:pt x="472" y="508"/>
                </a:cubicBezTo>
                <a:cubicBezTo>
                  <a:pt x="471" y="507"/>
                  <a:pt x="471" y="506"/>
                  <a:pt x="470" y="505"/>
                </a:cubicBezTo>
                <a:cubicBezTo>
                  <a:pt x="469" y="505"/>
                  <a:pt x="469" y="504"/>
                  <a:pt x="468" y="504"/>
                </a:cubicBezTo>
                <a:cubicBezTo>
                  <a:pt x="468" y="503"/>
                  <a:pt x="468" y="503"/>
                  <a:pt x="468" y="503"/>
                </a:cubicBezTo>
                <a:cubicBezTo>
                  <a:pt x="468" y="502"/>
                  <a:pt x="468" y="502"/>
                  <a:pt x="468" y="502"/>
                </a:cubicBezTo>
                <a:cubicBezTo>
                  <a:pt x="467" y="501"/>
                  <a:pt x="467" y="501"/>
                  <a:pt x="467" y="501"/>
                </a:cubicBezTo>
                <a:cubicBezTo>
                  <a:pt x="466" y="500"/>
                  <a:pt x="466" y="501"/>
                  <a:pt x="465" y="501"/>
                </a:cubicBezTo>
                <a:cubicBezTo>
                  <a:pt x="465" y="501"/>
                  <a:pt x="464" y="501"/>
                  <a:pt x="464" y="500"/>
                </a:cubicBezTo>
                <a:cubicBezTo>
                  <a:pt x="462" y="499"/>
                  <a:pt x="461" y="498"/>
                  <a:pt x="459" y="497"/>
                </a:cubicBezTo>
                <a:cubicBezTo>
                  <a:pt x="458" y="496"/>
                  <a:pt x="458" y="494"/>
                  <a:pt x="457" y="493"/>
                </a:cubicBezTo>
                <a:cubicBezTo>
                  <a:pt x="457" y="492"/>
                  <a:pt x="456" y="491"/>
                  <a:pt x="456" y="490"/>
                </a:cubicBezTo>
                <a:cubicBezTo>
                  <a:pt x="456" y="490"/>
                  <a:pt x="455" y="489"/>
                  <a:pt x="455" y="489"/>
                </a:cubicBezTo>
                <a:cubicBezTo>
                  <a:pt x="455" y="488"/>
                  <a:pt x="455" y="488"/>
                  <a:pt x="455" y="488"/>
                </a:cubicBezTo>
                <a:cubicBezTo>
                  <a:pt x="455" y="488"/>
                  <a:pt x="455" y="488"/>
                  <a:pt x="455" y="487"/>
                </a:cubicBezTo>
                <a:cubicBezTo>
                  <a:pt x="454" y="487"/>
                  <a:pt x="454" y="487"/>
                  <a:pt x="454" y="487"/>
                </a:cubicBezTo>
                <a:cubicBezTo>
                  <a:pt x="454" y="488"/>
                  <a:pt x="454" y="487"/>
                  <a:pt x="453" y="487"/>
                </a:cubicBezTo>
                <a:cubicBezTo>
                  <a:pt x="452" y="486"/>
                  <a:pt x="452" y="484"/>
                  <a:pt x="451" y="483"/>
                </a:cubicBezTo>
                <a:cubicBezTo>
                  <a:pt x="451" y="483"/>
                  <a:pt x="451" y="483"/>
                  <a:pt x="451" y="483"/>
                </a:cubicBezTo>
                <a:cubicBezTo>
                  <a:pt x="450" y="482"/>
                  <a:pt x="449" y="481"/>
                  <a:pt x="448" y="481"/>
                </a:cubicBezTo>
                <a:cubicBezTo>
                  <a:pt x="447" y="481"/>
                  <a:pt x="446" y="480"/>
                  <a:pt x="445" y="480"/>
                </a:cubicBezTo>
                <a:cubicBezTo>
                  <a:pt x="445" y="480"/>
                  <a:pt x="444" y="480"/>
                  <a:pt x="443" y="479"/>
                </a:cubicBezTo>
                <a:cubicBezTo>
                  <a:pt x="442" y="479"/>
                  <a:pt x="442" y="478"/>
                  <a:pt x="442" y="477"/>
                </a:cubicBezTo>
                <a:cubicBezTo>
                  <a:pt x="442" y="476"/>
                  <a:pt x="441" y="475"/>
                  <a:pt x="441" y="474"/>
                </a:cubicBezTo>
                <a:cubicBezTo>
                  <a:pt x="440" y="472"/>
                  <a:pt x="439" y="471"/>
                  <a:pt x="438" y="469"/>
                </a:cubicBezTo>
                <a:cubicBezTo>
                  <a:pt x="437" y="468"/>
                  <a:pt x="436" y="467"/>
                  <a:pt x="435" y="465"/>
                </a:cubicBezTo>
                <a:cubicBezTo>
                  <a:pt x="435" y="464"/>
                  <a:pt x="434" y="463"/>
                  <a:pt x="434" y="462"/>
                </a:cubicBezTo>
                <a:cubicBezTo>
                  <a:pt x="434" y="462"/>
                  <a:pt x="434" y="462"/>
                  <a:pt x="433" y="462"/>
                </a:cubicBezTo>
                <a:cubicBezTo>
                  <a:pt x="433" y="461"/>
                  <a:pt x="433" y="461"/>
                  <a:pt x="433" y="461"/>
                </a:cubicBezTo>
                <a:cubicBezTo>
                  <a:pt x="432" y="462"/>
                  <a:pt x="432" y="461"/>
                  <a:pt x="432" y="461"/>
                </a:cubicBezTo>
                <a:cubicBezTo>
                  <a:pt x="432" y="461"/>
                  <a:pt x="432" y="461"/>
                  <a:pt x="432" y="461"/>
                </a:cubicBezTo>
                <a:cubicBezTo>
                  <a:pt x="432" y="460"/>
                  <a:pt x="432" y="460"/>
                  <a:pt x="431" y="460"/>
                </a:cubicBezTo>
                <a:cubicBezTo>
                  <a:pt x="431" y="460"/>
                  <a:pt x="431" y="460"/>
                  <a:pt x="431" y="460"/>
                </a:cubicBezTo>
                <a:cubicBezTo>
                  <a:pt x="431" y="460"/>
                  <a:pt x="431" y="460"/>
                  <a:pt x="430" y="459"/>
                </a:cubicBezTo>
                <a:cubicBezTo>
                  <a:pt x="430" y="459"/>
                  <a:pt x="430" y="458"/>
                  <a:pt x="429" y="458"/>
                </a:cubicBezTo>
                <a:cubicBezTo>
                  <a:pt x="426" y="455"/>
                  <a:pt x="423" y="453"/>
                  <a:pt x="421" y="450"/>
                </a:cubicBezTo>
                <a:cubicBezTo>
                  <a:pt x="420" y="449"/>
                  <a:pt x="419" y="448"/>
                  <a:pt x="417" y="446"/>
                </a:cubicBezTo>
                <a:cubicBezTo>
                  <a:pt x="417" y="445"/>
                  <a:pt x="417" y="445"/>
                  <a:pt x="417" y="443"/>
                </a:cubicBezTo>
                <a:cubicBezTo>
                  <a:pt x="417" y="443"/>
                  <a:pt x="417" y="442"/>
                  <a:pt x="417" y="441"/>
                </a:cubicBezTo>
                <a:cubicBezTo>
                  <a:pt x="416" y="440"/>
                  <a:pt x="415" y="439"/>
                  <a:pt x="415" y="439"/>
                </a:cubicBezTo>
                <a:cubicBezTo>
                  <a:pt x="415" y="438"/>
                  <a:pt x="414" y="436"/>
                  <a:pt x="413" y="436"/>
                </a:cubicBezTo>
                <a:cubicBezTo>
                  <a:pt x="412" y="437"/>
                  <a:pt x="411" y="435"/>
                  <a:pt x="411" y="434"/>
                </a:cubicBezTo>
                <a:cubicBezTo>
                  <a:pt x="410" y="433"/>
                  <a:pt x="409" y="431"/>
                  <a:pt x="408" y="430"/>
                </a:cubicBezTo>
                <a:cubicBezTo>
                  <a:pt x="407" y="429"/>
                  <a:pt x="406" y="429"/>
                  <a:pt x="406" y="428"/>
                </a:cubicBezTo>
                <a:cubicBezTo>
                  <a:pt x="405" y="428"/>
                  <a:pt x="404" y="428"/>
                  <a:pt x="404" y="427"/>
                </a:cubicBezTo>
                <a:cubicBezTo>
                  <a:pt x="403" y="427"/>
                  <a:pt x="402" y="427"/>
                  <a:pt x="402" y="426"/>
                </a:cubicBezTo>
                <a:cubicBezTo>
                  <a:pt x="402" y="426"/>
                  <a:pt x="402" y="425"/>
                  <a:pt x="402" y="425"/>
                </a:cubicBezTo>
                <a:cubicBezTo>
                  <a:pt x="403" y="425"/>
                  <a:pt x="402" y="424"/>
                  <a:pt x="402" y="423"/>
                </a:cubicBezTo>
                <a:cubicBezTo>
                  <a:pt x="402" y="423"/>
                  <a:pt x="401" y="423"/>
                  <a:pt x="401" y="422"/>
                </a:cubicBezTo>
                <a:cubicBezTo>
                  <a:pt x="401" y="422"/>
                  <a:pt x="400" y="421"/>
                  <a:pt x="399" y="421"/>
                </a:cubicBezTo>
                <a:cubicBezTo>
                  <a:pt x="399" y="421"/>
                  <a:pt x="399" y="421"/>
                  <a:pt x="399" y="421"/>
                </a:cubicBezTo>
                <a:cubicBezTo>
                  <a:pt x="398" y="421"/>
                  <a:pt x="398" y="421"/>
                  <a:pt x="398" y="421"/>
                </a:cubicBezTo>
                <a:cubicBezTo>
                  <a:pt x="397" y="421"/>
                  <a:pt x="396" y="420"/>
                  <a:pt x="396" y="419"/>
                </a:cubicBezTo>
                <a:cubicBezTo>
                  <a:pt x="395" y="418"/>
                  <a:pt x="394" y="417"/>
                  <a:pt x="393" y="416"/>
                </a:cubicBezTo>
                <a:cubicBezTo>
                  <a:pt x="391" y="413"/>
                  <a:pt x="386" y="406"/>
                  <a:pt x="382" y="401"/>
                </a:cubicBezTo>
                <a:cubicBezTo>
                  <a:pt x="380" y="400"/>
                  <a:pt x="379" y="398"/>
                  <a:pt x="378" y="396"/>
                </a:cubicBezTo>
                <a:cubicBezTo>
                  <a:pt x="376" y="395"/>
                  <a:pt x="375" y="394"/>
                  <a:pt x="374" y="392"/>
                </a:cubicBezTo>
                <a:cubicBezTo>
                  <a:pt x="374" y="391"/>
                  <a:pt x="373" y="390"/>
                  <a:pt x="373" y="390"/>
                </a:cubicBezTo>
                <a:cubicBezTo>
                  <a:pt x="373" y="389"/>
                  <a:pt x="373" y="389"/>
                  <a:pt x="373" y="389"/>
                </a:cubicBezTo>
                <a:cubicBezTo>
                  <a:pt x="373" y="389"/>
                  <a:pt x="372" y="389"/>
                  <a:pt x="372" y="389"/>
                </a:cubicBezTo>
                <a:cubicBezTo>
                  <a:pt x="372" y="389"/>
                  <a:pt x="371" y="389"/>
                  <a:pt x="371" y="389"/>
                </a:cubicBezTo>
                <a:cubicBezTo>
                  <a:pt x="371" y="389"/>
                  <a:pt x="370" y="389"/>
                  <a:pt x="370" y="389"/>
                </a:cubicBezTo>
                <a:cubicBezTo>
                  <a:pt x="369" y="388"/>
                  <a:pt x="369" y="387"/>
                  <a:pt x="369" y="386"/>
                </a:cubicBezTo>
                <a:cubicBezTo>
                  <a:pt x="368" y="385"/>
                  <a:pt x="367" y="383"/>
                  <a:pt x="366" y="381"/>
                </a:cubicBezTo>
                <a:cubicBezTo>
                  <a:pt x="365" y="381"/>
                  <a:pt x="365" y="380"/>
                  <a:pt x="364" y="379"/>
                </a:cubicBezTo>
                <a:cubicBezTo>
                  <a:pt x="364" y="379"/>
                  <a:pt x="363" y="378"/>
                  <a:pt x="363" y="377"/>
                </a:cubicBezTo>
                <a:cubicBezTo>
                  <a:pt x="363" y="377"/>
                  <a:pt x="363" y="377"/>
                  <a:pt x="363" y="377"/>
                </a:cubicBezTo>
                <a:cubicBezTo>
                  <a:pt x="363" y="377"/>
                  <a:pt x="362" y="378"/>
                  <a:pt x="362" y="378"/>
                </a:cubicBezTo>
                <a:cubicBezTo>
                  <a:pt x="362" y="379"/>
                  <a:pt x="362" y="379"/>
                  <a:pt x="362" y="379"/>
                </a:cubicBezTo>
                <a:cubicBezTo>
                  <a:pt x="361" y="379"/>
                  <a:pt x="361" y="378"/>
                  <a:pt x="361" y="378"/>
                </a:cubicBezTo>
                <a:cubicBezTo>
                  <a:pt x="360" y="377"/>
                  <a:pt x="359" y="376"/>
                  <a:pt x="358" y="375"/>
                </a:cubicBezTo>
                <a:cubicBezTo>
                  <a:pt x="357" y="373"/>
                  <a:pt x="354" y="370"/>
                  <a:pt x="353" y="368"/>
                </a:cubicBezTo>
                <a:cubicBezTo>
                  <a:pt x="352" y="367"/>
                  <a:pt x="349" y="364"/>
                  <a:pt x="346" y="361"/>
                </a:cubicBezTo>
                <a:cubicBezTo>
                  <a:pt x="344" y="358"/>
                  <a:pt x="337" y="351"/>
                  <a:pt x="332" y="345"/>
                </a:cubicBezTo>
                <a:cubicBezTo>
                  <a:pt x="331" y="343"/>
                  <a:pt x="329" y="341"/>
                  <a:pt x="327" y="339"/>
                </a:cubicBezTo>
                <a:cubicBezTo>
                  <a:pt x="326" y="338"/>
                  <a:pt x="325" y="337"/>
                  <a:pt x="324" y="336"/>
                </a:cubicBezTo>
                <a:cubicBezTo>
                  <a:pt x="324" y="335"/>
                  <a:pt x="323" y="334"/>
                  <a:pt x="323" y="333"/>
                </a:cubicBezTo>
                <a:cubicBezTo>
                  <a:pt x="323" y="333"/>
                  <a:pt x="323" y="333"/>
                  <a:pt x="323" y="332"/>
                </a:cubicBezTo>
                <a:cubicBezTo>
                  <a:pt x="324" y="331"/>
                  <a:pt x="322" y="330"/>
                  <a:pt x="321" y="329"/>
                </a:cubicBezTo>
                <a:cubicBezTo>
                  <a:pt x="320" y="328"/>
                  <a:pt x="320" y="328"/>
                  <a:pt x="319" y="327"/>
                </a:cubicBezTo>
                <a:cubicBezTo>
                  <a:pt x="319" y="326"/>
                  <a:pt x="319" y="326"/>
                  <a:pt x="318" y="326"/>
                </a:cubicBezTo>
                <a:cubicBezTo>
                  <a:pt x="318" y="325"/>
                  <a:pt x="318" y="325"/>
                  <a:pt x="318" y="325"/>
                </a:cubicBezTo>
                <a:cubicBezTo>
                  <a:pt x="318" y="325"/>
                  <a:pt x="318" y="324"/>
                  <a:pt x="318" y="324"/>
                </a:cubicBezTo>
                <a:cubicBezTo>
                  <a:pt x="318" y="324"/>
                  <a:pt x="317" y="324"/>
                  <a:pt x="317" y="324"/>
                </a:cubicBezTo>
                <a:cubicBezTo>
                  <a:pt x="315" y="325"/>
                  <a:pt x="314" y="323"/>
                  <a:pt x="313" y="322"/>
                </a:cubicBezTo>
                <a:cubicBezTo>
                  <a:pt x="312" y="321"/>
                  <a:pt x="310" y="319"/>
                  <a:pt x="309" y="318"/>
                </a:cubicBezTo>
                <a:cubicBezTo>
                  <a:pt x="308" y="317"/>
                  <a:pt x="308" y="317"/>
                  <a:pt x="307" y="316"/>
                </a:cubicBezTo>
                <a:cubicBezTo>
                  <a:pt x="306" y="316"/>
                  <a:pt x="306" y="316"/>
                  <a:pt x="306" y="315"/>
                </a:cubicBezTo>
                <a:cubicBezTo>
                  <a:pt x="306" y="315"/>
                  <a:pt x="306" y="314"/>
                  <a:pt x="306" y="314"/>
                </a:cubicBezTo>
                <a:cubicBezTo>
                  <a:pt x="306" y="313"/>
                  <a:pt x="304" y="312"/>
                  <a:pt x="304" y="311"/>
                </a:cubicBezTo>
                <a:cubicBezTo>
                  <a:pt x="303" y="311"/>
                  <a:pt x="302" y="310"/>
                  <a:pt x="302" y="309"/>
                </a:cubicBezTo>
                <a:cubicBezTo>
                  <a:pt x="301" y="309"/>
                  <a:pt x="301" y="308"/>
                  <a:pt x="301" y="307"/>
                </a:cubicBezTo>
                <a:cubicBezTo>
                  <a:pt x="301" y="306"/>
                  <a:pt x="301" y="305"/>
                  <a:pt x="301" y="305"/>
                </a:cubicBezTo>
                <a:cubicBezTo>
                  <a:pt x="300" y="305"/>
                  <a:pt x="300" y="305"/>
                  <a:pt x="299" y="305"/>
                </a:cubicBezTo>
                <a:cubicBezTo>
                  <a:pt x="298" y="304"/>
                  <a:pt x="298" y="303"/>
                  <a:pt x="297" y="303"/>
                </a:cubicBezTo>
                <a:cubicBezTo>
                  <a:pt x="296" y="302"/>
                  <a:pt x="294" y="300"/>
                  <a:pt x="293" y="300"/>
                </a:cubicBezTo>
                <a:cubicBezTo>
                  <a:pt x="291" y="299"/>
                  <a:pt x="290" y="298"/>
                  <a:pt x="289" y="296"/>
                </a:cubicBezTo>
                <a:cubicBezTo>
                  <a:pt x="288" y="295"/>
                  <a:pt x="287" y="293"/>
                  <a:pt x="286" y="291"/>
                </a:cubicBezTo>
                <a:cubicBezTo>
                  <a:pt x="286" y="291"/>
                  <a:pt x="286" y="289"/>
                  <a:pt x="285" y="289"/>
                </a:cubicBezTo>
                <a:cubicBezTo>
                  <a:pt x="285" y="289"/>
                  <a:pt x="284" y="288"/>
                  <a:pt x="284" y="288"/>
                </a:cubicBezTo>
                <a:cubicBezTo>
                  <a:pt x="283" y="289"/>
                  <a:pt x="283" y="289"/>
                  <a:pt x="283" y="289"/>
                </a:cubicBezTo>
                <a:cubicBezTo>
                  <a:pt x="282" y="289"/>
                  <a:pt x="282" y="288"/>
                  <a:pt x="282" y="288"/>
                </a:cubicBezTo>
                <a:cubicBezTo>
                  <a:pt x="282" y="287"/>
                  <a:pt x="281" y="287"/>
                  <a:pt x="281" y="286"/>
                </a:cubicBezTo>
                <a:cubicBezTo>
                  <a:pt x="281" y="286"/>
                  <a:pt x="281" y="285"/>
                  <a:pt x="281" y="285"/>
                </a:cubicBezTo>
                <a:cubicBezTo>
                  <a:pt x="281" y="284"/>
                  <a:pt x="281" y="284"/>
                  <a:pt x="281" y="283"/>
                </a:cubicBezTo>
                <a:cubicBezTo>
                  <a:pt x="281" y="283"/>
                  <a:pt x="281" y="282"/>
                  <a:pt x="281" y="282"/>
                </a:cubicBezTo>
                <a:cubicBezTo>
                  <a:pt x="281" y="281"/>
                  <a:pt x="280" y="281"/>
                  <a:pt x="279" y="281"/>
                </a:cubicBezTo>
                <a:cubicBezTo>
                  <a:pt x="279" y="281"/>
                  <a:pt x="279" y="281"/>
                  <a:pt x="280" y="281"/>
                </a:cubicBezTo>
                <a:cubicBezTo>
                  <a:pt x="280" y="281"/>
                  <a:pt x="280" y="280"/>
                  <a:pt x="280" y="280"/>
                </a:cubicBezTo>
                <a:cubicBezTo>
                  <a:pt x="281" y="280"/>
                  <a:pt x="280" y="280"/>
                  <a:pt x="280" y="280"/>
                </a:cubicBezTo>
                <a:cubicBezTo>
                  <a:pt x="280" y="279"/>
                  <a:pt x="280" y="279"/>
                  <a:pt x="279" y="279"/>
                </a:cubicBezTo>
                <a:cubicBezTo>
                  <a:pt x="279" y="279"/>
                  <a:pt x="279" y="279"/>
                  <a:pt x="279" y="279"/>
                </a:cubicBezTo>
                <a:cubicBezTo>
                  <a:pt x="279" y="279"/>
                  <a:pt x="278" y="279"/>
                  <a:pt x="278" y="280"/>
                </a:cubicBezTo>
                <a:cubicBezTo>
                  <a:pt x="278" y="280"/>
                  <a:pt x="278" y="280"/>
                  <a:pt x="278" y="281"/>
                </a:cubicBezTo>
                <a:cubicBezTo>
                  <a:pt x="278" y="282"/>
                  <a:pt x="277" y="281"/>
                  <a:pt x="276" y="281"/>
                </a:cubicBezTo>
                <a:cubicBezTo>
                  <a:pt x="276" y="281"/>
                  <a:pt x="276" y="281"/>
                  <a:pt x="275" y="281"/>
                </a:cubicBezTo>
                <a:cubicBezTo>
                  <a:pt x="275" y="280"/>
                  <a:pt x="276" y="280"/>
                  <a:pt x="276" y="279"/>
                </a:cubicBezTo>
                <a:cubicBezTo>
                  <a:pt x="276" y="278"/>
                  <a:pt x="276" y="277"/>
                  <a:pt x="276" y="277"/>
                </a:cubicBezTo>
                <a:cubicBezTo>
                  <a:pt x="276" y="276"/>
                  <a:pt x="275" y="276"/>
                  <a:pt x="275" y="275"/>
                </a:cubicBezTo>
                <a:cubicBezTo>
                  <a:pt x="274" y="274"/>
                  <a:pt x="272" y="271"/>
                  <a:pt x="270" y="269"/>
                </a:cubicBezTo>
                <a:cubicBezTo>
                  <a:pt x="270" y="268"/>
                  <a:pt x="269" y="267"/>
                  <a:pt x="269" y="267"/>
                </a:cubicBezTo>
                <a:cubicBezTo>
                  <a:pt x="268" y="266"/>
                  <a:pt x="268" y="265"/>
                  <a:pt x="267" y="265"/>
                </a:cubicBezTo>
                <a:cubicBezTo>
                  <a:pt x="267" y="265"/>
                  <a:pt x="266" y="265"/>
                  <a:pt x="266" y="266"/>
                </a:cubicBezTo>
                <a:cubicBezTo>
                  <a:pt x="265" y="265"/>
                  <a:pt x="265" y="265"/>
                  <a:pt x="264" y="264"/>
                </a:cubicBezTo>
                <a:cubicBezTo>
                  <a:pt x="264" y="263"/>
                  <a:pt x="263" y="263"/>
                  <a:pt x="262" y="262"/>
                </a:cubicBezTo>
                <a:cubicBezTo>
                  <a:pt x="261" y="262"/>
                  <a:pt x="259" y="261"/>
                  <a:pt x="259" y="259"/>
                </a:cubicBezTo>
                <a:cubicBezTo>
                  <a:pt x="259" y="259"/>
                  <a:pt x="259" y="258"/>
                  <a:pt x="259" y="258"/>
                </a:cubicBezTo>
                <a:cubicBezTo>
                  <a:pt x="259" y="257"/>
                  <a:pt x="259" y="257"/>
                  <a:pt x="259" y="256"/>
                </a:cubicBezTo>
                <a:cubicBezTo>
                  <a:pt x="260" y="257"/>
                  <a:pt x="260" y="257"/>
                  <a:pt x="260" y="256"/>
                </a:cubicBezTo>
                <a:cubicBezTo>
                  <a:pt x="259" y="255"/>
                  <a:pt x="259" y="254"/>
                  <a:pt x="258" y="254"/>
                </a:cubicBezTo>
                <a:cubicBezTo>
                  <a:pt x="257" y="253"/>
                  <a:pt x="257" y="253"/>
                  <a:pt x="256" y="252"/>
                </a:cubicBezTo>
                <a:cubicBezTo>
                  <a:pt x="256" y="252"/>
                  <a:pt x="256" y="252"/>
                  <a:pt x="255" y="251"/>
                </a:cubicBezTo>
                <a:cubicBezTo>
                  <a:pt x="255" y="251"/>
                  <a:pt x="255" y="251"/>
                  <a:pt x="255" y="251"/>
                </a:cubicBezTo>
                <a:cubicBezTo>
                  <a:pt x="254" y="251"/>
                  <a:pt x="253" y="251"/>
                  <a:pt x="252" y="251"/>
                </a:cubicBezTo>
                <a:cubicBezTo>
                  <a:pt x="252" y="251"/>
                  <a:pt x="252" y="251"/>
                  <a:pt x="251" y="251"/>
                </a:cubicBezTo>
                <a:cubicBezTo>
                  <a:pt x="251" y="251"/>
                  <a:pt x="251" y="250"/>
                  <a:pt x="251" y="250"/>
                </a:cubicBezTo>
                <a:cubicBezTo>
                  <a:pt x="251" y="250"/>
                  <a:pt x="251" y="249"/>
                  <a:pt x="251" y="249"/>
                </a:cubicBezTo>
                <a:cubicBezTo>
                  <a:pt x="251" y="248"/>
                  <a:pt x="251" y="248"/>
                  <a:pt x="251" y="248"/>
                </a:cubicBezTo>
                <a:cubicBezTo>
                  <a:pt x="249" y="247"/>
                  <a:pt x="248" y="245"/>
                  <a:pt x="247" y="244"/>
                </a:cubicBezTo>
                <a:cubicBezTo>
                  <a:pt x="246" y="244"/>
                  <a:pt x="245" y="243"/>
                  <a:pt x="245" y="242"/>
                </a:cubicBezTo>
                <a:cubicBezTo>
                  <a:pt x="245" y="241"/>
                  <a:pt x="243" y="239"/>
                  <a:pt x="240" y="236"/>
                </a:cubicBezTo>
                <a:cubicBezTo>
                  <a:pt x="239" y="235"/>
                  <a:pt x="239" y="234"/>
                  <a:pt x="238" y="233"/>
                </a:cubicBezTo>
                <a:cubicBezTo>
                  <a:pt x="237" y="232"/>
                  <a:pt x="236" y="231"/>
                  <a:pt x="236" y="231"/>
                </a:cubicBezTo>
                <a:cubicBezTo>
                  <a:pt x="235" y="230"/>
                  <a:pt x="235" y="230"/>
                  <a:pt x="234" y="230"/>
                </a:cubicBezTo>
                <a:cubicBezTo>
                  <a:pt x="233" y="231"/>
                  <a:pt x="232" y="230"/>
                  <a:pt x="232" y="229"/>
                </a:cubicBezTo>
                <a:cubicBezTo>
                  <a:pt x="231" y="228"/>
                  <a:pt x="231" y="228"/>
                  <a:pt x="231" y="228"/>
                </a:cubicBezTo>
                <a:cubicBezTo>
                  <a:pt x="231" y="227"/>
                  <a:pt x="231" y="227"/>
                  <a:pt x="231" y="226"/>
                </a:cubicBezTo>
                <a:cubicBezTo>
                  <a:pt x="231" y="225"/>
                  <a:pt x="231" y="225"/>
                  <a:pt x="230" y="224"/>
                </a:cubicBezTo>
                <a:cubicBezTo>
                  <a:pt x="230" y="223"/>
                  <a:pt x="229" y="223"/>
                  <a:pt x="229" y="222"/>
                </a:cubicBezTo>
                <a:cubicBezTo>
                  <a:pt x="227" y="221"/>
                  <a:pt x="226" y="220"/>
                  <a:pt x="224" y="219"/>
                </a:cubicBezTo>
                <a:cubicBezTo>
                  <a:pt x="223" y="219"/>
                  <a:pt x="221" y="218"/>
                  <a:pt x="221" y="217"/>
                </a:cubicBezTo>
                <a:cubicBezTo>
                  <a:pt x="220" y="217"/>
                  <a:pt x="220" y="216"/>
                  <a:pt x="220" y="215"/>
                </a:cubicBezTo>
                <a:cubicBezTo>
                  <a:pt x="220" y="214"/>
                  <a:pt x="220" y="214"/>
                  <a:pt x="220" y="213"/>
                </a:cubicBezTo>
                <a:cubicBezTo>
                  <a:pt x="220" y="212"/>
                  <a:pt x="219" y="211"/>
                  <a:pt x="218" y="211"/>
                </a:cubicBezTo>
                <a:cubicBezTo>
                  <a:pt x="216" y="209"/>
                  <a:pt x="215" y="207"/>
                  <a:pt x="214" y="206"/>
                </a:cubicBezTo>
                <a:cubicBezTo>
                  <a:pt x="214" y="205"/>
                  <a:pt x="212" y="202"/>
                  <a:pt x="209" y="199"/>
                </a:cubicBezTo>
                <a:cubicBezTo>
                  <a:pt x="208" y="197"/>
                  <a:pt x="206" y="196"/>
                  <a:pt x="205" y="195"/>
                </a:cubicBezTo>
                <a:cubicBezTo>
                  <a:pt x="205" y="195"/>
                  <a:pt x="205" y="194"/>
                  <a:pt x="205" y="194"/>
                </a:cubicBezTo>
                <a:cubicBezTo>
                  <a:pt x="205" y="194"/>
                  <a:pt x="204" y="195"/>
                  <a:pt x="204" y="195"/>
                </a:cubicBezTo>
                <a:cubicBezTo>
                  <a:pt x="204" y="195"/>
                  <a:pt x="204" y="195"/>
                  <a:pt x="204" y="195"/>
                </a:cubicBezTo>
                <a:cubicBezTo>
                  <a:pt x="203" y="194"/>
                  <a:pt x="203" y="194"/>
                  <a:pt x="203" y="194"/>
                </a:cubicBezTo>
                <a:cubicBezTo>
                  <a:pt x="202" y="194"/>
                  <a:pt x="201" y="194"/>
                  <a:pt x="200" y="193"/>
                </a:cubicBezTo>
                <a:cubicBezTo>
                  <a:pt x="199" y="193"/>
                  <a:pt x="199" y="192"/>
                  <a:pt x="199" y="192"/>
                </a:cubicBezTo>
                <a:cubicBezTo>
                  <a:pt x="198" y="191"/>
                  <a:pt x="197" y="190"/>
                  <a:pt x="196" y="189"/>
                </a:cubicBezTo>
                <a:cubicBezTo>
                  <a:pt x="195" y="187"/>
                  <a:pt x="194" y="185"/>
                  <a:pt x="193" y="184"/>
                </a:cubicBezTo>
                <a:cubicBezTo>
                  <a:pt x="192" y="183"/>
                  <a:pt x="191" y="182"/>
                  <a:pt x="191" y="182"/>
                </a:cubicBezTo>
                <a:cubicBezTo>
                  <a:pt x="190" y="182"/>
                  <a:pt x="190" y="181"/>
                  <a:pt x="190" y="181"/>
                </a:cubicBezTo>
                <a:cubicBezTo>
                  <a:pt x="190" y="181"/>
                  <a:pt x="190" y="180"/>
                  <a:pt x="190" y="180"/>
                </a:cubicBezTo>
                <a:cubicBezTo>
                  <a:pt x="191" y="180"/>
                  <a:pt x="190" y="179"/>
                  <a:pt x="190" y="179"/>
                </a:cubicBezTo>
                <a:cubicBezTo>
                  <a:pt x="190" y="178"/>
                  <a:pt x="189" y="178"/>
                  <a:pt x="189" y="177"/>
                </a:cubicBezTo>
                <a:cubicBezTo>
                  <a:pt x="188" y="176"/>
                  <a:pt x="186" y="174"/>
                  <a:pt x="185" y="173"/>
                </a:cubicBezTo>
                <a:cubicBezTo>
                  <a:pt x="184" y="172"/>
                  <a:pt x="184" y="170"/>
                  <a:pt x="182" y="170"/>
                </a:cubicBezTo>
                <a:cubicBezTo>
                  <a:pt x="182" y="170"/>
                  <a:pt x="182" y="170"/>
                  <a:pt x="182" y="170"/>
                </a:cubicBezTo>
                <a:cubicBezTo>
                  <a:pt x="182" y="170"/>
                  <a:pt x="181" y="171"/>
                  <a:pt x="181" y="171"/>
                </a:cubicBezTo>
                <a:cubicBezTo>
                  <a:pt x="181" y="171"/>
                  <a:pt x="181" y="171"/>
                  <a:pt x="180" y="170"/>
                </a:cubicBezTo>
                <a:cubicBezTo>
                  <a:pt x="179" y="169"/>
                  <a:pt x="178" y="167"/>
                  <a:pt x="176" y="166"/>
                </a:cubicBezTo>
                <a:cubicBezTo>
                  <a:pt x="175" y="164"/>
                  <a:pt x="174" y="163"/>
                  <a:pt x="173" y="162"/>
                </a:cubicBezTo>
                <a:cubicBezTo>
                  <a:pt x="172" y="162"/>
                  <a:pt x="172" y="162"/>
                  <a:pt x="172" y="161"/>
                </a:cubicBezTo>
                <a:cubicBezTo>
                  <a:pt x="172" y="161"/>
                  <a:pt x="173" y="161"/>
                  <a:pt x="173" y="160"/>
                </a:cubicBezTo>
                <a:cubicBezTo>
                  <a:pt x="173" y="160"/>
                  <a:pt x="172" y="160"/>
                  <a:pt x="172" y="160"/>
                </a:cubicBezTo>
                <a:cubicBezTo>
                  <a:pt x="171" y="159"/>
                  <a:pt x="168" y="159"/>
                  <a:pt x="169" y="157"/>
                </a:cubicBezTo>
                <a:cubicBezTo>
                  <a:pt x="169" y="157"/>
                  <a:pt x="169" y="157"/>
                  <a:pt x="169" y="157"/>
                </a:cubicBezTo>
                <a:cubicBezTo>
                  <a:pt x="170" y="157"/>
                  <a:pt x="170" y="157"/>
                  <a:pt x="170" y="156"/>
                </a:cubicBezTo>
                <a:cubicBezTo>
                  <a:pt x="170" y="156"/>
                  <a:pt x="170" y="156"/>
                  <a:pt x="170" y="155"/>
                </a:cubicBezTo>
                <a:cubicBezTo>
                  <a:pt x="170" y="155"/>
                  <a:pt x="170" y="154"/>
                  <a:pt x="170" y="154"/>
                </a:cubicBezTo>
                <a:cubicBezTo>
                  <a:pt x="170" y="154"/>
                  <a:pt x="169" y="154"/>
                  <a:pt x="169" y="153"/>
                </a:cubicBezTo>
                <a:cubicBezTo>
                  <a:pt x="169" y="153"/>
                  <a:pt x="169" y="153"/>
                  <a:pt x="168" y="153"/>
                </a:cubicBezTo>
                <a:cubicBezTo>
                  <a:pt x="168" y="153"/>
                  <a:pt x="169" y="152"/>
                  <a:pt x="168" y="151"/>
                </a:cubicBezTo>
                <a:cubicBezTo>
                  <a:pt x="168" y="151"/>
                  <a:pt x="167" y="150"/>
                  <a:pt x="166" y="149"/>
                </a:cubicBezTo>
                <a:cubicBezTo>
                  <a:pt x="164" y="147"/>
                  <a:pt x="162" y="145"/>
                  <a:pt x="161" y="143"/>
                </a:cubicBezTo>
                <a:cubicBezTo>
                  <a:pt x="159" y="141"/>
                  <a:pt x="157" y="139"/>
                  <a:pt x="156" y="137"/>
                </a:cubicBezTo>
                <a:cubicBezTo>
                  <a:pt x="155" y="137"/>
                  <a:pt x="154" y="136"/>
                  <a:pt x="154" y="135"/>
                </a:cubicBezTo>
                <a:cubicBezTo>
                  <a:pt x="153" y="134"/>
                  <a:pt x="152" y="133"/>
                  <a:pt x="151" y="134"/>
                </a:cubicBezTo>
                <a:cubicBezTo>
                  <a:pt x="151" y="134"/>
                  <a:pt x="150" y="134"/>
                  <a:pt x="150" y="133"/>
                </a:cubicBezTo>
                <a:cubicBezTo>
                  <a:pt x="149" y="133"/>
                  <a:pt x="148" y="133"/>
                  <a:pt x="147" y="133"/>
                </a:cubicBezTo>
                <a:cubicBezTo>
                  <a:pt x="146" y="133"/>
                  <a:pt x="146" y="133"/>
                  <a:pt x="145" y="132"/>
                </a:cubicBezTo>
                <a:cubicBezTo>
                  <a:pt x="144" y="131"/>
                  <a:pt x="143" y="130"/>
                  <a:pt x="142" y="129"/>
                </a:cubicBezTo>
                <a:cubicBezTo>
                  <a:pt x="142" y="128"/>
                  <a:pt x="141" y="127"/>
                  <a:pt x="139" y="126"/>
                </a:cubicBezTo>
                <a:cubicBezTo>
                  <a:pt x="139" y="125"/>
                  <a:pt x="139" y="125"/>
                  <a:pt x="139" y="125"/>
                </a:cubicBezTo>
                <a:cubicBezTo>
                  <a:pt x="139" y="124"/>
                  <a:pt x="138" y="125"/>
                  <a:pt x="138" y="125"/>
                </a:cubicBezTo>
                <a:cubicBezTo>
                  <a:pt x="138" y="124"/>
                  <a:pt x="138" y="124"/>
                  <a:pt x="137" y="124"/>
                </a:cubicBezTo>
                <a:cubicBezTo>
                  <a:pt x="137" y="123"/>
                  <a:pt x="137" y="123"/>
                  <a:pt x="136" y="122"/>
                </a:cubicBezTo>
                <a:cubicBezTo>
                  <a:pt x="135" y="122"/>
                  <a:pt x="135" y="121"/>
                  <a:pt x="134" y="120"/>
                </a:cubicBezTo>
                <a:cubicBezTo>
                  <a:pt x="134" y="120"/>
                  <a:pt x="134" y="120"/>
                  <a:pt x="134" y="119"/>
                </a:cubicBezTo>
                <a:cubicBezTo>
                  <a:pt x="134" y="119"/>
                  <a:pt x="135" y="119"/>
                  <a:pt x="135" y="118"/>
                </a:cubicBezTo>
                <a:cubicBezTo>
                  <a:pt x="135" y="118"/>
                  <a:pt x="135" y="117"/>
                  <a:pt x="134" y="117"/>
                </a:cubicBezTo>
                <a:cubicBezTo>
                  <a:pt x="134" y="117"/>
                  <a:pt x="134" y="116"/>
                  <a:pt x="133" y="116"/>
                </a:cubicBezTo>
                <a:cubicBezTo>
                  <a:pt x="133" y="116"/>
                  <a:pt x="133" y="116"/>
                  <a:pt x="133" y="116"/>
                </a:cubicBezTo>
                <a:cubicBezTo>
                  <a:pt x="133" y="116"/>
                  <a:pt x="133" y="116"/>
                  <a:pt x="132" y="117"/>
                </a:cubicBezTo>
                <a:cubicBezTo>
                  <a:pt x="132" y="118"/>
                  <a:pt x="131" y="117"/>
                  <a:pt x="130" y="116"/>
                </a:cubicBezTo>
                <a:cubicBezTo>
                  <a:pt x="130" y="115"/>
                  <a:pt x="129" y="114"/>
                  <a:pt x="129" y="113"/>
                </a:cubicBezTo>
                <a:cubicBezTo>
                  <a:pt x="129" y="112"/>
                  <a:pt x="128" y="111"/>
                  <a:pt x="128" y="111"/>
                </a:cubicBezTo>
                <a:cubicBezTo>
                  <a:pt x="127" y="110"/>
                  <a:pt x="127" y="110"/>
                  <a:pt x="126" y="110"/>
                </a:cubicBezTo>
                <a:cubicBezTo>
                  <a:pt x="126" y="109"/>
                  <a:pt x="126" y="109"/>
                  <a:pt x="126" y="109"/>
                </a:cubicBezTo>
                <a:cubicBezTo>
                  <a:pt x="126" y="109"/>
                  <a:pt x="126" y="110"/>
                  <a:pt x="126" y="110"/>
                </a:cubicBezTo>
                <a:cubicBezTo>
                  <a:pt x="125" y="110"/>
                  <a:pt x="125" y="110"/>
                  <a:pt x="125" y="110"/>
                </a:cubicBezTo>
                <a:cubicBezTo>
                  <a:pt x="123" y="109"/>
                  <a:pt x="122" y="107"/>
                  <a:pt x="121" y="106"/>
                </a:cubicBezTo>
                <a:cubicBezTo>
                  <a:pt x="120" y="104"/>
                  <a:pt x="118" y="103"/>
                  <a:pt x="117" y="102"/>
                </a:cubicBezTo>
                <a:cubicBezTo>
                  <a:pt x="116" y="100"/>
                  <a:pt x="114" y="98"/>
                  <a:pt x="112" y="97"/>
                </a:cubicBezTo>
                <a:cubicBezTo>
                  <a:pt x="111" y="96"/>
                  <a:pt x="111" y="95"/>
                  <a:pt x="110" y="94"/>
                </a:cubicBezTo>
                <a:cubicBezTo>
                  <a:pt x="110" y="94"/>
                  <a:pt x="110" y="93"/>
                  <a:pt x="110" y="93"/>
                </a:cubicBezTo>
                <a:cubicBezTo>
                  <a:pt x="110" y="93"/>
                  <a:pt x="111" y="93"/>
                  <a:pt x="111" y="92"/>
                </a:cubicBezTo>
                <a:cubicBezTo>
                  <a:pt x="110" y="91"/>
                  <a:pt x="108" y="90"/>
                  <a:pt x="108" y="89"/>
                </a:cubicBezTo>
                <a:cubicBezTo>
                  <a:pt x="108" y="89"/>
                  <a:pt x="108" y="89"/>
                  <a:pt x="109" y="89"/>
                </a:cubicBezTo>
                <a:cubicBezTo>
                  <a:pt x="109" y="89"/>
                  <a:pt x="109" y="88"/>
                  <a:pt x="109" y="88"/>
                </a:cubicBezTo>
                <a:cubicBezTo>
                  <a:pt x="109" y="88"/>
                  <a:pt x="109" y="88"/>
                  <a:pt x="108" y="87"/>
                </a:cubicBezTo>
                <a:cubicBezTo>
                  <a:pt x="106" y="85"/>
                  <a:pt x="103" y="82"/>
                  <a:pt x="100" y="79"/>
                </a:cubicBezTo>
                <a:cubicBezTo>
                  <a:pt x="100" y="79"/>
                  <a:pt x="99" y="78"/>
                  <a:pt x="98" y="78"/>
                </a:cubicBezTo>
                <a:cubicBezTo>
                  <a:pt x="97" y="77"/>
                  <a:pt x="97" y="77"/>
                  <a:pt x="96" y="77"/>
                </a:cubicBezTo>
                <a:cubicBezTo>
                  <a:pt x="94" y="77"/>
                  <a:pt x="94" y="77"/>
                  <a:pt x="93" y="76"/>
                </a:cubicBezTo>
                <a:cubicBezTo>
                  <a:pt x="92" y="76"/>
                  <a:pt x="91" y="75"/>
                  <a:pt x="91" y="75"/>
                </a:cubicBezTo>
                <a:cubicBezTo>
                  <a:pt x="90" y="74"/>
                  <a:pt x="90" y="73"/>
                  <a:pt x="89" y="73"/>
                </a:cubicBezTo>
                <a:cubicBezTo>
                  <a:pt x="89" y="73"/>
                  <a:pt x="89" y="72"/>
                  <a:pt x="90" y="72"/>
                </a:cubicBezTo>
                <a:cubicBezTo>
                  <a:pt x="90" y="72"/>
                  <a:pt x="90" y="71"/>
                  <a:pt x="90" y="71"/>
                </a:cubicBezTo>
                <a:cubicBezTo>
                  <a:pt x="90" y="70"/>
                  <a:pt x="89" y="70"/>
                  <a:pt x="88" y="69"/>
                </a:cubicBezTo>
                <a:cubicBezTo>
                  <a:pt x="88" y="69"/>
                  <a:pt x="88" y="68"/>
                  <a:pt x="88" y="67"/>
                </a:cubicBezTo>
                <a:cubicBezTo>
                  <a:pt x="88" y="66"/>
                  <a:pt x="88" y="65"/>
                  <a:pt x="87" y="64"/>
                </a:cubicBezTo>
                <a:cubicBezTo>
                  <a:pt x="87" y="64"/>
                  <a:pt x="86" y="63"/>
                  <a:pt x="86" y="62"/>
                </a:cubicBezTo>
                <a:cubicBezTo>
                  <a:pt x="85" y="62"/>
                  <a:pt x="84" y="60"/>
                  <a:pt x="83" y="60"/>
                </a:cubicBezTo>
                <a:cubicBezTo>
                  <a:pt x="82" y="59"/>
                  <a:pt x="82" y="60"/>
                  <a:pt x="81" y="60"/>
                </a:cubicBezTo>
                <a:cubicBezTo>
                  <a:pt x="80" y="59"/>
                  <a:pt x="80" y="58"/>
                  <a:pt x="80" y="58"/>
                </a:cubicBezTo>
                <a:cubicBezTo>
                  <a:pt x="79" y="57"/>
                  <a:pt x="76" y="53"/>
                  <a:pt x="74" y="50"/>
                </a:cubicBezTo>
                <a:cubicBezTo>
                  <a:pt x="73" y="49"/>
                  <a:pt x="72" y="48"/>
                  <a:pt x="71" y="47"/>
                </a:cubicBezTo>
                <a:cubicBezTo>
                  <a:pt x="62" y="39"/>
                  <a:pt x="57" y="28"/>
                  <a:pt x="47" y="18"/>
                </a:cubicBezTo>
                <a:cubicBezTo>
                  <a:pt x="41" y="12"/>
                  <a:pt x="36" y="0"/>
                  <a:pt x="26" y="2"/>
                </a:cubicBezTo>
                <a:cubicBezTo>
                  <a:pt x="20" y="2"/>
                  <a:pt x="15" y="10"/>
                  <a:pt x="11" y="14"/>
                </a:cubicBezTo>
                <a:cubicBezTo>
                  <a:pt x="7" y="17"/>
                  <a:pt x="7" y="20"/>
                  <a:pt x="5" y="23"/>
                </a:cubicBezTo>
                <a:cubicBezTo>
                  <a:pt x="4" y="24"/>
                  <a:pt x="1" y="27"/>
                  <a:pt x="0" y="28"/>
                </a:cubicBezTo>
                <a:cubicBezTo>
                  <a:pt x="0" y="29"/>
                  <a:pt x="0" y="31"/>
                  <a:pt x="1" y="32"/>
                </a:cubicBezTo>
                <a:cubicBezTo>
                  <a:pt x="2" y="38"/>
                  <a:pt x="2" y="39"/>
                  <a:pt x="5" y="44"/>
                </a:cubicBezTo>
                <a:cubicBezTo>
                  <a:pt x="7" y="48"/>
                  <a:pt x="10" y="53"/>
                  <a:pt x="13" y="57"/>
                </a:cubicBezTo>
                <a:cubicBezTo>
                  <a:pt x="16" y="60"/>
                  <a:pt x="19" y="64"/>
                  <a:pt x="22" y="67"/>
                </a:cubicBezTo>
                <a:cubicBezTo>
                  <a:pt x="23" y="68"/>
                  <a:pt x="24" y="69"/>
                  <a:pt x="25" y="70"/>
                </a:cubicBezTo>
                <a:cubicBezTo>
                  <a:pt x="26" y="71"/>
                  <a:pt x="27" y="71"/>
                  <a:pt x="27" y="72"/>
                </a:cubicBezTo>
                <a:cubicBezTo>
                  <a:pt x="28" y="73"/>
                  <a:pt x="29" y="75"/>
                  <a:pt x="29" y="76"/>
                </a:cubicBezTo>
                <a:cubicBezTo>
                  <a:pt x="30" y="77"/>
                  <a:pt x="31" y="78"/>
                  <a:pt x="32" y="79"/>
                </a:cubicBezTo>
                <a:cubicBezTo>
                  <a:pt x="34" y="81"/>
                  <a:pt x="34" y="83"/>
                  <a:pt x="36" y="84"/>
                </a:cubicBezTo>
                <a:cubicBezTo>
                  <a:pt x="37" y="86"/>
                  <a:pt x="39" y="87"/>
                  <a:pt x="40" y="89"/>
                </a:cubicBezTo>
                <a:cubicBezTo>
                  <a:pt x="42" y="91"/>
                  <a:pt x="43" y="92"/>
                  <a:pt x="45" y="94"/>
                </a:cubicBezTo>
                <a:cubicBezTo>
                  <a:pt x="46" y="95"/>
                  <a:pt x="47" y="95"/>
                  <a:pt x="49" y="96"/>
                </a:cubicBezTo>
                <a:cubicBezTo>
                  <a:pt x="50" y="97"/>
                  <a:pt x="51" y="99"/>
                  <a:pt x="53" y="100"/>
                </a:cubicBezTo>
                <a:cubicBezTo>
                  <a:pt x="76" y="129"/>
                  <a:pt x="135" y="197"/>
                  <a:pt x="147" y="209"/>
                </a:cubicBezTo>
                <a:cubicBezTo>
                  <a:pt x="149" y="212"/>
                  <a:pt x="155" y="218"/>
                  <a:pt x="159" y="222"/>
                </a:cubicBezTo>
                <a:cubicBezTo>
                  <a:pt x="163" y="227"/>
                  <a:pt x="170" y="234"/>
                  <a:pt x="173" y="238"/>
                </a:cubicBezTo>
                <a:cubicBezTo>
                  <a:pt x="193" y="259"/>
                  <a:pt x="201" y="268"/>
                  <a:pt x="221" y="290"/>
                </a:cubicBezTo>
                <a:cubicBezTo>
                  <a:pt x="222" y="291"/>
                  <a:pt x="224" y="293"/>
                  <a:pt x="225" y="295"/>
                </a:cubicBezTo>
                <a:cubicBezTo>
                  <a:pt x="226" y="296"/>
                  <a:pt x="228" y="299"/>
                  <a:pt x="230" y="299"/>
                </a:cubicBezTo>
                <a:cubicBezTo>
                  <a:pt x="230" y="299"/>
                  <a:pt x="230" y="299"/>
                  <a:pt x="230" y="299"/>
                </a:cubicBezTo>
                <a:cubicBezTo>
                  <a:pt x="231" y="300"/>
                  <a:pt x="231" y="301"/>
                  <a:pt x="231" y="302"/>
                </a:cubicBezTo>
                <a:cubicBezTo>
                  <a:pt x="231" y="302"/>
                  <a:pt x="231" y="303"/>
                  <a:pt x="232" y="304"/>
                </a:cubicBezTo>
                <a:cubicBezTo>
                  <a:pt x="232" y="304"/>
                  <a:pt x="233" y="304"/>
                  <a:pt x="233" y="304"/>
                </a:cubicBezTo>
                <a:cubicBezTo>
                  <a:pt x="234" y="304"/>
                  <a:pt x="235" y="305"/>
                  <a:pt x="236" y="306"/>
                </a:cubicBezTo>
                <a:cubicBezTo>
                  <a:pt x="237" y="307"/>
                  <a:pt x="238" y="308"/>
                  <a:pt x="239" y="310"/>
                </a:cubicBezTo>
                <a:cubicBezTo>
                  <a:pt x="242" y="313"/>
                  <a:pt x="244" y="316"/>
                  <a:pt x="247" y="319"/>
                </a:cubicBezTo>
                <a:cubicBezTo>
                  <a:pt x="250" y="321"/>
                  <a:pt x="252" y="324"/>
                  <a:pt x="255" y="327"/>
                </a:cubicBezTo>
                <a:cubicBezTo>
                  <a:pt x="256" y="328"/>
                  <a:pt x="257" y="329"/>
                  <a:pt x="258" y="330"/>
                </a:cubicBezTo>
                <a:cubicBezTo>
                  <a:pt x="259" y="332"/>
                  <a:pt x="260" y="333"/>
                  <a:pt x="260" y="335"/>
                </a:cubicBezTo>
                <a:cubicBezTo>
                  <a:pt x="261" y="336"/>
                  <a:pt x="260" y="337"/>
                  <a:pt x="262" y="338"/>
                </a:cubicBezTo>
                <a:cubicBezTo>
                  <a:pt x="263" y="338"/>
                  <a:pt x="263" y="338"/>
                  <a:pt x="263" y="338"/>
                </a:cubicBezTo>
                <a:cubicBezTo>
                  <a:pt x="263" y="338"/>
                  <a:pt x="264" y="338"/>
                  <a:pt x="264" y="338"/>
                </a:cubicBezTo>
                <a:cubicBezTo>
                  <a:pt x="267" y="340"/>
                  <a:pt x="269" y="344"/>
                  <a:pt x="272" y="347"/>
                </a:cubicBezTo>
                <a:cubicBezTo>
                  <a:pt x="275" y="350"/>
                  <a:pt x="278" y="354"/>
                  <a:pt x="280" y="357"/>
                </a:cubicBezTo>
                <a:cubicBezTo>
                  <a:pt x="286" y="363"/>
                  <a:pt x="292" y="370"/>
                  <a:pt x="297" y="377"/>
                </a:cubicBezTo>
                <a:cubicBezTo>
                  <a:pt x="302" y="382"/>
                  <a:pt x="307" y="388"/>
                  <a:pt x="312" y="393"/>
                </a:cubicBezTo>
                <a:cubicBezTo>
                  <a:pt x="323" y="406"/>
                  <a:pt x="334" y="419"/>
                  <a:pt x="346" y="432"/>
                </a:cubicBezTo>
                <a:cubicBezTo>
                  <a:pt x="348" y="435"/>
                  <a:pt x="351" y="438"/>
                  <a:pt x="353" y="441"/>
                </a:cubicBezTo>
                <a:cubicBezTo>
                  <a:pt x="354" y="443"/>
                  <a:pt x="356" y="444"/>
                  <a:pt x="357" y="445"/>
                </a:cubicBezTo>
                <a:cubicBezTo>
                  <a:pt x="358" y="446"/>
                  <a:pt x="359" y="448"/>
                  <a:pt x="360" y="448"/>
                </a:cubicBezTo>
                <a:cubicBezTo>
                  <a:pt x="362" y="449"/>
                  <a:pt x="361" y="449"/>
                  <a:pt x="361" y="450"/>
                </a:cubicBezTo>
                <a:cubicBezTo>
                  <a:pt x="362" y="451"/>
                  <a:pt x="363" y="453"/>
                  <a:pt x="363" y="453"/>
                </a:cubicBezTo>
                <a:cubicBezTo>
                  <a:pt x="364" y="453"/>
                  <a:pt x="364" y="454"/>
                  <a:pt x="365" y="454"/>
                </a:cubicBezTo>
                <a:cubicBezTo>
                  <a:pt x="366" y="455"/>
                  <a:pt x="367" y="456"/>
                  <a:pt x="368" y="458"/>
                </a:cubicBezTo>
                <a:cubicBezTo>
                  <a:pt x="371" y="460"/>
                  <a:pt x="373" y="463"/>
                  <a:pt x="375" y="466"/>
                </a:cubicBezTo>
                <a:cubicBezTo>
                  <a:pt x="375" y="466"/>
                  <a:pt x="376" y="467"/>
                  <a:pt x="376" y="467"/>
                </a:cubicBezTo>
                <a:cubicBezTo>
                  <a:pt x="376" y="467"/>
                  <a:pt x="377" y="467"/>
                  <a:pt x="377" y="467"/>
                </a:cubicBezTo>
                <a:cubicBezTo>
                  <a:pt x="378" y="467"/>
                  <a:pt x="380" y="469"/>
                  <a:pt x="381" y="469"/>
                </a:cubicBezTo>
                <a:cubicBezTo>
                  <a:pt x="381" y="470"/>
                  <a:pt x="382" y="470"/>
                  <a:pt x="382" y="471"/>
                </a:cubicBezTo>
                <a:cubicBezTo>
                  <a:pt x="382" y="471"/>
                  <a:pt x="380" y="471"/>
                  <a:pt x="381" y="472"/>
                </a:cubicBezTo>
                <a:cubicBezTo>
                  <a:pt x="381" y="473"/>
                  <a:pt x="382" y="473"/>
                  <a:pt x="382" y="473"/>
                </a:cubicBezTo>
                <a:cubicBezTo>
                  <a:pt x="383" y="473"/>
                  <a:pt x="384" y="474"/>
                  <a:pt x="383" y="475"/>
                </a:cubicBezTo>
                <a:cubicBezTo>
                  <a:pt x="383" y="475"/>
                  <a:pt x="383" y="475"/>
                  <a:pt x="383" y="475"/>
                </a:cubicBezTo>
                <a:cubicBezTo>
                  <a:pt x="385" y="477"/>
                  <a:pt x="386" y="478"/>
                  <a:pt x="388" y="480"/>
                </a:cubicBezTo>
                <a:cubicBezTo>
                  <a:pt x="389" y="482"/>
                  <a:pt x="391" y="484"/>
                  <a:pt x="393" y="485"/>
                </a:cubicBezTo>
                <a:cubicBezTo>
                  <a:pt x="393" y="485"/>
                  <a:pt x="394" y="485"/>
                  <a:pt x="394" y="486"/>
                </a:cubicBezTo>
                <a:cubicBezTo>
                  <a:pt x="395" y="486"/>
                  <a:pt x="396" y="487"/>
                  <a:pt x="396" y="488"/>
                </a:cubicBezTo>
                <a:cubicBezTo>
                  <a:pt x="397" y="489"/>
                  <a:pt x="398" y="491"/>
                  <a:pt x="399" y="492"/>
                </a:cubicBezTo>
                <a:cubicBezTo>
                  <a:pt x="400" y="493"/>
                  <a:pt x="400" y="495"/>
                  <a:pt x="402" y="495"/>
                </a:cubicBezTo>
                <a:cubicBezTo>
                  <a:pt x="402" y="495"/>
                  <a:pt x="402" y="495"/>
                  <a:pt x="402" y="495"/>
                </a:cubicBezTo>
                <a:cubicBezTo>
                  <a:pt x="403" y="495"/>
                  <a:pt x="403" y="496"/>
                  <a:pt x="403" y="496"/>
                </a:cubicBezTo>
                <a:cubicBezTo>
                  <a:pt x="403" y="496"/>
                  <a:pt x="404" y="497"/>
                  <a:pt x="404" y="498"/>
                </a:cubicBezTo>
                <a:cubicBezTo>
                  <a:pt x="403" y="498"/>
                  <a:pt x="407" y="501"/>
                  <a:pt x="407" y="502"/>
                </a:cubicBezTo>
                <a:cubicBezTo>
                  <a:pt x="409" y="504"/>
                  <a:pt x="410" y="506"/>
                  <a:pt x="411" y="507"/>
                </a:cubicBezTo>
                <a:cubicBezTo>
                  <a:pt x="415" y="512"/>
                  <a:pt x="419" y="516"/>
                  <a:pt x="423" y="521"/>
                </a:cubicBezTo>
                <a:cubicBezTo>
                  <a:pt x="424" y="523"/>
                  <a:pt x="426" y="525"/>
                  <a:pt x="428" y="526"/>
                </a:cubicBezTo>
                <a:cubicBezTo>
                  <a:pt x="428" y="527"/>
                  <a:pt x="429" y="528"/>
                  <a:pt x="430" y="529"/>
                </a:cubicBezTo>
                <a:cubicBezTo>
                  <a:pt x="431" y="530"/>
                  <a:pt x="432" y="530"/>
                  <a:pt x="432" y="531"/>
                </a:cubicBezTo>
                <a:cubicBezTo>
                  <a:pt x="433" y="531"/>
                  <a:pt x="434" y="532"/>
                  <a:pt x="435" y="533"/>
                </a:cubicBezTo>
                <a:cubicBezTo>
                  <a:pt x="435" y="534"/>
                  <a:pt x="435" y="534"/>
                  <a:pt x="436" y="534"/>
                </a:cubicBezTo>
                <a:cubicBezTo>
                  <a:pt x="436" y="535"/>
                  <a:pt x="437" y="535"/>
                  <a:pt x="437" y="535"/>
                </a:cubicBezTo>
                <a:cubicBezTo>
                  <a:pt x="438" y="536"/>
                  <a:pt x="437" y="537"/>
                  <a:pt x="438" y="538"/>
                </a:cubicBezTo>
                <a:cubicBezTo>
                  <a:pt x="439" y="540"/>
                  <a:pt x="441" y="541"/>
                  <a:pt x="443" y="543"/>
                </a:cubicBezTo>
                <a:cubicBezTo>
                  <a:pt x="445" y="546"/>
                  <a:pt x="447" y="549"/>
                  <a:pt x="447" y="549"/>
                </a:cubicBezTo>
                <a:cubicBezTo>
                  <a:pt x="448" y="550"/>
                  <a:pt x="451" y="554"/>
                  <a:pt x="455" y="558"/>
                </a:cubicBezTo>
                <a:cubicBezTo>
                  <a:pt x="456" y="559"/>
                  <a:pt x="457" y="561"/>
                  <a:pt x="459" y="562"/>
                </a:cubicBezTo>
                <a:cubicBezTo>
                  <a:pt x="459" y="563"/>
                  <a:pt x="460" y="563"/>
                  <a:pt x="460" y="564"/>
                </a:cubicBezTo>
                <a:cubicBezTo>
                  <a:pt x="461" y="565"/>
                  <a:pt x="461" y="565"/>
                  <a:pt x="462" y="566"/>
                </a:cubicBezTo>
                <a:cubicBezTo>
                  <a:pt x="462" y="566"/>
                  <a:pt x="463" y="565"/>
                  <a:pt x="463" y="566"/>
                </a:cubicBezTo>
                <a:cubicBezTo>
                  <a:pt x="463" y="566"/>
                  <a:pt x="463" y="566"/>
                  <a:pt x="463" y="566"/>
                </a:cubicBezTo>
                <a:cubicBezTo>
                  <a:pt x="462" y="567"/>
                  <a:pt x="464" y="568"/>
                  <a:pt x="464" y="568"/>
                </a:cubicBezTo>
                <a:cubicBezTo>
                  <a:pt x="465" y="569"/>
                  <a:pt x="466" y="571"/>
                  <a:pt x="467" y="572"/>
                </a:cubicBezTo>
                <a:cubicBezTo>
                  <a:pt x="471" y="576"/>
                  <a:pt x="473" y="579"/>
                  <a:pt x="475" y="583"/>
                </a:cubicBezTo>
                <a:cubicBezTo>
                  <a:pt x="477" y="586"/>
                  <a:pt x="486" y="596"/>
                  <a:pt x="491" y="601"/>
                </a:cubicBezTo>
                <a:cubicBezTo>
                  <a:pt x="493" y="603"/>
                  <a:pt x="495" y="606"/>
                  <a:pt x="497" y="606"/>
                </a:cubicBezTo>
                <a:cubicBezTo>
                  <a:pt x="498" y="606"/>
                  <a:pt x="499" y="606"/>
                  <a:pt x="499" y="607"/>
                </a:cubicBezTo>
                <a:cubicBezTo>
                  <a:pt x="499" y="608"/>
                  <a:pt x="498" y="608"/>
                  <a:pt x="498" y="609"/>
                </a:cubicBezTo>
                <a:cubicBezTo>
                  <a:pt x="498" y="609"/>
                  <a:pt x="500" y="610"/>
                  <a:pt x="500" y="611"/>
                </a:cubicBezTo>
                <a:cubicBezTo>
                  <a:pt x="501" y="612"/>
                  <a:pt x="502" y="614"/>
                  <a:pt x="503" y="614"/>
                </a:cubicBezTo>
                <a:cubicBezTo>
                  <a:pt x="504" y="613"/>
                  <a:pt x="504" y="613"/>
                  <a:pt x="505" y="613"/>
                </a:cubicBezTo>
                <a:cubicBezTo>
                  <a:pt x="505" y="613"/>
                  <a:pt x="505" y="614"/>
                  <a:pt x="505" y="614"/>
                </a:cubicBezTo>
                <a:cubicBezTo>
                  <a:pt x="506" y="614"/>
                  <a:pt x="506" y="615"/>
                  <a:pt x="507" y="616"/>
                </a:cubicBezTo>
                <a:cubicBezTo>
                  <a:pt x="507" y="616"/>
                  <a:pt x="506" y="616"/>
                  <a:pt x="506" y="616"/>
                </a:cubicBezTo>
                <a:cubicBezTo>
                  <a:pt x="506" y="616"/>
                  <a:pt x="505" y="616"/>
                  <a:pt x="505" y="616"/>
                </a:cubicBezTo>
                <a:cubicBezTo>
                  <a:pt x="505" y="617"/>
                  <a:pt x="505" y="617"/>
                  <a:pt x="506" y="617"/>
                </a:cubicBezTo>
                <a:cubicBezTo>
                  <a:pt x="506" y="618"/>
                  <a:pt x="506" y="618"/>
                  <a:pt x="507" y="618"/>
                </a:cubicBezTo>
                <a:cubicBezTo>
                  <a:pt x="508" y="618"/>
                  <a:pt x="509" y="619"/>
                  <a:pt x="510" y="619"/>
                </a:cubicBezTo>
                <a:cubicBezTo>
                  <a:pt x="511" y="620"/>
                  <a:pt x="512" y="621"/>
                  <a:pt x="512" y="622"/>
                </a:cubicBezTo>
                <a:cubicBezTo>
                  <a:pt x="513" y="623"/>
                  <a:pt x="514" y="623"/>
                  <a:pt x="514" y="625"/>
                </a:cubicBezTo>
                <a:cubicBezTo>
                  <a:pt x="513" y="626"/>
                  <a:pt x="513" y="626"/>
                  <a:pt x="514" y="627"/>
                </a:cubicBezTo>
                <a:cubicBezTo>
                  <a:pt x="514" y="627"/>
                  <a:pt x="515" y="627"/>
                  <a:pt x="515" y="628"/>
                </a:cubicBezTo>
                <a:cubicBezTo>
                  <a:pt x="516" y="629"/>
                  <a:pt x="517" y="631"/>
                  <a:pt x="519" y="632"/>
                </a:cubicBezTo>
                <a:cubicBezTo>
                  <a:pt x="520" y="634"/>
                  <a:pt x="521" y="636"/>
                  <a:pt x="523" y="637"/>
                </a:cubicBezTo>
                <a:cubicBezTo>
                  <a:pt x="524" y="637"/>
                  <a:pt x="524" y="637"/>
                  <a:pt x="525" y="637"/>
                </a:cubicBezTo>
                <a:cubicBezTo>
                  <a:pt x="526" y="637"/>
                  <a:pt x="528" y="639"/>
                  <a:pt x="528" y="641"/>
                </a:cubicBezTo>
                <a:cubicBezTo>
                  <a:pt x="528" y="641"/>
                  <a:pt x="528" y="641"/>
                  <a:pt x="528" y="641"/>
                </a:cubicBezTo>
                <a:cubicBezTo>
                  <a:pt x="527" y="642"/>
                  <a:pt x="527" y="643"/>
                  <a:pt x="528" y="644"/>
                </a:cubicBezTo>
                <a:cubicBezTo>
                  <a:pt x="528" y="644"/>
                  <a:pt x="528" y="644"/>
                  <a:pt x="528" y="644"/>
                </a:cubicBezTo>
                <a:cubicBezTo>
                  <a:pt x="529" y="644"/>
                  <a:pt x="530" y="644"/>
                  <a:pt x="530" y="644"/>
                </a:cubicBezTo>
                <a:cubicBezTo>
                  <a:pt x="529" y="645"/>
                  <a:pt x="529" y="645"/>
                  <a:pt x="530" y="646"/>
                </a:cubicBezTo>
                <a:cubicBezTo>
                  <a:pt x="530" y="646"/>
                  <a:pt x="530" y="646"/>
                  <a:pt x="530" y="646"/>
                </a:cubicBezTo>
                <a:cubicBezTo>
                  <a:pt x="535" y="652"/>
                  <a:pt x="541" y="658"/>
                  <a:pt x="546" y="665"/>
                </a:cubicBezTo>
                <a:cubicBezTo>
                  <a:pt x="546" y="666"/>
                  <a:pt x="548" y="667"/>
                  <a:pt x="549" y="669"/>
                </a:cubicBezTo>
                <a:cubicBezTo>
                  <a:pt x="550" y="670"/>
                  <a:pt x="552" y="673"/>
                  <a:pt x="554" y="675"/>
                </a:cubicBezTo>
                <a:cubicBezTo>
                  <a:pt x="555" y="676"/>
                  <a:pt x="557" y="679"/>
                  <a:pt x="558" y="681"/>
                </a:cubicBezTo>
                <a:cubicBezTo>
                  <a:pt x="559" y="683"/>
                  <a:pt x="560" y="684"/>
                  <a:pt x="561" y="685"/>
                </a:cubicBezTo>
                <a:cubicBezTo>
                  <a:pt x="562" y="686"/>
                  <a:pt x="562" y="688"/>
                  <a:pt x="563" y="688"/>
                </a:cubicBezTo>
                <a:cubicBezTo>
                  <a:pt x="565" y="689"/>
                  <a:pt x="566" y="689"/>
                  <a:pt x="567" y="691"/>
                </a:cubicBezTo>
                <a:cubicBezTo>
                  <a:pt x="569" y="692"/>
                  <a:pt x="570" y="694"/>
                  <a:pt x="572" y="696"/>
                </a:cubicBezTo>
                <a:cubicBezTo>
                  <a:pt x="574" y="698"/>
                  <a:pt x="576" y="700"/>
                  <a:pt x="578" y="703"/>
                </a:cubicBezTo>
                <a:cubicBezTo>
                  <a:pt x="580" y="705"/>
                  <a:pt x="582" y="707"/>
                  <a:pt x="584" y="710"/>
                </a:cubicBezTo>
                <a:cubicBezTo>
                  <a:pt x="585" y="709"/>
                  <a:pt x="585" y="709"/>
                  <a:pt x="586" y="710"/>
                </a:cubicBezTo>
                <a:cubicBezTo>
                  <a:pt x="586" y="710"/>
                  <a:pt x="587" y="710"/>
                  <a:pt x="587" y="711"/>
                </a:cubicBezTo>
                <a:cubicBezTo>
                  <a:pt x="586" y="712"/>
                  <a:pt x="589" y="714"/>
                  <a:pt x="590" y="715"/>
                </a:cubicBezTo>
                <a:cubicBezTo>
                  <a:pt x="590" y="715"/>
                  <a:pt x="591" y="717"/>
                  <a:pt x="592" y="718"/>
                </a:cubicBezTo>
                <a:cubicBezTo>
                  <a:pt x="592" y="718"/>
                  <a:pt x="594" y="718"/>
                  <a:pt x="594" y="718"/>
                </a:cubicBezTo>
                <a:cubicBezTo>
                  <a:pt x="594" y="718"/>
                  <a:pt x="593" y="719"/>
                  <a:pt x="593" y="719"/>
                </a:cubicBezTo>
                <a:cubicBezTo>
                  <a:pt x="593" y="720"/>
                  <a:pt x="594" y="720"/>
                  <a:pt x="594" y="721"/>
                </a:cubicBezTo>
                <a:cubicBezTo>
                  <a:pt x="595" y="721"/>
                  <a:pt x="597" y="722"/>
                  <a:pt x="596" y="724"/>
                </a:cubicBezTo>
                <a:cubicBezTo>
                  <a:pt x="596" y="725"/>
                  <a:pt x="595" y="726"/>
                  <a:pt x="597" y="727"/>
                </a:cubicBezTo>
                <a:cubicBezTo>
                  <a:pt x="597" y="727"/>
                  <a:pt x="598" y="727"/>
                  <a:pt x="599" y="727"/>
                </a:cubicBezTo>
                <a:cubicBezTo>
                  <a:pt x="600" y="727"/>
                  <a:pt x="601" y="728"/>
                  <a:pt x="602" y="730"/>
                </a:cubicBezTo>
                <a:cubicBezTo>
                  <a:pt x="604" y="732"/>
                  <a:pt x="606" y="733"/>
                  <a:pt x="607" y="735"/>
                </a:cubicBezTo>
                <a:cubicBezTo>
                  <a:pt x="610" y="739"/>
                  <a:pt x="613" y="742"/>
                  <a:pt x="617" y="746"/>
                </a:cubicBezTo>
                <a:cubicBezTo>
                  <a:pt x="626" y="757"/>
                  <a:pt x="635" y="767"/>
                  <a:pt x="637" y="769"/>
                </a:cubicBezTo>
                <a:cubicBezTo>
                  <a:pt x="639" y="771"/>
                  <a:pt x="646" y="780"/>
                  <a:pt x="653" y="788"/>
                </a:cubicBezTo>
                <a:cubicBezTo>
                  <a:pt x="661" y="796"/>
                  <a:pt x="672" y="809"/>
                  <a:pt x="680" y="818"/>
                </a:cubicBezTo>
                <a:cubicBezTo>
                  <a:pt x="687" y="826"/>
                  <a:pt x="706" y="848"/>
                  <a:pt x="722" y="866"/>
                </a:cubicBezTo>
                <a:cubicBezTo>
                  <a:pt x="726" y="872"/>
                  <a:pt x="731" y="878"/>
                  <a:pt x="736" y="883"/>
                </a:cubicBezTo>
                <a:cubicBezTo>
                  <a:pt x="739" y="886"/>
                  <a:pt x="741" y="889"/>
                  <a:pt x="744" y="892"/>
                </a:cubicBezTo>
                <a:cubicBezTo>
                  <a:pt x="746" y="894"/>
                  <a:pt x="748" y="898"/>
                  <a:pt x="751" y="900"/>
                </a:cubicBezTo>
                <a:cubicBezTo>
                  <a:pt x="751" y="900"/>
                  <a:pt x="751" y="900"/>
                  <a:pt x="752" y="900"/>
                </a:cubicBezTo>
                <a:cubicBezTo>
                  <a:pt x="753" y="901"/>
                  <a:pt x="753" y="902"/>
                  <a:pt x="754" y="903"/>
                </a:cubicBezTo>
                <a:cubicBezTo>
                  <a:pt x="756" y="904"/>
                  <a:pt x="757" y="906"/>
                  <a:pt x="758" y="907"/>
                </a:cubicBezTo>
                <a:cubicBezTo>
                  <a:pt x="761" y="910"/>
                  <a:pt x="763" y="913"/>
                  <a:pt x="766" y="916"/>
                </a:cubicBezTo>
                <a:cubicBezTo>
                  <a:pt x="768" y="919"/>
                  <a:pt x="771" y="921"/>
                  <a:pt x="773" y="924"/>
                </a:cubicBezTo>
                <a:cubicBezTo>
                  <a:pt x="774" y="925"/>
                  <a:pt x="775" y="926"/>
                  <a:pt x="776" y="928"/>
                </a:cubicBezTo>
                <a:cubicBezTo>
                  <a:pt x="777" y="929"/>
                  <a:pt x="778" y="930"/>
                  <a:pt x="780" y="931"/>
                </a:cubicBezTo>
                <a:cubicBezTo>
                  <a:pt x="779" y="931"/>
                  <a:pt x="780" y="932"/>
                  <a:pt x="780" y="932"/>
                </a:cubicBezTo>
                <a:cubicBezTo>
                  <a:pt x="781" y="933"/>
                  <a:pt x="782" y="934"/>
                  <a:pt x="782" y="935"/>
                </a:cubicBezTo>
                <a:cubicBezTo>
                  <a:pt x="783" y="936"/>
                  <a:pt x="784" y="937"/>
                  <a:pt x="785" y="938"/>
                </a:cubicBezTo>
                <a:cubicBezTo>
                  <a:pt x="788" y="941"/>
                  <a:pt x="795" y="949"/>
                  <a:pt x="801" y="955"/>
                </a:cubicBezTo>
                <a:cubicBezTo>
                  <a:pt x="802" y="957"/>
                  <a:pt x="804" y="959"/>
                  <a:pt x="806" y="961"/>
                </a:cubicBezTo>
                <a:cubicBezTo>
                  <a:pt x="807" y="963"/>
                  <a:pt x="809" y="964"/>
                  <a:pt x="810" y="966"/>
                </a:cubicBezTo>
                <a:cubicBezTo>
                  <a:pt x="810" y="966"/>
                  <a:pt x="810" y="966"/>
                  <a:pt x="810" y="967"/>
                </a:cubicBezTo>
                <a:cubicBezTo>
                  <a:pt x="810" y="967"/>
                  <a:pt x="810" y="967"/>
                  <a:pt x="810" y="967"/>
                </a:cubicBezTo>
                <a:cubicBezTo>
                  <a:pt x="810" y="967"/>
                  <a:pt x="810" y="968"/>
                  <a:pt x="810" y="969"/>
                </a:cubicBezTo>
                <a:cubicBezTo>
                  <a:pt x="810" y="969"/>
                  <a:pt x="811" y="970"/>
                  <a:pt x="811" y="970"/>
                </a:cubicBezTo>
                <a:cubicBezTo>
                  <a:pt x="813" y="971"/>
                  <a:pt x="814" y="972"/>
                  <a:pt x="815" y="973"/>
                </a:cubicBezTo>
                <a:cubicBezTo>
                  <a:pt x="815" y="973"/>
                  <a:pt x="815" y="974"/>
                  <a:pt x="816" y="974"/>
                </a:cubicBezTo>
                <a:cubicBezTo>
                  <a:pt x="816" y="974"/>
                  <a:pt x="817" y="974"/>
                  <a:pt x="817" y="975"/>
                </a:cubicBezTo>
                <a:cubicBezTo>
                  <a:pt x="817" y="975"/>
                  <a:pt x="817" y="975"/>
                  <a:pt x="818" y="976"/>
                </a:cubicBezTo>
                <a:cubicBezTo>
                  <a:pt x="818" y="976"/>
                  <a:pt x="818" y="976"/>
                  <a:pt x="818" y="976"/>
                </a:cubicBezTo>
                <a:cubicBezTo>
                  <a:pt x="819" y="976"/>
                  <a:pt x="821" y="978"/>
                  <a:pt x="821" y="979"/>
                </a:cubicBezTo>
                <a:cubicBezTo>
                  <a:pt x="822" y="980"/>
                  <a:pt x="822" y="981"/>
                  <a:pt x="824" y="982"/>
                </a:cubicBezTo>
                <a:cubicBezTo>
                  <a:pt x="824" y="983"/>
                  <a:pt x="826" y="985"/>
                  <a:pt x="826" y="985"/>
                </a:cubicBezTo>
                <a:cubicBezTo>
                  <a:pt x="828" y="986"/>
                  <a:pt x="829" y="988"/>
                  <a:pt x="830" y="989"/>
                </a:cubicBezTo>
                <a:cubicBezTo>
                  <a:pt x="831" y="990"/>
                  <a:pt x="833" y="992"/>
                  <a:pt x="834" y="993"/>
                </a:cubicBezTo>
                <a:cubicBezTo>
                  <a:pt x="835" y="994"/>
                  <a:pt x="837" y="996"/>
                  <a:pt x="836" y="997"/>
                </a:cubicBezTo>
                <a:cubicBezTo>
                  <a:pt x="836" y="997"/>
                  <a:pt x="836" y="998"/>
                  <a:pt x="836" y="998"/>
                </a:cubicBezTo>
                <a:cubicBezTo>
                  <a:pt x="836" y="999"/>
                  <a:pt x="836" y="999"/>
                  <a:pt x="837" y="999"/>
                </a:cubicBezTo>
                <a:cubicBezTo>
                  <a:pt x="837" y="1000"/>
                  <a:pt x="838" y="1000"/>
                  <a:pt x="838" y="1000"/>
                </a:cubicBezTo>
                <a:cubicBezTo>
                  <a:pt x="840" y="1001"/>
                  <a:pt x="841" y="1002"/>
                  <a:pt x="843" y="1003"/>
                </a:cubicBez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7">
            <a:extLst>
              <a:ext uri="{FF2B5EF4-FFF2-40B4-BE49-F238E27FC236}">
                <a16:creationId xmlns:a16="http://schemas.microsoft.com/office/drawing/2014/main" id="{5A849107-AA71-523E-5C2B-515D8B7BBFA4}"/>
              </a:ext>
            </a:extLst>
          </p:cNvPr>
          <p:cNvSpPr>
            <a:spLocks noChangeAspect="1"/>
          </p:cNvSpPr>
          <p:nvPr userDrawn="1"/>
        </p:nvSpPr>
        <p:spPr bwMode="auto">
          <a:xfrm rot="15926472">
            <a:off x="9228161" y="4471726"/>
            <a:ext cx="921230" cy="2858255"/>
          </a:xfrm>
          <a:custGeom>
            <a:avLst/>
            <a:gdLst>
              <a:gd name="T0" fmla="*/ 520 w 967"/>
              <a:gd name="T1" fmla="*/ 1290 h 3000"/>
              <a:gd name="T2" fmla="*/ 488 w 967"/>
              <a:gd name="T3" fmla="*/ 1395 h 3000"/>
              <a:gd name="T4" fmla="*/ 446 w 967"/>
              <a:gd name="T5" fmla="*/ 1536 h 3000"/>
              <a:gd name="T6" fmla="*/ 421 w 967"/>
              <a:gd name="T7" fmla="*/ 1621 h 3000"/>
              <a:gd name="T8" fmla="*/ 395 w 967"/>
              <a:gd name="T9" fmla="*/ 1686 h 3000"/>
              <a:gd name="T10" fmla="*/ 382 w 967"/>
              <a:gd name="T11" fmla="*/ 1742 h 3000"/>
              <a:gd name="T12" fmla="*/ 370 w 967"/>
              <a:gd name="T13" fmla="*/ 1786 h 3000"/>
              <a:gd name="T14" fmla="*/ 351 w 967"/>
              <a:gd name="T15" fmla="*/ 1850 h 3000"/>
              <a:gd name="T16" fmla="*/ 321 w 967"/>
              <a:gd name="T17" fmla="*/ 1933 h 3000"/>
              <a:gd name="T18" fmla="*/ 288 w 967"/>
              <a:gd name="T19" fmla="*/ 2060 h 3000"/>
              <a:gd name="T20" fmla="*/ 266 w 967"/>
              <a:gd name="T21" fmla="*/ 2136 h 3000"/>
              <a:gd name="T22" fmla="*/ 230 w 967"/>
              <a:gd name="T23" fmla="*/ 2253 h 3000"/>
              <a:gd name="T24" fmla="*/ 210 w 967"/>
              <a:gd name="T25" fmla="*/ 2314 h 3000"/>
              <a:gd name="T26" fmla="*/ 195 w 967"/>
              <a:gd name="T27" fmla="*/ 2364 h 3000"/>
              <a:gd name="T28" fmla="*/ 173 w 967"/>
              <a:gd name="T29" fmla="*/ 2432 h 3000"/>
              <a:gd name="T30" fmla="*/ 148 w 967"/>
              <a:gd name="T31" fmla="*/ 2504 h 3000"/>
              <a:gd name="T32" fmla="*/ 114 w 967"/>
              <a:gd name="T33" fmla="*/ 2619 h 3000"/>
              <a:gd name="T34" fmla="*/ 99 w 967"/>
              <a:gd name="T35" fmla="*/ 2663 h 3000"/>
              <a:gd name="T36" fmla="*/ 78 w 967"/>
              <a:gd name="T37" fmla="*/ 2725 h 3000"/>
              <a:gd name="T38" fmla="*/ 55 w 967"/>
              <a:gd name="T39" fmla="*/ 2796 h 3000"/>
              <a:gd name="T40" fmla="*/ 44 w 967"/>
              <a:gd name="T41" fmla="*/ 2848 h 3000"/>
              <a:gd name="T42" fmla="*/ 29 w 967"/>
              <a:gd name="T43" fmla="*/ 2905 h 3000"/>
              <a:gd name="T44" fmla="*/ 33 w 967"/>
              <a:gd name="T45" fmla="*/ 2999 h 3000"/>
              <a:gd name="T46" fmla="*/ 149 w 967"/>
              <a:gd name="T47" fmla="*/ 2663 h 3000"/>
              <a:gd name="T48" fmla="*/ 210 w 967"/>
              <a:gd name="T49" fmla="*/ 2456 h 3000"/>
              <a:gd name="T50" fmla="*/ 240 w 967"/>
              <a:gd name="T51" fmla="*/ 2363 h 3000"/>
              <a:gd name="T52" fmla="*/ 273 w 967"/>
              <a:gd name="T53" fmla="*/ 2265 h 3000"/>
              <a:gd name="T54" fmla="*/ 299 w 967"/>
              <a:gd name="T55" fmla="*/ 2188 h 3000"/>
              <a:gd name="T56" fmla="*/ 324 w 967"/>
              <a:gd name="T57" fmla="*/ 2104 h 3000"/>
              <a:gd name="T58" fmla="*/ 415 w 967"/>
              <a:gd name="T59" fmla="*/ 1806 h 3000"/>
              <a:gd name="T60" fmla="*/ 440 w 967"/>
              <a:gd name="T61" fmla="*/ 1718 h 3000"/>
              <a:gd name="T62" fmla="*/ 477 w 967"/>
              <a:gd name="T63" fmla="*/ 1600 h 3000"/>
              <a:gd name="T64" fmla="*/ 503 w 967"/>
              <a:gd name="T65" fmla="*/ 1504 h 3000"/>
              <a:gd name="T66" fmla="*/ 528 w 967"/>
              <a:gd name="T67" fmla="*/ 1432 h 3000"/>
              <a:gd name="T68" fmla="*/ 540 w 967"/>
              <a:gd name="T69" fmla="*/ 1394 h 3000"/>
              <a:gd name="T70" fmla="*/ 559 w 967"/>
              <a:gd name="T71" fmla="*/ 1335 h 3000"/>
              <a:gd name="T72" fmla="*/ 582 w 967"/>
              <a:gd name="T73" fmla="*/ 1262 h 3000"/>
              <a:gd name="T74" fmla="*/ 598 w 967"/>
              <a:gd name="T75" fmla="*/ 1211 h 3000"/>
              <a:gd name="T76" fmla="*/ 619 w 967"/>
              <a:gd name="T77" fmla="*/ 1135 h 3000"/>
              <a:gd name="T78" fmla="*/ 642 w 967"/>
              <a:gd name="T79" fmla="*/ 1062 h 3000"/>
              <a:gd name="T80" fmla="*/ 674 w 967"/>
              <a:gd name="T81" fmla="*/ 941 h 3000"/>
              <a:gd name="T82" fmla="*/ 712 w 967"/>
              <a:gd name="T83" fmla="*/ 816 h 3000"/>
              <a:gd name="T84" fmla="*/ 744 w 967"/>
              <a:gd name="T85" fmla="*/ 713 h 3000"/>
              <a:gd name="T86" fmla="*/ 765 w 967"/>
              <a:gd name="T87" fmla="*/ 654 h 3000"/>
              <a:gd name="T88" fmla="*/ 782 w 967"/>
              <a:gd name="T89" fmla="*/ 600 h 3000"/>
              <a:gd name="T90" fmla="*/ 801 w 967"/>
              <a:gd name="T91" fmla="*/ 546 h 3000"/>
              <a:gd name="T92" fmla="*/ 830 w 967"/>
              <a:gd name="T93" fmla="*/ 449 h 3000"/>
              <a:gd name="T94" fmla="*/ 851 w 967"/>
              <a:gd name="T95" fmla="*/ 382 h 3000"/>
              <a:gd name="T96" fmla="*/ 864 w 967"/>
              <a:gd name="T97" fmla="*/ 352 h 3000"/>
              <a:gd name="T98" fmla="*/ 877 w 967"/>
              <a:gd name="T99" fmla="*/ 301 h 3000"/>
              <a:gd name="T100" fmla="*/ 897 w 967"/>
              <a:gd name="T101" fmla="*/ 239 h 3000"/>
              <a:gd name="T102" fmla="*/ 914 w 967"/>
              <a:gd name="T103" fmla="*/ 183 h 3000"/>
              <a:gd name="T104" fmla="*/ 924 w 967"/>
              <a:gd name="T105" fmla="*/ 138 h 3000"/>
              <a:gd name="T106" fmla="*/ 944 w 967"/>
              <a:gd name="T107" fmla="*/ 74 h 3000"/>
              <a:gd name="T108" fmla="*/ 816 w 967"/>
              <a:gd name="T109" fmla="*/ 332 h 3000"/>
              <a:gd name="T110" fmla="*/ 755 w 967"/>
              <a:gd name="T111" fmla="*/ 532 h 3000"/>
              <a:gd name="T112" fmla="*/ 726 w 967"/>
              <a:gd name="T113" fmla="*/ 626 h 3000"/>
              <a:gd name="T114" fmla="*/ 693 w 967"/>
              <a:gd name="T115" fmla="*/ 737 h 3000"/>
              <a:gd name="T116" fmla="*/ 666 w 967"/>
              <a:gd name="T117" fmla="*/ 811 h 3000"/>
              <a:gd name="T118" fmla="*/ 592 w 967"/>
              <a:gd name="T119" fmla="*/ 1054 h 3000"/>
              <a:gd name="T120" fmla="*/ 549 w 967"/>
              <a:gd name="T121" fmla="*/ 1194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67" h="3000">
                <a:moveTo>
                  <a:pt x="539" y="1230"/>
                </a:moveTo>
                <a:lnTo>
                  <a:pt x="539" y="1230"/>
                </a:lnTo>
                <a:cubicBezTo>
                  <a:pt x="539" y="1231"/>
                  <a:pt x="539" y="1231"/>
                  <a:pt x="539" y="1232"/>
                </a:cubicBezTo>
                <a:cubicBezTo>
                  <a:pt x="537" y="1234"/>
                  <a:pt x="536" y="1236"/>
                  <a:pt x="535" y="1239"/>
                </a:cubicBezTo>
                <a:cubicBezTo>
                  <a:pt x="534" y="1240"/>
                  <a:pt x="533" y="1241"/>
                  <a:pt x="532" y="1242"/>
                </a:cubicBezTo>
                <a:cubicBezTo>
                  <a:pt x="532" y="1243"/>
                  <a:pt x="531" y="1244"/>
                  <a:pt x="531" y="1245"/>
                </a:cubicBezTo>
                <a:cubicBezTo>
                  <a:pt x="531" y="1246"/>
                  <a:pt x="531" y="1246"/>
                  <a:pt x="532" y="1247"/>
                </a:cubicBezTo>
                <a:cubicBezTo>
                  <a:pt x="532" y="1248"/>
                  <a:pt x="532" y="1249"/>
                  <a:pt x="532" y="1250"/>
                </a:cubicBezTo>
                <a:cubicBezTo>
                  <a:pt x="531" y="1251"/>
                  <a:pt x="530" y="1251"/>
                  <a:pt x="529" y="1252"/>
                </a:cubicBezTo>
                <a:cubicBezTo>
                  <a:pt x="529" y="1252"/>
                  <a:pt x="530" y="1254"/>
                  <a:pt x="529" y="1254"/>
                </a:cubicBezTo>
                <a:cubicBezTo>
                  <a:pt x="529" y="1255"/>
                  <a:pt x="529" y="1255"/>
                  <a:pt x="529" y="1255"/>
                </a:cubicBezTo>
                <a:cubicBezTo>
                  <a:pt x="528" y="1255"/>
                  <a:pt x="528" y="1256"/>
                  <a:pt x="527" y="1256"/>
                </a:cubicBezTo>
                <a:cubicBezTo>
                  <a:pt x="527" y="1256"/>
                  <a:pt x="527" y="1256"/>
                  <a:pt x="527" y="1256"/>
                </a:cubicBezTo>
                <a:cubicBezTo>
                  <a:pt x="527" y="1257"/>
                  <a:pt x="527" y="1257"/>
                  <a:pt x="527" y="1257"/>
                </a:cubicBezTo>
                <a:cubicBezTo>
                  <a:pt x="526" y="1257"/>
                  <a:pt x="526" y="1258"/>
                  <a:pt x="526" y="1258"/>
                </a:cubicBezTo>
                <a:cubicBezTo>
                  <a:pt x="526" y="1259"/>
                  <a:pt x="526" y="1260"/>
                  <a:pt x="526" y="1261"/>
                </a:cubicBezTo>
                <a:cubicBezTo>
                  <a:pt x="525" y="1262"/>
                  <a:pt x="525" y="1264"/>
                  <a:pt x="525" y="1265"/>
                </a:cubicBezTo>
                <a:cubicBezTo>
                  <a:pt x="524" y="1267"/>
                  <a:pt x="523" y="1270"/>
                  <a:pt x="523" y="1272"/>
                </a:cubicBezTo>
                <a:cubicBezTo>
                  <a:pt x="523" y="1274"/>
                  <a:pt x="524" y="1273"/>
                  <a:pt x="526" y="1273"/>
                </a:cubicBezTo>
                <a:cubicBezTo>
                  <a:pt x="526" y="1274"/>
                  <a:pt x="526" y="1274"/>
                  <a:pt x="526" y="1274"/>
                </a:cubicBezTo>
                <a:cubicBezTo>
                  <a:pt x="526" y="1275"/>
                  <a:pt x="525" y="1275"/>
                  <a:pt x="525" y="1276"/>
                </a:cubicBezTo>
                <a:cubicBezTo>
                  <a:pt x="525" y="1277"/>
                  <a:pt x="524" y="1278"/>
                  <a:pt x="524" y="1278"/>
                </a:cubicBezTo>
                <a:cubicBezTo>
                  <a:pt x="524" y="1280"/>
                  <a:pt x="523" y="1282"/>
                  <a:pt x="522" y="1284"/>
                </a:cubicBezTo>
                <a:cubicBezTo>
                  <a:pt x="521" y="1285"/>
                  <a:pt x="518" y="1289"/>
                  <a:pt x="520" y="1290"/>
                </a:cubicBezTo>
                <a:cubicBezTo>
                  <a:pt x="521" y="1291"/>
                  <a:pt x="521" y="1291"/>
                  <a:pt x="521" y="1291"/>
                </a:cubicBezTo>
                <a:cubicBezTo>
                  <a:pt x="522" y="1291"/>
                  <a:pt x="520" y="1294"/>
                  <a:pt x="520" y="1294"/>
                </a:cubicBezTo>
                <a:cubicBezTo>
                  <a:pt x="516" y="1303"/>
                  <a:pt x="514" y="1309"/>
                  <a:pt x="511" y="1319"/>
                </a:cubicBezTo>
                <a:cubicBezTo>
                  <a:pt x="510" y="1321"/>
                  <a:pt x="510" y="1324"/>
                  <a:pt x="509" y="1326"/>
                </a:cubicBezTo>
                <a:cubicBezTo>
                  <a:pt x="509" y="1326"/>
                  <a:pt x="508" y="1327"/>
                  <a:pt x="507" y="1327"/>
                </a:cubicBezTo>
                <a:cubicBezTo>
                  <a:pt x="507" y="1328"/>
                  <a:pt x="506" y="1329"/>
                  <a:pt x="506" y="1330"/>
                </a:cubicBezTo>
                <a:cubicBezTo>
                  <a:pt x="506" y="1331"/>
                  <a:pt x="506" y="1333"/>
                  <a:pt x="505" y="1334"/>
                </a:cubicBezTo>
                <a:cubicBezTo>
                  <a:pt x="504" y="1334"/>
                  <a:pt x="503" y="1335"/>
                  <a:pt x="503" y="1335"/>
                </a:cubicBezTo>
                <a:cubicBezTo>
                  <a:pt x="502" y="1336"/>
                  <a:pt x="503" y="1338"/>
                  <a:pt x="503" y="1339"/>
                </a:cubicBezTo>
                <a:cubicBezTo>
                  <a:pt x="504" y="1340"/>
                  <a:pt x="504" y="1341"/>
                  <a:pt x="504" y="1343"/>
                </a:cubicBezTo>
                <a:cubicBezTo>
                  <a:pt x="503" y="1344"/>
                  <a:pt x="503" y="1346"/>
                  <a:pt x="502" y="1348"/>
                </a:cubicBezTo>
                <a:cubicBezTo>
                  <a:pt x="501" y="1353"/>
                  <a:pt x="499" y="1358"/>
                  <a:pt x="499" y="1359"/>
                </a:cubicBezTo>
                <a:cubicBezTo>
                  <a:pt x="499" y="1360"/>
                  <a:pt x="499" y="1361"/>
                  <a:pt x="498" y="1361"/>
                </a:cubicBezTo>
                <a:cubicBezTo>
                  <a:pt x="498" y="1362"/>
                  <a:pt x="497" y="1362"/>
                  <a:pt x="496" y="1363"/>
                </a:cubicBezTo>
                <a:cubicBezTo>
                  <a:pt x="496" y="1363"/>
                  <a:pt x="495" y="1364"/>
                  <a:pt x="495" y="1365"/>
                </a:cubicBezTo>
                <a:cubicBezTo>
                  <a:pt x="494" y="1366"/>
                  <a:pt x="493" y="1367"/>
                  <a:pt x="493" y="1369"/>
                </a:cubicBezTo>
                <a:cubicBezTo>
                  <a:pt x="493" y="1369"/>
                  <a:pt x="493" y="1370"/>
                  <a:pt x="493" y="1370"/>
                </a:cubicBezTo>
                <a:cubicBezTo>
                  <a:pt x="493" y="1371"/>
                  <a:pt x="493" y="1371"/>
                  <a:pt x="493" y="1372"/>
                </a:cubicBezTo>
                <a:cubicBezTo>
                  <a:pt x="494" y="1374"/>
                  <a:pt x="493" y="1378"/>
                  <a:pt x="492" y="1380"/>
                </a:cubicBezTo>
                <a:cubicBezTo>
                  <a:pt x="491" y="1381"/>
                  <a:pt x="490" y="1383"/>
                  <a:pt x="489" y="1385"/>
                </a:cubicBezTo>
                <a:cubicBezTo>
                  <a:pt x="489" y="1386"/>
                  <a:pt x="489" y="1386"/>
                  <a:pt x="490" y="1387"/>
                </a:cubicBezTo>
                <a:cubicBezTo>
                  <a:pt x="490" y="1387"/>
                  <a:pt x="490" y="1388"/>
                  <a:pt x="490" y="1388"/>
                </a:cubicBezTo>
                <a:cubicBezTo>
                  <a:pt x="491" y="1389"/>
                  <a:pt x="490" y="1391"/>
                  <a:pt x="490" y="1392"/>
                </a:cubicBezTo>
                <a:cubicBezTo>
                  <a:pt x="490" y="1393"/>
                  <a:pt x="489" y="1394"/>
                  <a:pt x="488" y="1395"/>
                </a:cubicBezTo>
                <a:cubicBezTo>
                  <a:pt x="488" y="1397"/>
                  <a:pt x="488" y="1398"/>
                  <a:pt x="487" y="1400"/>
                </a:cubicBezTo>
                <a:cubicBezTo>
                  <a:pt x="487" y="1402"/>
                  <a:pt x="486" y="1404"/>
                  <a:pt x="485" y="1406"/>
                </a:cubicBezTo>
                <a:cubicBezTo>
                  <a:pt x="484" y="1413"/>
                  <a:pt x="482" y="1420"/>
                  <a:pt x="482" y="1422"/>
                </a:cubicBezTo>
                <a:cubicBezTo>
                  <a:pt x="481" y="1423"/>
                  <a:pt x="480" y="1426"/>
                  <a:pt x="481" y="1427"/>
                </a:cubicBezTo>
                <a:cubicBezTo>
                  <a:pt x="481" y="1428"/>
                  <a:pt x="481" y="1428"/>
                  <a:pt x="481" y="1428"/>
                </a:cubicBezTo>
                <a:cubicBezTo>
                  <a:pt x="481" y="1429"/>
                  <a:pt x="479" y="1431"/>
                  <a:pt x="479" y="1432"/>
                </a:cubicBezTo>
                <a:cubicBezTo>
                  <a:pt x="478" y="1433"/>
                  <a:pt x="478" y="1434"/>
                  <a:pt x="477" y="1436"/>
                </a:cubicBezTo>
                <a:cubicBezTo>
                  <a:pt x="476" y="1439"/>
                  <a:pt x="475" y="1443"/>
                  <a:pt x="474" y="1446"/>
                </a:cubicBezTo>
                <a:cubicBezTo>
                  <a:pt x="473" y="1449"/>
                  <a:pt x="472" y="1452"/>
                  <a:pt x="471" y="1455"/>
                </a:cubicBezTo>
                <a:cubicBezTo>
                  <a:pt x="470" y="1457"/>
                  <a:pt x="468" y="1461"/>
                  <a:pt x="469" y="1463"/>
                </a:cubicBezTo>
                <a:cubicBezTo>
                  <a:pt x="469" y="1464"/>
                  <a:pt x="469" y="1464"/>
                  <a:pt x="469" y="1465"/>
                </a:cubicBezTo>
                <a:cubicBezTo>
                  <a:pt x="469" y="1465"/>
                  <a:pt x="469" y="1465"/>
                  <a:pt x="469" y="1465"/>
                </a:cubicBezTo>
                <a:cubicBezTo>
                  <a:pt x="468" y="1466"/>
                  <a:pt x="468" y="1467"/>
                  <a:pt x="467" y="1468"/>
                </a:cubicBezTo>
                <a:cubicBezTo>
                  <a:pt x="466" y="1469"/>
                  <a:pt x="466" y="1470"/>
                  <a:pt x="465" y="1471"/>
                </a:cubicBezTo>
                <a:cubicBezTo>
                  <a:pt x="465" y="1473"/>
                  <a:pt x="464" y="1476"/>
                  <a:pt x="464" y="1478"/>
                </a:cubicBezTo>
                <a:cubicBezTo>
                  <a:pt x="463" y="1480"/>
                  <a:pt x="463" y="1482"/>
                  <a:pt x="462" y="1484"/>
                </a:cubicBezTo>
                <a:cubicBezTo>
                  <a:pt x="462" y="1485"/>
                  <a:pt x="462" y="1486"/>
                  <a:pt x="462" y="1486"/>
                </a:cubicBezTo>
                <a:cubicBezTo>
                  <a:pt x="462" y="1487"/>
                  <a:pt x="463" y="1488"/>
                  <a:pt x="463" y="1488"/>
                </a:cubicBezTo>
                <a:cubicBezTo>
                  <a:pt x="463" y="1489"/>
                  <a:pt x="463" y="1490"/>
                  <a:pt x="463" y="1491"/>
                </a:cubicBezTo>
                <a:cubicBezTo>
                  <a:pt x="462" y="1494"/>
                  <a:pt x="461" y="1497"/>
                  <a:pt x="460" y="1500"/>
                </a:cubicBezTo>
                <a:cubicBezTo>
                  <a:pt x="459" y="1503"/>
                  <a:pt x="458" y="1506"/>
                  <a:pt x="457" y="1509"/>
                </a:cubicBezTo>
                <a:cubicBezTo>
                  <a:pt x="455" y="1512"/>
                  <a:pt x="454" y="1516"/>
                  <a:pt x="453" y="1519"/>
                </a:cubicBezTo>
                <a:cubicBezTo>
                  <a:pt x="452" y="1522"/>
                  <a:pt x="450" y="1524"/>
                  <a:pt x="449" y="1527"/>
                </a:cubicBezTo>
                <a:cubicBezTo>
                  <a:pt x="448" y="1530"/>
                  <a:pt x="447" y="1533"/>
                  <a:pt x="446" y="1536"/>
                </a:cubicBezTo>
                <a:cubicBezTo>
                  <a:pt x="446" y="1537"/>
                  <a:pt x="445" y="1538"/>
                  <a:pt x="445" y="1540"/>
                </a:cubicBezTo>
                <a:cubicBezTo>
                  <a:pt x="445" y="1541"/>
                  <a:pt x="445" y="1542"/>
                  <a:pt x="444" y="1543"/>
                </a:cubicBezTo>
                <a:cubicBezTo>
                  <a:pt x="444" y="1544"/>
                  <a:pt x="444" y="1544"/>
                  <a:pt x="444" y="1545"/>
                </a:cubicBezTo>
                <a:cubicBezTo>
                  <a:pt x="442" y="1547"/>
                  <a:pt x="441" y="1549"/>
                  <a:pt x="440" y="1551"/>
                </a:cubicBezTo>
                <a:cubicBezTo>
                  <a:pt x="439" y="1553"/>
                  <a:pt x="438" y="1556"/>
                  <a:pt x="437" y="1559"/>
                </a:cubicBezTo>
                <a:cubicBezTo>
                  <a:pt x="437" y="1561"/>
                  <a:pt x="436" y="1562"/>
                  <a:pt x="436" y="1564"/>
                </a:cubicBezTo>
                <a:cubicBezTo>
                  <a:pt x="436" y="1566"/>
                  <a:pt x="437" y="1567"/>
                  <a:pt x="436" y="1569"/>
                </a:cubicBezTo>
                <a:cubicBezTo>
                  <a:pt x="436" y="1569"/>
                  <a:pt x="435" y="1570"/>
                  <a:pt x="435" y="1570"/>
                </a:cubicBezTo>
                <a:cubicBezTo>
                  <a:pt x="435" y="1570"/>
                  <a:pt x="435" y="1571"/>
                  <a:pt x="435" y="1572"/>
                </a:cubicBezTo>
                <a:cubicBezTo>
                  <a:pt x="434" y="1573"/>
                  <a:pt x="434" y="1575"/>
                  <a:pt x="434" y="1577"/>
                </a:cubicBezTo>
                <a:cubicBezTo>
                  <a:pt x="434" y="1577"/>
                  <a:pt x="434" y="1578"/>
                  <a:pt x="434" y="1578"/>
                </a:cubicBezTo>
                <a:cubicBezTo>
                  <a:pt x="434" y="1578"/>
                  <a:pt x="434" y="1579"/>
                  <a:pt x="434" y="1579"/>
                </a:cubicBezTo>
                <a:cubicBezTo>
                  <a:pt x="433" y="1581"/>
                  <a:pt x="433" y="1583"/>
                  <a:pt x="432" y="1585"/>
                </a:cubicBezTo>
                <a:cubicBezTo>
                  <a:pt x="431" y="1587"/>
                  <a:pt x="430" y="1589"/>
                  <a:pt x="429" y="1591"/>
                </a:cubicBezTo>
                <a:cubicBezTo>
                  <a:pt x="427" y="1593"/>
                  <a:pt x="426" y="1595"/>
                  <a:pt x="425" y="1598"/>
                </a:cubicBezTo>
                <a:cubicBezTo>
                  <a:pt x="424" y="1600"/>
                  <a:pt x="424" y="1602"/>
                  <a:pt x="424" y="1604"/>
                </a:cubicBezTo>
                <a:cubicBezTo>
                  <a:pt x="424" y="1604"/>
                  <a:pt x="423" y="1605"/>
                  <a:pt x="423" y="1605"/>
                </a:cubicBezTo>
                <a:cubicBezTo>
                  <a:pt x="423" y="1605"/>
                  <a:pt x="423" y="1605"/>
                  <a:pt x="423" y="1605"/>
                </a:cubicBezTo>
                <a:cubicBezTo>
                  <a:pt x="423" y="1606"/>
                  <a:pt x="422" y="1606"/>
                  <a:pt x="422" y="1606"/>
                </a:cubicBezTo>
                <a:cubicBezTo>
                  <a:pt x="422" y="1608"/>
                  <a:pt x="421" y="1610"/>
                  <a:pt x="420" y="1611"/>
                </a:cubicBezTo>
                <a:cubicBezTo>
                  <a:pt x="420" y="1612"/>
                  <a:pt x="419" y="1613"/>
                  <a:pt x="419" y="1614"/>
                </a:cubicBezTo>
                <a:cubicBezTo>
                  <a:pt x="419" y="1615"/>
                  <a:pt x="418" y="1616"/>
                  <a:pt x="419" y="1617"/>
                </a:cubicBezTo>
                <a:cubicBezTo>
                  <a:pt x="419" y="1618"/>
                  <a:pt x="420" y="1616"/>
                  <a:pt x="421" y="1617"/>
                </a:cubicBezTo>
                <a:cubicBezTo>
                  <a:pt x="422" y="1618"/>
                  <a:pt x="421" y="1620"/>
                  <a:pt x="421" y="1621"/>
                </a:cubicBezTo>
                <a:cubicBezTo>
                  <a:pt x="420" y="1623"/>
                  <a:pt x="420" y="1625"/>
                  <a:pt x="419" y="1627"/>
                </a:cubicBezTo>
                <a:cubicBezTo>
                  <a:pt x="418" y="1629"/>
                  <a:pt x="418" y="1630"/>
                  <a:pt x="417" y="1632"/>
                </a:cubicBezTo>
                <a:cubicBezTo>
                  <a:pt x="416" y="1634"/>
                  <a:pt x="417" y="1635"/>
                  <a:pt x="415" y="1635"/>
                </a:cubicBezTo>
                <a:cubicBezTo>
                  <a:pt x="414" y="1635"/>
                  <a:pt x="413" y="1635"/>
                  <a:pt x="413" y="1636"/>
                </a:cubicBezTo>
                <a:cubicBezTo>
                  <a:pt x="413" y="1636"/>
                  <a:pt x="413" y="1637"/>
                  <a:pt x="412" y="1637"/>
                </a:cubicBezTo>
                <a:cubicBezTo>
                  <a:pt x="412" y="1637"/>
                  <a:pt x="412" y="1637"/>
                  <a:pt x="412" y="1638"/>
                </a:cubicBezTo>
                <a:cubicBezTo>
                  <a:pt x="411" y="1638"/>
                  <a:pt x="411" y="1638"/>
                  <a:pt x="411" y="1638"/>
                </a:cubicBezTo>
                <a:cubicBezTo>
                  <a:pt x="411" y="1639"/>
                  <a:pt x="411" y="1640"/>
                  <a:pt x="410" y="1641"/>
                </a:cubicBezTo>
                <a:cubicBezTo>
                  <a:pt x="410" y="1641"/>
                  <a:pt x="410" y="1641"/>
                  <a:pt x="410" y="1642"/>
                </a:cubicBezTo>
                <a:cubicBezTo>
                  <a:pt x="410" y="1642"/>
                  <a:pt x="410" y="1642"/>
                  <a:pt x="410" y="1642"/>
                </a:cubicBezTo>
                <a:cubicBezTo>
                  <a:pt x="409" y="1643"/>
                  <a:pt x="409" y="1645"/>
                  <a:pt x="409" y="1646"/>
                </a:cubicBezTo>
                <a:cubicBezTo>
                  <a:pt x="408" y="1648"/>
                  <a:pt x="408" y="1649"/>
                  <a:pt x="407" y="1651"/>
                </a:cubicBezTo>
                <a:cubicBezTo>
                  <a:pt x="407" y="1653"/>
                  <a:pt x="406" y="1654"/>
                  <a:pt x="405" y="1656"/>
                </a:cubicBezTo>
                <a:cubicBezTo>
                  <a:pt x="405" y="1656"/>
                  <a:pt x="404" y="1657"/>
                  <a:pt x="404" y="1658"/>
                </a:cubicBezTo>
                <a:cubicBezTo>
                  <a:pt x="404" y="1659"/>
                  <a:pt x="404" y="1659"/>
                  <a:pt x="404" y="1660"/>
                </a:cubicBezTo>
                <a:cubicBezTo>
                  <a:pt x="404" y="1662"/>
                  <a:pt x="404" y="1664"/>
                  <a:pt x="404" y="1666"/>
                </a:cubicBezTo>
                <a:cubicBezTo>
                  <a:pt x="403" y="1667"/>
                  <a:pt x="403" y="1669"/>
                  <a:pt x="402" y="1671"/>
                </a:cubicBezTo>
                <a:cubicBezTo>
                  <a:pt x="402" y="1672"/>
                  <a:pt x="402" y="1674"/>
                  <a:pt x="401" y="1675"/>
                </a:cubicBezTo>
                <a:cubicBezTo>
                  <a:pt x="401" y="1677"/>
                  <a:pt x="400" y="1679"/>
                  <a:pt x="399" y="1681"/>
                </a:cubicBezTo>
                <a:cubicBezTo>
                  <a:pt x="399" y="1681"/>
                  <a:pt x="398" y="1682"/>
                  <a:pt x="398" y="1683"/>
                </a:cubicBezTo>
                <a:cubicBezTo>
                  <a:pt x="398" y="1684"/>
                  <a:pt x="398" y="1686"/>
                  <a:pt x="397" y="1686"/>
                </a:cubicBezTo>
                <a:cubicBezTo>
                  <a:pt x="397" y="1686"/>
                  <a:pt x="397" y="1686"/>
                  <a:pt x="397" y="1686"/>
                </a:cubicBezTo>
                <a:cubicBezTo>
                  <a:pt x="397" y="1685"/>
                  <a:pt x="396" y="1686"/>
                  <a:pt x="396" y="1686"/>
                </a:cubicBezTo>
                <a:cubicBezTo>
                  <a:pt x="396" y="1686"/>
                  <a:pt x="395" y="1686"/>
                  <a:pt x="395" y="1686"/>
                </a:cubicBezTo>
                <a:cubicBezTo>
                  <a:pt x="395" y="1686"/>
                  <a:pt x="395" y="1687"/>
                  <a:pt x="395" y="1687"/>
                </a:cubicBezTo>
                <a:cubicBezTo>
                  <a:pt x="395" y="1687"/>
                  <a:pt x="395" y="1688"/>
                  <a:pt x="395" y="1688"/>
                </a:cubicBezTo>
                <a:cubicBezTo>
                  <a:pt x="395" y="1688"/>
                  <a:pt x="396" y="1688"/>
                  <a:pt x="395" y="1689"/>
                </a:cubicBezTo>
                <a:cubicBezTo>
                  <a:pt x="395" y="1689"/>
                  <a:pt x="395" y="1689"/>
                  <a:pt x="395" y="1689"/>
                </a:cubicBezTo>
                <a:cubicBezTo>
                  <a:pt x="395" y="1689"/>
                  <a:pt x="394" y="1689"/>
                  <a:pt x="394" y="1690"/>
                </a:cubicBezTo>
                <a:cubicBezTo>
                  <a:pt x="394" y="1690"/>
                  <a:pt x="394" y="1690"/>
                  <a:pt x="395" y="1690"/>
                </a:cubicBezTo>
                <a:cubicBezTo>
                  <a:pt x="394" y="1691"/>
                  <a:pt x="394" y="1692"/>
                  <a:pt x="394" y="1693"/>
                </a:cubicBezTo>
                <a:cubicBezTo>
                  <a:pt x="393" y="1694"/>
                  <a:pt x="393" y="1696"/>
                  <a:pt x="392" y="1697"/>
                </a:cubicBezTo>
                <a:cubicBezTo>
                  <a:pt x="391" y="1700"/>
                  <a:pt x="390" y="1703"/>
                  <a:pt x="389" y="1707"/>
                </a:cubicBezTo>
                <a:cubicBezTo>
                  <a:pt x="389" y="1709"/>
                  <a:pt x="389" y="1710"/>
                  <a:pt x="389" y="1712"/>
                </a:cubicBezTo>
                <a:cubicBezTo>
                  <a:pt x="388" y="1713"/>
                  <a:pt x="388" y="1714"/>
                  <a:pt x="388" y="1714"/>
                </a:cubicBezTo>
                <a:cubicBezTo>
                  <a:pt x="388" y="1715"/>
                  <a:pt x="389" y="1716"/>
                  <a:pt x="388" y="1717"/>
                </a:cubicBezTo>
                <a:cubicBezTo>
                  <a:pt x="388" y="1717"/>
                  <a:pt x="388" y="1718"/>
                  <a:pt x="388" y="1718"/>
                </a:cubicBezTo>
                <a:cubicBezTo>
                  <a:pt x="388" y="1718"/>
                  <a:pt x="388" y="1718"/>
                  <a:pt x="388" y="1718"/>
                </a:cubicBezTo>
                <a:cubicBezTo>
                  <a:pt x="387" y="1718"/>
                  <a:pt x="386" y="1719"/>
                  <a:pt x="386" y="1720"/>
                </a:cubicBezTo>
                <a:cubicBezTo>
                  <a:pt x="386" y="1720"/>
                  <a:pt x="386" y="1720"/>
                  <a:pt x="386" y="1720"/>
                </a:cubicBezTo>
                <a:cubicBezTo>
                  <a:pt x="386" y="1721"/>
                  <a:pt x="386" y="1721"/>
                  <a:pt x="387" y="1722"/>
                </a:cubicBezTo>
                <a:cubicBezTo>
                  <a:pt x="387" y="1722"/>
                  <a:pt x="387" y="1723"/>
                  <a:pt x="387" y="1724"/>
                </a:cubicBezTo>
                <a:cubicBezTo>
                  <a:pt x="387" y="1724"/>
                  <a:pt x="387" y="1725"/>
                  <a:pt x="387" y="1726"/>
                </a:cubicBezTo>
                <a:cubicBezTo>
                  <a:pt x="387" y="1727"/>
                  <a:pt x="386" y="1727"/>
                  <a:pt x="386" y="1728"/>
                </a:cubicBezTo>
                <a:cubicBezTo>
                  <a:pt x="385" y="1729"/>
                  <a:pt x="386" y="1730"/>
                  <a:pt x="386" y="1730"/>
                </a:cubicBezTo>
                <a:cubicBezTo>
                  <a:pt x="387" y="1732"/>
                  <a:pt x="386" y="1733"/>
                  <a:pt x="385" y="1734"/>
                </a:cubicBezTo>
                <a:cubicBezTo>
                  <a:pt x="385" y="1736"/>
                  <a:pt x="384" y="1738"/>
                  <a:pt x="383" y="1739"/>
                </a:cubicBezTo>
                <a:cubicBezTo>
                  <a:pt x="383" y="1740"/>
                  <a:pt x="383" y="1741"/>
                  <a:pt x="382" y="1742"/>
                </a:cubicBezTo>
                <a:cubicBezTo>
                  <a:pt x="382" y="1742"/>
                  <a:pt x="381" y="1742"/>
                  <a:pt x="380" y="1743"/>
                </a:cubicBezTo>
                <a:cubicBezTo>
                  <a:pt x="380" y="1744"/>
                  <a:pt x="380" y="1744"/>
                  <a:pt x="380" y="1745"/>
                </a:cubicBezTo>
                <a:cubicBezTo>
                  <a:pt x="380" y="1745"/>
                  <a:pt x="380" y="1745"/>
                  <a:pt x="381" y="1746"/>
                </a:cubicBezTo>
                <a:cubicBezTo>
                  <a:pt x="381" y="1746"/>
                  <a:pt x="381" y="1747"/>
                  <a:pt x="380" y="1747"/>
                </a:cubicBezTo>
                <a:cubicBezTo>
                  <a:pt x="380" y="1746"/>
                  <a:pt x="379" y="1747"/>
                  <a:pt x="379" y="1747"/>
                </a:cubicBezTo>
                <a:cubicBezTo>
                  <a:pt x="379" y="1747"/>
                  <a:pt x="379" y="1748"/>
                  <a:pt x="379" y="1748"/>
                </a:cubicBezTo>
                <a:cubicBezTo>
                  <a:pt x="379" y="1749"/>
                  <a:pt x="380" y="1749"/>
                  <a:pt x="380" y="1750"/>
                </a:cubicBezTo>
                <a:cubicBezTo>
                  <a:pt x="380" y="1750"/>
                  <a:pt x="380" y="1751"/>
                  <a:pt x="380" y="1752"/>
                </a:cubicBezTo>
                <a:cubicBezTo>
                  <a:pt x="379" y="1752"/>
                  <a:pt x="379" y="1752"/>
                  <a:pt x="379" y="1752"/>
                </a:cubicBezTo>
                <a:cubicBezTo>
                  <a:pt x="378" y="1752"/>
                  <a:pt x="378" y="1754"/>
                  <a:pt x="377" y="1754"/>
                </a:cubicBezTo>
                <a:cubicBezTo>
                  <a:pt x="377" y="1755"/>
                  <a:pt x="376" y="1755"/>
                  <a:pt x="376" y="1755"/>
                </a:cubicBezTo>
                <a:cubicBezTo>
                  <a:pt x="375" y="1756"/>
                  <a:pt x="375" y="1757"/>
                  <a:pt x="375" y="1757"/>
                </a:cubicBezTo>
                <a:cubicBezTo>
                  <a:pt x="375" y="1758"/>
                  <a:pt x="375" y="1758"/>
                  <a:pt x="375" y="1758"/>
                </a:cubicBezTo>
                <a:cubicBezTo>
                  <a:pt x="375" y="1759"/>
                  <a:pt x="375" y="1759"/>
                  <a:pt x="376" y="1760"/>
                </a:cubicBezTo>
                <a:cubicBezTo>
                  <a:pt x="376" y="1760"/>
                  <a:pt x="376" y="1760"/>
                  <a:pt x="376" y="1760"/>
                </a:cubicBezTo>
                <a:cubicBezTo>
                  <a:pt x="376" y="1761"/>
                  <a:pt x="376" y="1761"/>
                  <a:pt x="377" y="1761"/>
                </a:cubicBezTo>
                <a:cubicBezTo>
                  <a:pt x="377" y="1761"/>
                  <a:pt x="376" y="1762"/>
                  <a:pt x="376" y="1762"/>
                </a:cubicBezTo>
                <a:cubicBezTo>
                  <a:pt x="376" y="1763"/>
                  <a:pt x="376" y="1763"/>
                  <a:pt x="376" y="1764"/>
                </a:cubicBezTo>
                <a:cubicBezTo>
                  <a:pt x="376" y="1765"/>
                  <a:pt x="376" y="1765"/>
                  <a:pt x="375" y="1766"/>
                </a:cubicBezTo>
                <a:cubicBezTo>
                  <a:pt x="375" y="1768"/>
                  <a:pt x="374" y="1770"/>
                  <a:pt x="373" y="1771"/>
                </a:cubicBezTo>
                <a:cubicBezTo>
                  <a:pt x="372" y="1772"/>
                  <a:pt x="371" y="1776"/>
                  <a:pt x="370" y="1776"/>
                </a:cubicBezTo>
                <a:cubicBezTo>
                  <a:pt x="369" y="1776"/>
                  <a:pt x="369" y="1778"/>
                  <a:pt x="368" y="1779"/>
                </a:cubicBezTo>
                <a:cubicBezTo>
                  <a:pt x="368" y="1780"/>
                  <a:pt x="368" y="1781"/>
                  <a:pt x="368" y="1782"/>
                </a:cubicBezTo>
                <a:cubicBezTo>
                  <a:pt x="367" y="1783"/>
                  <a:pt x="370" y="1784"/>
                  <a:pt x="370" y="1786"/>
                </a:cubicBezTo>
                <a:cubicBezTo>
                  <a:pt x="369" y="1786"/>
                  <a:pt x="368" y="1787"/>
                  <a:pt x="368" y="1788"/>
                </a:cubicBezTo>
                <a:cubicBezTo>
                  <a:pt x="367" y="1789"/>
                  <a:pt x="366" y="1791"/>
                  <a:pt x="365" y="1792"/>
                </a:cubicBezTo>
                <a:cubicBezTo>
                  <a:pt x="364" y="1792"/>
                  <a:pt x="363" y="1793"/>
                  <a:pt x="364" y="1794"/>
                </a:cubicBezTo>
                <a:cubicBezTo>
                  <a:pt x="364" y="1795"/>
                  <a:pt x="364" y="1795"/>
                  <a:pt x="365" y="1795"/>
                </a:cubicBezTo>
                <a:cubicBezTo>
                  <a:pt x="365" y="1795"/>
                  <a:pt x="365" y="1796"/>
                  <a:pt x="365" y="1797"/>
                </a:cubicBezTo>
                <a:cubicBezTo>
                  <a:pt x="365" y="1798"/>
                  <a:pt x="365" y="1798"/>
                  <a:pt x="364" y="1799"/>
                </a:cubicBezTo>
                <a:cubicBezTo>
                  <a:pt x="364" y="1800"/>
                  <a:pt x="363" y="1803"/>
                  <a:pt x="364" y="1804"/>
                </a:cubicBezTo>
                <a:cubicBezTo>
                  <a:pt x="364" y="1804"/>
                  <a:pt x="364" y="1804"/>
                  <a:pt x="364" y="1804"/>
                </a:cubicBezTo>
                <a:cubicBezTo>
                  <a:pt x="364" y="1805"/>
                  <a:pt x="364" y="1805"/>
                  <a:pt x="364" y="1806"/>
                </a:cubicBezTo>
                <a:cubicBezTo>
                  <a:pt x="364" y="1806"/>
                  <a:pt x="364" y="1806"/>
                  <a:pt x="364" y="1807"/>
                </a:cubicBezTo>
                <a:cubicBezTo>
                  <a:pt x="363" y="1807"/>
                  <a:pt x="363" y="1808"/>
                  <a:pt x="363" y="1808"/>
                </a:cubicBezTo>
                <a:cubicBezTo>
                  <a:pt x="363" y="1808"/>
                  <a:pt x="363" y="1808"/>
                  <a:pt x="362" y="1808"/>
                </a:cubicBezTo>
                <a:cubicBezTo>
                  <a:pt x="362" y="1809"/>
                  <a:pt x="361" y="1811"/>
                  <a:pt x="361" y="1812"/>
                </a:cubicBezTo>
                <a:cubicBezTo>
                  <a:pt x="361" y="1813"/>
                  <a:pt x="360" y="1815"/>
                  <a:pt x="360" y="1816"/>
                </a:cubicBezTo>
                <a:cubicBezTo>
                  <a:pt x="359" y="1818"/>
                  <a:pt x="358" y="1819"/>
                  <a:pt x="358" y="1821"/>
                </a:cubicBezTo>
                <a:cubicBezTo>
                  <a:pt x="358" y="1822"/>
                  <a:pt x="358" y="1822"/>
                  <a:pt x="358" y="1823"/>
                </a:cubicBezTo>
                <a:cubicBezTo>
                  <a:pt x="358" y="1824"/>
                  <a:pt x="358" y="1824"/>
                  <a:pt x="358" y="1825"/>
                </a:cubicBezTo>
                <a:cubicBezTo>
                  <a:pt x="358" y="1825"/>
                  <a:pt x="359" y="1826"/>
                  <a:pt x="358" y="1827"/>
                </a:cubicBezTo>
                <a:cubicBezTo>
                  <a:pt x="358" y="1827"/>
                  <a:pt x="358" y="1827"/>
                  <a:pt x="358" y="1827"/>
                </a:cubicBezTo>
                <a:cubicBezTo>
                  <a:pt x="358" y="1827"/>
                  <a:pt x="358" y="1827"/>
                  <a:pt x="358" y="1827"/>
                </a:cubicBezTo>
                <a:cubicBezTo>
                  <a:pt x="358" y="1828"/>
                  <a:pt x="357" y="1828"/>
                  <a:pt x="357" y="1828"/>
                </a:cubicBezTo>
                <a:cubicBezTo>
                  <a:pt x="356" y="1829"/>
                  <a:pt x="356" y="1831"/>
                  <a:pt x="356" y="1833"/>
                </a:cubicBezTo>
                <a:cubicBezTo>
                  <a:pt x="356" y="1834"/>
                  <a:pt x="355" y="1836"/>
                  <a:pt x="355" y="1838"/>
                </a:cubicBezTo>
                <a:cubicBezTo>
                  <a:pt x="354" y="1842"/>
                  <a:pt x="353" y="1846"/>
                  <a:pt x="351" y="1850"/>
                </a:cubicBezTo>
                <a:cubicBezTo>
                  <a:pt x="351" y="1852"/>
                  <a:pt x="350" y="1854"/>
                  <a:pt x="348" y="1855"/>
                </a:cubicBezTo>
                <a:cubicBezTo>
                  <a:pt x="348" y="1856"/>
                  <a:pt x="347" y="1856"/>
                  <a:pt x="347" y="1857"/>
                </a:cubicBezTo>
                <a:cubicBezTo>
                  <a:pt x="347" y="1858"/>
                  <a:pt x="348" y="1858"/>
                  <a:pt x="348" y="1859"/>
                </a:cubicBezTo>
                <a:cubicBezTo>
                  <a:pt x="348" y="1860"/>
                  <a:pt x="347" y="1862"/>
                  <a:pt x="347" y="1863"/>
                </a:cubicBezTo>
                <a:cubicBezTo>
                  <a:pt x="346" y="1865"/>
                  <a:pt x="345" y="1867"/>
                  <a:pt x="344" y="1870"/>
                </a:cubicBezTo>
                <a:cubicBezTo>
                  <a:pt x="344" y="1870"/>
                  <a:pt x="344" y="1870"/>
                  <a:pt x="343" y="1870"/>
                </a:cubicBezTo>
                <a:cubicBezTo>
                  <a:pt x="343" y="1871"/>
                  <a:pt x="342" y="1872"/>
                  <a:pt x="342" y="1873"/>
                </a:cubicBezTo>
                <a:cubicBezTo>
                  <a:pt x="342" y="1873"/>
                  <a:pt x="342" y="1874"/>
                  <a:pt x="342" y="1875"/>
                </a:cubicBezTo>
                <a:cubicBezTo>
                  <a:pt x="343" y="1875"/>
                  <a:pt x="344" y="1875"/>
                  <a:pt x="344" y="1875"/>
                </a:cubicBezTo>
                <a:cubicBezTo>
                  <a:pt x="344" y="1876"/>
                  <a:pt x="343" y="1876"/>
                  <a:pt x="343" y="1876"/>
                </a:cubicBezTo>
                <a:cubicBezTo>
                  <a:pt x="343" y="1877"/>
                  <a:pt x="343" y="1878"/>
                  <a:pt x="343" y="1879"/>
                </a:cubicBezTo>
                <a:cubicBezTo>
                  <a:pt x="342" y="1880"/>
                  <a:pt x="340" y="1880"/>
                  <a:pt x="340" y="1881"/>
                </a:cubicBezTo>
                <a:cubicBezTo>
                  <a:pt x="339" y="1882"/>
                  <a:pt x="340" y="1883"/>
                  <a:pt x="340" y="1884"/>
                </a:cubicBezTo>
                <a:cubicBezTo>
                  <a:pt x="340" y="1884"/>
                  <a:pt x="339" y="1885"/>
                  <a:pt x="339" y="1885"/>
                </a:cubicBezTo>
                <a:cubicBezTo>
                  <a:pt x="339" y="1886"/>
                  <a:pt x="340" y="1887"/>
                  <a:pt x="340" y="1888"/>
                </a:cubicBezTo>
                <a:cubicBezTo>
                  <a:pt x="340" y="1888"/>
                  <a:pt x="340" y="1889"/>
                  <a:pt x="339" y="1889"/>
                </a:cubicBezTo>
                <a:cubicBezTo>
                  <a:pt x="339" y="1889"/>
                  <a:pt x="339" y="1889"/>
                  <a:pt x="339" y="1890"/>
                </a:cubicBezTo>
                <a:cubicBezTo>
                  <a:pt x="338" y="1891"/>
                  <a:pt x="338" y="1893"/>
                  <a:pt x="337" y="1895"/>
                </a:cubicBezTo>
                <a:cubicBezTo>
                  <a:pt x="333" y="1910"/>
                  <a:pt x="331" y="1917"/>
                  <a:pt x="331" y="1917"/>
                </a:cubicBezTo>
                <a:cubicBezTo>
                  <a:pt x="331" y="1918"/>
                  <a:pt x="329" y="1926"/>
                  <a:pt x="328" y="1927"/>
                </a:cubicBezTo>
                <a:cubicBezTo>
                  <a:pt x="327" y="1929"/>
                  <a:pt x="325" y="1931"/>
                  <a:pt x="324" y="1932"/>
                </a:cubicBezTo>
                <a:cubicBezTo>
                  <a:pt x="324" y="1933"/>
                  <a:pt x="324" y="1934"/>
                  <a:pt x="324" y="1935"/>
                </a:cubicBezTo>
                <a:cubicBezTo>
                  <a:pt x="323" y="1935"/>
                  <a:pt x="323" y="1934"/>
                  <a:pt x="322" y="1933"/>
                </a:cubicBezTo>
                <a:cubicBezTo>
                  <a:pt x="322" y="1933"/>
                  <a:pt x="321" y="1933"/>
                  <a:pt x="321" y="1933"/>
                </a:cubicBezTo>
                <a:cubicBezTo>
                  <a:pt x="321" y="1934"/>
                  <a:pt x="321" y="1935"/>
                  <a:pt x="321" y="1935"/>
                </a:cubicBezTo>
                <a:cubicBezTo>
                  <a:pt x="321" y="1936"/>
                  <a:pt x="321" y="1937"/>
                  <a:pt x="321" y="1938"/>
                </a:cubicBezTo>
                <a:cubicBezTo>
                  <a:pt x="321" y="1940"/>
                  <a:pt x="321" y="1941"/>
                  <a:pt x="321" y="1943"/>
                </a:cubicBezTo>
                <a:cubicBezTo>
                  <a:pt x="321" y="1943"/>
                  <a:pt x="320" y="1943"/>
                  <a:pt x="320" y="1943"/>
                </a:cubicBezTo>
                <a:cubicBezTo>
                  <a:pt x="320" y="1944"/>
                  <a:pt x="319" y="1944"/>
                  <a:pt x="319" y="1944"/>
                </a:cubicBezTo>
                <a:cubicBezTo>
                  <a:pt x="318" y="1944"/>
                  <a:pt x="318" y="1945"/>
                  <a:pt x="318" y="1945"/>
                </a:cubicBezTo>
                <a:cubicBezTo>
                  <a:pt x="318" y="1945"/>
                  <a:pt x="318" y="1946"/>
                  <a:pt x="318" y="1946"/>
                </a:cubicBezTo>
                <a:cubicBezTo>
                  <a:pt x="320" y="1948"/>
                  <a:pt x="319" y="1952"/>
                  <a:pt x="318" y="1954"/>
                </a:cubicBezTo>
                <a:cubicBezTo>
                  <a:pt x="317" y="1958"/>
                  <a:pt x="316" y="1963"/>
                  <a:pt x="315" y="1964"/>
                </a:cubicBezTo>
                <a:cubicBezTo>
                  <a:pt x="315" y="1967"/>
                  <a:pt x="314" y="1969"/>
                  <a:pt x="314" y="1972"/>
                </a:cubicBezTo>
                <a:cubicBezTo>
                  <a:pt x="315" y="1973"/>
                  <a:pt x="314" y="1975"/>
                  <a:pt x="313" y="1976"/>
                </a:cubicBezTo>
                <a:cubicBezTo>
                  <a:pt x="313" y="1977"/>
                  <a:pt x="312" y="1978"/>
                  <a:pt x="311" y="1979"/>
                </a:cubicBezTo>
                <a:cubicBezTo>
                  <a:pt x="311" y="1980"/>
                  <a:pt x="311" y="1981"/>
                  <a:pt x="310" y="1982"/>
                </a:cubicBezTo>
                <a:cubicBezTo>
                  <a:pt x="309" y="1985"/>
                  <a:pt x="309" y="1989"/>
                  <a:pt x="308" y="1993"/>
                </a:cubicBezTo>
                <a:cubicBezTo>
                  <a:pt x="306" y="1997"/>
                  <a:pt x="305" y="2002"/>
                  <a:pt x="304" y="2006"/>
                </a:cubicBezTo>
                <a:cubicBezTo>
                  <a:pt x="300" y="2020"/>
                  <a:pt x="295" y="2034"/>
                  <a:pt x="294" y="2038"/>
                </a:cubicBezTo>
                <a:cubicBezTo>
                  <a:pt x="294" y="2040"/>
                  <a:pt x="294" y="2042"/>
                  <a:pt x="293" y="2043"/>
                </a:cubicBezTo>
                <a:cubicBezTo>
                  <a:pt x="293" y="2044"/>
                  <a:pt x="292" y="2046"/>
                  <a:pt x="292" y="2047"/>
                </a:cubicBezTo>
                <a:cubicBezTo>
                  <a:pt x="292" y="2047"/>
                  <a:pt x="292" y="2047"/>
                  <a:pt x="292" y="2047"/>
                </a:cubicBezTo>
                <a:cubicBezTo>
                  <a:pt x="291" y="2047"/>
                  <a:pt x="291" y="2047"/>
                  <a:pt x="291" y="2048"/>
                </a:cubicBezTo>
                <a:cubicBezTo>
                  <a:pt x="291" y="2048"/>
                  <a:pt x="291" y="2048"/>
                  <a:pt x="291" y="2049"/>
                </a:cubicBezTo>
                <a:cubicBezTo>
                  <a:pt x="291" y="2049"/>
                  <a:pt x="292" y="2049"/>
                  <a:pt x="292" y="2050"/>
                </a:cubicBezTo>
                <a:cubicBezTo>
                  <a:pt x="292" y="2051"/>
                  <a:pt x="290" y="2054"/>
                  <a:pt x="290" y="2056"/>
                </a:cubicBezTo>
                <a:cubicBezTo>
                  <a:pt x="289" y="2057"/>
                  <a:pt x="288" y="2059"/>
                  <a:pt x="288" y="2060"/>
                </a:cubicBezTo>
                <a:cubicBezTo>
                  <a:pt x="288" y="2060"/>
                  <a:pt x="288" y="2060"/>
                  <a:pt x="288" y="2060"/>
                </a:cubicBezTo>
                <a:cubicBezTo>
                  <a:pt x="289" y="2061"/>
                  <a:pt x="288" y="2061"/>
                  <a:pt x="289" y="2062"/>
                </a:cubicBezTo>
                <a:cubicBezTo>
                  <a:pt x="289" y="2062"/>
                  <a:pt x="289" y="2062"/>
                  <a:pt x="289" y="2063"/>
                </a:cubicBezTo>
                <a:cubicBezTo>
                  <a:pt x="289" y="2064"/>
                  <a:pt x="288" y="2065"/>
                  <a:pt x="287" y="2064"/>
                </a:cubicBezTo>
                <a:cubicBezTo>
                  <a:pt x="287" y="2064"/>
                  <a:pt x="287" y="2064"/>
                  <a:pt x="286" y="2063"/>
                </a:cubicBezTo>
                <a:cubicBezTo>
                  <a:pt x="286" y="2063"/>
                  <a:pt x="286" y="2064"/>
                  <a:pt x="286" y="2064"/>
                </a:cubicBezTo>
                <a:cubicBezTo>
                  <a:pt x="286" y="2064"/>
                  <a:pt x="286" y="2065"/>
                  <a:pt x="286" y="2065"/>
                </a:cubicBezTo>
                <a:cubicBezTo>
                  <a:pt x="286" y="2067"/>
                  <a:pt x="285" y="2069"/>
                  <a:pt x="285" y="2070"/>
                </a:cubicBezTo>
                <a:cubicBezTo>
                  <a:pt x="285" y="2071"/>
                  <a:pt x="285" y="2074"/>
                  <a:pt x="284" y="2076"/>
                </a:cubicBezTo>
                <a:cubicBezTo>
                  <a:pt x="284" y="2076"/>
                  <a:pt x="283" y="2076"/>
                  <a:pt x="283" y="2076"/>
                </a:cubicBezTo>
                <a:cubicBezTo>
                  <a:pt x="283" y="2076"/>
                  <a:pt x="283" y="2077"/>
                  <a:pt x="283" y="2077"/>
                </a:cubicBezTo>
                <a:cubicBezTo>
                  <a:pt x="282" y="2079"/>
                  <a:pt x="281" y="2080"/>
                  <a:pt x="281" y="2081"/>
                </a:cubicBezTo>
                <a:cubicBezTo>
                  <a:pt x="281" y="2082"/>
                  <a:pt x="280" y="2087"/>
                  <a:pt x="278" y="2092"/>
                </a:cubicBezTo>
                <a:cubicBezTo>
                  <a:pt x="278" y="2094"/>
                  <a:pt x="277" y="2096"/>
                  <a:pt x="277" y="2098"/>
                </a:cubicBezTo>
                <a:cubicBezTo>
                  <a:pt x="277" y="2098"/>
                  <a:pt x="276" y="2099"/>
                  <a:pt x="276" y="2100"/>
                </a:cubicBezTo>
                <a:cubicBezTo>
                  <a:pt x="276" y="2101"/>
                  <a:pt x="276" y="2102"/>
                  <a:pt x="277" y="2102"/>
                </a:cubicBezTo>
                <a:cubicBezTo>
                  <a:pt x="277" y="2103"/>
                  <a:pt x="276" y="2104"/>
                  <a:pt x="276" y="2104"/>
                </a:cubicBezTo>
                <a:cubicBezTo>
                  <a:pt x="276" y="2104"/>
                  <a:pt x="275" y="2105"/>
                  <a:pt x="275" y="2105"/>
                </a:cubicBezTo>
                <a:cubicBezTo>
                  <a:pt x="274" y="2105"/>
                  <a:pt x="274" y="2106"/>
                  <a:pt x="274" y="2106"/>
                </a:cubicBezTo>
                <a:cubicBezTo>
                  <a:pt x="274" y="2108"/>
                  <a:pt x="273" y="2109"/>
                  <a:pt x="273" y="2110"/>
                </a:cubicBezTo>
                <a:cubicBezTo>
                  <a:pt x="272" y="2113"/>
                  <a:pt x="271" y="2116"/>
                  <a:pt x="270" y="2119"/>
                </a:cubicBezTo>
                <a:cubicBezTo>
                  <a:pt x="269" y="2122"/>
                  <a:pt x="268" y="2125"/>
                  <a:pt x="267" y="2128"/>
                </a:cubicBezTo>
                <a:cubicBezTo>
                  <a:pt x="267" y="2130"/>
                  <a:pt x="265" y="2133"/>
                  <a:pt x="265" y="2136"/>
                </a:cubicBezTo>
                <a:cubicBezTo>
                  <a:pt x="266" y="2136"/>
                  <a:pt x="266" y="2136"/>
                  <a:pt x="266" y="2136"/>
                </a:cubicBezTo>
                <a:cubicBezTo>
                  <a:pt x="266" y="2137"/>
                  <a:pt x="265" y="2137"/>
                  <a:pt x="265" y="2137"/>
                </a:cubicBezTo>
                <a:cubicBezTo>
                  <a:pt x="265" y="2138"/>
                  <a:pt x="265" y="2138"/>
                  <a:pt x="265" y="2138"/>
                </a:cubicBezTo>
                <a:cubicBezTo>
                  <a:pt x="265" y="2139"/>
                  <a:pt x="265" y="2139"/>
                  <a:pt x="265" y="2140"/>
                </a:cubicBezTo>
                <a:cubicBezTo>
                  <a:pt x="265" y="2142"/>
                  <a:pt x="264" y="2144"/>
                  <a:pt x="263" y="2146"/>
                </a:cubicBezTo>
                <a:cubicBezTo>
                  <a:pt x="262" y="2148"/>
                  <a:pt x="261" y="2150"/>
                  <a:pt x="260" y="2152"/>
                </a:cubicBezTo>
                <a:cubicBezTo>
                  <a:pt x="259" y="2156"/>
                  <a:pt x="258" y="2161"/>
                  <a:pt x="256" y="2166"/>
                </a:cubicBezTo>
                <a:cubicBezTo>
                  <a:pt x="254" y="2174"/>
                  <a:pt x="252" y="2182"/>
                  <a:pt x="250" y="2190"/>
                </a:cubicBezTo>
                <a:cubicBezTo>
                  <a:pt x="250" y="2190"/>
                  <a:pt x="250" y="2190"/>
                  <a:pt x="250" y="2190"/>
                </a:cubicBezTo>
                <a:cubicBezTo>
                  <a:pt x="249" y="2190"/>
                  <a:pt x="249" y="2190"/>
                  <a:pt x="249" y="2190"/>
                </a:cubicBezTo>
                <a:cubicBezTo>
                  <a:pt x="249" y="2190"/>
                  <a:pt x="249" y="2191"/>
                  <a:pt x="249" y="2191"/>
                </a:cubicBezTo>
                <a:cubicBezTo>
                  <a:pt x="249" y="2192"/>
                  <a:pt x="248" y="2193"/>
                  <a:pt x="248" y="2194"/>
                </a:cubicBezTo>
                <a:cubicBezTo>
                  <a:pt x="247" y="2195"/>
                  <a:pt x="247" y="2196"/>
                  <a:pt x="246" y="2196"/>
                </a:cubicBezTo>
                <a:cubicBezTo>
                  <a:pt x="246" y="2197"/>
                  <a:pt x="245" y="2197"/>
                  <a:pt x="245" y="2198"/>
                </a:cubicBezTo>
                <a:cubicBezTo>
                  <a:pt x="245" y="2199"/>
                  <a:pt x="246" y="2200"/>
                  <a:pt x="246" y="2200"/>
                </a:cubicBezTo>
                <a:cubicBezTo>
                  <a:pt x="246" y="2201"/>
                  <a:pt x="245" y="2202"/>
                  <a:pt x="245" y="2203"/>
                </a:cubicBezTo>
                <a:cubicBezTo>
                  <a:pt x="244" y="2205"/>
                  <a:pt x="243" y="2209"/>
                  <a:pt x="242" y="2212"/>
                </a:cubicBezTo>
                <a:cubicBezTo>
                  <a:pt x="241" y="2216"/>
                  <a:pt x="238" y="2226"/>
                  <a:pt x="236" y="2232"/>
                </a:cubicBezTo>
                <a:cubicBezTo>
                  <a:pt x="235" y="2233"/>
                  <a:pt x="235" y="2236"/>
                  <a:pt x="234" y="2239"/>
                </a:cubicBezTo>
                <a:cubicBezTo>
                  <a:pt x="234" y="2240"/>
                  <a:pt x="233" y="2242"/>
                  <a:pt x="233" y="2243"/>
                </a:cubicBezTo>
                <a:cubicBezTo>
                  <a:pt x="232" y="2243"/>
                  <a:pt x="232" y="2243"/>
                  <a:pt x="232" y="2244"/>
                </a:cubicBezTo>
                <a:cubicBezTo>
                  <a:pt x="231" y="2244"/>
                  <a:pt x="231" y="2244"/>
                  <a:pt x="231" y="2245"/>
                </a:cubicBezTo>
                <a:cubicBezTo>
                  <a:pt x="231" y="2245"/>
                  <a:pt x="230" y="2246"/>
                  <a:pt x="230" y="2247"/>
                </a:cubicBezTo>
                <a:cubicBezTo>
                  <a:pt x="230" y="2247"/>
                  <a:pt x="230" y="2247"/>
                  <a:pt x="230" y="2248"/>
                </a:cubicBezTo>
                <a:cubicBezTo>
                  <a:pt x="230" y="2249"/>
                  <a:pt x="230" y="2251"/>
                  <a:pt x="230" y="2253"/>
                </a:cubicBezTo>
                <a:cubicBezTo>
                  <a:pt x="229" y="2254"/>
                  <a:pt x="227" y="2254"/>
                  <a:pt x="226" y="2255"/>
                </a:cubicBezTo>
                <a:cubicBezTo>
                  <a:pt x="225" y="2255"/>
                  <a:pt x="225" y="2255"/>
                  <a:pt x="225" y="2256"/>
                </a:cubicBezTo>
                <a:cubicBezTo>
                  <a:pt x="226" y="2257"/>
                  <a:pt x="226" y="2258"/>
                  <a:pt x="226" y="2259"/>
                </a:cubicBezTo>
                <a:cubicBezTo>
                  <a:pt x="227" y="2259"/>
                  <a:pt x="227" y="2259"/>
                  <a:pt x="227" y="2260"/>
                </a:cubicBezTo>
                <a:cubicBezTo>
                  <a:pt x="227" y="2260"/>
                  <a:pt x="227" y="2260"/>
                  <a:pt x="226" y="2261"/>
                </a:cubicBezTo>
                <a:cubicBezTo>
                  <a:pt x="226" y="2261"/>
                  <a:pt x="227" y="2261"/>
                  <a:pt x="227" y="2261"/>
                </a:cubicBezTo>
                <a:cubicBezTo>
                  <a:pt x="227" y="2262"/>
                  <a:pt x="226" y="2265"/>
                  <a:pt x="225" y="2266"/>
                </a:cubicBezTo>
                <a:cubicBezTo>
                  <a:pt x="224" y="2268"/>
                  <a:pt x="224" y="2271"/>
                  <a:pt x="223" y="2273"/>
                </a:cubicBezTo>
                <a:cubicBezTo>
                  <a:pt x="222" y="2278"/>
                  <a:pt x="220" y="2282"/>
                  <a:pt x="218" y="2287"/>
                </a:cubicBezTo>
                <a:cubicBezTo>
                  <a:pt x="218" y="2287"/>
                  <a:pt x="218" y="2288"/>
                  <a:pt x="219" y="2288"/>
                </a:cubicBezTo>
                <a:cubicBezTo>
                  <a:pt x="219" y="2289"/>
                  <a:pt x="219" y="2289"/>
                  <a:pt x="219" y="2289"/>
                </a:cubicBezTo>
                <a:cubicBezTo>
                  <a:pt x="219" y="2289"/>
                  <a:pt x="219" y="2289"/>
                  <a:pt x="219" y="2290"/>
                </a:cubicBezTo>
                <a:cubicBezTo>
                  <a:pt x="219" y="2290"/>
                  <a:pt x="219" y="2290"/>
                  <a:pt x="219" y="2290"/>
                </a:cubicBezTo>
                <a:cubicBezTo>
                  <a:pt x="219" y="2291"/>
                  <a:pt x="218" y="2292"/>
                  <a:pt x="218" y="2293"/>
                </a:cubicBezTo>
                <a:cubicBezTo>
                  <a:pt x="217" y="2294"/>
                  <a:pt x="217" y="2295"/>
                  <a:pt x="216" y="2296"/>
                </a:cubicBezTo>
                <a:cubicBezTo>
                  <a:pt x="216" y="2297"/>
                  <a:pt x="215" y="2298"/>
                  <a:pt x="215" y="2299"/>
                </a:cubicBezTo>
                <a:cubicBezTo>
                  <a:pt x="215" y="2299"/>
                  <a:pt x="215" y="2300"/>
                  <a:pt x="215" y="2300"/>
                </a:cubicBezTo>
                <a:cubicBezTo>
                  <a:pt x="215" y="2300"/>
                  <a:pt x="215" y="2300"/>
                  <a:pt x="215" y="2300"/>
                </a:cubicBezTo>
                <a:cubicBezTo>
                  <a:pt x="215" y="2301"/>
                  <a:pt x="215" y="2302"/>
                  <a:pt x="215" y="2302"/>
                </a:cubicBezTo>
                <a:cubicBezTo>
                  <a:pt x="214" y="2302"/>
                  <a:pt x="214" y="2302"/>
                  <a:pt x="214" y="2303"/>
                </a:cubicBezTo>
                <a:cubicBezTo>
                  <a:pt x="213" y="2303"/>
                  <a:pt x="213" y="2305"/>
                  <a:pt x="213" y="2305"/>
                </a:cubicBezTo>
                <a:cubicBezTo>
                  <a:pt x="213" y="2306"/>
                  <a:pt x="212" y="2308"/>
                  <a:pt x="211" y="2308"/>
                </a:cubicBezTo>
                <a:cubicBezTo>
                  <a:pt x="211" y="2309"/>
                  <a:pt x="210" y="2309"/>
                  <a:pt x="210" y="2310"/>
                </a:cubicBezTo>
                <a:cubicBezTo>
                  <a:pt x="209" y="2311"/>
                  <a:pt x="212" y="2313"/>
                  <a:pt x="210" y="2314"/>
                </a:cubicBezTo>
                <a:cubicBezTo>
                  <a:pt x="210" y="2314"/>
                  <a:pt x="210" y="2314"/>
                  <a:pt x="209" y="2314"/>
                </a:cubicBezTo>
                <a:cubicBezTo>
                  <a:pt x="209" y="2314"/>
                  <a:pt x="209" y="2314"/>
                  <a:pt x="209" y="2314"/>
                </a:cubicBezTo>
                <a:cubicBezTo>
                  <a:pt x="209" y="2314"/>
                  <a:pt x="208" y="2314"/>
                  <a:pt x="208" y="2314"/>
                </a:cubicBezTo>
                <a:cubicBezTo>
                  <a:pt x="208" y="2314"/>
                  <a:pt x="208" y="2315"/>
                  <a:pt x="208" y="2316"/>
                </a:cubicBezTo>
                <a:cubicBezTo>
                  <a:pt x="208" y="2316"/>
                  <a:pt x="208" y="2316"/>
                  <a:pt x="209" y="2317"/>
                </a:cubicBezTo>
                <a:cubicBezTo>
                  <a:pt x="209" y="2319"/>
                  <a:pt x="208" y="2322"/>
                  <a:pt x="207" y="2324"/>
                </a:cubicBezTo>
                <a:cubicBezTo>
                  <a:pt x="206" y="2326"/>
                  <a:pt x="206" y="2328"/>
                  <a:pt x="205" y="2330"/>
                </a:cubicBezTo>
                <a:cubicBezTo>
                  <a:pt x="205" y="2331"/>
                  <a:pt x="204" y="2332"/>
                  <a:pt x="204" y="2333"/>
                </a:cubicBezTo>
                <a:cubicBezTo>
                  <a:pt x="203" y="2335"/>
                  <a:pt x="203" y="2334"/>
                  <a:pt x="202" y="2335"/>
                </a:cubicBezTo>
                <a:cubicBezTo>
                  <a:pt x="201" y="2335"/>
                  <a:pt x="201" y="2335"/>
                  <a:pt x="200" y="2335"/>
                </a:cubicBezTo>
                <a:cubicBezTo>
                  <a:pt x="200" y="2335"/>
                  <a:pt x="200" y="2335"/>
                  <a:pt x="200" y="2336"/>
                </a:cubicBezTo>
                <a:cubicBezTo>
                  <a:pt x="200" y="2336"/>
                  <a:pt x="200" y="2337"/>
                  <a:pt x="200" y="2337"/>
                </a:cubicBezTo>
                <a:cubicBezTo>
                  <a:pt x="201" y="2337"/>
                  <a:pt x="201" y="2338"/>
                  <a:pt x="201" y="2339"/>
                </a:cubicBezTo>
                <a:cubicBezTo>
                  <a:pt x="201" y="2340"/>
                  <a:pt x="201" y="2341"/>
                  <a:pt x="201" y="2342"/>
                </a:cubicBezTo>
                <a:cubicBezTo>
                  <a:pt x="200" y="2344"/>
                  <a:pt x="199" y="2345"/>
                  <a:pt x="199" y="2346"/>
                </a:cubicBezTo>
                <a:cubicBezTo>
                  <a:pt x="198" y="2348"/>
                  <a:pt x="198" y="2350"/>
                  <a:pt x="197" y="2352"/>
                </a:cubicBezTo>
                <a:cubicBezTo>
                  <a:pt x="197" y="2353"/>
                  <a:pt x="197" y="2354"/>
                  <a:pt x="196" y="2355"/>
                </a:cubicBezTo>
                <a:cubicBezTo>
                  <a:pt x="196" y="2356"/>
                  <a:pt x="196" y="2356"/>
                  <a:pt x="196" y="2357"/>
                </a:cubicBezTo>
                <a:cubicBezTo>
                  <a:pt x="196" y="2357"/>
                  <a:pt x="195" y="2357"/>
                  <a:pt x="195" y="2357"/>
                </a:cubicBezTo>
                <a:cubicBezTo>
                  <a:pt x="195" y="2358"/>
                  <a:pt x="194" y="2358"/>
                  <a:pt x="194" y="2358"/>
                </a:cubicBezTo>
                <a:cubicBezTo>
                  <a:pt x="194" y="2359"/>
                  <a:pt x="194" y="2359"/>
                  <a:pt x="194" y="2359"/>
                </a:cubicBezTo>
                <a:cubicBezTo>
                  <a:pt x="194" y="2359"/>
                  <a:pt x="194" y="2359"/>
                  <a:pt x="194" y="2359"/>
                </a:cubicBezTo>
                <a:cubicBezTo>
                  <a:pt x="194" y="2360"/>
                  <a:pt x="194" y="2361"/>
                  <a:pt x="194" y="2361"/>
                </a:cubicBezTo>
                <a:cubicBezTo>
                  <a:pt x="195" y="2362"/>
                  <a:pt x="195" y="2363"/>
                  <a:pt x="195" y="2364"/>
                </a:cubicBezTo>
                <a:cubicBezTo>
                  <a:pt x="195" y="2364"/>
                  <a:pt x="195" y="2365"/>
                  <a:pt x="195" y="2365"/>
                </a:cubicBezTo>
                <a:cubicBezTo>
                  <a:pt x="194" y="2368"/>
                  <a:pt x="193" y="2371"/>
                  <a:pt x="193" y="2373"/>
                </a:cubicBezTo>
                <a:cubicBezTo>
                  <a:pt x="192" y="2375"/>
                  <a:pt x="190" y="2376"/>
                  <a:pt x="189" y="2377"/>
                </a:cubicBezTo>
                <a:cubicBezTo>
                  <a:pt x="188" y="2377"/>
                  <a:pt x="188" y="2377"/>
                  <a:pt x="188" y="2378"/>
                </a:cubicBezTo>
                <a:cubicBezTo>
                  <a:pt x="188" y="2378"/>
                  <a:pt x="189" y="2379"/>
                  <a:pt x="189" y="2380"/>
                </a:cubicBezTo>
                <a:cubicBezTo>
                  <a:pt x="189" y="2381"/>
                  <a:pt x="188" y="2381"/>
                  <a:pt x="188" y="2381"/>
                </a:cubicBezTo>
                <a:cubicBezTo>
                  <a:pt x="187" y="2383"/>
                  <a:pt x="187" y="2385"/>
                  <a:pt x="187" y="2387"/>
                </a:cubicBezTo>
                <a:cubicBezTo>
                  <a:pt x="187" y="2388"/>
                  <a:pt x="187" y="2389"/>
                  <a:pt x="187" y="2390"/>
                </a:cubicBezTo>
                <a:cubicBezTo>
                  <a:pt x="187" y="2392"/>
                  <a:pt x="186" y="2394"/>
                  <a:pt x="186" y="2396"/>
                </a:cubicBezTo>
                <a:cubicBezTo>
                  <a:pt x="185" y="2396"/>
                  <a:pt x="185" y="2396"/>
                  <a:pt x="185" y="2397"/>
                </a:cubicBezTo>
                <a:cubicBezTo>
                  <a:pt x="184" y="2398"/>
                  <a:pt x="183" y="2400"/>
                  <a:pt x="182" y="2402"/>
                </a:cubicBezTo>
                <a:cubicBezTo>
                  <a:pt x="182" y="2403"/>
                  <a:pt x="181" y="2405"/>
                  <a:pt x="181" y="2406"/>
                </a:cubicBezTo>
                <a:cubicBezTo>
                  <a:pt x="180" y="2407"/>
                  <a:pt x="178" y="2408"/>
                  <a:pt x="177" y="2409"/>
                </a:cubicBezTo>
                <a:cubicBezTo>
                  <a:pt x="177" y="2410"/>
                  <a:pt x="177" y="2410"/>
                  <a:pt x="177" y="2410"/>
                </a:cubicBezTo>
                <a:cubicBezTo>
                  <a:pt x="177" y="2410"/>
                  <a:pt x="177" y="2411"/>
                  <a:pt x="177" y="2411"/>
                </a:cubicBezTo>
                <a:cubicBezTo>
                  <a:pt x="177" y="2411"/>
                  <a:pt x="177" y="2411"/>
                  <a:pt x="177" y="2411"/>
                </a:cubicBezTo>
                <a:cubicBezTo>
                  <a:pt x="177" y="2411"/>
                  <a:pt x="177" y="2411"/>
                  <a:pt x="177" y="2412"/>
                </a:cubicBezTo>
                <a:cubicBezTo>
                  <a:pt x="177" y="2412"/>
                  <a:pt x="176" y="2411"/>
                  <a:pt x="176" y="2412"/>
                </a:cubicBezTo>
                <a:cubicBezTo>
                  <a:pt x="177" y="2412"/>
                  <a:pt x="177" y="2413"/>
                  <a:pt x="177" y="2413"/>
                </a:cubicBezTo>
                <a:cubicBezTo>
                  <a:pt x="177" y="2413"/>
                  <a:pt x="177" y="2413"/>
                  <a:pt x="177" y="2413"/>
                </a:cubicBezTo>
                <a:cubicBezTo>
                  <a:pt x="177" y="2414"/>
                  <a:pt x="177" y="2414"/>
                  <a:pt x="176" y="2414"/>
                </a:cubicBezTo>
                <a:cubicBezTo>
                  <a:pt x="176" y="2415"/>
                  <a:pt x="176" y="2415"/>
                  <a:pt x="176" y="2416"/>
                </a:cubicBezTo>
                <a:cubicBezTo>
                  <a:pt x="178" y="2419"/>
                  <a:pt x="176" y="2424"/>
                  <a:pt x="175" y="2427"/>
                </a:cubicBezTo>
                <a:cubicBezTo>
                  <a:pt x="174" y="2428"/>
                  <a:pt x="174" y="2431"/>
                  <a:pt x="173" y="2432"/>
                </a:cubicBezTo>
                <a:cubicBezTo>
                  <a:pt x="173" y="2432"/>
                  <a:pt x="173" y="2432"/>
                  <a:pt x="173" y="2433"/>
                </a:cubicBezTo>
                <a:cubicBezTo>
                  <a:pt x="172" y="2433"/>
                  <a:pt x="172" y="2433"/>
                  <a:pt x="171" y="2434"/>
                </a:cubicBezTo>
                <a:cubicBezTo>
                  <a:pt x="171" y="2434"/>
                  <a:pt x="171" y="2434"/>
                  <a:pt x="170" y="2434"/>
                </a:cubicBezTo>
                <a:cubicBezTo>
                  <a:pt x="169" y="2435"/>
                  <a:pt x="169" y="2437"/>
                  <a:pt x="168" y="2438"/>
                </a:cubicBezTo>
                <a:cubicBezTo>
                  <a:pt x="168" y="2439"/>
                  <a:pt x="166" y="2440"/>
                  <a:pt x="167" y="2441"/>
                </a:cubicBezTo>
                <a:cubicBezTo>
                  <a:pt x="168" y="2442"/>
                  <a:pt x="167" y="2444"/>
                  <a:pt x="166" y="2445"/>
                </a:cubicBezTo>
                <a:cubicBezTo>
                  <a:pt x="165" y="2446"/>
                  <a:pt x="165" y="2448"/>
                  <a:pt x="164" y="2449"/>
                </a:cubicBezTo>
                <a:cubicBezTo>
                  <a:pt x="164" y="2450"/>
                  <a:pt x="164" y="2451"/>
                  <a:pt x="164" y="2452"/>
                </a:cubicBezTo>
                <a:cubicBezTo>
                  <a:pt x="164" y="2453"/>
                  <a:pt x="165" y="2453"/>
                  <a:pt x="165" y="2454"/>
                </a:cubicBezTo>
                <a:cubicBezTo>
                  <a:pt x="165" y="2455"/>
                  <a:pt x="164" y="2455"/>
                  <a:pt x="164" y="2455"/>
                </a:cubicBezTo>
                <a:cubicBezTo>
                  <a:pt x="163" y="2455"/>
                  <a:pt x="163" y="2455"/>
                  <a:pt x="163" y="2455"/>
                </a:cubicBezTo>
                <a:cubicBezTo>
                  <a:pt x="162" y="2455"/>
                  <a:pt x="162" y="2458"/>
                  <a:pt x="162" y="2458"/>
                </a:cubicBezTo>
                <a:cubicBezTo>
                  <a:pt x="162" y="2459"/>
                  <a:pt x="160" y="2462"/>
                  <a:pt x="161" y="2462"/>
                </a:cubicBezTo>
                <a:cubicBezTo>
                  <a:pt x="162" y="2462"/>
                  <a:pt x="162" y="2462"/>
                  <a:pt x="162" y="2463"/>
                </a:cubicBezTo>
                <a:cubicBezTo>
                  <a:pt x="162" y="2463"/>
                  <a:pt x="162" y="2465"/>
                  <a:pt x="162" y="2465"/>
                </a:cubicBezTo>
                <a:cubicBezTo>
                  <a:pt x="161" y="2466"/>
                  <a:pt x="161" y="2467"/>
                  <a:pt x="160" y="2468"/>
                </a:cubicBezTo>
                <a:cubicBezTo>
                  <a:pt x="159" y="2471"/>
                  <a:pt x="156" y="2479"/>
                  <a:pt x="154" y="2485"/>
                </a:cubicBezTo>
                <a:cubicBezTo>
                  <a:pt x="153" y="2488"/>
                  <a:pt x="153" y="2490"/>
                  <a:pt x="152" y="2492"/>
                </a:cubicBezTo>
                <a:cubicBezTo>
                  <a:pt x="151" y="2493"/>
                  <a:pt x="151" y="2496"/>
                  <a:pt x="150" y="2498"/>
                </a:cubicBezTo>
                <a:cubicBezTo>
                  <a:pt x="150" y="2498"/>
                  <a:pt x="150" y="2498"/>
                  <a:pt x="149" y="2498"/>
                </a:cubicBezTo>
                <a:cubicBezTo>
                  <a:pt x="149" y="2499"/>
                  <a:pt x="149" y="2499"/>
                  <a:pt x="149" y="2500"/>
                </a:cubicBezTo>
                <a:cubicBezTo>
                  <a:pt x="149" y="2501"/>
                  <a:pt x="149" y="2502"/>
                  <a:pt x="149" y="2503"/>
                </a:cubicBezTo>
                <a:cubicBezTo>
                  <a:pt x="149" y="2503"/>
                  <a:pt x="149" y="2503"/>
                  <a:pt x="149" y="2503"/>
                </a:cubicBezTo>
                <a:cubicBezTo>
                  <a:pt x="149" y="2504"/>
                  <a:pt x="149" y="2504"/>
                  <a:pt x="148" y="2504"/>
                </a:cubicBezTo>
                <a:cubicBezTo>
                  <a:pt x="147" y="2507"/>
                  <a:pt x="145" y="2510"/>
                  <a:pt x="144" y="2513"/>
                </a:cubicBezTo>
                <a:cubicBezTo>
                  <a:pt x="144" y="2514"/>
                  <a:pt x="144" y="2514"/>
                  <a:pt x="145" y="2514"/>
                </a:cubicBezTo>
                <a:cubicBezTo>
                  <a:pt x="147" y="2515"/>
                  <a:pt x="144" y="2518"/>
                  <a:pt x="144" y="2519"/>
                </a:cubicBezTo>
                <a:cubicBezTo>
                  <a:pt x="143" y="2522"/>
                  <a:pt x="142" y="2525"/>
                  <a:pt x="141" y="2527"/>
                </a:cubicBezTo>
                <a:cubicBezTo>
                  <a:pt x="141" y="2529"/>
                  <a:pt x="140" y="2533"/>
                  <a:pt x="138" y="2537"/>
                </a:cubicBezTo>
                <a:cubicBezTo>
                  <a:pt x="137" y="2541"/>
                  <a:pt x="134" y="2550"/>
                  <a:pt x="132" y="2557"/>
                </a:cubicBezTo>
                <a:cubicBezTo>
                  <a:pt x="131" y="2560"/>
                  <a:pt x="130" y="2562"/>
                  <a:pt x="130" y="2565"/>
                </a:cubicBezTo>
                <a:cubicBezTo>
                  <a:pt x="130" y="2565"/>
                  <a:pt x="128" y="2571"/>
                  <a:pt x="127" y="2570"/>
                </a:cubicBezTo>
                <a:cubicBezTo>
                  <a:pt x="127" y="2570"/>
                  <a:pt x="127" y="2570"/>
                  <a:pt x="127" y="2570"/>
                </a:cubicBezTo>
                <a:cubicBezTo>
                  <a:pt x="127" y="2570"/>
                  <a:pt x="126" y="2570"/>
                  <a:pt x="126" y="2570"/>
                </a:cubicBezTo>
                <a:cubicBezTo>
                  <a:pt x="125" y="2571"/>
                  <a:pt x="125" y="2571"/>
                  <a:pt x="125" y="2572"/>
                </a:cubicBezTo>
                <a:cubicBezTo>
                  <a:pt x="125" y="2573"/>
                  <a:pt x="125" y="2574"/>
                  <a:pt x="125" y="2575"/>
                </a:cubicBezTo>
                <a:cubicBezTo>
                  <a:pt x="124" y="2576"/>
                  <a:pt x="124" y="2577"/>
                  <a:pt x="123" y="2578"/>
                </a:cubicBezTo>
                <a:cubicBezTo>
                  <a:pt x="123" y="2579"/>
                  <a:pt x="122" y="2580"/>
                  <a:pt x="122" y="2581"/>
                </a:cubicBezTo>
                <a:cubicBezTo>
                  <a:pt x="122" y="2582"/>
                  <a:pt x="123" y="2582"/>
                  <a:pt x="123" y="2583"/>
                </a:cubicBezTo>
                <a:cubicBezTo>
                  <a:pt x="124" y="2584"/>
                  <a:pt x="123" y="2584"/>
                  <a:pt x="123" y="2585"/>
                </a:cubicBezTo>
                <a:cubicBezTo>
                  <a:pt x="123" y="2587"/>
                  <a:pt x="122" y="2589"/>
                  <a:pt x="121" y="2592"/>
                </a:cubicBezTo>
                <a:cubicBezTo>
                  <a:pt x="121" y="2593"/>
                  <a:pt x="121" y="2595"/>
                  <a:pt x="120" y="2596"/>
                </a:cubicBezTo>
                <a:cubicBezTo>
                  <a:pt x="119" y="2597"/>
                  <a:pt x="119" y="2598"/>
                  <a:pt x="119" y="2599"/>
                </a:cubicBezTo>
                <a:cubicBezTo>
                  <a:pt x="118" y="2600"/>
                  <a:pt x="118" y="2602"/>
                  <a:pt x="118" y="2603"/>
                </a:cubicBezTo>
                <a:cubicBezTo>
                  <a:pt x="117" y="2604"/>
                  <a:pt x="116" y="2604"/>
                  <a:pt x="115" y="2605"/>
                </a:cubicBezTo>
                <a:cubicBezTo>
                  <a:pt x="115" y="2606"/>
                  <a:pt x="115" y="2608"/>
                  <a:pt x="115" y="2609"/>
                </a:cubicBezTo>
                <a:cubicBezTo>
                  <a:pt x="114" y="2612"/>
                  <a:pt x="115" y="2614"/>
                  <a:pt x="115" y="2616"/>
                </a:cubicBezTo>
                <a:cubicBezTo>
                  <a:pt x="115" y="2617"/>
                  <a:pt x="114" y="2618"/>
                  <a:pt x="114" y="2619"/>
                </a:cubicBezTo>
                <a:cubicBezTo>
                  <a:pt x="113" y="2621"/>
                  <a:pt x="112" y="2622"/>
                  <a:pt x="111" y="2624"/>
                </a:cubicBezTo>
                <a:cubicBezTo>
                  <a:pt x="111" y="2625"/>
                  <a:pt x="110" y="2626"/>
                  <a:pt x="109" y="2628"/>
                </a:cubicBezTo>
                <a:cubicBezTo>
                  <a:pt x="110" y="2628"/>
                  <a:pt x="110" y="2628"/>
                  <a:pt x="110" y="2628"/>
                </a:cubicBezTo>
                <a:cubicBezTo>
                  <a:pt x="111" y="2629"/>
                  <a:pt x="110" y="2630"/>
                  <a:pt x="110" y="2631"/>
                </a:cubicBezTo>
                <a:cubicBezTo>
                  <a:pt x="110" y="2631"/>
                  <a:pt x="109" y="2633"/>
                  <a:pt x="108" y="2632"/>
                </a:cubicBezTo>
                <a:cubicBezTo>
                  <a:pt x="108" y="2632"/>
                  <a:pt x="107" y="2632"/>
                  <a:pt x="107" y="2632"/>
                </a:cubicBezTo>
                <a:cubicBezTo>
                  <a:pt x="107" y="2633"/>
                  <a:pt x="106" y="2633"/>
                  <a:pt x="106" y="2633"/>
                </a:cubicBezTo>
                <a:cubicBezTo>
                  <a:pt x="106" y="2633"/>
                  <a:pt x="105" y="2633"/>
                  <a:pt x="105" y="2633"/>
                </a:cubicBezTo>
                <a:cubicBezTo>
                  <a:pt x="105" y="2633"/>
                  <a:pt x="105" y="2634"/>
                  <a:pt x="105" y="2634"/>
                </a:cubicBezTo>
                <a:cubicBezTo>
                  <a:pt x="105" y="2635"/>
                  <a:pt x="105" y="2635"/>
                  <a:pt x="104" y="2635"/>
                </a:cubicBezTo>
                <a:cubicBezTo>
                  <a:pt x="104" y="2635"/>
                  <a:pt x="103" y="2636"/>
                  <a:pt x="103" y="2637"/>
                </a:cubicBezTo>
                <a:cubicBezTo>
                  <a:pt x="104" y="2637"/>
                  <a:pt x="104" y="2638"/>
                  <a:pt x="105" y="2638"/>
                </a:cubicBezTo>
                <a:cubicBezTo>
                  <a:pt x="105" y="2638"/>
                  <a:pt x="105" y="2637"/>
                  <a:pt x="105" y="2637"/>
                </a:cubicBezTo>
                <a:cubicBezTo>
                  <a:pt x="106" y="2638"/>
                  <a:pt x="106" y="2638"/>
                  <a:pt x="106" y="2639"/>
                </a:cubicBezTo>
                <a:cubicBezTo>
                  <a:pt x="106" y="2639"/>
                  <a:pt x="105" y="2640"/>
                  <a:pt x="105" y="2640"/>
                </a:cubicBezTo>
                <a:cubicBezTo>
                  <a:pt x="105" y="2640"/>
                  <a:pt x="105" y="2639"/>
                  <a:pt x="104" y="2640"/>
                </a:cubicBezTo>
                <a:cubicBezTo>
                  <a:pt x="104" y="2641"/>
                  <a:pt x="103" y="2642"/>
                  <a:pt x="102" y="2644"/>
                </a:cubicBezTo>
                <a:cubicBezTo>
                  <a:pt x="102" y="2645"/>
                  <a:pt x="102" y="2646"/>
                  <a:pt x="101" y="2648"/>
                </a:cubicBezTo>
                <a:cubicBezTo>
                  <a:pt x="101" y="2648"/>
                  <a:pt x="100" y="2649"/>
                  <a:pt x="100" y="2650"/>
                </a:cubicBezTo>
                <a:cubicBezTo>
                  <a:pt x="100" y="2651"/>
                  <a:pt x="100" y="2652"/>
                  <a:pt x="99" y="2653"/>
                </a:cubicBezTo>
                <a:cubicBezTo>
                  <a:pt x="99" y="2654"/>
                  <a:pt x="99" y="2655"/>
                  <a:pt x="99" y="2656"/>
                </a:cubicBezTo>
                <a:cubicBezTo>
                  <a:pt x="99" y="2656"/>
                  <a:pt x="99" y="2656"/>
                  <a:pt x="99" y="2657"/>
                </a:cubicBezTo>
                <a:cubicBezTo>
                  <a:pt x="99" y="2657"/>
                  <a:pt x="99" y="2658"/>
                  <a:pt x="99" y="2659"/>
                </a:cubicBezTo>
                <a:cubicBezTo>
                  <a:pt x="99" y="2660"/>
                  <a:pt x="99" y="2661"/>
                  <a:pt x="99" y="2663"/>
                </a:cubicBezTo>
                <a:cubicBezTo>
                  <a:pt x="98" y="2663"/>
                  <a:pt x="98" y="2663"/>
                  <a:pt x="98" y="2664"/>
                </a:cubicBezTo>
                <a:cubicBezTo>
                  <a:pt x="98" y="2664"/>
                  <a:pt x="98" y="2664"/>
                  <a:pt x="97" y="2664"/>
                </a:cubicBezTo>
                <a:cubicBezTo>
                  <a:pt x="97" y="2664"/>
                  <a:pt x="97" y="2664"/>
                  <a:pt x="97" y="2663"/>
                </a:cubicBezTo>
                <a:cubicBezTo>
                  <a:pt x="96" y="2663"/>
                  <a:pt x="95" y="2663"/>
                  <a:pt x="95" y="2664"/>
                </a:cubicBezTo>
                <a:cubicBezTo>
                  <a:pt x="95" y="2664"/>
                  <a:pt x="95" y="2665"/>
                  <a:pt x="95" y="2665"/>
                </a:cubicBezTo>
                <a:cubicBezTo>
                  <a:pt x="93" y="2665"/>
                  <a:pt x="94" y="2667"/>
                  <a:pt x="94" y="2668"/>
                </a:cubicBezTo>
                <a:cubicBezTo>
                  <a:pt x="94" y="2670"/>
                  <a:pt x="93" y="2671"/>
                  <a:pt x="93" y="2673"/>
                </a:cubicBezTo>
                <a:cubicBezTo>
                  <a:pt x="93" y="2673"/>
                  <a:pt x="94" y="2673"/>
                  <a:pt x="94" y="2674"/>
                </a:cubicBezTo>
                <a:cubicBezTo>
                  <a:pt x="94" y="2674"/>
                  <a:pt x="94" y="2675"/>
                  <a:pt x="94" y="2675"/>
                </a:cubicBezTo>
                <a:cubicBezTo>
                  <a:pt x="94" y="2675"/>
                  <a:pt x="94" y="2676"/>
                  <a:pt x="94" y="2676"/>
                </a:cubicBezTo>
                <a:cubicBezTo>
                  <a:pt x="92" y="2677"/>
                  <a:pt x="92" y="2680"/>
                  <a:pt x="92" y="2681"/>
                </a:cubicBezTo>
                <a:cubicBezTo>
                  <a:pt x="91" y="2684"/>
                  <a:pt x="91" y="2686"/>
                  <a:pt x="91" y="2686"/>
                </a:cubicBezTo>
                <a:cubicBezTo>
                  <a:pt x="90" y="2686"/>
                  <a:pt x="89" y="2689"/>
                  <a:pt x="88" y="2693"/>
                </a:cubicBezTo>
                <a:cubicBezTo>
                  <a:pt x="87" y="2694"/>
                  <a:pt x="87" y="2695"/>
                  <a:pt x="87" y="2697"/>
                </a:cubicBezTo>
                <a:cubicBezTo>
                  <a:pt x="86" y="2698"/>
                  <a:pt x="85" y="2698"/>
                  <a:pt x="86" y="2699"/>
                </a:cubicBezTo>
                <a:cubicBezTo>
                  <a:pt x="86" y="2700"/>
                  <a:pt x="86" y="2700"/>
                  <a:pt x="87" y="2701"/>
                </a:cubicBezTo>
                <a:cubicBezTo>
                  <a:pt x="87" y="2701"/>
                  <a:pt x="87" y="2702"/>
                  <a:pt x="87" y="2702"/>
                </a:cubicBezTo>
                <a:cubicBezTo>
                  <a:pt x="87" y="2703"/>
                  <a:pt x="87" y="2703"/>
                  <a:pt x="86" y="2704"/>
                </a:cubicBezTo>
                <a:cubicBezTo>
                  <a:pt x="86" y="2705"/>
                  <a:pt x="85" y="2706"/>
                  <a:pt x="84" y="2706"/>
                </a:cubicBezTo>
                <a:cubicBezTo>
                  <a:pt x="83" y="2707"/>
                  <a:pt x="81" y="2713"/>
                  <a:pt x="82" y="2715"/>
                </a:cubicBezTo>
                <a:cubicBezTo>
                  <a:pt x="83" y="2717"/>
                  <a:pt x="83" y="2719"/>
                  <a:pt x="81" y="2720"/>
                </a:cubicBezTo>
                <a:cubicBezTo>
                  <a:pt x="81" y="2720"/>
                  <a:pt x="81" y="2720"/>
                  <a:pt x="81" y="2720"/>
                </a:cubicBezTo>
                <a:cubicBezTo>
                  <a:pt x="81" y="2720"/>
                  <a:pt x="80" y="2720"/>
                  <a:pt x="80" y="2721"/>
                </a:cubicBezTo>
                <a:cubicBezTo>
                  <a:pt x="79" y="2722"/>
                  <a:pt x="79" y="2724"/>
                  <a:pt x="78" y="2725"/>
                </a:cubicBezTo>
                <a:cubicBezTo>
                  <a:pt x="77" y="2727"/>
                  <a:pt x="76" y="2730"/>
                  <a:pt x="76" y="2731"/>
                </a:cubicBezTo>
                <a:cubicBezTo>
                  <a:pt x="75" y="2732"/>
                  <a:pt x="74" y="2735"/>
                  <a:pt x="73" y="2739"/>
                </a:cubicBezTo>
                <a:cubicBezTo>
                  <a:pt x="72" y="2741"/>
                  <a:pt x="70" y="2745"/>
                  <a:pt x="72" y="2747"/>
                </a:cubicBezTo>
                <a:cubicBezTo>
                  <a:pt x="73" y="2747"/>
                  <a:pt x="73" y="2747"/>
                  <a:pt x="73" y="2748"/>
                </a:cubicBezTo>
                <a:cubicBezTo>
                  <a:pt x="73" y="2748"/>
                  <a:pt x="73" y="2748"/>
                  <a:pt x="73" y="2749"/>
                </a:cubicBezTo>
                <a:cubicBezTo>
                  <a:pt x="72" y="2750"/>
                  <a:pt x="73" y="2750"/>
                  <a:pt x="72" y="2751"/>
                </a:cubicBezTo>
                <a:cubicBezTo>
                  <a:pt x="72" y="2753"/>
                  <a:pt x="71" y="2754"/>
                  <a:pt x="71" y="2755"/>
                </a:cubicBezTo>
                <a:cubicBezTo>
                  <a:pt x="70" y="2757"/>
                  <a:pt x="69" y="2758"/>
                  <a:pt x="69" y="2760"/>
                </a:cubicBezTo>
                <a:cubicBezTo>
                  <a:pt x="69" y="2761"/>
                  <a:pt x="68" y="2763"/>
                  <a:pt x="67" y="2764"/>
                </a:cubicBezTo>
                <a:cubicBezTo>
                  <a:pt x="67" y="2764"/>
                  <a:pt x="67" y="2764"/>
                  <a:pt x="67" y="2764"/>
                </a:cubicBezTo>
                <a:cubicBezTo>
                  <a:pt x="66" y="2765"/>
                  <a:pt x="66" y="2766"/>
                  <a:pt x="65" y="2767"/>
                </a:cubicBezTo>
                <a:cubicBezTo>
                  <a:pt x="65" y="2769"/>
                  <a:pt x="64" y="2772"/>
                  <a:pt x="63" y="2773"/>
                </a:cubicBezTo>
                <a:cubicBezTo>
                  <a:pt x="63" y="2774"/>
                  <a:pt x="62" y="2775"/>
                  <a:pt x="63" y="2777"/>
                </a:cubicBezTo>
                <a:cubicBezTo>
                  <a:pt x="63" y="2778"/>
                  <a:pt x="63" y="2778"/>
                  <a:pt x="63" y="2780"/>
                </a:cubicBezTo>
                <a:cubicBezTo>
                  <a:pt x="63" y="2781"/>
                  <a:pt x="62" y="2783"/>
                  <a:pt x="62" y="2784"/>
                </a:cubicBezTo>
                <a:cubicBezTo>
                  <a:pt x="61" y="2786"/>
                  <a:pt x="61" y="2788"/>
                  <a:pt x="60" y="2790"/>
                </a:cubicBezTo>
                <a:cubicBezTo>
                  <a:pt x="60" y="2789"/>
                  <a:pt x="60" y="2789"/>
                  <a:pt x="59" y="2789"/>
                </a:cubicBezTo>
                <a:cubicBezTo>
                  <a:pt x="59" y="2789"/>
                  <a:pt x="59" y="2789"/>
                  <a:pt x="59" y="2790"/>
                </a:cubicBezTo>
                <a:cubicBezTo>
                  <a:pt x="59" y="2790"/>
                  <a:pt x="59" y="2790"/>
                  <a:pt x="59" y="2790"/>
                </a:cubicBezTo>
                <a:cubicBezTo>
                  <a:pt x="59" y="2791"/>
                  <a:pt x="60" y="2794"/>
                  <a:pt x="59" y="2795"/>
                </a:cubicBezTo>
                <a:cubicBezTo>
                  <a:pt x="58" y="2795"/>
                  <a:pt x="58" y="2795"/>
                  <a:pt x="57" y="2794"/>
                </a:cubicBezTo>
                <a:cubicBezTo>
                  <a:pt x="57" y="2794"/>
                  <a:pt x="57" y="2794"/>
                  <a:pt x="57" y="2794"/>
                </a:cubicBezTo>
                <a:cubicBezTo>
                  <a:pt x="56" y="2794"/>
                  <a:pt x="56" y="2794"/>
                  <a:pt x="55" y="2794"/>
                </a:cubicBezTo>
                <a:cubicBezTo>
                  <a:pt x="55" y="2795"/>
                  <a:pt x="55" y="2795"/>
                  <a:pt x="55" y="2796"/>
                </a:cubicBezTo>
                <a:cubicBezTo>
                  <a:pt x="55" y="2797"/>
                  <a:pt x="56" y="2797"/>
                  <a:pt x="56" y="2798"/>
                </a:cubicBezTo>
                <a:cubicBezTo>
                  <a:pt x="56" y="2798"/>
                  <a:pt x="55" y="2798"/>
                  <a:pt x="55" y="2798"/>
                </a:cubicBezTo>
                <a:cubicBezTo>
                  <a:pt x="55" y="2798"/>
                  <a:pt x="55" y="2798"/>
                  <a:pt x="55" y="2798"/>
                </a:cubicBezTo>
                <a:cubicBezTo>
                  <a:pt x="53" y="2797"/>
                  <a:pt x="53" y="2801"/>
                  <a:pt x="53" y="2802"/>
                </a:cubicBezTo>
                <a:cubicBezTo>
                  <a:pt x="52" y="2805"/>
                  <a:pt x="51" y="2807"/>
                  <a:pt x="51" y="2810"/>
                </a:cubicBezTo>
                <a:cubicBezTo>
                  <a:pt x="50" y="2812"/>
                  <a:pt x="49" y="2814"/>
                  <a:pt x="49" y="2816"/>
                </a:cubicBezTo>
                <a:cubicBezTo>
                  <a:pt x="48" y="2818"/>
                  <a:pt x="47" y="2820"/>
                  <a:pt x="47" y="2822"/>
                </a:cubicBezTo>
                <a:cubicBezTo>
                  <a:pt x="47" y="2822"/>
                  <a:pt x="48" y="2822"/>
                  <a:pt x="48" y="2823"/>
                </a:cubicBezTo>
                <a:cubicBezTo>
                  <a:pt x="48" y="2823"/>
                  <a:pt x="48" y="2824"/>
                  <a:pt x="48" y="2824"/>
                </a:cubicBezTo>
                <a:cubicBezTo>
                  <a:pt x="49" y="2825"/>
                  <a:pt x="48" y="2826"/>
                  <a:pt x="49" y="2827"/>
                </a:cubicBezTo>
                <a:cubicBezTo>
                  <a:pt x="49" y="2828"/>
                  <a:pt x="50" y="2828"/>
                  <a:pt x="49" y="2829"/>
                </a:cubicBezTo>
                <a:cubicBezTo>
                  <a:pt x="49" y="2830"/>
                  <a:pt x="49" y="2831"/>
                  <a:pt x="49" y="2832"/>
                </a:cubicBezTo>
                <a:cubicBezTo>
                  <a:pt x="48" y="2833"/>
                  <a:pt x="48" y="2836"/>
                  <a:pt x="47" y="2836"/>
                </a:cubicBezTo>
                <a:cubicBezTo>
                  <a:pt x="47" y="2836"/>
                  <a:pt x="46" y="2836"/>
                  <a:pt x="46" y="2836"/>
                </a:cubicBezTo>
                <a:cubicBezTo>
                  <a:pt x="45" y="2836"/>
                  <a:pt x="45" y="2837"/>
                  <a:pt x="45" y="2837"/>
                </a:cubicBezTo>
                <a:cubicBezTo>
                  <a:pt x="45" y="2838"/>
                  <a:pt x="45" y="2838"/>
                  <a:pt x="46" y="2838"/>
                </a:cubicBezTo>
                <a:cubicBezTo>
                  <a:pt x="46" y="2838"/>
                  <a:pt x="46" y="2838"/>
                  <a:pt x="46" y="2839"/>
                </a:cubicBezTo>
                <a:cubicBezTo>
                  <a:pt x="47" y="2841"/>
                  <a:pt x="46" y="2843"/>
                  <a:pt x="45" y="2844"/>
                </a:cubicBezTo>
                <a:cubicBezTo>
                  <a:pt x="45" y="2844"/>
                  <a:pt x="45" y="2844"/>
                  <a:pt x="45" y="2844"/>
                </a:cubicBezTo>
                <a:cubicBezTo>
                  <a:pt x="45" y="2845"/>
                  <a:pt x="44" y="2844"/>
                  <a:pt x="44" y="2844"/>
                </a:cubicBezTo>
                <a:cubicBezTo>
                  <a:pt x="43" y="2844"/>
                  <a:pt x="39" y="2845"/>
                  <a:pt x="41" y="2847"/>
                </a:cubicBezTo>
                <a:cubicBezTo>
                  <a:pt x="41" y="2847"/>
                  <a:pt x="42" y="2847"/>
                  <a:pt x="42" y="2847"/>
                </a:cubicBezTo>
                <a:cubicBezTo>
                  <a:pt x="43" y="2847"/>
                  <a:pt x="43" y="2848"/>
                  <a:pt x="43" y="2848"/>
                </a:cubicBezTo>
                <a:cubicBezTo>
                  <a:pt x="43" y="2848"/>
                  <a:pt x="44" y="2848"/>
                  <a:pt x="44" y="2848"/>
                </a:cubicBezTo>
                <a:cubicBezTo>
                  <a:pt x="44" y="2849"/>
                  <a:pt x="44" y="2850"/>
                  <a:pt x="43" y="2851"/>
                </a:cubicBezTo>
                <a:cubicBezTo>
                  <a:pt x="43" y="2851"/>
                  <a:pt x="42" y="2851"/>
                  <a:pt x="41" y="2851"/>
                </a:cubicBezTo>
                <a:cubicBezTo>
                  <a:pt x="41" y="2852"/>
                  <a:pt x="41" y="2853"/>
                  <a:pt x="41" y="2853"/>
                </a:cubicBezTo>
                <a:cubicBezTo>
                  <a:pt x="41" y="2855"/>
                  <a:pt x="40" y="2856"/>
                  <a:pt x="40" y="2857"/>
                </a:cubicBezTo>
                <a:cubicBezTo>
                  <a:pt x="40" y="2858"/>
                  <a:pt x="40" y="2859"/>
                  <a:pt x="40" y="2860"/>
                </a:cubicBezTo>
                <a:cubicBezTo>
                  <a:pt x="40" y="2862"/>
                  <a:pt x="39" y="2866"/>
                  <a:pt x="38" y="2868"/>
                </a:cubicBezTo>
                <a:cubicBezTo>
                  <a:pt x="38" y="2869"/>
                  <a:pt x="37" y="2878"/>
                  <a:pt x="35" y="2877"/>
                </a:cubicBezTo>
                <a:cubicBezTo>
                  <a:pt x="35" y="2877"/>
                  <a:pt x="35" y="2877"/>
                  <a:pt x="34" y="2877"/>
                </a:cubicBezTo>
                <a:cubicBezTo>
                  <a:pt x="34" y="2877"/>
                  <a:pt x="34" y="2878"/>
                  <a:pt x="34" y="2878"/>
                </a:cubicBezTo>
                <a:cubicBezTo>
                  <a:pt x="34" y="2878"/>
                  <a:pt x="34" y="2882"/>
                  <a:pt x="33" y="2880"/>
                </a:cubicBezTo>
                <a:cubicBezTo>
                  <a:pt x="32" y="2880"/>
                  <a:pt x="32" y="2879"/>
                  <a:pt x="32" y="2879"/>
                </a:cubicBezTo>
                <a:cubicBezTo>
                  <a:pt x="31" y="2879"/>
                  <a:pt x="31" y="2880"/>
                  <a:pt x="31" y="2880"/>
                </a:cubicBezTo>
                <a:cubicBezTo>
                  <a:pt x="31" y="2881"/>
                  <a:pt x="32" y="2881"/>
                  <a:pt x="32" y="2882"/>
                </a:cubicBezTo>
                <a:cubicBezTo>
                  <a:pt x="32" y="2882"/>
                  <a:pt x="31" y="2883"/>
                  <a:pt x="31" y="2883"/>
                </a:cubicBezTo>
                <a:cubicBezTo>
                  <a:pt x="31" y="2884"/>
                  <a:pt x="31" y="2885"/>
                  <a:pt x="30" y="2885"/>
                </a:cubicBezTo>
                <a:cubicBezTo>
                  <a:pt x="30" y="2887"/>
                  <a:pt x="30" y="2889"/>
                  <a:pt x="29" y="2891"/>
                </a:cubicBezTo>
                <a:cubicBezTo>
                  <a:pt x="29" y="2892"/>
                  <a:pt x="29" y="2893"/>
                  <a:pt x="29" y="2894"/>
                </a:cubicBezTo>
                <a:cubicBezTo>
                  <a:pt x="28" y="2895"/>
                  <a:pt x="28" y="2895"/>
                  <a:pt x="28" y="2896"/>
                </a:cubicBezTo>
                <a:cubicBezTo>
                  <a:pt x="28" y="2896"/>
                  <a:pt x="28" y="2897"/>
                  <a:pt x="28" y="2898"/>
                </a:cubicBezTo>
                <a:cubicBezTo>
                  <a:pt x="28" y="2898"/>
                  <a:pt x="28" y="2899"/>
                  <a:pt x="29" y="2899"/>
                </a:cubicBezTo>
                <a:cubicBezTo>
                  <a:pt x="29" y="2900"/>
                  <a:pt x="29" y="2901"/>
                  <a:pt x="29" y="2901"/>
                </a:cubicBezTo>
                <a:cubicBezTo>
                  <a:pt x="29" y="2902"/>
                  <a:pt x="30" y="2902"/>
                  <a:pt x="30" y="2902"/>
                </a:cubicBezTo>
                <a:cubicBezTo>
                  <a:pt x="30" y="2902"/>
                  <a:pt x="30" y="2902"/>
                  <a:pt x="30" y="2903"/>
                </a:cubicBezTo>
                <a:cubicBezTo>
                  <a:pt x="30" y="2903"/>
                  <a:pt x="29" y="2904"/>
                  <a:pt x="29" y="2905"/>
                </a:cubicBezTo>
                <a:cubicBezTo>
                  <a:pt x="29" y="2905"/>
                  <a:pt x="29" y="2906"/>
                  <a:pt x="28" y="2906"/>
                </a:cubicBezTo>
                <a:cubicBezTo>
                  <a:pt x="27" y="2906"/>
                  <a:pt x="27" y="2906"/>
                  <a:pt x="27" y="2906"/>
                </a:cubicBezTo>
                <a:cubicBezTo>
                  <a:pt x="26" y="2907"/>
                  <a:pt x="26" y="2909"/>
                  <a:pt x="26" y="2909"/>
                </a:cubicBezTo>
                <a:cubicBezTo>
                  <a:pt x="25" y="2911"/>
                  <a:pt x="23" y="2911"/>
                  <a:pt x="23" y="2912"/>
                </a:cubicBezTo>
                <a:cubicBezTo>
                  <a:pt x="21" y="2913"/>
                  <a:pt x="21" y="2915"/>
                  <a:pt x="21" y="2917"/>
                </a:cubicBezTo>
                <a:cubicBezTo>
                  <a:pt x="21" y="2917"/>
                  <a:pt x="21" y="2918"/>
                  <a:pt x="21" y="2919"/>
                </a:cubicBezTo>
                <a:cubicBezTo>
                  <a:pt x="21" y="2920"/>
                  <a:pt x="21" y="2920"/>
                  <a:pt x="21" y="2921"/>
                </a:cubicBezTo>
                <a:cubicBezTo>
                  <a:pt x="22" y="2923"/>
                  <a:pt x="20" y="2925"/>
                  <a:pt x="20" y="2926"/>
                </a:cubicBezTo>
                <a:cubicBezTo>
                  <a:pt x="19" y="2928"/>
                  <a:pt x="18" y="2930"/>
                  <a:pt x="18" y="2932"/>
                </a:cubicBezTo>
                <a:cubicBezTo>
                  <a:pt x="18" y="2934"/>
                  <a:pt x="17" y="2935"/>
                  <a:pt x="17" y="2936"/>
                </a:cubicBezTo>
                <a:cubicBezTo>
                  <a:pt x="13" y="2950"/>
                  <a:pt x="4" y="2961"/>
                  <a:pt x="1" y="2975"/>
                </a:cubicBezTo>
                <a:cubicBezTo>
                  <a:pt x="0" y="2979"/>
                  <a:pt x="0" y="2983"/>
                  <a:pt x="1" y="2987"/>
                </a:cubicBezTo>
                <a:cubicBezTo>
                  <a:pt x="1" y="2988"/>
                  <a:pt x="1" y="2991"/>
                  <a:pt x="1" y="2992"/>
                </a:cubicBezTo>
                <a:cubicBezTo>
                  <a:pt x="2" y="2993"/>
                  <a:pt x="4" y="2994"/>
                  <a:pt x="5" y="2993"/>
                </a:cubicBezTo>
                <a:cubicBezTo>
                  <a:pt x="5" y="2993"/>
                  <a:pt x="6" y="2993"/>
                  <a:pt x="6" y="2993"/>
                </a:cubicBezTo>
                <a:cubicBezTo>
                  <a:pt x="7" y="2993"/>
                  <a:pt x="7" y="2994"/>
                  <a:pt x="7" y="2994"/>
                </a:cubicBezTo>
                <a:cubicBezTo>
                  <a:pt x="8" y="2995"/>
                  <a:pt x="9" y="2994"/>
                  <a:pt x="9" y="2994"/>
                </a:cubicBezTo>
                <a:cubicBezTo>
                  <a:pt x="10" y="2994"/>
                  <a:pt x="10" y="2996"/>
                  <a:pt x="11" y="2996"/>
                </a:cubicBezTo>
                <a:cubicBezTo>
                  <a:pt x="12" y="2997"/>
                  <a:pt x="13" y="2996"/>
                  <a:pt x="14" y="2997"/>
                </a:cubicBezTo>
                <a:cubicBezTo>
                  <a:pt x="14" y="2997"/>
                  <a:pt x="15" y="2997"/>
                  <a:pt x="15" y="2997"/>
                </a:cubicBezTo>
                <a:cubicBezTo>
                  <a:pt x="16" y="2998"/>
                  <a:pt x="17" y="2998"/>
                  <a:pt x="18" y="2998"/>
                </a:cubicBezTo>
                <a:cubicBezTo>
                  <a:pt x="19" y="2998"/>
                  <a:pt x="20" y="2999"/>
                  <a:pt x="22" y="2999"/>
                </a:cubicBezTo>
                <a:cubicBezTo>
                  <a:pt x="24" y="2999"/>
                  <a:pt x="27" y="2999"/>
                  <a:pt x="30" y="2999"/>
                </a:cubicBezTo>
                <a:cubicBezTo>
                  <a:pt x="31" y="2999"/>
                  <a:pt x="32" y="2999"/>
                  <a:pt x="33" y="2999"/>
                </a:cubicBezTo>
                <a:cubicBezTo>
                  <a:pt x="34" y="2999"/>
                  <a:pt x="34" y="2999"/>
                  <a:pt x="35" y="2998"/>
                </a:cubicBezTo>
                <a:cubicBezTo>
                  <a:pt x="35" y="2998"/>
                  <a:pt x="35" y="2998"/>
                  <a:pt x="36" y="2998"/>
                </a:cubicBezTo>
                <a:cubicBezTo>
                  <a:pt x="38" y="2998"/>
                  <a:pt x="39" y="2999"/>
                  <a:pt x="41" y="2999"/>
                </a:cubicBezTo>
                <a:cubicBezTo>
                  <a:pt x="43" y="3000"/>
                  <a:pt x="45" y="2999"/>
                  <a:pt x="46" y="2999"/>
                </a:cubicBezTo>
                <a:cubicBezTo>
                  <a:pt x="47" y="2999"/>
                  <a:pt x="47" y="2999"/>
                  <a:pt x="47" y="2999"/>
                </a:cubicBezTo>
                <a:cubicBezTo>
                  <a:pt x="48" y="2998"/>
                  <a:pt x="48" y="2998"/>
                  <a:pt x="48" y="2998"/>
                </a:cubicBezTo>
                <a:cubicBezTo>
                  <a:pt x="53" y="2991"/>
                  <a:pt x="54" y="2982"/>
                  <a:pt x="58" y="2974"/>
                </a:cubicBezTo>
                <a:cubicBezTo>
                  <a:pt x="60" y="2970"/>
                  <a:pt x="61" y="2965"/>
                  <a:pt x="63" y="2960"/>
                </a:cubicBezTo>
                <a:cubicBezTo>
                  <a:pt x="64" y="2958"/>
                  <a:pt x="64" y="2955"/>
                  <a:pt x="65" y="2953"/>
                </a:cubicBezTo>
                <a:cubicBezTo>
                  <a:pt x="66" y="2950"/>
                  <a:pt x="66" y="2948"/>
                  <a:pt x="67" y="2946"/>
                </a:cubicBezTo>
                <a:cubicBezTo>
                  <a:pt x="67" y="2944"/>
                  <a:pt x="68" y="2942"/>
                  <a:pt x="68" y="2940"/>
                </a:cubicBezTo>
                <a:cubicBezTo>
                  <a:pt x="69" y="2937"/>
                  <a:pt x="70" y="2935"/>
                  <a:pt x="70" y="2932"/>
                </a:cubicBezTo>
                <a:cubicBezTo>
                  <a:pt x="70" y="2930"/>
                  <a:pt x="69" y="2929"/>
                  <a:pt x="70" y="2928"/>
                </a:cubicBezTo>
                <a:cubicBezTo>
                  <a:pt x="70" y="2926"/>
                  <a:pt x="71" y="2925"/>
                  <a:pt x="71" y="2924"/>
                </a:cubicBezTo>
                <a:cubicBezTo>
                  <a:pt x="83" y="2889"/>
                  <a:pt x="110" y="2803"/>
                  <a:pt x="114" y="2786"/>
                </a:cubicBezTo>
                <a:cubicBezTo>
                  <a:pt x="115" y="2783"/>
                  <a:pt x="117" y="2775"/>
                  <a:pt x="119" y="2769"/>
                </a:cubicBezTo>
                <a:cubicBezTo>
                  <a:pt x="121" y="2763"/>
                  <a:pt x="123" y="2754"/>
                  <a:pt x="125" y="2749"/>
                </a:cubicBezTo>
                <a:cubicBezTo>
                  <a:pt x="132" y="2721"/>
                  <a:pt x="135" y="2710"/>
                  <a:pt x="144" y="2681"/>
                </a:cubicBezTo>
                <a:cubicBezTo>
                  <a:pt x="145" y="2679"/>
                  <a:pt x="145" y="2676"/>
                  <a:pt x="146" y="2674"/>
                </a:cubicBezTo>
                <a:cubicBezTo>
                  <a:pt x="146" y="2673"/>
                  <a:pt x="147" y="2672"/>
                  <a:pt x="147" y="2671"/>
                </a:cubicBezTo>
                <a:cubicBezTo>
                  <a:pt x="147" y="2670"/>
                  <a:pt x="147" y="2669"/>
                  <a:pt x="147" y="2669"/>
                </a:cubicBezTo>
                <a:cubicBezTo>
                  <a:pt x="147" y="2667"/>
                  <a:pt x="147" y="2667"/>
                  <a:pt x="148" y="2666"/>
                </a:cubicBezTo>
                <a:cubicBezTo>
                  <a:pt x="149" y="2666"/>
                  <a:pt x="150" y="2665"/>
                  <a:pt x="149" y="2664"/>
                </a:cubicBezTo>
                <a:cubicBezTo>
                  <a:pt x="149" y="2663"/>
                  <a:pt x="149" y="2663"/>
                  <a:pt x="149" y="2663"/>
                </a:cubicBezTo>
                <a:cubicBezTo>
                  <a:pt x="148" y="2662"/>
                  <a:pt x="150" y="2660"/>
                  <a:pt x="150" y="2658"/>
                </a:cubicBezTo>
                <a:cubicBezTo>
                  <a:pt x="150" y="2657"/>
                  <a:pt x="151" y="2655"/>
                  <a:pt x="151" y="2653"/>
                </a:cubicBezTo>
                <a:cubicBezTo>
                  <a:pt x="152" y="2650"/>
                  <a:pt x="154" y="2647"/>
                  <a:pt x="155" y="2644"/>
                </a:cubicBezTo>
                <a:cubicBezTo>
                  <a:pt x="158" y="2634"/>
                  <a:pt x="160" y="2625"/>
                  <a:pt x="160" y="2624"/>
                </a:cubicBezTo>
                <a:cubicBezTo>
                  <a:pt x="160" y="2623"/>
                  <a:pt x="160" y="2623"/>
                  <a:pt x="160" y="2622"/>
                </a:cubicBezTo>
                <a:cubicBezTo>
                  <a:pt x="161" y="2622"/>
                  <a:pt x="162" y="2621"/>
                  <a:pt x="162" y="2620"/>
                </a:cubicBezTo>
                <a:cubicBezTo>
                  <a:pt x="162" y="2618"/>
                  <a:pt x="163" y="2617"/>
                  <a:pt x="163" y="2616"/>
                </a:cubicBezTo>
                <a:cubicBezTo>
                  <a:pt x="164" y="2614"/>
                  <a:pt x="164" y="2612"/>
                  <a:pt x="165" y="2610"/>
                </a:cubicBezTo>
                <a:cubicBezTo>
                  <a:pt x="166" y="2606"/>
                  <a:pt x="167" y="2603"/>
                  <a:pt x="168" y="2599"/>
                </a:cubicBezTo>
                <a:cubicBezTo>
                  <a:pt x="174" y="2582"/>
                  <a:pt x="179" y="2566"/>
                  <a:pt x="184" y="2549"/>
                </a:cubicBezTo>
                <a:cubicBezTo>
                  <a:pt x="186" y="2542"/>
                  <a:pt x="189" y="2535"/>
                  <a:pt x="191" y="2527"/>
                </a:cubicBezTo>
                <a:cubicBezTo>
                  <a:pt x="193" y="2522"/>
                  <a:pt x="194" y="2517"/>
                  <a:pt x="196" y="2511"/>
                </a:cubicBezTo>
                <a:cubicBezTo>
                  <a:pt x="198" y="2506"/>
                  <a:pt x="199" y="2501"/>
                  <a:pt x="201" y="2496"/>
                </a:cubicBezTo>
                <a:cubicBezTo>
                  <a:pt x="202" y="2493"/>
                  <a:pt x="202" y="2491"/>
                  <a:pt x="203" y="2489"/>
                </a:cubicBezTo>
                <a:cubicBezTo>
                  <a:pt x="203" y="2488"/>
                  <a:pt x="204" y="2487"/>
                  <a:pt x="204" y="2486"/>
                </a:cubicBezTo>
                <a:cubicBezTo>
                  <a:pt x="204" y="2485"/>
                  <a:pt x="205" y="2483"/>
                  <a:pt x="205" y="2483"/>
                </a:cubicBezTo>
                <a:cubicBezTo>
                  <a:pt x="205" y="2482"/>
                  <a:pt x="205" y="2482"/>
                  <a:pt x="205" y="2481"/>
                </a:cubicBezTo>
                <a:cubicBezTo>
                  <a:pt x="205" y="2481"/>
                  <a:pt x="205" y="2481"/>
                  <a:pt x="205" y="2481"/>
                </a:cubicBezTo>
                <a:cubicBezTo>
                  <a:pt x="206" y="2480"/>
                  <a:pt x="204" y="2479"/>
                  <a:pt x="205" y="2478"/>
                </a:cubicBezTo>
                <a:cubicBezTo>
                  <a:pt x="205" y="2477"/>
                  <a:pt x="206" y="2477"/>
                  <a:pt x="207" y="2476"/>
                </a:cubicBezTo>
                <a:cubicBezTo>
                  <a:pt x="208" y="2475"/>
                  <a:pt x="208" y="2473"/>
                  <a:pt x="208" y="2471"/>
                </a:cubicBezTo>
                <a:cubicBezTo>
                  <a:pt x="209" y="2469"/>
                  <a:pt x="209" y="2467"/>
                  <a:pt x="210" y="2465"/>
                </a:cubicBezTo>
                <a:cubicBezTo>
                  <a:pt x="210" y="2464"/>
                  <a:pt x="213" y="2457"/>
                  <a:pt x="212" y="2457"/>
                </a:cubicBezTo>
                <a:cubicBezTo>
                  <a:pt x="211" y="2456"/>
                  <a:pt x="211" y="2456"/>
                  <a:pt x="210" y="2456"/>
                </a:cubicBezTo>
                <a:cubicBezTo>
                  <a:pt x="210" y="2456"/>
                  <a:pt x="211" y="2453"/>
                  <a:pt x="211" y="2452"/>
                </a:cubicBezTo>
                <a:cubicBezTo>
                  <a:pt x="211" y="2452"/>
                  <a:pt x="212" y="2448"/>
                  <a:pt x="213" y="2449"/>
                </a:cubicBezTo>
                <a:cubicBezTo>
                  <a:pt x="214" y="2449"/>
                  <a:pt x="214" y="2448"/>
                  <a:pt x="214" y="2447"/>
                </a:cubicBezTo>
                <a:cubicBezTo>
                  <a:pt x="214" y="2446"/>
                  <a:pt x="213" y="2447"/>
                  <a:pt x="213" y="2445"/>
                </a:cubicBezTo>
                <a:cubicBezTo>
                  <a:pt x="213" y="2445"/>
                  <a:pt x="213" y="2444"/>
                  <a:pt x="214" y="2443"/>
                </a:cubicBezTo>
                <a:cubicBezTo>
                  <a:pt x="214" y="2443"/>
                  <a:pt x="215" y="2443"/>
                  <a:pt x="216" y="2443"/>
                </a:cubicBezTo>
                <a:cubicBezTo>
                  <a:pt x="218" y="2441"/>
                  <a:pt x="218" y="2438"/>
                  <a:pt x="219" y="2436"/>
                </a:cubicBezTo>
                <a:cubicBezTo>
                  <a:pt x="219" y="2435"/>
                  <a:pt x="220" y="2433"/>
                  <a:pt x="219" y="2431"/>
                </a:cubicBezTo>
                <a:cubicBezTo>
                  <a:pt x="218" y="2430"/>
                  <a:pt x="219" y="2429"/>
                  <a:pt x="220" y="2428"/>
                </a:cubicBezTo>
                <a:cubicBezTo>
                  <a:pt x="221" y="2427"/>
                  <a:pt x="221" y="2425"/>
                  <a:pt x="222" y="2424"/>
                </a:cubicBezTo>
                <a:cubicBezTo>
                  <a:pt x="223" y="2422"/>
                  <a:pt x="222" y="2421"/>
                  <a:pt x="222" y="2419"/>
                </a:cubicBezTo>
                <a:cubicBezTo>
                  <a:pt x="222" y="2418"/>
                  <a:pt x="222" y="2417"/>
                  <a:pt x="222" y="2416"/>
                </a:cubicBezTo>
                <a:cubicBezTo>
                  <a:pt x="223" y="2416"/>
                  <a:pt x="223" y="2415"/>
                  <a:pt x="224" y="2415"/>
                </a:cubicBezTo>
                <a:cubicBezTo>
                  <a:pt x="224" y="2414"/>
                  <a:pt x="224" y="2414"/>
                  <a:pt x="225" y="2413"/>
                </a:cubicBezTo>
                <a:cubicBezTo>
                  <a:pt x="226" y="2412"/>
                  <a:pt x="226" y="2411"/>
                  <a:pt x="227" y="2410"/>
                </a:cubicBezTo>
                <a:cubicBezTo>
                  <a:pt x="227" y="2408"/>
                  <a:pt x="228" y="2406"/>
                  <a:pt x="229" y="2404"/>
                </a:cubicBezTo>
                <a:cubicBezTo>
                  <a:pt x="230" y="2399"/>
                  <a:pt x="232" y="2394"/>
                  <a:pt x="234" y="2388"/>
                </a:cubicBezTo>
                <a:cubicBezTo>
                  <a:pt x="235" y="2386"/>
                  <a:pt x="235" y="2384"/>
                  <a:pt x="236" y="2381"/>
                </a:cubicBezTo>
                <a:cubicBezTo>
                  <a:pt x="236" y="2380"/>
                  <a:pt x="237" y="2378"/>
                  <a:pt x="237" y="2376"/>
                </a:cubicBezTo>
                <a:cubicBezTo>
                  <a:pt x="237" y="2375"/>
                  <a:pt x="236" y="2374"/>
                  <a:pt x="236" y="2373"/>
                </a:cubicBezTo>
                <a:cubicBezTo>
                  <a:pt x="236" y="2372"/>
                  <a:pt x="236" y="2371"/>
                  <a:pt x="237" y="2370"/>
                </a:cubicBezTo>
                <a:cubicBezTo>
                  <a:pt x="237" y="2370"/>
                  <a:pt x="238" y="2368"/>
                  <a:pt x="238" y="2366"/>
                </a:cubicBezTo>
                <a:cubicBezTo>
                  <a:pt x="238" y="2365"/>
                  <a:pt x="238" y="2364"/>
                  <a:pt x="239" y="2363"/>
                </a:cubicBezTo>
                <a:cubicBezTo>
                  <a:pt x="239" y="2363"/>
                  <a:pt x="239" y="2363"/>
                  <a:pt x="240" y="2363"/>
                </a:cubicBezTo>
                <a:cubicBezTo>
                  <a:pt x="240" y="2363"/>
                  <a:pt x="240" y="2363"/>
                  <a:pt x="240" y="2363"/>
                </a:cubicBezTo>
                <a:cubicBezTo>
                  <a:pt x="241" y="2363"/>
                  <a:pt x="241" y="2363"/>
                  <a:pt x="241" y="2363"/>
                </a:cubicBezTo>
                <a:cubicBezTo>
                  <a:pt x="242" y="2361"/>
                  <a:pt x="242" y="2360"/>
                  <a:pt x="243" y="2359"/>
                </a:cubicBezTo>
                <a:cubicBezTo>
                  <a:pt x="244" y="2356"/>
                  <a:pt x="245" y="2353"/>
                  <a:pt x="245" y="2352"/>
                </a:cubicBezTo>
                <a:cubicBezTo>
                  <a:pt x="246" y="2351"/>
                  <a:pt x="247" y="2346"/>
                  <a:pt x="249" y="2341"/>
                </a:cubicBezTo>
                <a:cubicBezTo>
                  <a:pt x="249" y="2339"/>
                  <a:pt x="250" y="2337"/>
                  <a:pt x="250" y="2336"/>
                </a:cubicBezTo>
                <a:cubicBezTo>
                  <a:pt x="250" y="2335"/>
                  <a:pt x="251" y="2332"/>
                  <a:pt x="251" y="2332"/>
                </a:cubicBezTo>
                <a:cubicBezTo>
                  <a:pt x="250" y="2331"/>
                  <a:pt x="250" y="2331"/>
                  <a:pt x="250" y="2330"/>
                </a:cubicBezTo>
                <a:cubicBezTo>
                  <a:pt x="250" y="2330"/>
                  <a:pt x="250" y="2329"/>
                  <a:pt x="251" y="2329"/>
                </a:cubicBezTo>
                <a:cubicBezTo>
                  <a:pt x="251" y="2329"/>
                  <a:pt x="251" y="2329"/>
                  <a:pt x="251" y="2329"/>
                </a:cubicBezTo>
                <a:cubicBezTo>
                  <a:pt x="253" y="2329"/>
                  <a:pt x="254" y="2324"/>
                  <a:pt x="254" y="2323"/>
                </a:cubicBezTo>
                <a:cubicBezTo>
                  <a:pt x="256" y="2317"/>
                  <a:pt x="257" y="2314"/>
                  <a:pt x="259" y="2311"/>
                </a:cubicBezTo>
                <a:cubicBezTo>
                  <a:pt x="261" y="2307"/>
                  <a:pt x="265" y="2295"/>
                  <a:pt x="267" y="2287"/>
                </a:cubicBezTo>
                <a:cubicBezTo>
                  <a:pt x="267" y="2286"/>
                  <a:pt x="267" y="2285"/>
                  <a:pt x="267" y="2284"/>
                </a:cubicBezTo>
                <a:cubicBezTo>
                  <a:pt x="267" y="2283"/>
                  <a:pt x="267" y="2283"/>
                  <a:pt x="267" y="2282"/>
                </a:cubicBezTo>
                <a:cubicBezTo>
                  <a:pt x="267" y="2282"/>
                  <a:pt x="267" y="2281"/>
                  <a:pt x="267" y="2281"/>
                </a:cubicBezTo>
                <a:cubicBezTo>
                  <a:pt x="267" y="2281"/>
                  <a:pt x="268" y="2280"/>
                  <a:pt x="268" y="2280"/>
                </a:cubicBezTo>
                <a:cubicBezTo>
                  <a:pt x="268" y="2280"/>
                  <a:pt x="268" y="2279"/>
                  <a:pt x="268" y="2279"/>
                </a:cubicBezTo>
                <a:cubicBezTo>
                  <a:pt x="268" y="2278"/>
                  <a:pt x="269" y="2278"/>
                  <a:pt x="269" y="2277"/>
                </a:cubicBezTo>
                <a:cubicBezTo>
                  <a:pt x="270" y="2276"/>
                  <a:pt x="270" y="2275"/>
                  <a:pt x="270" y="2274"/>
                </a:cubicBezTo>
                <a:cubicBezTo>
                  <a:pt x="270" y="2273"/>
                  <a:pt x="271" y="2272"/>
                  <a:pt x="270" y="2271"/>
                </a:cubicBezTo>
                <a:cubicBezTo>
                  <a:pt x="270" y="2269"/>
                  <a:pt x="270" y="2268"/>
                  <a:pt x="270" y="2267"/>
                </a:cubicBezTo>
                <a:cubicBezTo>
                  <a:pt x="271" y="2267"/>
                  <a:pt x="272" y="2266"/>
                  <a:pt x="272" y="2265"/>
                </a:cubicBezTo>
                <a:cubicBezTo>
                  <a:pt x="272" y="2265"/>
                  <a:pt x="272" y="2265"/>
                  <a:pt x="273" y="2265"/>
                </a:cubicBezTo>
                <a:cubicBezTo>
                  <a:pt x="273" y="2265"/>
                  <a:pt x="273" y="2264"/>
                  <a:pt x="273" y="2264"/>
                </a:cubicBezTo>
                <a:cubicBezTo>
                  <a:pt x="273" y="2264"/>
                  <a:pt x="273" y="2264"/>
                  <a:pt x="272" y="2264"/>
                </a:cubicBezTo>
                <a:cubicBezTo>
                  <a:pt x="271" y="2262"/>
                  <a:pt x="272" y="2260"/>
                  <a:pt x="273" y="2258"/>
                </a:cubicBezTo>
                <a:cubicBezTo>
                  <a:pt x="273" y="2258"/>
                  <a:pt x="273" y="2257"/>
                  <a:pt x="274" y="2257"/>
                </a:cubicBezTo>
                <a:cubicBezTo>
                  <a:pt x="274" y="2256"/>
                  <a:pt x="275" y="2257"/>
                  <a:pt x="275" y="2256"/>
                </a:cubicBezTo>
                <a:cubicBezTo>
                  <a:pt x="276" y="2256"/>
                  <a:pt x="276" y="2255"/>
                  <a:pt x="275" y="2255"/>
                </a:cubicBezTo>
                <a:cubicBezTo>
                  <a:pt x="275" y="2253"/>
                  <a:pt x="277" y="2253"/>
                  <a:pt x="277" y="2251"/>
                </a:cubicBezTo>
                <a:cubicBezTo>
                  <a:pt x="278" y="2250"/>
                  <a:pt x="278" y="2249"/>
                  <a:pt x="279" y="2248"/>
                </a:cubicBezTo>
                <a:cubicBezTo>
                  <a:pt x="279" y="2246"/>
                  <a:pt x="281" y="2242"/>
                  <a:pt x="280" y="2241"/>
                </a:cubicBezTo>
                <a:cubicBezTo>
                  <a:pt x="280" y="2241"/>
                  <a:pt x="280" y="2241"/>
                  <a:pt x="279" y="2241"/>
                </a:cubicBezTo>
                <a:cubicBezTo>
                  <a:pt x="278" y="2240"/>
                  <a:pt x="279" y="2238"/>
                  <a:pt x="279" y="2237"/>
                </a:cubicBezTo>
                <a:cubicBezTo>
                  <a:pt x="280" y="2236"/>
                  <a:pt x="280" y="2235"/>
                  <a:pt x="281" y="2234"/>
                </a:cubicBezTo>
                <a:cubicBezTo>
                  <a:pt x="282" y="2234"/>
                  <a:pt x="282" y="2234"/>
                  <a:pt x="283" y="2233"/>
                </a:cubicBezTo>
                <a:cubicBezTo>
                  <a:pt x="283" y="2233"/>
                  <a:pt x="283" y="2232"/>
                  <a:pt x="282" y="2232"/>
                </a:cubicBezTo>
                <a:cubicBezTo>
                  <a:pt x="282" y="2231"/>
                  <a:pt x="282" y="2231"/>
                  <a:pt x="282" y="2231"/>
                </a:cubicBezTo>
                <a:cubicBezTo>
                  <a:pt x="282" y="2231"/>
                  <a:pt x="282" y="2231"/>
                  <a:pt x="282" y="2231"/>
                </a:cubicBezTo>
                <a:cubicBezTo>
                  <a:pt x="282" y="2230"/>
                  <a:pt x="282" y="2229"/>
                  <a:pt x="282" y="2229"/>
                </a:cubicBezTo>
                <a:cubicBezTo>
                  <a:pt x="283" y="2228"/>
                  <a:pt x="283" y="2228"/>
                  <a:pt x="284" y="2228"/>
                </a:cubicBezTo>
                <a:cubicBezTo>
                  <a:pt x="284" y="2228"/>
                  <a:pt x="284" y="2228"/>
                  <a:pt x="285" y="2227"/>
                </a:cubicBezTo>
                <a:cubicBezTo>
                  <a:pt x="285" y="2227"/>
                  <a:pt x="285" y="2226"/>
                  <a:pt x="286" y="2225"/>
                </a:cubicBezTo>
                <a:cubicBezTo>
                  <a:pt x="287" y="2221"/>
                  <a:pt x="291" y="2210"/>
                  <a:pt x="292" y="2207"/>
                </a:cubicBezTo>
                <a:cubicBezTo>
                  <a:pt x="292" y="2206"/>
                  <a:pt x="293" y="2204"/>
                  <a:pt x="294" y="2202"/>
                </a:cubicBezTo>
                <a:cubicBezTo>
                  <a:pt x="294" y="2201"/>
                  <a:pt x="295" y="2198"/>
                  <a:pt x="296" y="2196"/>
                </a:cubicBezTo>
                <a:cubicBezTo>
                  <a:pt x="297" y="2194"/>
                  <a:pt x="298" y="2190"/>
                  <a:pt x="299" y="2188"/>
                </a:cubicBezTo>
                <a:cubicBezTo>
                  <a:pt x="301" y="2185"/>
                  <a:pt x="303" y="2182"/>
                  <a:pt x="303" y="2178"/>
                </a:cubicBezTo>
                <a:cubicBezTo>
                  <a:pt x="302" y="2177"/>
                  <a:pt x="302" y="2177"/>
                  <a:pt x="303" y="2176"/>
                </a:cubicBezTo>
                <a:cubicBezTo>
                  <a:pt x="303" y="2173"/>
                  <a:pt x="304" y="2171"/>
                  <a:pt x="304" y="2169"/>
                </a:cubicBezTo>
                <a:cubicBezTo>
                  <a:pt x="306" y="2165"/>
                  <a:pt x="307" y="2159"/>
                  <a:pt x="308" y="2156"/>
                </a:cubicBezTo>
                <a:cubicBezTo>
                  <a:pt x="309" y="2154"/>
                  <a:pt x="309" y="2153"/>
                  <a:pt x="309" y="2151"/>
                </a:cubicBezTo>
                <a:cubicBezTo>
                  <a:pt x="309" y="2151"/>
                  <a:pt x="309" y="2150"/>
                  <a:pt x="309" y="2150"/>
                </a:cubicBezTo>
                <a:cubicBezTo>
                  <a:pt x="308" y="2150"/>
                  <a:pt x="308" y="2150"/>
                  <a:pt x="307" y="2150"/>
                </a:cubicBezTo>
                <a:cubicBezTo>
                  <a:pt x="307" y="2150"/>
                  <a:pt x="308" y="2149"/>
                  <a:pt x="308" y="2148"/>
                </a:cubicBezTo>
                <a:cubicBezTo>
                  <a:pt x="308" y="2148"/>
                  <a:pt x="308" y="2147"/>
                  <a:pt x="309" y="2148"/>
                </a:cubicBezTo>
                <a:cubicBezTo>
                  <a:pt x="309" y="2148"/>
                  <a:pt x="309" y="2148"/>
                  <a:pt x="309" y="2148"/>
                </a:cubicBezTo>
                <a:cubicBezTo>
                  <a:pt x="309" y="2148"/>
                  <a:pt x="309" y="2148"/>
                  <a:pt x="310" y="2148"/>
                </a:cubicBezTo>
                <a:cubicBezTo>
                  <a:pt x="311" y="2147"/>
                  <a:pt x="311" y="2145"/>
                  <a:pt x="311" y="2144"/>
                </a:cubicBezTo>
                <a:cubicBezTo>
                  <a:pt x="311" y="2143"/>
                  <a:pt x="311" y="2141"/>
                  <a:pt x="312" y="2141"/>
                </a:cubicBezTo>
                <a:cubicBezTo>
                  <a:pt x="312" y="2140"/>
                  <a:pt x="312" y="2139"/>
                  <a:pt x="312" y="2139"/>
                </a:cubicBezTo>
                <a:cubicBezTo>
                  <a:pt x="310" y="2138"/>
                  <a:pt x="310" y="2138"/>
                  <a:pt x="311" y="2137"/>
                </a:cubicBezTo>
                <a:cubicBezTo>
                  <a:pt x="311" y="2137"/>
                  <a:pt x="312" y="2137"/>
                  <a:pt x="312" y="2136"/>
                </a:cubicBezTo>
                <a:cubicBezTo>
                  <a:pt x="313" y="2136"/>
                  <a:pt x="314" y="2136"/>
                  <a:pt x="314" y="2136"/>
                </a:cubicBezTo>
                <a:cubicBezTo>
                  <a:pt x="314" y="2135"/>
                  <a:pt x="315" y="2133"/>
                  <a:pt x="316" y="2133"/>
                </a:cubicBezTo>
                <a:cubicBezTo>
                  <a:pt x="316" y="2133"/>
                  <a:pt x="316" y="2133"/>
                  <a:pt x="316" y="2133"/>
                </a:cubicBezTo>
                <a:cubicBezTo>
                  <a:pt x="317" y="2132"/>
                  <a:pt x="317" y="2132"/>
                  <a:pt x="317" y="2132"/>
                </a:cubicBezTo>
                <a:cubicBezTo>
                  <a:pt x="317" y="2131"/>
                  <a:pt x="316" y="2130"/>
                  <a:pt x="316" y="2129"/>
                </a:cubicBezTo>
                <a:cubicBezTo>
                  <a:pt x="316" y="2128"/>
                  <a:pt x="317" y="2127"/>
                  <a:pt x="317" y="2126"/>
                </a:cubicBezTo>
                <a:cubicBezTo>
                  <a:pt x="318" y="2123"/>
                  <a:pt x="318" y="2121"/>
                  <a:pt x="319" y="2119"/>
                </a:cubicBezTo>
                <a:cubicBezTo>
                  <a:pt x="321" y="2114"/>
                  <a:pt x="322" y="2109"/>
                  <a:pt x="324" y="2104"/>
                </a:cubicBezTo>
                <a:cubicBezTo>
                  <a:pt x="328" y="2091"/>
                  <a:pt x="332" y="2078"/>
                  <a:pt x="333" y="2075"/>
                </a:cubicBezTo>
                <a:cubicBezTo>
                  <a:pt x="334" y="2072"/>
                  <a:pt x="337" y="2062"/>
                  <a:pt x="340" y="2051"/>
                </a:cubicBezTo>
                <a:cubicBezTo>
                  <a:pt x="343" y="2041"/>
                  <a:pt x="348" y="2024"/>
                  <a:pt x="351" y="2013"/>
                </a:cubicBezTo>
                <a:cubicBezTo>
                  <a:pt x="355" y="2003"/>
                  <a:pt x="363" y="1975"/>
                  <a:pt x="371" y="1952"/>
                </a:cubicBezTo>
                <a:cubicBezTo>
                  <a:pt x="373" y="1944"/>
                  <a:pt x="375" y="1936"/>
                  <a:pt x="378" y="1928"/>
                </a:cubicBezTo>
                <a:cubicBezTo>
                  <a:pt x="379" y="1924"/>
                  <a:pt x="380" y="1920"/>
                  <a:pt x="381" y="1916"/>
                </a:cubicBezTo>
                <a:cubicBezTo>
                  <a:pt x="382" y="1914"/>
                  <a:pt x="383" y="1912"/>
                  <a:pt x="383" y="1911"/>
                </a:cubicBezTo>
                <a:cubicBezTo>
                  <a:pt x="383" y="1909"/>
                  <a:pt x="382" y="1908"/>
                  <a:pt x="384" y="1907"/>
                </a:cubicBezTo>
                <a:cubicBezTo>
                  <a:pt x="385" y="1906"/>
                  <a:pt x="385" y="1904"/>
                  <a:pt x="385" y="1903"/>
                </a:cubicBezTo>
                <a:cubicBezTo>
                  <a:pt x="386" y="1901"/>
                  <a:pt x="386" y="1900"/>
                  <a:pt x="387" y="1898"/>
                </a:cubicBezTo>
                <a:cubicBezTo>
                  <a:pt x="388" y="1895"/>
                  <a:pt x="389" y="1891"/>
                  <a:pt x="390" y="1888"/>
                </a:cubicBezTo>
                <a:cubicBezTo>
                  <a:pt x="391" y="1884"/>
                  <a:pt x="392" y="1881"/>
                  <a:pt x="393" y="1877"/>
                </a:cubicBezTo>
                <a:cubicBezTo>
                  <a:pt x="394" y="1875"/>
                  <a:pt x="395" y="1871"/>
                  <a:pt x="395" y="1869"/>
                </a:cubicBezTo>
                <a:cubicBezTo>
                  <a:pt x="394" y="1868"/>
                  <a:pt x="395" y="1867"/>
                  <a:pt x="396" y="1867"/>
                </a:cubicBezTo>
                <a:cubicBezTo>
                  <a:pt x="397" y="1865"/>
                  <a:pt x="397" y="1862"/>
                  <a:pt x="398" y="1860"/>
                </a:cubicBezTo>
                <a:cubicBezTo>
                  <a:pt x="399" y="1856"/>
                  <a:pt x="402" y="1846"/>
                  <a:pt x="405" y="1838"/>
                </a:cubicBezTo>
                <a:cubicBezTo>
                  <a:pt x="406" y="1833"/>
                  <a:pt x="407" y="1829"/>
                  <a:pt x="409" y="1824"/>
                </a:cubicBezTo>
                <a:cubicBezTo>
                  <a:pt x="409" y="1823"/>
                  <a:pt x="410" y="1823"/>
                  <a:pt x="410" y="1822"/>
                </a:cubicBezTo>
                <a:cubicBezTo>
                  <a:pt x="410" y="1822"/>
                  <a:pt x="411" y="1822"/>
                  <a:pt x="411" y="1822"/>
                </a:cubicBezTo>
                <a:cubicBezTo>
                  <a:pt x="412" y="1821"/>
                  <a:pt x="412" y="1819"/>
                  <a:pt x="412" y="1818"/>
                </a:cubicBezTo>
                <a:cubicBezTo>
                  <a:pt x="412" y="1816"/>
                  <a:pt x="413" y="1815"/>
                  <a:pt x="413" y="1814"/>
                </a:cubicBezTo>
                <a:cubicBezTo>
                  <a:pt x="413" y="1813"/>
                  <a:pt x="413" y="1812"/>
                  <a:pt x="413" y="1811"/>
                </a:cubicBezTo>
                <a:cubicBezTo>
                  <a:pt x="413" y="1810"/>
                  <a:pt x="413" y="1809"/>
                  <a:pt x="413" y="1809"/>
                </a:cubicBezTo>
                <a:cubicBezTo>
                  <a:pt x="413" y="1808"/>
                  <a:pt x="414" y="1807"/>
                  <a:pt x="415" y="1806"/>
                </a:cubicBezTo>
                <a:cubicBezTo>
                  <a:pt x="415" y="1805"/>
                  <a:pt x="414" y="1804"/>
                  <a:pt x="415" y="1803"/>
                </a:cubicBezTo>
                <a:cubicBezTo>
                  <a:pt x="415" y="1802"/>
                  <a:pt x="415" y="1802"/>
                  <a:pt x="416" y="1802"/>
                </a:cubicBezTo>
                <a:cubicBezTo>
                  <a:pt x="417" y="1800"/>
                  <a:pt x="417" y="1797"/>
                  <a:pt x="418" y="1795"/>
                </a:cubicBezTo>
                <a:cubicBezTo>
                  <a:pt x="418" y="1793"/>
                  <a:pt x="419" y="1791"/>
                  <a:pt x="420" y="1789"/>
                </a:cubicBezTo>
                <a:cubicBezTo>
                  <a:pt x="420" y="1788"/>
                  <a:pt x="420" y="1786"/>
                  <a:pt x="421" y="1785"/>
                </a:cubicBezTo>
                <a:cubicBezTo>
                  <a:pt x="422" y="1785"/>
                  <a:pt x="423" y="1785"/>
                  <a:pt x="424" y="1785"/>
                </a:cubicBezTo>
                <a:cubicBezTo>
                  <a:pt x="424" y="1785"/>
                  <a:pt x="424" y="1785"/>
                  <a:pt x="425" y="1784"/>
                </a:cubicBezTo>
                <a:cubicBezTo>
                  <a:pt x="425" y="1784"/>
                  <a:pt x="426" y="1782"/>
                  <a:pt x="426" y="1782"/>
                </a:cubicBezTo>
                <a:cubicBezTo>
                  <a:pt x="426" y="1781"/>
                  <a:pt x="426" y="1781"/>
                  <a:pt x="426" y="1780"/>
                </a:cubicBezTo>
                <a:cubicBezTo>
                  <a:pt x="425" y="1780"/>
                  <a:pt x="425" y="1780"/>
                  <a:pt x="424" y="1780"/>
                </a:cubicBezTo>
                <a:cubicBezTo>
                  <a:pt x="424" y="1780"/>
                  <a:pt x="423" y="1780"/>
                  <a:pt x="423" y="1779"/>
                </a:cubicBezTo>
                <a:cubicBezTo>
                  <a:pt x="422" y="1777"/>
                  <a:pt x="423" y="1775"/>
                  <a:pt x="424" y="1774"/>
                </a:cubicBezTo>
                <a:cubicBezTo>
                  <a:pt x="425" y="1772"/>
                  <a:pt x="426" y="1770"/>
                  <a:pt x="428" y="1768"/>
                </a:cubicBezTo>
                <a:cubicBezTo>
                  <a:pt x="429" y="1766"/>
                  <a:pt x="431" y="1763"/>
                  <a:pt x="431" y="1761"/>
                </a:cubicBezTo>
                <a:cubicBezTo>
                  <a:pt x="431" y="1759"/>
                  <a:pt x="430" y="1757"/>
                  <a:pt x="431" y="1756"/>
                </a:cubicBezTo>
                <a:cubicBezTo>
                  <a:pt x="432" y="1755"/>
                  <a:pt x="432" y="1754"/>
                  <a:pt x="432" y="1753"/>
                </a:cubicBezTo>
                <a:cubicBezTo>
                  <a:pt x="433" y="1752"/>
                  <a:pt x="434" y="1751"/>
                  <a:pt x="434" y="1750"/>
                </a:cubicBezTo>
                <a:cubicBezTo>
                  <a:pt x="435" y="1749"/>
                  <a:pt x="436" y="1748"/>
                  <a:pt x="436" y="1747"/>
                </a:cubicBezTo>
                <a:cubicBezTo>
                  <a:pt x="437" y="1745"/>
                  <a:pt x="437" y="1744"/>
                  <a:pt x="438" y="1742"/>
                </a:cubicBezTo>
                <a:cubicBezTo>
                  <a:pt x="438" y="1740"/>
                  <a:pt x="440" y="1737"/>
                  <a:pt x="439" y="1735"/>
                </a:cubicBezTo>
                <a:cubicBezTo>
                  <a:pt x="439" y="1733"/>
                  <a:pt x="437" y="1734"/>
                  <a:pt x="437" y="1732"/>
                </a:cubicBezTo>
                <a:cubicBezTo>
                  <a:pt x="437" y="1731"/>
                  <a:pt x="438" y="1729"/>
                  <a:pt x="438" y="1728"/>
                </a:cubicBezTo>
                <a:cubicBezTo>
                  <a:pt x="438" y="1727"/>
                  <a:pt x="442" y="1719"/>
                  <a:pt x="441" y="1718"/>
                </a:cubicBezTo>
                <a:cubicBezTo>
                  <a:pt x="440" y="1718"/>
                  <a:pt x="440" y="1718"/>
                  <a:pt x="440" y="1718"/>
                </a:cubicBezTo>
                <a:cubicBezTo>
                  <a:pt x="441" y="1716"/>
                  <a:pt x="441" y="1714"/>
                  <a:pt x="442" y="1712"/>
                </a:cubicBezTo>
                <a:cubicBezTo>
                  <a:pt x="446" y="1704"/>
                  <a:pt x="449" y="1697"/>
                  <a:pt x="451" y="1688"/>
                </a:cubicBezTo>
                <a:cubicBezTo>
                  <a:pt x="452" y="1684"/>
                  <a:pt x="453" y="1681"/>
                  <a:pt x="454" y="1677"/>
                </a:cubicBezTo>
                <a:cubicBezTo>
                  <a:pt x="454" y="1677"/>
                  <a:pt x="455" y="1677"/>
                  <a:pt x="455" y="1677"/>
                </a:cubicBezTo>
                <a:cubicBezTo>
                  <a:pt x="455" y="1677"/>
                  <a:pt x="455" y="1677"/>
                  <a:pt x="455" y="1677"/>
                </a:cubicBezTo>
                <a:cubicBezTo>
                  <a:pt x="456" y="1677"/>
                  <a:pt x="456" y="1676"/>
                  <a:pt x="456" y="1675"/>
                </a:cubicBezTo>
                <a:cubicBezTo>
                  <a:pt x="455" y="1674"/>
                  <a:pt x="457" y="1673"/>
                  <a:pt x="458" y="1672"/>
                </a:cubicBezTo>
                <a:cubicBezTo>
                  <a:pt x="459" y="1671"/>
                  <a:pt x="460" y="1669"/>
                  <a:pt x="458" y="1668"/>
                </a:cubicBezTo>
                <a:cubicBezTo>
                  <a:pt x="458" y="1668"/>
                  <a:pt x="458" y="1668"/>
                  <a:pt x="458" y="1668"/>
                </a:cubicBezTo>
                <a:cubicBezTo>
                  <a:pt x="457" y="1667"/>
                  <a:pt x="458" y="1664"/>
                  <a:pt x="459" y="1663"/>
                </a:cubicBezTo>
                <a:cubicBezTo>
                  <a:pt x="459" y="1662"/>
                  <a:pt x="460" y="1660"/>
                  <a:pt x="460" y="1658"/>
                </a:cubicBezTo>
                <a:cubicBezTo>
                  <a:pt x="461" y="1653"/>
                  <a:pt x="463" y="1649"/>
                  <a:pt x="463" y="1648"/>
                </a:cubicBezTo>
                <a:cubicBezTo>
                  <a:pt x="464" y="1646"/>
                  <a:pt x="465" y="1644"/>
                  <a:pt x="466" y="1642"/>
                </a:cubicBezTo>
                <a:cubicBezTo>
                  <a:pt x="466" y="1642"/>
                  <a:pt x="466" y="1641"/>
                  <a:pt x="466" y="1641"/>
                </a:cubicBezTo>
                <a:cubicBezTo>
                  <a:pt x="467" y="1641"/>
                  <a:pt x="467" y="1641"/>
                  <a:pt x="468" y="1640"/>
                </a:cubicBezTo>
                <a:cubicBezTo>
                  <a:pt x="468" y="1639"/>
                  <a:pt x="469" y="1637"/>
                  <a:pt x="469" y="1636"/>
                </a:cubicBezTo>
                <a:cubicBezTo>
                  <a:pt x="469" y="1636"/>
                  <a:pt x="469" y="1635"/>
                  <a:pt x="469" y="1635"/>
                </a:cubicBezTo>
                <a:cubicBezTo>
                  <a:pt x="469" y="1635"/>
                  <a:pt x="468" y="1635"/>
                  <a:pt x="468" y="1634"/>
                </a:cubicBezTo>
                <a:cubicBezTo>
                  <a:pt x="468" y="1633"/>
                  <a:pt x="469" y="1632"/>
                  <a:pt x="469" y="1631"/>
                </a:cubicBezTo>
                <a:cubicBezTo>
                  <a:pt x="469" y="1629"/>
                  <a:pt x="470" y="1627"/>
                  <a:pt x="471" y="1625"/>
                </a:cubicBezTo>
                <a:cubicBezTo>
                  <a:pt x="472" y="1623"/>
                  <a:pt x="472" y="1621"/>
                  <a:pt x="472" y="1619"/>
                </a:cubicBezTo>
                <a:cubicBezTo>
                  <a:pt x="472" y="1618"/>
                  <a:pt x="471" y="1617"/>
                  <a:pt x="471" y="1616"/>
                </a:cubicBezTo>
                <a:cubicBezTo>
                  <a:pt x="472" y="1614"/>
                  <a:pt x="473" y="1613"/>
                  <a:pt x="473" y="1612"/>
                </a:cubicBezTo>
                <a:cubicBezTo>
                  <a:pt x="475" y="1608"/>
                  <a:pt x="476" y="1604"/>
                  <a:pt x="477" y="1600"/>
                </a:cubicBezTo>
                <a:cubicBezTo>
                  <a:pt x="478" y="1593"/>
                  <a:pt x="480" y="1587"/>
                  <a:pt x="481" y="1585"/>
                </a:cubicBezTo>
                <a:cubicBezTo>
                  <a:pt x="481" y="1583"/>
                  <a:pt x="482" y="1581"/>
                  <a:pt x="481" y="1579"/>
                </a:cubicBezTo>
                <a:cubicBezTo>
                  <a:pt x="481" y="1579"/>
                  <a:pt x="481" y="1579"/>
                  <a:pt x="481" y="1579"/>
                </a:cubicBezTo>
                <a:cubicBezTo>
                  <a:pt x="481" y="1579"/>
                  <a:pt x="481" y="1579"/>
                  <a:pt x="481" y="1578"/>
                </a:cubicBezTo>
                <a:cubicBezTo>
                  <a:pt x="481" y="1578"/>
                  <a:pt x="481" y="1578"/>
                  <a:pt x="482" y="1577"/>
                </a:cubicBezTo>
                <a:cubicBezTo>
                  <a:pt x="482" y="1577"/>
                  <a:pt x="482" y="1577"/>
                  <a:pt x="483" y="1576"/>
                </a:cubicBezTo>
                <a:cubicBezTo>
                  <a:pt x="485" y="1575"/>
                  <a:pt x="485" y="1571"/>
                  <a:pt x="486" y="1569"/>
                </a:cubicBezTo>
                <a:cubicBezTo>
                  <a:pt x="486" y="1566"/>
                  <a:pt x="487" y="1563"/>
                  <a:pt x="488" y="1560"/>
                </a:cubicBezTo>
                <a:cubicBezTo>
                  <a:pt x="489" y="1557"/>
                  <a:pt x="490" y="1554"/>
                  <a:pt x="492" y="1551"/>
                </a:cubicBezTo>
                <a:cubicBezTo>
                  <a:pt x="492" y="1549"/>
                  <a:pt x="493" y="1547"/>
                  <a:pt x="493" y="1546"/>
                </a:cubicBezTo>
                <a:cubicBezTo>
                  <a:pt x="493" y="1545"/>
                  <a:pt x="493" y="1544"/>
                  <a:pt x="493" y="1543"/>
                </a:cubicBezTo>
                <a:cubicBezTo>
                  <a:pt x="493" y="1542"/>
                  <a:pt x="493" y="1542"/>
                  <a:pt x="493" y="1542"/>
                </a:cubicBezTo>
                <a:cubicBezTo>
                  <a:pt x="493" y="1541"/>
                  <a:pt x="493" y="1541"/>
                  <a:pt x="493" y="1540"/>
                </a:cubicBezTo>
                <a:cubicBezTo>
                  <a:pt x="494" y="1538"/>
                  <a:pt x="496" y="1537"/>
                  <a:pt x="497" y="1535"/>
                </a:cubicBezTo>
                <a:cubicBezTo>
                  <a:pt x="498" y="1533"/>
                  <a:pt x="498" y="1530"/>
                  <a:pt x="498" y="1528"/>
                </a:cubicBezTo>
                <a:cubicBezTo>
                  <a:pt x="499" y="1526"/>
                  <a:pt x="499" y="1525"/>
                  <a:pt x="500" y="1523"/>
                </a:cubicBezTo>
                <a:cubicBezTo>
                  <a:pt x="500" y="1521"/>
                  <a:pt x="500" y="1520"/>
                  <a:pt x="500" y="1519"/>
                </a:cubicBezTo>
                <a:cubicBezTo>
                  <a:pt x="499" y="1518"/>
                  <a:pt x="499" y="1517"/>
                  <a:pt x="500" y="1516"/>
                </a:cubicBezTo>
                <a:cubicBezTo>
                  <a:pt x="500" y="1515"/>
                  <a:pt x="500" y="1514"/>
                  <a:pt x="501" y="1512"/>
                </a:cubicBezTo>
                <a:cubicBezTo>
                  <a:pt x="501" y="1511"/>
                  <a:pt x="502" y="1509"/>
                  <a:pt x="502" y="1508"/>
                </a:cubicBezTo>
                <a:cubicBezTo>
                  <a:pt x="502" y="1507"/>
                  <a:pt x="502" y="1507"/>
                  <a:pt x="502" y="1506"/>
                </a:cubicBezTo>
                <a:cubicBezTo>
                  <a:pt x="502" y="1506"/>
                  <a:pt x="502" y="1506"/>
                  <a:pt x="502" y="1506"/>
                </a:cubicBezTo>
                <a:cubicBezTo>
                  <a:pt x="501" y="1505"/>
                  <a:pt x="501" y="1505"/>
                  <a:pt x="501" y="1505"/>
                </a:cubicBezTo>
                <a:cubicBezTo>
                  <a:pt x="501" y="1504"/>
                  <a:pt x="502" y="1504"/>
                  <a:pt x="503" y="1504"/>
                </a:cubicBezTo>
                <a:cubicBezTo>
                  <a:pt x="504" y="1503"/>
                  <a:pt x="504" y="1501"/>
                  <a:pt x="505" y="1500"/>
                </a:cubicBezTo>
                <a:cubicBezTo>
                  <a:pt x="505" y="1499"/>
                  <a:pt x="506" y="1498"/>
                  <a:pt x="506" y="1497"/>
                </a:cubicBezTo>
                <a:cubicBezTo>
                  <a:pt x="506" y="1496"/>
                  <a:pt x="506" y="1496"/>
                  <a:pt x="506" y="1496"/>
                </a:cubicBezTo>
                <a:cubicBezTo>
                  <a:pt x="507" y="1494"/>
                  <a:pt x="508" y="1491"/>
                  <a:pt x="508" y="1490"/>
                </a:cubicBezTo>
                <a:cubicBezTo>
                  <a:pt x="508" y="1488"/>
                  <a:pt x="509" y="1487"/>
                  <a:pt x="509" y="1486"/>
                </a:cubicBezTo>
                <a:cubicBezTo>
                  <a:pt x="510" y="1485"/>
                  <a:pt x="510" y="1484"/>
                  <a:pt x="511" y="1483"/>
                </a:cubicBezTo>
                <a:cubicBezTo>
                  <a:pt x="512" y="1482"/>
                  <a:pt x="512" y="1482"/>
                  <a:pt x="513" y="1481"/>
                </a:cubicBezTo>
                <a:cubicBezTo>
                  <a:pt x="514" y="1479"/>
                  <a:pt x="514" y="1477"/>
                  <a:pt x="515" y="1475"/>
                </a:cubicBezTo>
                <a:cubicBezTo>
                  <a:pt x="516" y="1471"/>
                  <a:pt x="517" y="1466"/>
                  <a:pt x="518" y="1461"/>
                </a:cubicBezTo>
                <a:cubicBezTo>
                  <a:pt x="519" y="1461"/>
                  <a:pt x="519" y="1461"/>
                  <a:pt x="519" y="1460"/>
                </a:cubicBezTo>
                <a:cubicBezTo>
                  <a:pt x="519" y="1460"/>
                  <a:pt x="519" y="1460"/>
                  <a:pt x="520" y="1459"/>
                </a:cubicBezTo>
                <a:cubicBezTo>
                  <a:pt x="520" y="1459"/>
                  <a:pt x="521" y="1458"/>
                  <a:pt x="521" y="1457"/>
                </a:cubicBezTo>
                <a:cubicBezTo>
                  <a:pt x="522" y="1457"/>
                  <a:pt x="522" y="1456"/>
                  <a:pt x="522" y="1455"/>
                </a:cubicBezTo>
                <a:cubicBezTo>
                  <a:pt x="523" y="1453"/>
                  <a:pt x="523" y="1451"/>
                  <a:pt x="524" y="1450"/>
                </a:cubicBezTo>
                <a:cubicBezTo>
                  <a:pt x="524" y="1448"/>
                  <a:pt x="525" y="1447"/>
                  <a:pt x="526" y="1445"/>
                </a:cubicBezTo>
                <a:cubicBezTo>
                  <a:pt x="526" y="1444"/>
                  <a:pt x="526" y="1444"/>
                  <a:pt x="526" y="1443"/>
                </a:cubicBezTo>
                <a:cubicBezTo>
                  <a:pt x="526" y="1443"/>
                  <a:pt x="527" y="1442"/>
                  <a:pt x="527" y="1441"/>
                </a:cubicBezTo>
                <a:cubicBezTo>
                  <a:pt x="526" y="1440"/>
                  <a:pt x="524" y="1438"/>
                  <a:pt x="526" y="1437"/>
                </a:cubicBezTo>
                <a:cubicBezTo>
                  <a:pt x="526" y="1436"/>
                  <a:pt x="527" y="1438"/>
                  <a:pt x="528" y="1437"/>
                </a:cubicBezTo>
                <a:cubicBezTo>
                  <a:pt x="529" y="1437"/>
                  <a:pt x="530" y="1435"/>
                  <a:pt x="530" y="1434"/>
                </a:cubicBezTo>
                <a:cubicBezTo>
                  <a:pt x="529" y="1434"/>
                  <a:pt x="529" y="1434"/>
                  <a:pt x="529" y="1435"/>
                </a:cubicBezTo>
                <a:cubicBezTo>
                  <a:pt x="529" y="1435"/>
                  <a:pt x="528" y="1436"/>
                  <a:pt x="528" y="1435"/>
                </a:cubicBezTo>
                <a:cubicBezTo>
                  <a:pt x="528" y="1435"/>
                  <a:pt x="527" y="1435"/>
                  <a:pt x="527" y="1435"/>
                </a:cubicBezTo>
                <a:cubicBezTo>
                  <a:pt x="528" y="1434"/>
                  <a:pt x="528" y="1433"/>
                  <a:pt x="528" y="1432"/>
                </a:cubicBezTo>
                <a:cubicBezTo>
                  <a:pt x="529" y="1431"/>
                  <a:pt x="529" y="1430"/>
                  <a:pt x="529" y="1430"/>
                </a:cubicBezTo>
                <a:cubicBezTo>
                  <a:pt x="529" y="1429"/>
                  <a:pt x="529" y="1429"/>
                  <a:pt x="530" y="1428"/>
                </a:cubicBezTo>
                <a:cubicBezTo>
                  <a:pt x="530" y="1428"/>
                  <a:pt x="530" y="1428"/>
                  <a:pt x="530" y="1428"/>
                </a:cubicBezTo>
                <a:cubicBezTo>
                  <a:pt x="530" y="1427"/>
                  <a:pt x="530" y="1427"/>
                  <a:pt x="530" y="1427"/>
                </a:cubicBezTo>
                <a:cubicBezTo>
                  <a:pt x="530" y="1427"/>
                  <a:pt x="530" y="1427"/>
                  <a:pt x="529" y="1427"/>
                </a:cubicBezTo>
                <a:cubicBezTo>
                  <a:pt x="527" y="1427"/>
                  <a:pt x="529" y="1424"/>
                  <a:pt x="529" y="1423"/>
                </a:cubicBezTo>
                <a:cubicBezTo>
                  <a:pt x="530" y="1422"/>
                  <a:pt x="532" y="1420"/>
                  <a:pt x="533" y="1419"/>
                </a:cubicBezTo>
                <a:cubicBezTo>
                  <a:pt x="534" y="1417"/>
                  <a:pt x="535" y="1416"/>
                  <a:pt x="536" y="1414"/>
                </a:cubicBezTo>
                <a:cubicBezTo>
                  <a:pt x="536" y="1413"/>
                  <a:pt x="537" y="1411"/>
                  <a:pt x="537" y="1410"/>
                </a:cubicBezTo>
                <a:cubicBezTo>
                  <a:pt x="538" y="1408"/>
                  <a:pt x="538" y="1407"/>
                  <a:pt x="539" y="1406"/>
                </a:cubicBezTo>
                <a:cubicBezTo>
                  <a:pt x="539" y="1405"/>
                  <a:pt x="539" y="1403"/>
                  <a:pt x="539" y="1403"/>
                </a:cubicBezTo>
                <a:cubicBezTo>
                  <a:pt x="539" y="1403"/>
                  <a:pt x="539" y="1402"/>
                  <a:pt x="539" y="1402"/>
                </a:cubicBezTo>
                <a:cubicBezTo>
                  <a:pt x="539" y="1402"/>
                  <a:pt x="539" y="1402"/>
                  <a:pt x="538" y="1402"/>
                </a:cubicBezTo>
                <a:cubicBezTo>
                  <a:pt x="538" y="1402"/>
                  <a:pt x="538" y="1402"/>
                  <a:pt x="538" y="1402"/>
                </a:cubicBezTo>
                <a:cubicBezTo>
                  <a:pt x="537" y="1401"/>
                  <a:pt x="538" y="1399"/>
                  <a:pt x="538" y="1399"/>
                </a:cubicBezTo>
                <a:cubicBezTo>
                  <a:pt x="539" y="1400"/>
                  <a:pt x="539" y="1400"/>
                  <a:pt x="539" y="1400"/>
                </a:cubicBezTo>
                <a:cubicBezTo>
                  <a:pt x="540" y="1400"/>
                  <a:pt x="541" y="1398"/>
                  <a:pt x="541" y="1397"/>
                </a:cubicBezTo>
                <a:cubicBezTo>
                  <a:pt x="541" y="1396"/>
                  <a:pt x="542" y="1395"/>
                  <a:pt x="542" y="1394"/>
                </a:cubicBezTo>
                <a:cubicBezTo>
                  <a:pt x="542" y="1394"/>
                  <a:pt x="542" y="1394"/>
                  <a:pt x="542" y="1394"/>
                </a:cubicBezTo>
                <a:cubicBezTo>
                  <a:pt x="542" y="1393"/>
                  <a:pt x="542" y="1393"/>
                  <a:pt x="542" y="1392"/>
                </a:cubicBezTo>
                <a:cubicBezTo>
                  <a:pt x="543" y="1392"/>
                  <a:pt x="543" y="1392"/>
                  <a:pt x="543" y="1391"/>
                </a:cubicBezTo>
                <a:cubicBezTo>
                  <a:pt x="543" y="1391"/>
                  <a:pt x="543" y="1391"/>
                  <a:pt x="543" y="1391"/>
                </a:cubicBezTo>
                <a:cubicBezTo>
                  <a:pt x="542" y="1389"/>
                  <a:pt x="541" y="1392"/>
                  <a:pt x="541" y="1393"/>
                </a:cubicBezTo>
                <a:cubicBezTo>
                  <a:pt x="541" y="1393"/>
                  <a:pt x="541" y="1395"/>
                  <a:pt x="540" y="1394"/>
                </a:cubicBezTo>
                <a:cubicBezTo>
                  <a:pt x="539" y="1394"/>
                  <a:pt x="539" y="1393"/>
                  <a:pt x="539" y="1392"/>
                </a:cubicBezTo>
                <a:cubicBezTo>
                  <a:pt x="539" y="1391"/>
                  <a:pt x="540" y="1390"/>
                  <a:pt x="540" y="1389"/>
                </a:cubicBezTo>
                <a:cubicBezTo>
                  <a:pt x="541" y="1387"/>
                  <a:pt x="542" y="1385"/>
                  <a:pt x="542" y="1382"/>
                </a:cubicBezTo>
                <a:cubicBezTo>
                  <a:pt x="543" y="1380"/>
                  <a:pt x="544" y="1377"/>
                  <a:pt x="545" y="1374"/>
                </a:cubicBezTo>
                <a:cubicBezTo>
                  <a:pt x="546" y="1373"/>
                  <a:pt x="546" y="1372"/>
                  <a:pt x="546" y="1371"/>
                </a:cubicBezTo>
                <a:cubicBezTo>
                  <a:pt x="547" y="1371"/>
                  <a:pt x="547" y="1370"/>
                  <a:pt x="547" y="1369"/>
                </a:cubicBezTo>
                <a:cubicBezTo>
                  <a:pt x="547" y="1369"/>
                  <a:pt x="547" y="1369"/>
                  <a:pt x="547" y="1369"/>
                </a:cubicBezTo>
                <a:cubicBezTo>
                  <a:pt x="547" y="1369"/>
                  <a:pt x="548" y="1369"/>
                  <a:pt x="548" y="1368"/>
                </a:cubicBezTo>
                <a:cubicBezTo>
                  <a:pt x="549" y="1368"/>
                  <a:pt x="549" y="1370"/>
                  <a:pt x="549" y="1370"/>
                </a:cubicBezTo>
                <a:cubicBezTo>
                  <a:pt x="549" y="1371"/>
                  <a:pt x="550" y="1370"/>
                  <a:pt x="550" y="1370"/>
                </a:cubicBezTo>
                <a:cubicBezTo>
                  <a:pt x="550" y="1369"/>
                  <a:pt x="549" y="1368"/>
                  <a:pt x="549" y="1368"/>
                </a:cubicBezTo>
                <a:cubicBezTo>
                  <a:pt x="549" y="1367"/>
                  <a:pt x="550" y="1367"/>
                  <a:pt x="550" y="1367"/>
                </a:cubicBezTo>
                <a:cubicBezTo>
                  <a:pt x="551" y="1366"/>
                  <a:pt x="551" y="1365"/>
                  <a:pt x="552" y="1365"/>
                </a:cubicBezTo>
                <a:cubicBezTo>
                  <a:pt x="552" y="1363"/>
                  <a:pt x="553" y="1362"/>
                  <a:pt x="553" y="1360"/>
                </a:cubicBezTo>
                <a:cubicBezTo>
                  <a:pt x="554" y="1357"/>
                  <a:pt x="555" y="1354"/>
                  <a:pt x="555" y="1353"/>
                </a:cubicBezTo>
                <a:cubicBezTo>
                  <a:pt x="555" y="1352"/>
                  <a:pt x="557" y="1350"/>
                  <a:pt x="557" y="1349"/>
                </a:cubicBezTo>
                <a:cubicBezTo>
                  <a:pt x="558" y="1349"/>
                  <a:pt x="558" y="1348"/>
                  <a:pt x="557" y="1347"/>
                </a:cubicBezTo>
                <a:cubicBezTo>
                  <a:pt x="557" y="1347"/>
                  <a:pt x="556" y="1347"/>
                  <a:pt x="556" y="1347"/>
                </a:cubicBezTo>
                <a:cubicBezTo>
                  <a:pt x="556" y="1347"/>
                  <a:pt x="555" y="1347"/>
                  <a:pt x="555" y="1346"/>
                </a:cubicBezTo>
                <a:cubicBezTo>
                  <a:pt x="556" y="1346"/>
                  <a:pt x="557" y="1345"/>
                  <a:pt x="557" y="1345"/>
                </a:cubicBezTo>
                <a:cubicBezTo>
                  <a:pt x="558" y="1344"/>
                  <a:pt x="558" y="1343"/>
                  <a:pt x="558" y="1342"/>
                </a:cubicBezTo>
                <a:cubicBezTo>
                  <a:pt x="559" y="1341"/>
                  <a:pt x="559" y="1339"/>
                  <a:pt x="560" y="1338"/>
                </a:cubicBezTo>
                <a:cubicBezTo>
                  <a:pt x="560" y="1337"/>
                  <a:pt x="560" y="1337"/>
                  <a:pt x="560" y="1336"/>
                </a:cubicBezTo>
                <a:cubicBezTo>
                  <a:pt x="560" y="1336"/>
                  <a:pt x="559" y="1336"/>
                  <a:pt x="559" y="1335"/>
                </a:cubicBezTo>
                <a:cubicBezTo>
                  <a:pt x="560" y="1332"/>
                  <a:pt x="562" y="1329"/>
                  <a:pt x="563" y="1326"/>
                </a:cubicBezTo>
                <a:cubicBezTo>
                  <a:pt x="564" y="1324"/>
                  <a:pt x="564" y="1323"/>
                  <a:pt x="564" y="1321"/>
                </a:cubicBezTo>
                <a:cubicBezTo>
                  <a:pt x="564" y="1320"/>
                  <a:pt x="564" y="1320"/>
                  <a:pt x="564" y="1319"/>
                </a:cubicBezTo>
                <a:cubicBezTo>
                  <a:pt x="564" y="1318"/>
                  <a:pt x="565" y="1317"/>
                  <a:pt x="565" y="1317"/>
                </a:cubicBezTo>
                <a:cubicBezTo>
                  <a:pt x="566" y="1318"/>
                  <a:pt x="566" y="1320"/>
                  <a:pt x="567" y="1320"/>
                </a:cubicBezTo>
                <a:cubicBezTo>
                  <a:pt x="567" y="1320"/>
                  <a:pt x="567" y="1319"/>
                  <a:pt x="567" y="1318"/>
                </a:cubicBezTo>
                <a:cubicBezTo>
                  <a:pt x="567" y="1318"/>
                  <a:pt x="566" y="1316"/>
                  <a:pt x="566" y="1316"/>
                </a:cubicBezTo>
                <a:cubicBezTo>
                  <a:pt x="566" y="1315"/>
                  <a:pt x="566" y="1315"/>
                  <a:pt x="567" y="1315"/>
                </a:cubicBezTo>
                <a:cubicBezTo>
                  <a:pt x="567" y="1315"/>
                  <a:pt x="567" y="1315"/>
                  <a:pt x="568" y="1315"/>
                </a:cubicBezTo>
                <a:cubicBezTo>
                  <a:pt x="569" y="1313"/>
                  <a:pt x="569" y="1311"/>
                  <a:pt x="570" y="1309"/>
                </a:cubicBezTo>
                <a:cubicBezTo>
                  <a:pt x="571" y="1306"/>
                  <a:pt x="572" y="1302"/>
                  <a:pt x="573" y="1298"/>
                </a:cubicBezTo>
                <a:cubicBezTo>
                  <a:pt x="573" y="1296"/>
                  <a:pt x="574" y="1295"/>
                  <a:pt x="574" y="1293"/>
                </a:cubicBezTo>
                <a:cubicBezTo>
                  <a:pt x="574" y="1291"/>
                  <a:pt x="574" y="1289"/>
                  <a:pt x="574" y="1288"/>
                </a:cubicBezTo>
                <a:cubicBezTo>
                  <a:pt x="574" y="1288"/>
                  <a:pt x="574" y="1287"/>
                  <a:pt x="574" y="1287"/>
                </a:cubicBezTo>
                <a:cubicBezTo>
                  <a:pt x="575" y="1287"/>
                  <a:pt x="575" y="1287"/>
                  <a:pt x="575" y="1287"/>
                </a:cubicBezTo>
                <a:cubicBezTo>
                  <a:pt x="576" y="1287"/>
                  <a:pt x="576" y="1286"/>
                  <a:pt x="576" y="1285"/>
                </a:cubicBezTo>
                <a:cubicBezTo>
                  <a:pt x="576" y="1285"/>
                  <a:pt x="576" y="1284"/>
                  <a:pt x="575" y="1284"/>
                </a:cubicBezTo>
                <a:cubicBezTo>
                  <a:pt x="575" y="1283"/>
                  <a:pt x="574" y="1283"/>
                  <a:pt x="574" y="1282"/>
                </a:cubicBezTo>
                <a:cubicBezTo>
                  <a:pt x="574" y="1282"/>
                  <a:pt x="575" y="1281"/>
                  <a:pt x="575" y="1280"/>
                </a:cubicBezTo>
                <a:cubicBezTo>
                  <a:pt x="576" y="1280"/>
                  <a:pt x="577" y="1279"/>
                  <a:pt x="577" y="1277"/>
                </a:cubicBezTo>
                <a:cubicBezTo>
                  <a:pt x="576" y="1277"/>
                  <a:pt x="576" y="1276"/>
                  <a:pt x="576" y="1275"/>
                </a:cubicBezTo>
                <a:cubicBezTo>
                  <a:pt x="576" y="1274"/>
                  <a:pt x="577" y="1273"/>
                  <a:pt x="577" y="1272"/>
                </a:cubicBezTo>
                <a:cubicBezTo>
                  <a:pt x="578" y="1270"/>
                  <a:pt x="579" y="1266"/>
                  <a:pt x="580" y="1264"/>
                </a:cubicBezTo>
                <a:cubicBezTo>
                  <a:pt x="581" y="1264"/>
                  <a:pt x="581" y="1263"/>
                  <a:pt x="582" y="1262"/>
                </a:cubicBezTo>
                <a:cubicBezTo>
                  <a:pt x="582" y="1262"/>
                  <a:pt x="582" y="1261"/>
                  <a:pt x="582" y="1260"/>
                </a:cubicBezTo>
                <a:cubicBezTo>
                  <a:pt x="582" y="1260"/>
                  <a:pt x="582" y="1259"/>
                  <a:pt x="583" y="1259"/>
                </a:cubicBezTo>
                <a:cubicBezTo>
                  <a:pt x="584" y="1258"/>
                  <a:pt x="582" y="1256"/>
                  <a:pt x="582" y="1255"/>
                </a:cubicBezTo>
                <a:cubicBezTo>
                  <a:pt x="582" y="1255"/>
                  <a:pt x="583" y="1254"/>
                  <a:pt x="583" y="1254"/>
                </a:cubicBezTo>
                <a:cubicBezTo>
                  <a:pt x="583" y="1254"/>
                  <a:pt x="584" y="1254"/>
                  <a:pt x="584" y="1253"/>
                </a:cubicBezTo>
                <a:cubicBezTo>
                  <a:pt x="585" y="1252"/>
                  <a:pt x="585" y="1252"/>
                  <a:pt x="585" y="1251"/>
                </a:cubicBezTo>
                <a:cubicBezTo>
                  <a:pt x="586" y="1250"/>
                  <a:pt x="586" y="1250"/>
                  <a:pt x="586" y="1250"/>
                </a:cubicBezTo>
                <a:cubicBezTo>
                  <a:pt x="586" y="1249"/>
                  <a:pt x="586" y="1249"/>
                  <a:pt x="586" y="1249"/>
                </a:cubicBezTo>
                <a:cubicBezTo>
                  <a:pt x="586" y="1249"/>
                  <a:pt x="586" y="1248"/>
                  <a:pt x="586" y="1248"/>
                </a:cubicBezTo>
                <a:cubicBezTo>
                  <a:pt x="586" y="1248"/>
                  <a:pt x="587" y="1248"/>
                  <a:pt x="587" y="1248"/>
                </a:cubicBezTo>
                <a:cubicBezTo>
                  <a:pt x="587" y="1247"/>
                  <a:pt x="587" y="1247"/>
                  <a:pt x="586" y="1246"/>
                </a:cubicBezTo>
                <a:cubicBezTo>
                  <a:pt x="586" y="1246"/>
                  <a:pt x="585" y="1246"/>
                  <a:pt x="585" y="1246"/>
                </a:cubicBezTo>
                <a:cubicBezTo>
                  <a:pt x="585" y="1245"/>
                  <a:pt x="585" y="1245"/>
                  <a:pt x="585" y="1244"/>
                </a:cubicBezTo>
                <a:cubicBezTo>
                  <a:pt x="586" y="1244"/>
                  <a:pt x="586" y="1243"/>
                  <a:pt x="586" y="1242"/>
                </a:cubicBezTo>
                <a:cubicBezTo>
                  <a:pt x="587" y="1240"/>
                  <a:pt x="588" y="1237"/>
                  <a:pt x="589" y="1235"/>
                </a:cubicBezTo>
                <a:cubicBezTo>
                  <a:pt x="590" y="1234"/>
                  <a:pt x="590" y="1233"/>
                  <a:pt x="591" y="1232"/>
                </a:cubicBezTo>
                <a:cubicBezTo>
                  <a:pt x="591" y="1231"/>
                  <a:pt x="592" y="1230"/>
                  <a:pt x="592" y="1230"/>
                </a:cubicBezTo>
                <a:cubicBezTo>
                  <a:pt x="593" y="1229"/>
                  <a:pt x="594" y="1228"/>
                  <a:pt x="594" y="1227"/>
                </a:cubicBezTo>
                <a:cubicBezTo>
                  <a:pt x="594" y="1226"/>
                  <a:pt x="595" y="1225"/>
                  <a:pt x="594" y="1224"/>
                </a:cubicBezTo>
                <a:cubicBezTo>
                  <a:pt x="594" y="1223"/>
                  <a:pt x="594" y="1223"/>
                  <a:pt x="594" y="1223"/>
                </a:cubicBezTo>
                <a:cubicBezTo>
                  <a:pt x="593" y="1222"/>
                  <a:pt x="593" y="1222"/>
                  <a:pt x="593" y="1222"/>
                </a:cubicBezTo>
                <a:cubicBezTo>
                  <a:pt x="593" y="1222"/>
                  <a:pt x="593" y="1221"/>
                  <a:pt x="593" y="1221"/>
                </a:cubicBezTo>
                <a:cubicBezTo>
                  <a:pt x="594" y="1218"/>
                  <a:pt x="598" y="1216"/>
                  <a:pt x="598" y="1213"/>
                </a:cubicBezTo>
                <a:cubicBezTo>
                  <a:pt x="598" y="1212"/>
                  <a:pt x="598" y="1212"/>
                  <a:pt x="598" y="1211"/>
                </a:cubicBezTo>
                <a:cubicBezTo>
                  <a:pt x="597" y="1210"/>
                  <a:pt x="597" y="1209"/>
                  <a:pt x="598" y="1207"/>
                </a:cubicBezTo>
                <a:cubicBezTo>
                  <a:pt x="598" y="1206"/>
                  <a:pt x="598" y="1205"/>
                  <a:pt x="598" y="1204"/>
                </a:cubicBezTo>
                <a:cubicBezTo>
                  <a:pt x="599" y="1204"/>
                  <a:pt x="598" y="1204"/>
                  <a:pt x="598" y="1203"/>
                </a:cubicBezTo>
                <a:cubicBezTo>
                  <a:pt x="598" y="1202"/>
                  <a:pt x="598" y="1202"/>
                  <a:pt x="598" y="1201"/>
                </a:cubicBezTo>
                <a:cubicBezTo>
                  <a:pt x="598" y="1200"/>
                  <a:pt x="598" y="1199"/>
                  <a:pt x="599" y="1198"/>
                </a:cubicBezTo>
                <a:cubicBezTo>
                  <a:pt x="599" y="1198"/>
                  <a:pt x="600" y="1197"/>
                  <a:pt x="600" y="1197"/>
                </a:cubicBezTo>
                <a:cubicBezTo>
                  <a:pt x="601" y="1196"/>
                  <a:pt x="601" y="1195"/>
                  <a:pt x="602" y="1194"/>
                </a:cubicBezTo>
                <a:cubicBezTo>
                  <a:pt x="602" y="1192"/>
                  <a:pt x="602" y="1191"/>
                  <a:pt x="603" y="1190"/>
                </a:cubicBezTo>
                <a:cubicBezTo>
                  <a:pt x="603" y="1189"/>
                  <a:pt x="603" y="1187"/>
                  <a:pt x="604" y="1186"/>
                </a:cubicBezTo>
                <a:cubicBezTo>
                  <a:pt x="604" y="1186"/>
                  <a:pt x="605" y="1184"/>
                  <a:pt x="605" y="1184"/>
                </a:cubicBezTo>
                <a:cubicBezTo>
                  <a:pt x="604" y="1183"/>
                  <a:pt x="603" y="1182"/>
                  <a:pt x="603" y="1181"/>
                </a:cubicBezTo>
                <a:cubicBezTo>
                  <a:pt x="603" y="1180"/>
                  <a:pt x="604" y="1179"/>
                  <a:pt x="605" y="1178"/>
                </a:cubicBezTo>
                <a:cubicBezTo>
                  <a:pt x="605" y="1176"/>
                  <a:pt x="606" y="1175"/>
                  <a:pt x="606" y="1174"/>
                </a:cubicBezTo>
                <a:cubicBezTo>
                  <a:pt x="607" y="1172"/>
                  <a:pt x="607" y="1170"/>
                  <a:pt x="608" y="1168"/>
                </a:cubicBezTo>
                <a:cubicBezTo>
                  <a:pt x="609" y="1164"/>
                  <a:pt x="610" y="1160"/>
                  <a:pt x="611" y="1156"/>
                </a:cubicBezTo>
                <a:cubicBezTo>
                  <a:pt x="612" y="1155"/>
                  <a:pt x="612" y="1154"/>
                  <a:pt x="613" y="1153"/>
                </a:cubicBezTo>
                <a:cubicBezTo>
                  <a:pt x="613" y="1152"/>
                  <a:pt x="614" y="1151"/>
                  <a:pt x="614" y="1150"/>
                </a:cubicBezTo>
                <a:cubicBezTo>
                  <a:pt x="614" y="1150"/>
                  <a:pt x="615" y="1150"/>
                  <a:pt x="614" y="1149"/>
                </a:cubicBezTo>
                <a:cubicBezTo>
                  <a:pt x="614" y="1149"/>
                  <a:pt x="614" y="1149"/>
                  <a:pt x="614" y="1149"/>
                </a:cubicBezTo>
                <a:cubicBezTo>
                  <a:pt x="614" y="1148"/>
                  <a:pt x="614" y="1147"/>
                  <a:pt x="615" y="1147"/>
                </a:cubicBezTo>
                <a:cubicBezTo>
                  <a:pt x="615" y="1146"/>
                  <a:pt x="615" y="1145"/>
                  <a:pt x="616" y="1144"/>
                </a:cubicBezTo>
                <a:cubicBezTo>
                  <a:pt x="616" y="1142"/>
                  <a:pt x="617" y="1140"/>
                  <a:pt x="617" y="1139"/>
                </a:cubicBezTo>
                <a:cubicBezTo>
                  <a:pt x="617" y="1138"/>
                  <a:pt x="617" y="1136"/>
                  <a:pt x="617" y="1136"/>
                </a:cubicBezTo>
                <a:cubicBezTo>
                  <a:pt x="618" y="1135"/>
                  <a:pt x="619" y="1136"/>
                  <a:pt x="619" y="1135"/>
                </a:cubicBezTo>
                <a:cubicBezTo>
                  <a:pt x="619" y="1135"/>
                  <a:pt x="619" y="1135"/>
                  <a:pt x="619" y="1134"/>
                </a:cubicBezTo>
                <a:cubicBezTo>
                  <a:pt x="619" y="1134"/>
                  <a:pt x="619" y="1134"/>
                  <a:pt x="618" y="1134"/>
                </a:cubicBezTo>
                <a:cubicBezTo>
                  <a:pt x="617" y="1135"/>
                  <a:pt x="616" y="1132"/>
                  <a:pt x="617" y="1131"/>
                </a:cubicBezTo>
                <a:cubicBezTo>
                  <a:pt x="617" y="1130"/>
                  <a:pt x="618" y="1131"/>
                  <a:pt x="619" y="1130"/>
                </a:cubicBezTo>
                <a:cubicBezTo>
                  <a:pt x="620" y="1130"/>
                  <a:pt x="619" y="1129"/>
                  <a:pt x="619" y="1129"/>
                </a:cubicBezTo>
                <a:cubicBezTo>
                  <a:pt x="620" y="1128"/>
                  <a:pt x="620" y="1127"/>
                  <a:pt x="621" y="1126"/>
                </a:cubicBezTo>
                <a:cubicBezTo>
                  <a:pt x="621" y="1126"/>
                  <a:pt x="622" y="1125"/>
                  <a:pt x="622" y="1124"/>
                </a:cubicBezTo>
                <a:cubicBezTo>
                  <a:pt x="622" y="1124"/>
                  <a:pt x="622" y="1123"/>
                  <a:pt x="622" y="1123"/>
                </a:cubicBezTo>
                <a:cubicBezTo>
                  <a:pt x="621" y="1122"/>
                  <a:pt x="622" y="1122"/>
                  <a:pt x="623" y="1121"/>
                </a:cubicBezTo>
                <a:cubicBezTo>
                  <a:pt x="623" y="1120"/>
                  <a:pt x="622" y="1119"/>
                  <a:pt x="622" y="1119"/>
                </a:cubicBezTo>
                <a:cubicBezTo>
                  <a:pt x="622" y="1118"/>
                  <a:pt x="622" y="1117"/>
                  <a:pt x="622" y="1117"/>
                </a:cubicBezTo>
                <a:cubicBezTo>
                  <a:pt x="622" y="1117"/>
                  <a:pt x="622" y="1116"/>
                  <a:pt x="622" y="1116"/>
                </a:cubicBezTo>
                <a:cubicBezTo>
                  <a:pt x="622" y="1116"/>
                  <a:pt x="623" y="1116"/>
                  <a:pt x="623" y="1115"/>
                </a:cubicBezTo>
                <a:cubicBezTo>
                  <a:pt x="625" y="1115"/>
                  <a:pt x="625" y="1113"/>
                  <a:pt x="625" y="1112"/>
                </a:cubicBezTo>
                <a:cubicBezTo>
                  <a:pt x="629" y="1096"/>
                  <a:pt x="631" y="1090"/>
                  <a:pt x="631" y="1089"/>
                </a:cubicBezTo>
                <a:cubicBezTo>
                  <a:pt x="631" y="1089"/>
                  <a:pt x="633" y="1080"/>
                  <a:pt x="634" y="1079"/>
                </a:cubicBezTo>
                <a:cubicBezTo>
                  <a:pt x="635" y="1078"/>
                  <a:pt x="636" y="1077"/>
                  <a:pt x="636" y="1076"/>
                </a:cubicBezTo>
                <a:cubicBezTo>
                  <a:pt x="637" y="1076"/>
                  <a:pt x="637" y="1075"/>
                  <a:pt x="638" y="1074"/>
                </a:cubicBezTo>
                <a:cubicBezTo>
                  <a:pt x="638" y="1074"/>
                  <a:pt x="638" y="1073"/>
                  <a:pt x="638" y="1073"/>
                </a:cubicBezTo>
                <a:cubicBezTo>
                  <a:pt x="638" y="1072"/>
                  <a:pt x="638" y="1072"/>
                  <a:pt x="639" y="1072"/>
                </a:cubicBezTo>
                <a:cubicBezTo>
                  <a:pt x="639" y="1071"/>
                  <a:pt x="639" y="1072"/>
                  <a:pt x="640" y="1072"/>
                </a:cubicBezTo>
                <a:cubicBezTo>
                  <a:pt x="640" y="1071"/>
                  <a:pt x="641" y="1070"/>
                  <a:pt x="641" y="1070"/>
                </a:cubicBezTo>
                <a:cubicBezTo>
                  <a:pt x="641" y="1069"/>
                  <a:pt x="641" y="1068"/>
                  <a:pt x="641" y="1067"/>
                </a:cubicBezTo>
                <a:cubicBezTo>
                  <a:pt x="641" y="1065"/>
                  <a:pt x="640" y="1063"/>
                  <a:pt x="642" y="1062"/>
                </a:cubicBezTo>
                <a:cubicBezTo>
                  <a:pt x="642" y="1062"/>
                  <a:pt x="643" y="1062"/>
                  <a:pt x="643" y="1062"/>
                </a:cubicBezTo>
                <a:cubicBezTo>
                  <a:pt x="644" y="1061"/>
                  <a:pt x="643" y="1060"/>
                  <a:pt x="643" y="1060"/>
                </a:cubicBezTo>
                <a:cubicBezTo>
                  <a:pt x="642" y="1059"/>
                  <a:pt x="643" y="1058"/>
                  <a:pt x="643" y="1057"/>
                </a:cubicBezTo>
                <a:cubicBezTo>
                  <a:pt x="643" y="1056"/>
                  <a:pt x="644" y="1054"/>
                  <a:pt x="644" y="1053"/>
                </a:cubicBezTo>
                <a:cubicBezTo>
                  <a:pt x="645" y="1048"/>
                  <a:pt x="647" y="1043"/>
                  <a:pt x="647" y="1042"/>
                </a:cubicBezTo>
                <a:cubicBezTo>
                  <a:pt x="647" y="1041"/>
                  <a:pt x="648" y="1039"/>
                  <a:pt x="648" y="1038"/>
                </a:cubicBezTo>
                <a:cubicBezTo>
                  <a:pt x="648" y="1037"/>
                  <a:pt x="648" y="1036"/>
                  <a:pt x="648" y="1035"/>
                </a:cubicBezTo>
                <a:cubicBezTo>
                  <a:pt x="648" y="1035"/>
                  <a:pt x="648" y="1034"/>
                  <a:pt x="647" y="1034"/>
                </a:cubicBezTo>
                <a:cubicBezTo>
                  <a:pt x="647" y="1032"/>
                  <a:pt x="648" y="1031"/>
                  <a:pt x="649" y="1030"/>
                </a:cubicBezTo>
                <a:cubicBezTo>
                  <a:pt x="650" y="1029"/>
                  <a:pt x="650" y="1028"/>
                  <a:pt x="651" y="1027"/>
                </a:cubicBezTo>
                <a:cubicBezTo>
                  <a:pt x="651" y="1027"/>
                  <a:pt x="651" y="1026"/>
                  <a:pt x="651" y="1025"/>
                </a:cubicBezTo>
                <a:cubicBezTo>
                  <a:pt x="652" y="1023"/>
                  <a:pt x="652" y="1021"/>
                  <a:pt x="653" y="1018"/>
                </a:cubicBezTo>
                <a:cubicBezTo>
                  <a:pt x="654" y="1014"/>
                  <a:pt x="656" y="1007"/>
                  <a:pt x="658" y="1000"/>
                </a:cubicBezTo>
                <a:cubicBezTo>
                  <a:pt x="663" y="987"/>
                  <a:pt x="667" y="972"/>
                  <a:pt x="668" y="968"/>
                </a:cubicBezTo>
                <a:cubicBezTo>
                  <a:pt x="668" y="966"/>
                  <a:pt x="669" y="965"/>
                  <a:pt x="669" y="963"/>
                </a:cubicBezTo>
                <a:cubicBezTo>
                  <a:pt x="669" y="962"/>
                  <a:pt x="670" y="961"/>
                  <a:pt x="670" y="960"/>
                </a:cubicBezTo>
                <a:cubicBezTo>
                  <a:pt x="669" y="960"/>
                  <a:pt x="669" y="959"/>
                  <a:pt x="669" y="959"/>
                </a:cubicBezTo>
                <a:cubicBezTo>
                  <a:pt x="669" y="958"/>
                  <a:pt x="670" y="958"/>
                  <a:pt x="670" y="958"/>
                </a:cubicBezTo>
                <a:cubicBezTo>
                  <a:pt x="670" y="958"/>
                  <a:pt x="670" y="958"/>
                  <a:pt x="670" y="958"/>
                </a:cubicBezTo>
                <a:cubicBezTo>
                  <a:pt x="671" y="957"/>
                  <a:pt x="671" y="955"/>
                  <a:pt x="671" y="954"/>
                </a:cubicBezTo>
                <a:cubicBezTo>
                  <a:pt x="672" y="953"/>
                  <a:pt x="672" y="952"/>
                  <a:pt x="672" y="951"/>
                </a:cubicBezTo>
                <a:cubicBezTo>
                  <a:pt x="673" y="949"/>
                  <a:pt x="673" y="948"/>
                  <a:pt x="674" y="947"/>
                </a:cubicBezTo>
                <a:cubicBezTo>
                  <a:pt x="674" y="947"/>
                  <a:pt x="674" y="947"/>
                  <a:pt x="674" y="946"/>
                </a:cubicBezTo>
                <a:cubicBezTo>
                  <a:pt x="673" y="944"/>
                  <a:pt x="673" y="943"/>
                  <a:pt x="674" y="941"/>
                </a:cubicBezTo>
                <a:cubicBezTo>
                  <a:pt x="674" y="941"/>
                  <a:pt x="674" y="941"/>
                  <a:pt x="675" y="941"/>
                </a:cubicBezTo>
                <a:cubicBezTo>
                  <a:pt x="675" y="941"/>
                  <a:pt x="675" y="941"/>
                  <a:pt x="676" y="941"/>
                </a:cubicBezTo>
                <a:cubicBezTo>
                  <a:pt x="677" y="940"/>
                  <a:pt x="677" y="938"/>
                  <a:pt x="677" y="936"/>
                </a:cubicBezTo>
                <a:cubicBezTo>
                  <a:pt x="678" y="934"/>
                  <a:pt x="678" y="933"/>
                  <a:pt x="679" y="931"/>
                </a:cubicBezTo>
                <a:cubicBezTo>
                  <a:pt x="680" y="929"/>
                  <a:pt x="681" y="927"/>
                  <a:pt x="681" y="925"/>
                </a:cubicBezTo>
                <a:cubicBezTo>
                  <a:pt x="681" y="924"/>
                  <a:pt x="683" y="919"/>
                  <a:pt x="684" y="914"/>
                </a:cubicBezTo>
                <a:cubicBezTo>
                  <a:pt x="684" y="913"/>
                  <a:pt x="685" y="911"/>
                  <a:pt x="685" y="909"/>
                </a:cubicBezTo>
                <a:cubicBezTo>
                  <a:pt x="686" y="908"/>
                  <a:pt x="686" y="907"/>
                  <a:pt x="686" y="905"/>
                </a:cubicBezTo>
                <a:cubicBezTo>
                  <a:pt x="686" y="905"/>
                  <a:pt x="686" y="904"/>
                  <a:pt x="686" y="904"/>
                </a:cubicBezTo>
                <a:cubicBezTo>
                  <a:pt x="686" y="903"/>
                  <a:pt x="687" y="902"/>
                  <a:pt x="687" y="901"/>
                </a:cubicBezTo>
                <a:cubicBezTo>
                  <a:pt x="689" y="899"/>
                  <a:pt x="689" y="897"/>
                  <a:pt x="690" y="894"/>
                </a:cubicBezTo>
                <a:cubicBezTo>
                  <a:pt x="691" y="892"/>
                  <a:pt x="691" y="889"/>
                  <a:pt x="692" y="887"/>
                </a:cubicBezTo>
                <a:cubicBezTo>
                  <a:pt x="693" y="884"/>
                  <a:pt x="694" y="881"/>
                  <a:pt x="695" y="878"/>
                </a:cubicBezTo>
                <a:cubicBezTo>
                  <a:pt x="695" y="877"/>
                  <a:pt x="696" y="876"/>
                  <a:pt x="696" y="875"/>
                </a:cubicBezTo>
                <a:cubicBezTo>
                  <a:pt x="696" y="874"/>
                  <a:pt x="697" y="873"/>
                  <a:pt x="697" y="871"/>
                </a:cubicBezTo>
                <a:cubicBezTo>
                  <a:pt x="697" y="870"/>
                  <a:pt x="696" y="868"/>
                  <a:pt x="697" y="867"/>
                </a:cubicBezTo>
                <a:cubicBezTo>
                  <a:pt x="697" y="864"/>
                  <a:pt x="698" y="863"/>
                  <a:pt x="699" y="861"/>
                </a:cubicBezTo>
                <a:cubicBezTo>
                  <a:pt x="700" y="859"/>
                  <a:pt x="701" y="857"/>
                  <a:pt x="702" y="855"/>
                </a:cubicBezTo>
                <a:cubicBezTo>
                  <a:pt x="703" y="850"/>
                  <a:pt x="705" y="845"/>
                  <a:pt x="706" y="841"/>
                </a:cubicBezTo>
                <a:cubicBezTo>
                  <a:pt x="707" y="837"/>
                  <a:pt x="708" y="834"/>
                  <a:pt x="709" y="831"/>
                </a:cubicBezTo>
                <a:cubicBezTo>
                  <a:pt x="710" y="828"/>
                  <a:pt x="710" y="825"/>
                  <a:pt x="711" y="822"/>
                </a:cubicBezTo>
                <a:cubicBezTo>
                  <a:pt x="711" y="821"/>
                  <a:pt x="711" y="820"/>
                  <a:pt x="712" y="819"/>
                </a:cubicBezTo>
                <a:cubicBezTo>
                  <a:pt x="712" y="819"/>
                  <a:pt x="712" y="819"/>
                  <a:pt x="712" y="818"/>
                </a:cubicBezTo>
                <a:cubicBezTo>
                  <a:pt x="712" y="818"/>
                  <a:pt x="712" y="817"/>
                  <a:pt x="712" y="816"/>
                </a:cubicBezTo>
                <a:cubicBezTo>
                  <a:pt x="712" y="816"/>
                  <a:pt x="712" y="816"/>
                  <a:pt x="712" y="816"/>
                </a:cubicBezTo>
                <a:cubicBezTo>
                  <a:pt x="714" y="816"/>
                  <a:pt x="714" y="813"/>
                  <a:pt x="715" y="812"/>
                </a:cubicBezTo>
                <a:cubicBezTo>
                  <a:pt x="715" y="811"/>
                  <a:pt x="717" y="809"/>
                  <a:pt x="716" y="808"/>
                </a:cubicBezTo>
                <a:cubicBezTo>
                  <a:pt x="716" y="808"/>
                  <a:pt x="716" y="808"/>
                  <a:pt x="716" y="808"/>
                </a:cubicBezTo>
                <a:cubicBezTo>
                  <a:pt x="716" y="807"/>
                  <a:pt x="716" y="807"/>
                  <a:pt x="716" y="807"/>
                </a:cubicBezTo>
                <a:cubicBezTo>
                  <a:pt x="716" y="806"/>
                  <a:pt x="717" y="805"/>
                  <a:pt x="717" y="803"/>
                </a:cubicBezTo>
                <a:cubicBezTo>
                  <a:pt x="718" y="801"/>
                  <a:pt x="719" y="797"/>
                  <a:pt x="720" y="795"/>
                </a:cubicBezTo>
                <a:cubicBezTo>
                  <a:pt x="721" y="791"/>
                  <a:pt x="724" y="780"/>
                  <a:pt x="726" y="774"/>
                </a:cubicBezTo>
                <a:cubicBezTo>
                  <a:pt x="727" y="773"/>
                  <a:pt x="728" y="770"/>
                  <a:pt x="728" y="767"/>
                </a:cubicBezTo>
                <a:cubicBezTo>
                  <a:pt x="729" y="766"/>
                  <a:pt x="729" y="764"/>
                  <a:pt x="730" y="762"/>
                </a:cubicBezTo>
                <a:cubicBezTo>
                  <a:pt x="731" y="762"/>
                  <a:pt x="731" y="761"/>
                  <a:pt x="731" y="761"/>
                </a:cubicBezTo>
                <a:cubicBezTo>
                  <a:pt x="732" y="760"/>
                  <a:pt x="732" y="759"/>
                  <a:pt x="732" y="758"/>
                </a:cubicBezTo>
                <a:cubicBezTo>
                  <a:pt x="732" y="756"/>
                  <a:pt x="733" y="753"/>
                  <a:pt x="734" y="752"/>
                </a:cubicBezTo>
                <a:cubicBezTo>
                  <a:pt x="734" y="751"/>
                  <a:pt x="735" y="750"/>
                  <a:pt x="735" y="749"/>
                </a:cubicBezTo>
                <a:cubicBezTo>
                  <a:pt x="735" y="749"/>
                  <a:pt x="735" y="749"/>
                  <a:pt x="735" y="748"/>
                </a:cubicBezTo>
                <a:cubicBezTo>
                  <a:pt x="735" y="748"/>
                  <a:pt x="735" y="748"/>
                  <a:pt x="735" y="748"/>
                </a:cubicBezTo>
                <a:cubicBezTo>
                  <a:pt x="735" y="747"/>
                  <a:pt x="735" y="746"/>
                  <a:pt x="736" y="745"/>
                </a:cubicBezTo>
                <a:cubicBezTo>
                  <a:pt x="736" y="744"/>
                  <a:pt x="736" y="742"/>
                  <a:pt x="737" y="741"/>
                </a:cubicBezTo>
                <a:cubicBezTo>
                  <a:pt x="738" y="738"/>
                  <a:pt x="738" y="736"/>
                  <a:pt x="739" y="733"/>
                </a:cubicBezTo>
                <a:cubicBezTo>
                  <a:pt x="741" y="729"/>
                  <a:pt x="742" y="724"/>
                  <a:pt x="744" y="720"/>
                </a:cubicBezTo>
                <a:cubicBezTo>
                  <a:pt x="743" y="719"/>
                  <a:pt x="743" y="718"/>
                  <a:pt x="743" y="717"/>
                </a:cubicBezTo>
                <a:cubicBezTo>
                  <a:pt x="743" y="717"/>
                  <a:pt x="743" y="716"/>
                  <a:pt x="743" y="716"/>
                </a:cubicBezTo>
                <a:cubicBezTo>
                  <a:pt x="743" y="716"/>
                  <a:pt x="743" y="715"/>
                  <a:pt x="743" y="715"/>
                </a:cubicBezTo>
                <a:cubicBezTo>
                  <a:pt x="743" y="714"/>
                  <a:pt x="744" y="714"/>
                  <a:pt x="744" y="713"/>
                </a:cubicBezTo>
                <a:cubicBezTo>
                  <a:pt x="745" y="713"/>
                  <a:pt x="746" y="712"/>
                  <a:pt x="746" y="711"/>
                </a:cubicBezTo>
                <a:cubicBezTo>
                  <a:pt x="746" y="710"/>
                  <a:pt x="748" y="708"/>
                  <a:pt x="747" y="707"/>
                </a:cubicBezTo>
                <a:cubicBezTo>
                  <a:pt x="747" y="706"/>
                  <a:pt x="746" y="706"/>
                  <a:pt x="746" y="706"/>
                </a:cubicBezTo>
                <a:cubicBezTo>
                  <a:pt x="746" y="706"/>
                  <a:pt x="746" y="705"/>
                  <a:pt x="746" y="705"/>
                </a:cubicBezTo>
                <a:cubicBezTo>
                  <a:pt x="746" y="705"/>
                  <a:pt x="746" y="704"/>
                  <a:pt x="747" y="704"/>
                </a:cubicBezTo>
                <a:cubicBezTo>
                  <a:pt x="749" y="704"/>
                  <a:pt x="749" y="702"/>
                  <a:pt x="749" y="701"/>
                </a:cubicBezTo>
                <a:cubicBezTo>
                  <a:pt x="750" y="699"/>
                  <a:pt x="751" y="698"/>
                  <a:pt x="752" y="697"/>
                </a:cubicBezTo>
                <a:cubicBezTo>
                  <a:pt x="752" y="697"/>
                  <a:pt x="752" y="697"/>
                  <a:pt x="752" y="696"/>
                </a:cubicBezTo>
                <a:cubicBezTo>
                  <a:pt x="752" y="696"/>
                  <a:pt x="752" y="695"/>
                  <a:pt x="752" y="695"/>
                </a:cubicBezTo>
                <a:cubicBezTo>
                  <a:pt x="752" y="695"/>
                  <a:pt x="751" y="694"/>
                  <a:pt x="751" y="694"/>
                </a:cubicBezTo>
                <a:cubicBezTo>
                  <a:pt x="751" y="694"/>
                  <a:pt x="751" y="693"/>
                  <a:pt x="751" y="693"/>
                </a:cubicBezTo>
                <a:cubicBezTo>
                  <a:pt x="752" y="692"/>
                  <a:pt x="752" y="692"/>
                  <a:pt x="752" y="692"/>
                </a:cubicBezTo>
                <a:cubicBezTo>
                  <a:pt x="752" y="692"/>
                  <a:pt x="753" y="692"/>
                  <a:pt x="754" y="692"/>
                </a:cubicBezTo>
                <a:cubicBezTo>
                  <a:pt x="754" y="692"/>
                  <a:pt x="754" y="692"/>
                  <a:pt x="754" y="691"/>
                </a:cubicBezTo>
                <a:cubicBezTo>
                  <a:pt x="754" y="690"/>
                  <a:pt x="753" y="689"/>
                  <a:pt x="753" y="688"/>
                </a:cubicBezTo>
                <a:cubicBezTo>
                  <a:pt x="754" y="688"/>
                  <a:pt x="754" y="687"/>
                  <a:pt x="754" y="686"/>
                </a:cubicBezTo>
                <a:cubicBezTo>
                  <a:pt x="754" y="685"/>
                  <a:pt x="755" y="684"/>
                  <a:pt x="755" y="682"/>
                </a:cubicBezTo>
                <a:cubicBezTo>
                  <a:pt x="756" y="679"/>
                  <a:pt x="758" y="674"/>
                  <a:pt x="759" y="673"/>
                </a:cubicBezTo>
                <a:cubicBezTo>
                  <a:pt x="759" y="672"/>
                  <a:pt x="759" y="671"/>
                  <a:pt x="760" y="670"/>
                </a:cubicBezTo>
                <a:cubicBezTo>
                  <a:pt x="760" y="670"/>
                  <a:pt x="760" y="670"/>
                  <a:pt x="761" y="670"/>
                </a:cubicBezTo>
                <a:cubicBezTo>
                  <a:pt x="761" y="670"/>
                  <a:pt x="762" y="670"/>
                  <a:pt x="762" y="669"/>
                </a:cubicBezTo>
                <a:cubicBezTo>
                  <a:pt x="761" y="668"/>
                  <a:pt x="760" y="668"/>
                  <a:pt x="760" y="667"/>
                </a:cubicBezTo>
                <a:cubicBezTo>
                  <a:pt x="760" y="666"/>
                  <a:pt x="761" y="665"/>
                  <a:pt x="762" y="664"/>
                </a:cubicBezTo>
                <a:cubicBezTo>
                  <a:pt x="763" y="661"/>
                  <a:pt x="764" y="657"/>
                  <a:pt x="765" y="654"/>
                </a:cubicBezTo>
                <a:cubicBezTo>
                  <a:pt x="766" y="653"/>
                  <a:pt x="766" y="651"/>
                  <a:pt x="766" y="650"/>
                </a:cubicBezTo>
                <a:cubicBezTo>
                  <a:pt x="766" y="650"/>
                  <a:pt x="766" y="649"/>
                  <a:pt x="767" y="648"/>
                </a:cubicBezTo>
                <a:cubicBezTo>
                  <a:pt x="767" y="648"/>
                  <a:pt x="767" y="648"/>
                  <a:pt x="768" y="648"/>
                </a:cubicBezTo>
                <a:cubicBezTo>
                  <a:pt x="768" y="647"/>
                  <a:pt x="768" y="647"/>
                  <a:pt x="768" y="647"/>
                </a:cubicBezTo>
                <a:cubicBezTo>
                  <a:pt x="768" y="646"/>
                  <a:pt x="768" y="646"/>
                  <a:pt x="768" y="645"/>
                </a:cubicBezTo>
                <a:cubicBezTo>
                  <a:pt x="768" y="645"/>
                  <a:pt x="768" y="645"/>
                  <a:pt x="767" y="644"/>
                </a:cubicBezTo>
                <a:cubicBezTo>
                  <a:pt x="767" y="644"/>
                  <a:pt x="767" y="643"/>
                  <a:pt x="767" y="643"/>
                </a:cubicBezTo>
                <a:cubicBezTo>
                  <a:pt x="767" y="641"/>
                  <a:pt x="767" y="639"/>
                  <a:pt x="768" y="637"/>
                </a:cubicBezTo>
                <a:cubicBezTo>
                  <a:pt x="768" y="636"/>
                  <a:pt x="769" y="634"/>
                  <a:pt x="770" y="633"/>
                </a:cubicBezTo>
                <a:cubicBezTo>
                  <a:pt x="770" y="632"/>
                  <a:pt x="771" y="631"/>
                  <a:pt x="771" y="631"/>
                </a:cubicBezTo>
                <a:cubicBezTo>
                  <a:pt x="772" y="630"/>
                  <a:pt x="772" y="630"/>
                  <a:pt x="773" y="629"/>
                </a:cubicBezTo>
                <a:cubicBezTo>
                  <a:pt x="773" y="629"/>
                  <a:pt x="773" y="629"/>
                  <a:pt x="773" y="629"/>
                </a:cubicBezTo>
                <a:cubicBezTo>
                  <a:pt x="773" y="629"/>
                  <a:pt x="773" y="628"/>
                  <a:pt x="773" y="628"/>
                </a:cubicBezTo>
                <a:cubicBezTo>
                  <a:pt x="773" y="628"/>
                  <a:pt x="773" y="628"/>
                  <a:pt x="773" y="628"/>
                </a:cubicBezTo>
                <a:cubicBezTo>
                  <a:pt x="773" y="628"/>
                  <a:pt x="773" y="627"/>
                  <a:pt x="773" y="627"/>
                </a:cubicBezTo>
                <a:cubicBezTo>
                  <a:pt x="773" y="626"/>
                  <a:pt x="775" y="624"/>
                  <a:pt x="775" y="623"/>
                </a:cubicBezTo>
                <a:cubicBezTo>
                  <a:pt x="775" y="623"/>
                  <a:pt x="775" y="623"/>
                  <a:pt x="775" y="622"/>
                </a:cubicBezTo>
                <a:cubicBezTo>
                  <a:pt x="776" y="622"/>
                  <a:pt x="775" y="620"/>
                  <a:pt x="775" y="619"/>
                </a:cubicBezTo>
                <a:cubicBezTo>
                  <a:pt x="775" y="618"/>
                  <a:pt x="775" y="617"/>
                  <a:pt x="775" y="616"/>
                </a:cubicBezTo>
                <a:cubicBezTo>
                  <a:pt x="775" y="616"/>
                  <a:pt x="774" y="615"/>
                  <a:pt x="774" y="614"/>
                </a:cubicBezTo>
                <a:cubicBezTo>
                  <a:pt x="774" y="613"/>
                  <a:pt x="775" y="613"/>
                  <a:pt x="776" y="612"/>
                </a:cubicBezTo>
                <a:cubicBezTo>
                  <a:pt x="776" y="611"/>
                  <a:pt x="777" y="610"/>
                  <a:pt x="778" y="610"/>
                </a:cubicBezTo>
                <a:cubicBezTo>
                  <a:pt x="778" y="608"/>
                  <a:pt x="779" y="606"/>
                  <a:pt x="780" y="604"/>
                </a:cubicBezTo>
                <a:cubicBezTo>
                  <a:pt x="780" y="603"/>
                  <a:pt x="781" y="601"/>
                  <a:pt x="782" y="600"/>
                </a:cubicBezTo>
                <a:cubicBezTo>
                  <a:pt x="782" y="599"/>
                  <a:pt x="783" y="598"/>
                  <a:pt x="784" y="597"/>
                </a:cubicBezTo>
                <a:cubicBezTo>
                  <a:pt x="784" y="597"/>
                  <a:pt x="784" y="597"/>
                  <a:pt x="784" y="597"/>
                </a:cubicBezTo>
                <a:cubicBezTo>
                  <a:pt x="784" y="596"/>
                  <a:pt x="784" y="596"/>
                  <a:pt x="784" y="596"/>
                </a:cubicBezTo>
                <a:cubicBezTo>
                  <a:pt x="784" y="596"/>
                  <a:pt x="784" y="595"/>
                  <a:pt x="784" y="595"/>
                </a:cubicBezTo>
                <a:cubicBezTo>
                  <a:pt x="784" y="595"/>
                  <a:pt x="784" y="595"/>
                  <a:pt x="784" y="595"/>
                </a:cubicBezTo>
                <a:cubicBezTo>
                  <a:pt x="785" y="595"/>
                  <a:pt x="785" y="595"/>
                  <a:pt x="784" y="594"/>
                </a:cubicBezTo>
                <a:cubicBezTo>
                  <a:pt x="784" y="594"/>
                  <a:pt x="784" y="594"/>
                  <a:pt x="784" y="594"/>
                </a:cubicBezTo>
                <a:cubicBezTo>
                  <a:pt x="784" y="593"/>
                  <a:pt x="784" y="593"/>
                  <a:pt x="784" y="593"/>
                </a:cubicBezTo>
                <a:cubicBezTo>
                  <a:pt x="785" y="593"/>
                  <a:pt x="785" y="592"/>
                  <a:pt x="785" y="591"/>
                </a:cubicBezTo>
                <a:cubicBezTo>
                  <a:pt x="786" y="587"/>
                  <a:pt x="786" y="583"/>
                  <a:pt x="787" y="580"/>
                </a:cubicBezTo>
                <a:cubicBezTo>
                  <a:pt x="788" y="578"/>
                  <a:pt x="788" y="577"/>
                  <a:pt x="789" y="575"/>
                </a:cubicBezTo>
                <a:cubicBezTo>
                  <a:pt x="789" y="574"/>
                  <a:pt x="790" y="573"/>
                  <a:pt x="791" y="573"/>
                </a:cubicBezTo>
                <a:cubicBezTo>
                  <a:pt x="791" y="572"/>
                  <a:pt x="792" y="572"/>
                  <a:pt x="793" y="572"/>
                </a:cubicBezTo>
                <a:cubicBezTo>
                  <a:pt x="793" y="571"/>
                  <a:pt x="793" y="570"/>
                  <a:pt x="794" y="569"/>
                </a:cubicBezTo>
                <a:cubicBezTo>
                  <a:pt x="794" y="568"/>
                  <a:pt x="795" y="567"/>
                  <a:pt x="795" y="566"/>
                </a:cubicBezTo>
                <a:cubicBezTo>
                  <a:pt x="793" y="565"/>
                  <a:pt x="795" y="563"/>
                  <a:pt x="795" y="563"/>
                </a:cubicBezTo>
                <a:cubicBezTo>
                  <a:pt x="796" y="561"/>
                  <a:pt x="797" y="560"/>
                  <a:pt x="798" y="558"/>
                </a:cubicBezTo>
                <a:cubicBezTo>
                  <a:pt x="798" y="557"/>
                  <a:pt x="798" y="556"/>
                  <a:pt x="798" y="555"/>
                </a:cubicBezTo>
                <a:cubicBezTo>
                  <a:pt x="798" y="555"/>
                  <a:pt x="798" y="554"/>
                  <a:pt x="798" y="553"/>
                </a:cubicBezTo>
                <a:cubicBezTo>
                  <a:pt x="798" y="553"/>
                  <a:pt x="797" y="552"/>
                  <a:pt x="798" y="551"/>
                </a:cubicBezTo>
                <a:cubicBezTo>
                  <a:pt x="798" y="551"/>
                  <a:pt x="798" y="551"/>
                  <a:pt x="799" y="551"/>
                </a:cubicBezTo>
                <a:cubicBezTo>
                  <a:pt x="799" y="552"/>
                  <a:pt x="800" y="550"/>
                  <a:pt x="800" y="550"/>
                </a:cubicBezTo>
                <a:cubicBezTo>
                  <a:pt x="800" y="549"/>
                  <a:pt x="800" y="549"/>
                  <a:pt x="800" y="548"/>
                </a:cubicBezTo>
                <a:cubicBezTo>
                  <a:pt x="801" y="548"/>
                  <a:pt x="801" y="546"/>
                  <a:pt x="801" y="546"/>
                </a:cubicBezTo>
                <a:cubicBezTo>
                  <a:pt x="801" y="546"/>
                  <a:pt x="800" y="546"/>
                  <a:pt x="800" y="546"/>
                </a:cubicBezTo>
                <a:cubicBezTo>
                  <a:pt x="800" y="545"/>
                  <a:pt x="800" y="545"/>
                  <a:pt x="800" y="545"/>
                </a:cubicBezTo>
                <a:cubicBezTo>
                  <a:pt x="799" y="544"/>
                  <a:pt x="800" y="543"/>
                  <a:pt x="800" y="542"/>
                </a:cubicBezTo>
                <a:cubicBezTo>
                  <a:pt x="801" y="541"/>
                  <a:pt x="801" y="540"/>
                  <a:pt x="802" y="538"/>
                </a:cubicBezTo>
                <a:cubicBezTo>
                  <a:pt x="803" y="535"/>
                  <a:pt x="806" y="527"/>
                  <a:pt x="808" y="521"/>
                </a:cubicBezTo>
                <a:cubicBezTo>
                  <a:pt x="809" y="519"/>
                  <a:pt x="810" y="517"/>
                  <a:pt x="810" y="515"/>
                </a:cubicBezTo>
                <a:cubicBezTo>
                  <a:pt x="811" y="513"/>
                  <a:pt x="811" y="511"/>
                  <a:pt x="812" y="509"/>
                </a:cubicBezTo>
                <a:cubicBezTo>
                  <a:pt x="813" y="509"/>
                  <a:pt x="813" y="508"/>
                  <a:pt x="814" y="507"/>
                </a:cubicBezTo>
                <a:cubicBezTo>
                  <a:pt x="814" y="507"/>
                  <a:pt x="814" y="507"/>
                  <a:pt x="814" y="507"/>
                </a:cubicBezTo>
                <a:cubicBezTo>
                  <a:pt x="814" y="507"/>
                  <a:pt x="814" y="506"/>
                  <a:pt x="814" y="506"/>
                </a:cubicBezTo>
                <a:cubicBezTo>
                  <a:pt x="814" y="506"/>
                  <a:pt x="813" y="505"/>
                  <a:pt x="813" y="505"/>
                </a:cubicBezTo>
                <a:cubicBezTo>
                  <a:pt x="813" y="505"/>
                  <a:pt x="813" y="505"/>
                  <a:pt x="813" y="504"/>
                </a:cubicBezTo>
                <a:cubicBezTo>
                  <a:pt x="813" y="503"/>
                  <a:pt x="813" y="503"/>
                  <a:pt x="814" y="502"/>
                </a:cubicBezTo>
                <a:cubicBezTo>
                  <a:pt x="815" y="501"/>
                  <a:pt x="816" y="498"/>
                  <a:pt x="817" y="497"/>
                </a:cubicBezTo>
                <a:cubicBezTo>
                  <a:pt x="817" y="496"/>
                  <a:pt x="817" y="495"/>
                  <a:pt x="818" y="494"/>
                </a:cubicBezTo>
                <a:cubicBezTo>
                  <a:pt x="818" y="494"/>
                  <a:pt x="818" y="493"/>
                  <a:pt x="819" y="493"/>
                </a:cubicBezTo>
                <a:cubicBezTo>
                  <a:pt x="819" y="493"/>
                  <a:pt x="819" y="492"/>
                  <a:pt x="819" y="492"/>
                </a:cubicBezTo>
                <a:cubicBezTo>
                  <a:pt x="818" y="492"/>
                  <a:pt x="818" y="492"/>
                  <a:pt x="817" y="492"/>
                </a:cubicBezTo>
                <a:cubicBezTo>
                  <a:pt x="817" y="492"/>
                  <a:pt x="817" y="492"/>
                  <a:pt x="817" y="492"/>
                </a:cubicBezTo>
                <a:cubicBezTo>
                  <a:pt x="817" y="491"/>
                  <a:pt x="817" y="491"/>
                  <a:pt x="817" y="491"/>
                </a:cubicBezTo>
                <a:cubicBezTo>
                  <a:pt x="817" y="490"/>
                  <a:pt x="818" y="488"/>
                  <a:pt x="818" y="487"/>
                </a:cubicBezTo>
                <a:cubicBezTo>
                  <a:pt x="819" y="485"/>
                  <a:pt x="821" y="481"/>
                  <a:pt x="821" y="479"/>
                </a:cubicBezTo>
                <a:cubicBezTo>
                  <a:pt x="821" y="477"/>
                  <a:pt x="823" y="473"/>
                  <a:pt x="824" y="469"/>
                </a:cubicBezTo>
                <a:cubicBezTo>
                  <a:pt x="825" y="466"/>
                  <a:pt x="828" y="457"/>
                  <a:pt x="830" y="449"/>
                </a:cubicBezTo>
                <a:cubicBezTo>
                  <a:pt x="831" y="447"/>
                  <a:pt x="832" y="444"/>
                  <a:pt x="833" y="442"/>
                </a:cubicBezTo>
                <a:cubicBezTo>
                  <a:pt x="833" y="440"/>
                  <a:pt x="833" y="439"/>
                  <a:pt x="834" y="438"/>
                </a:cubicBezTo>
                <a:cubicBezTo>
                  <a:pt x="834" y="437"/>
                  <a:pt x="834" y="435"/>
                  <a:pt x="835" y="435"/>
                </a:cubicBezTo>
                <a:cubicBezTo>
                  <a:pt x="835" y="435"/>
                  <a:pt x="836" y="435"/>
                  <a:pt x="836" y="435"/>
                </a:cubicBezTo>
                <a:cubicBezTo>
                  <a:pt x="837" y="435"/>
                  <a:pt x="837" y="433"/>
                  <a:pt x="838" y="432"/>
                </a:cubicBezTo>
                <a:cubicBezTo>
                  <a:pt x="838" y="430"/>
                  <a:pt x="838" y="429"/>
                  <a:pt x="839" y="428"/>
                </a:cubicBezTo>
                <a:cubicBezTo>
                  <a:pt x="839" y="428"/>
                  <a:pt x="839" y="428"/>
                  <a:pt x="839" y="427"/>
                </a:cubicBezTo>
                <a:cubicBezTo>
                  <a:pt x="839" y="427"/>
                  <a:pt x="840" y="427"/>
                  <a:pt x="840" y="427"/>
                </a:cubicBezTo>
                <a:cubicBezTo>
                  <a:pt x="840" y="426"/>
                  <a:pt x="840" y="426"/>
                  <a:pt x="840" y="426"/>
                </a:cubicBezTo>
                <a:cubicBezTo>
                  <a:pt x="840" y="426"/>
                  <a:pt x="840" y="426"/>
                  <a:pt x="840" y="425"/>
                </a:cubicBezTo>
                <a:cubicBezTo>
                  <a:pt x="838" y="424"/>
                  <a:pt x="839" y="422"/>
                  <a:pt x="839" y="421"/>
                </a:cubicBezTo>
                <a:cubicBezTo>
                  <a:pt x="840" y="420"/>
                  <a:pt x="840" y="417"/>
                  <a:pt x="841" y="415"/>
                </a:cubicBezTo>
                <a:cubicBezTo>
                  <a:pt x="841" y="414"/>
                  <a:pt x="841" y="413"/>
                  <a:pt x="841" y="413"/>
                </a:cubicBezTo>
                <a:cubicBezTo>
                  <a:pt x="841" y="412"/>
                  <a:pt x="841" y="411"/>
                  <a:pt x="841" y="411"/>
                </a:cubicBezTo>
                <a:cubicBezTo>
                  <a:pt x="842" y="411"/>
                  <a:pt x="842" y="411"/>
                  <a:pt x="842" y="410"/>
                </a:cubicBezTo>
                <a:cubicBezTo>
                  <a:pt x="843" y="410"/>
                  <a:pt x="843" y="408"/>
                  <a:pt x="844" y="407"/>
                </a:cubicBezTo>
                <a:cubicBezTo>
                  <a:pt x="844" y="406"/>
                  <a:pt x="844" y="405"/>
                  <a:pt x="844" y="404"/>
                </a:cubicBezTo>
                <a:cubicBezTo>
                  <a:pt x="845" y="404"/>
                  <a:pt x="845" y="403"/>
                  <a:pt x="846" y="403"/>
                </a:cubicBezTo>
                <a:cubicBezTo>
                  <a:pt x="846" y="402"/>
                  <a:pt x="847" y="402"/>
                  <a:pt x="847" y="401"/>
                </a:cubicBezTo>
                <a:cubicBezTo>
                  <a:pt x="847" y="401"/>
                  <a:pt x="847" y="400"/>
                  <a:pt x="847" y="400"/>
                </a:cubicBezTo>
                <a:cubicBezTo>
                  <a:pt x="847" y="399"/>
                  <a:pt x="847" y="398"/>
                  <a:pt x="847" y="397"/>
                </a:cubicBezTo>
                <a:cubicBezTo>
                  <a:pt x="848" y="395"/>
                  <a:pt x="848" y="393"/>
                  <a:pt x="848" y="392"/>
                </a:cubicBezTo>
                <a:cubicBezTo>
                  <a:pt x="847" y="390"/>
                  <a:pt x="848" y="389"/>
                  <a:pt x="849" y="387"/>
                </a:cubicBezTo>
                <a:cubicBezTo>
                  <a:pt x="849" y="385"/>
                  <a:pt x="850" y="383"/>
                  <a:pt x="851" y="382"/>
                </a:cubicBezTo>
                <a:cubicBezTo>
                  <a:pt x="852" y="381"/>
                  <a:pt x="853" y="380"/>
                  <a:pt x="853" y="380"/>
                </a:cubicBezTo>
                <a:cubicBezTo>
                  <a:pt x="853" y="379"/>
                  <a:pt x="853" y="379"/>
                  <a:pt x="853" y="378"/>
                </a:cubicBezTo>
                <a:cubicBezTo>
                  <a:pt x="852" y="378"/>
                  <a:pt x="852" y="378"/>
                  <a:pt x="852" y="377"/>
                </a:cubicBezTo>
                <a:cubicBezTo>
                  <a:pt x="852" y="377"/>
                  <a:pt x="852" y="377"/>
                  <a:pt x="852" y="376"/>
                </a:cubicBezTo>
                <a:cubicBezTo>
                  <a:pt x="852" y="376"/>
                  <a:pt x="852" y="375"/>
                  <a:pt x="853" y="374"/>
                </a:cubicBezTo>
                <a:cubicBezTo>
                  <a:pt x="853" y="374"/>
                  <a:pt x="854" y="374"/>
                  <a:pt x="854" y="374"/>
                </a:cubicBezTo>
                <a:cubicBezTo>
                  <a:pt x="855" y="374"/>
                  <a:pt x="855" y="374"/>
                  <a:pt x="856" y="373"/>
                </a:cubicBezTo>
                <a:cubicBezTo>
                  <a:pt x="856" y="373"/>
                  <a:pt x="857" y="373"/>
                  <a:pt x="857" y="373"/>
                </a:cubicBezTo>
                <a:cubicBezTo>
                  <a:pt x="858" y="372"/>
                  <a:pt x="857" y="371"/>
                  <a:pt x="856" y="371"/>
                </a:cubicBezTo>
                <a:cubicBezTo>
                  <a:pt x="856" y="370"/>
                  <a:pt x="857" y="371"/>
                  <a:pt x="857" y="371"/>
                </a:cubicBezTo>
                <a:cubicBezTo>
                  <a:pt x="857" y="371"/>
                  <a:pt x="857" y="371"/>
                  <a:pt x="858" y="371"/>
                </a:cubicBezTo>
                <a:cubicBezTo>
                  <a:pt x="858" y="371"/>
                  <a:pt x="858" y="371"/>
                  <a:pt x="858" y="371"/>
                </a:cubicBezTo>
                <a:cubicBezTo>
                  <a:pt x="858" y="370"/>
                  <a:pt x="859" y="370"/>
                  <a:pt x="858" y="369"/>
                </a:cubicBezTo>
                <a:cubicBezTo>
                  <a:pt x="858" y="369"/>
                  <a:pt x="858" y="369"/>
                  <a:pt x="858" y="369"/>
                </a:cubicBezTo>
                <a:cubicBezTo>
                  <a:pt x="858" y="369"/>
                  <a:pt x="857" y="369"/>
                  <a:pt x="857" y="369"/>
                </a:cubicBezTo>
                <a:cubicBezTo>
                  <a:pt x="857" y="369"/>
                  <a:pt x="856" y="369"/>
                  <a:pt x="856" y="369"/>
                </a:cubicBezTo>
                <a:cubicBezTo>
                  <a:pt x="855" y="369"/>
                  <a:pt x="855" y="369"/>
                  <a:pt x="855" y="368"/>
                </a:cubicBezTo>
                <a:cubicBezTo>
                  <a:pt x="855" y="368"/>
                  <a:pt x="855" y="367"/>
                  <a:pt x="855" y="367"/>
                </a:cubicBezTo>
                <a:cubicBezTo>
                  <a:pt x="855" y="367"/>
                  <a:pt x="856" y="367"/>
                  <a:pt x="856" y="366"/>
                </a:cubicBezTo>
                <a:cubicBezTo>
                  <a:pt x="857" y="366"/>
                  <a:pt x="858" y="366"/>
                  <a:pt x="858" y="365"/>
                </a:cubicBezTo>
                <a:cubicBezTo>
                  <a:pt x="859" y="365"/>
                  <a:pt x="859" y="364"/>
                  <a:pt x="859" y="364"/>
                </a:cubicBezTo>
                <a:cubicBezTo>
                  <a:pt x="860" y="362"/>
                  <a:pt x="861" y="359"/>
                  <a:pt x="862" y="356"/>
                </a:cubicBezTo>
                <a:cubicBezTo>
                  <a:pt x="862" y="356"/>
                  <a:pt x="863" y="355"/>
                  <a:pt x="863" y="354"/>
                </a:cubicBezTo>
                <a:cubicBezTo>
                  <a:pt x="863" y="354"/>
                  <a:pt x="864" y="352"/>
                  <a:pt x="864" y="352"/>
                </a:cubicBezTo>
                <a:cubicBezTo>
                  <a:pt x="863" y="351"/>
                  <a:pt x="863" y="351"/>
                  <a:pt x="863" y="351"/>
                </a:cubicBezTo>
                <a:cubicBezTo>
                  <a:pt x="863" y="350"/>
                  <a:pt x="863" y="350"/>
                  <a:pt x="863" y="349"/>
                </a:cubicBezTo>
                <a:cubicBezTo>
                  <a:pt x="863" y="348"/>
                  <a:pt x="863" y="347"/>
                  <a:pt x="863" y="346"/>
                </a:cubicBezTo>
                <a:cubicBezTo>
                  <a:pt x="863" y="345"/>
                  <a:pt x="863" y="343"/>
                  <a:pt x="864" y="342"/>
                </a:cubicBezTo>
                <a:cubicBezTo>
                  <a:pt x="865" y="342"/>
                  <a:pt x="866" y="342"/>
                  <a:pt x="866" y="341"/>
                </a:cubicBezTo>
                <a:cubicBezTo>
                  <a:pt x="866" y="341"/>
                  <a:pt x="866" y="341"/>
                  <a:pt x="867" y="341"/>
                </a:cubicBezTo>
                <a:cubicBezTo>
                  <a:pt x="867" y="341"/>
                  <a:pt x="867" y="341"/>
                  <a:pt x="868" y="341"/>
                </a:cubicBezTo>
                <a:cubicBezTo>
                  <a:pt x="868" y="340"/>
                  <a:pt x="868" y="339"/>
                  <a:pt x="868" y="338"/>
                </a:cubicBezTo>
                <a:cubicBezTo>
                  <a:pt x="869" y="337"/>
                  <a:pt x="869" y="337"/>
                  <a:pt x="869" y="336"/>
                </a:cubicBezTo>
                <a:cubicBezTo>
                  <a:pt x="869" y="335"/>
                  <a:pt x="869" y="335"/>
                  <a:pt x="869" y="335"/>
                </a:cubicBezTo>
                <a:cubicBezTo>
                  <a:pt x="869" y="334"/>
                  <a:pt x="869" y="334"/>
                  <a:pt x="869" y="334"/>
                </a:cubicBezTo>
                <a:cubicBezTo>
                  <a:pt x="869" y="333"/>
                  <a:pt x="869" y="332"/>
                  <a:pt x="868" y="332"/>
                </a:cubicBezTo>
                <a:cubicBezTo>
                  <a:pt x="868" y="331"/>
                  <a:pt x="868" y="331"/>
                  <a:pt x="868" y="331"/>
                </a:cubicBezTo>
                <a:cubicBezTo>
                  <a:pt x="868" y="331"/>
                  <a:pt x="868" y="330"/>
                  <a:pt x="868" y="330"/>
                </a:cubicBezTo>
                <a:cubicBezTo>
                  <a:pt x="868" y="330"/>
                  <a:pt x="869" y="330"/>
                  <a:pt x="869" y="330"/>
                </a:cubicBezTo>
                <a:cubicBezTo>
                  <a:pt x="870" y="330"/>
                  <a:pt x="870" y="329"/>
                  <a:pt x="870" y="329"/>
                </a:cubicBezTo>
                <a:cubicBezTo>
                  <a:pt x="870" y="327"/>
                  <a:pt x="871" y="325"/>
                  <a:pt x="871" y="324"/>
                </a:cubicBezTo>
                <a:cubicBezTo>
                  <a:pt x="871" y="323"/>
                  <a:pt x="871" y="321"/>
                  <a:pt x="872" y="320"/>
                </a:cubicBezTo>
                <a:cubicBezTo>
                  <a:pt x="872" y="320"/>
                  <a:pt x="873" y="317"/>
                  <a:pt x="874" y="314"/>
                </a:cubicBezTo>
                <a:cubicBezTo>
                  <a:pt x="875" y="312"/>
                  <a:pt x="875" y="311"/>
                  <a:pt x="876" y="310"/>
                </a:cubicBezTo>
                <a:cubicBezTo>
                  <a:pt x="876" y="309"/>
                  <a:pt x="877" y="308"/>
                  <a:pt x="876" y="307"/>
                </a:cubicBezTo>
                <a:cubicBezTo>
                  <a:pt x="876" y="306"/>
                  <a:pt x="876" y="306"/>
                  <a:pt x="876" y="305"/>
                </a:cubicBezTo>
                <a:cubicBezTo>
                  <a:pt x="875" y="304"/>
                  <a:pt x="875" y="303"/>
                  <a:pt x="876" y="303"/>
                </a:cubicBezTo>
                <a:cubicBezTo>
                  <a:pt x="876" y="302"/>
                  <a:pt x="876" y="302"/>
                  <a:pt x="877" y="301"/>
                </a:cubicBezTo>
                <a:cubicBezTo>
                  <a:pt x="877" y="301"/>
                  <a:pt x="877" y="301"/>
                  <a:pt x="878" y="301"/>
                </a:cubicBezTo>
                <a:cubicBezTo>
                  <a:pt x="878" y="300"/>
                  <a:pt x="879" y="300"/>
                  <a:pt x="879" y="299"/>
                </a:cubicBezTo>
                <a:cubicBezTo>
                  <a:pt x="879" y="298"/>
                  <a:pt x="880" y="297"/>
                  <a:pt x="880" y="296"/>
                </a:cubicBezTo>
                <a:cubicBezTo>
                  <a:pt x="880" y="295"/>
                  <a:pt x="881" y="293"/>
                  <a:pt x="880" y="291"/>
                </a:cubicBezTo>
                <a:cubicBezTo>
                  <a:pt x="880" y="290"/>
                  <a:pt x="879" y="288"/>
                  <a:pt x="880" y="287"/>
                </a:cubicBezTo>
                <a:cubicBezTo>
                  <a:pt x="880" y="286"/>
                  <a:pt x="881" y="286"/>
                  <a:pt x="882" y="285"/>
                </a:cubicBezTo>
                <a:cubicBezTo>
                  <a:pt x="882" y="285"/>
                  <a:pt x="883" y="285"/>
                  <a:pt x="883" y="285"/>
                </a:cubicBezTo>
                <a:cubicBezTo>
                  <a:pt x="884" y="284"/>
                  <a:pt x="884" y="282"/>
                  <a:pt x="884" y="281"/>
                </a:cubicBezTo>
                <a:cubicBezTo>
                  <a:pt x="885" y="279"/>
                  <a:pt x="886" y="277"/>
                  <a:pt x="887" y="276"/>
                </a:cubicBezTo>
                <a:cubicBezTo>
                  <a:pt x="887" y="275"/>
                  <a:pt x="889" y="271"/>
                  <a:pt x="889" y="268"/>
                </a:cubicBezTo>
                <a:cubicBezTo>
                  <a:pt x="890" y="266"/>
                  <a:pt x="890" y="264"/>
                  <a:pt x="891" y="262"/>
                </a:cubicBezTo>
                <a:cubicBezTo>
                  <a:pt x="891" y="262"/>
                  <a:pt x="891" y="262"/>
                  <a:pt x="891" y="262"/>
                </a:cubicBezTo>
                <a:cubicBezTo>
                  <a:pt x="891" y="261"/>
                  <a:pt x="891" y="261"/>
                  <a:pt x="890" y="261"/>
                </a:cubicBezTo>
                <a:cubicBezTo>
                  <a:pt x="890" y="261"/>
                  <a:pt x="890" y="261"/>
                  <a:pt x="890" y="261"/>
                </a:cubicBezTo>
                <a:cubicBezTo>
                  <a:pt x="890" y="260"/>
                  <a:pt x="890" y="260"/>
                  <a:pt x="890" y="260"/>
                </a:cubicBezTo>
                <a:cubicBezTo>
                  <a:pt x="890" y="259"/>
                  <a:pt x="889" y="258"/>
                  <a:pt x="889" y="257"/>
                </a:cubicBezTo>
                <a:cubicBezTo>
                  <a:pt x="889" y="256"/>
                  <a:pt x="890" y="256"/>
                  <a:pt x="890" y="255"/>
                </a:cubicBezTo>
                <a:cubicBezTo>
                  <a:pt x="890" y="254"/>
                  <a:pt x="891" y="253"/>
                  <a:pt x="891" y="251"/>
                </a:cubicBezTo>
                <a:cubicBezTo>
                  <a:pt x="892" y="250"/>
                  <a:pt x="893" y="248"/>
                  <a:pt x="894" y="246"/>
                </a:cubicBezTo>
                <a:cubicBezTo>
                  <a:pt x="894" y="245"/>
                  <a:pt x="894" y="244"/>
                  <a:pt x="894" y="243"/>
                </a:cubicBezTo>
                <a:cubicBezTo>
                  <a:pt x="894" y="243"/>
                  <a:pt x="894" y="242"/>
                  <a:pt x="895" y="242"/>
                </a:cubicBezTo>
                <a:cubicBezTo>
                  <a:pt x="895" y="242"/>
                  <a:pt x="895" y="242"/>
                  <a:pt x="896" y="242"/>
                </a:cubicBezTo>
                <a:cubicBezTo>
                  <a:pt x="896" y="242"/>
                  <a:pt x="896" y="241"/>
                  <a:pt x="896" y="241"/>
                </a:cubicBezTo>
                <a:cubicBezTo>
                  <a:pt x="897" y="241"/>
                  <a:pt x="897" y="240"/>
                  <a:pt x="897" y="239"/>
                </a:cubicBezTo>
                <a:cubicBezTo>
                  <a:pt x="898" y="237"/>
                  <a:pt x="899" y="235"/>
                  <a:pt x="899" y="233"/>
                </a:cubicBezTo>
                <a:cubicBezTo>
                  <a:pt x="900" y="232"/>
                  <a:pt x="901" y="231"/>
                  <a:pt x="900" y="230"/>
                </a:cubicBezTo>
                <a:cubicBezTo>
                  <a:pt x="900" y="230"/>
                  <a:pt x="900" y="229"/>
                  <a:pt x="899" y="229"/>
                </a:cubicBezTo>
                <a:cubicBezTo>
                  <a:pt x="899" y="229"/>
                  <a:pt x="899" y="229"/>
                  <a:pt x="899" y="229"/>
                </a:cubicBezTo>
                <a:cubicBezTo>
                  <a:pt x="899" y="229"/>
                  <a:pt x="898" y="228"/>
                  <a:pt x="899" y="228"/>
                </a:cubicBezTo>
                <a:cubicBezTo>
                  <a:pt x="899" y="226"/>
                  <a:pt x="900" y="224"/>
                  <a:pt x="900" y="222"/>
                </a:cubicBezTo>
                <a:cubicBezTo>
                  <a:pt x="901" y="221"/>
                  <a:pt x="901" y="219"/>
                  <a:pt x="902" y="217"/>
                </a:cubicBezTo>
                <a:cubicBezTo>
                  <a:pt x="902" y="217"/>
                  <a:pt x="902" y="216"/>
                  <a:pt x="902" y="216"/>
                </a:cubicBezTo>
                <a:cubicBezTo>
                  <a:pt x="902" y="216"/>
                  <a:pt x="903" y="217"/>
                  <a:pt x="903" y="216"/>
                </a:cubicBezTo>
                <a:cubicBezTo>
                  <a:pt x="903" y="216"/>
                  <a:pt x="903" y="216"/>
                  <a:pt x="903" y="216"/>
                </a:cubicBezTo>
                <a:cubicBezTo>
                  <a:pt x="903" y="215"/>
                  <a:pt x="902" y="212"/>
                  <a:pt x="903" y="211"/>
                </a:cubicBezTo>
                <a:cubicBezTo>
                  <a:pt x="904" y="211"/>
                  <a:pt x="904" y="211"/>
                  <a:pt x="904" y="212"/>
                </a:cubicBezTo>
                <a:cubicBezTo>
                  <a:pt x="905" y="212"/>
                  <a:pt x="905" y="212"/>
                  <a:pt x="905" y="212"/>
                </a:cubicBezTo>
                <a:cubicBezTo>
                  <a:pt x="905" y="212"/>
                  <a:pt x="906" y="212"/>
                  <a:pt x="906" y="212"/>
                </a:cubicBezTo>
                <a:cubicBezTo>
                  <a:pt x="907" y="211"/>
                  <a:pt x="907" y="211"/>
                  <a:pt x="907" y="211"/>
                </a:cubicBezTo>
                <a:cubicBezTo>
                  <a:pt x="907" y="210"/>
                  <a:pt x="907" y="210"/>
                  <a:pt x="907" y="210"/>
                </a:cubicBezTo>
                <a:cubicBezTo>
                  <a:pt x="907" y="209"/>
                  <a:pt x="907" y="209"/>
                  <a:pt x="907" y="209"/>
                </a:cubicBezTo>
                <a:cubicBezTo>
                  <a:pt x="906" y="209"/>
                  <a:pt x="908" y="209"/>
                  <a:pt x="908" y="208"/>
                </a:cubicBezTo>
                <a:cubicBezTo>
                  <a:pt x="909" y="207"/>
                  <a:pt x="909" y="206"/>
                  <a:pt x="909" y="205"/>
                </a:cubicBezTo>
                <a:cubicBezTo>
                  <a:pt x="910" y="202"/>
                  <a:pt x="911" y="199"/>
                  <a:pt x="912" y="197"/>
                </a:cubicBezTo>
                <a:cubicBezTo>
                  <a:pt x="912" y="194"/>
                  <a:pt x="913" y="192"/>
                  <a:pt x="914" y="190"/>
                </a:cubicBezTo>
                <a:cubicBezTo>
                  <a:pt x="914" y="189"/>
                  <a:pt x="914" y="188"/>
                  <a:pt x="915" y="187"/>
                </a:cubicBezTo>
                <a:cubicBezTo>
                  <a:pt x="915" y="186"/>
                  <a:pt x="915" y="185"/>
                  <a:pt x="915" y="184"/>
                </a:cubicBezTo>
                <a:cubicBezTo>
                  <a:pt x="914" y="184"/>
                  <a:pt x="914" y="183"/>
                  <a:pt x="914" y="183"/>
                </a:cubicBezTo>
                <a:cubicBezTo>
                  <a:pt x="914" y="182"/>
                  <a:pt x="914" y="181"/>
                  <a:pt x="913" y="180"/>
                </a:cubicBezTo>
                <a:cubicBezTo>
                  <a:pt x="913" y="179"/>
                  <a:pt x="912" y="179"/>
                  <a:pt x="913" y="177"/>
                </a:cubicBezTo>
                <a:cubicBezTo>
                  <a:pt x="913" y="176"/>
                  <a:pt x="913" y="175"/>
                  <a:pt x="914" y="174"/>
                </a:cubicBezTo>
                <a:cubicBezTo>
                  <a:pt x="914" y="173"/>
                  <a:pt x="915" y="171"/>
                  <a:pt x="915" y="170"/>
                </a:cubicBezTo>
                <a:cubicBezTo>
                  <a:pt x="915" y="170"/>
                  <a:pt x="916" y="169"/>
                  <a:pt x="916" y="169"/>
                </a:cubicBezTo>
                <a:cubicBezTo>
                  <a:pt x="916" y="169"/>
                  <a:pt x="915" y="168"/>
                  <a:pt x="915" y="168"/>
                </a:cubicBezTo>
                <a:cubicBezTo>
                  <a:pt x="915" y="168"/>
                  <a:pt x="915" y="167"/>
                  <a:pt x="916" y="167"/>
                </a:cubicBezTo>
                <a:cubicBezTo>
                  <a:pt x="916" y="167"/>
                  <a:pt x="916" y="166"/>
                  <a:pt x="916" y="165"/>
                </a:cubicBezTo>
                <a:cubicBezTo>
                  <a:pt x="916" y="164"/>
                  <a:pt x="917" y="163"/>
                  <a:pt x="917" y="162"/>
                </a:cubicBezTo>
                <a:cubicBezTo>
                  <a:pt x="917" y="162"/>
                  <a:pt x="917" y="162"/>
                  <a:pt x="918" y="162"/>
                </a:cubicBezTo>
                <a:cubicBezTo>
                  <a:pt x="918" y="162"/>
                  <a:pt x="919" y="162"/>
                  <a:pt x="919" y="162"/>
                </a:cubicBezTo>
                <a:cubicBezTo>
                  <a:pt x="919" y="162"/>
                  <a:pt x="920" y="161"/>
                  <a:pt x="920" y="161"/>
                </a:cubicBezTo>
                <a:cubicBezTo>
                  <a:pt x="920" y="160"/>
                  <a:pt x="920" y="160"/>
                  <a:pt x="920" y="160"/>
                </a:cubicBezTo>
                <a:cubicBezTo>
                  <a:pt x="920" y="159"/>
                  <a:pt x="920" y="159"/>
                  <a:pt x="920" y="159"/>
                </a:cubicBezTo>
                <a:cubicBezTo>
                  <a:pt x="920" y="159"/>
                  <a:pt x="919" y="159"/>
                  <a:pt x="919" y="159"/>
                </a:cubicBezTo>
                <a:cubicBezTo>
                  <a:pt x="918" y="160"/>
                  <a:pt x="918" y="158"/>
                  <a:pt x="918" y="157"/>
                </a:cubicBezTo>
                <a:cubicBezTo>
                  <a:pt x="919" y="156"/>
                  <a:pt x="919" y="155"/>
                  <a:pt x="920" y="155"/>
                </a:cubicBezTo>
                <a:cubicBezTo>
                  <a:pt x="921" y="154"/>
                  <a:pt x="921" y="153"/>
                  <a:pt x="922" y="152"/>
                </a:cubicBezTo>
                <a:cubicBezTo>
                  <a:pt x="922" y="151"/>
                  <a:pt x="922" y="151"/>
                  <a:pt x="922" y="150"/>
                </a:cubicBezTo>
                <a:cubicBezTo>
                  <a:pt x="922" y="150"/>
                  <a:pt x="922" y="150"/>
                  <a:pt x="922" y="150"/>
                </a:cubicBezTo>
                <a:cubicBezTo>
                  <a:pt x="922" y="150"/>
                  <a:pt x="922" y="150"/>
                  <a:pt x="921" y="150"/>
                </a:cubicBezTo>
                <a:cubicBezTo>
                  <a:pt x="921" y="150"/>
                  <a:pt x="921" y="149"/>
                  <a:pt x="921" y="149"/>
                </a:cubicBezTo>
                <a:cubicBezTo>
                  <a:pt x="921" y="147"/>
                  <a:pt x="922" y="145"/>
                  <a:pt x="922" y="144"/>
                </a:cubicBezTo>
                <a:cubicBezTo>
                  <a:pt x="923" y="142"/>
                  <a:pt x="923" y="140"/>
                  <a:pt x="924" y="138"/>
                </a:cubicBezTo>
                <a:cubicBezTo>
                  <a:pt x="924" y="136"/>
                  <a:pt x="925" y="134"/>
                  <a:pt x="925" y="131"/>
                </a:cubicBezTo>
                <a:cubicBezTo>
                  <a:pt x="926" y="130"/>
                  <a:pt x="926" y="129"/>
                  <a:pt x="927" y="128"/>
                </a:cubicBezTo>
                <a:cubicBezTo>
                  <a:pt x="927" y="128"/>
                  <a:pt x="927" y="128"/>
                  <a:pt x="927" y="127"/>
                </a:cubicBezTo>
                <a:cubicBezTo>
                  <a:pt x="928" y="127"/>
                  <a:pt x="928" y="128"/>
                  <a:pt x="929" y="128"/>
                </a:cubicBezTo>
                <a:cubicBezTo>
                  <a:pt x="929" y="127"/>
                  <a:pt x="929" y="124"/>
                  <a:pt x="930" y="124"/>
                </a:cubicBezTo>
                <a:cubicBezTo>
                  <a:pt x="930" y="124"/>
                  <a:pt x="930" y="124"/>
                  <a:pt x="930" y="124"/>
                </a:cubicBezTo>
                <a:cubicBezTo>
                  <a:pt x="930" y="124"/>
                  <a:pt x="931" y="124"/>
                  <a:pt x="931" y="124"/>
                </a:cubicBezTo>
                <a:cubicBezTo>
                  <a:pt x="931" y="124"/>
                  <a:pt x="931" y="124"/>
                  <a:pt x="931" y="123"/>
                </a:cubicBezTo>
                <a:cubicBezTo>
                  <a:pt x="932" y="120"/>
                  <a:pt x="933" y="116"/>
                  <a:pt x="934" y="112"/>
                </a:cubicBezTo>
                <a:cubicBezTo>
                  <a:pt x="934" y="111"/>
                  <a:pt x="934" y="110"/>
                  <a:pt x="934" y="109"/>
                </a:cubicBezTo>
                <a:cubicBezTo>
                  <a:pt x="934" y="108"/>
                  <a:pt x="934" y="108"/>
                  <a:pt x="933" y="107"/>
                </a:cubicBezTo>
                <a:cubicBezTo>
                  <a:pt x="933" y="106"/>
                  <a:pt x="932" y="105"/>
                  <a:pt x="932" y="104"/>
                </a:cubicBezTo>
                <a:cubicBezTo>
                  <a:pt x="932" y="103"/>
                  <a:pt x="933" y="102"/>
                  <a:pt x="933" y="102"/>
                </a:cubicBezTo>
                <a:cubicBezTo>
                  <a:pt x="933" y="101"/>
                  <a:pt x="933" y="100"/>
                  <a:pt x="934" y="99"/>
                </a:cubicBezTo>
                <a:cubicBezTo>
                  <a:pt x="934" y="99"/>
                  <a:pt x="934" y="99"/>
                  <a:pt x="934" y="99"/>
                </a:cubicBezTo>
                <a:cubicBezTo>
                  <a:pt x="935" y="100"/>
                  <a:pt x="935" y="99"/>
                  <a:pt x="936" y="99"/>
                </a:cubicBezTo>
                <a:cubicBezTo>
                  <a:pt x="936" y="98"/>
                  <a:pt x="936" y="98"/>
                  <a:pt x="936" y="97"/>
                </a:cubicBezTo>
                <a:cubicBezTo>
                  <a:pt x="936" y="96"/>
                  <a:pt x="937" y="96"/>
                  <a:pt x="938" y="95"/>
                </a:cubicBezTo>
                <a:cubicBezTo>
                  <a:pt x="939" y="95"/>
                  <a:pt x="940" y="94"/>
                  <a:pt x="940" y="93"/>
                </a:cubicBezTo>
                <a:cubicBezTo>
                  <a:pt x="940" y="92"/>
                  <a:pt x="940" y="92"/>
                  <a:pt x="941" y="91"/>
                </a:cubicBezTo>
                <a:cubicBezTo>
                  <a:pt x="941" y="90"/>
                  <a:pt x="942" y="88"/>
                  <a:pt x="942" y="87"/>
                </a:cubicBezTo>
                <a:cubicBezTo>
                  <a:pt x="941" y="86"/>
                  <a:pt x="941" y="86"/>
                  <a:pt x="940" y="85"/>
                </a:cubicBezTo>
                <a:cubicBezTo>
                  <a:pt x="940" y="85"/>
                  <a:pt x="941" y="84"/>
                  <a:pt x="941" y="83"/>
                </a:cubicBezTo>
                <a:cubicBezTo>
                  <a:pt x="942" y="82"/>
                  <a:pt x="943" y="78"/>
                  <a:pt x="944" y="74"/>
                </a:cubicBezTo>
                <a:cubicBezTo>
                  <a:pt x="945" y="73"/>
                  <a:pt x="945" y="71"/>
                  <a:pt x="945" y="70"/>
                </a:cubicBezTo>
                <a:cubicBezTo>
                  <a:pt x="948" y="58"/>
                  <a:pt x="955" y="49"/>
                  <a:pt x="958" y="34"/>
                </a:cubicBezTo>
                <a:cubicBezTo>
                  <a:pt x="960" y="26"/>
                  <a:pt x="967" y="16"/>
                  <a:pt x="961" y="8"/>
                </a:cubicBezTo>
                <a:cubicBezTo>
                  <a:pt x="957" y="3"/>
                  <a:pt x="948" y="3"/>
                  <a:pt x="943" y="2"/>
                </a:cubicBezTo>
                <a:cubicBezTo>
                  <a:pt x="938" y="0"/>
                  <a:pt x="936" y="1"/>
                  <a:pt x="932" y="1"/>
                </a:cubicBezTo>
                <a:cubicBezTo>
                  <a:pt x="930" y="1"/>
                  <a:pt x="926" y="0"/>
                  <a:pt x="925" y="0"/>
                </a:cubicBezTo>
                <a:cubicBezTo>
                  <a:pt x="923" y="0"/>
                  <a:pt x="922" y="2"/>
                  <a:pt x="921" y="3"/>
                </a:cubicBezTo>
                <a:cubicBezTo>
                  <a:pt x="918" y="7"/>
                  <a:pt x="916" y="8"/>
                  <a:pt x="914" y="13"/>
                </a:cubicBezTo>
                <a:cubicBezTo>
                  <a:pt x="911" y="17"/>
                  <a:pt x="909" y="21"/>
                  <a:pt x="907" y="26"/>
                </a:cubicBezTo>
                <a:cubicBezTo>
                  <a:pt x="906" y="30"/>
                  <a:pt x="904" y="35"/>
                  <a:pt x="903" y="39"/>
                </a:cubicBezTo>
                <a:cubicBezTo>
                  <a:pt x="903" y="40"/>
                  <a:pt x="902" y="42"/>
                  <a:pt x="902" y="43"/>
                </a:cubicBezTo>
                <a:cubicBezTo>
                  <a:pt x="902" y="44"/>
                  <a:pt x="902" y="45"/>
                  <a:pt x="902" y="46"/>
                </a:cubicBezTo>
                <a:cubicBezTo>
                  <a:pt x="901" y="48"/>
                  <a:pt x="900" y="49"/>
                  <a:pt x="899" y="50"/>
                </a:cubicBezTo>
                <a:cubicBezTo>
                  <a:pt x="899" y="52"/>
                  <a:pt x="899" y="53"/>
                  <a:pt x="898" y="54"/>
                </a:cubicBezTo>
                <a:cubicBezTo>
                  <a:pt x="898" y="56"/>
                  <a:pt x="896" y="58"/>
                  <a:pt x="896" y="60"/>
                </a:cubicBezTo>
                <a:cubicBezTo>
                  <a:pt x="895" y="62"/>
                  <a:pt x="895" y="64"/>
                  <a:pt x="894" y="66"/>
                </a:cubicBezTo>
                <a:cubicBezTo>
                  <a:pt x="894" y="68"/>
                  <a:pt x="893" y="71"/>
                  <a:pt x="892" y="73"/>
                </a:cubicBezTo>
                <a:cubicBezTo>
                  <a:pt x="892" y="74"/>
                  <a:pt x="892" y="76"/>
                  <a:pt x="893" y="77"/>
                </a:cubicBezTo>
                <a:cubicBezTo>
                  <a:pt x="893" y="79"/>
                  <a:pt x="892" y="81"/>
                  <a:pt x="891" y="83"/>
                </a:cubicBezTo>
                <a:cubicBezTo>
                  <a:pt x="879" y="117"/>
                  <a:pt x="852" y="203"/>
                  <a:pt x="848" y="220"/>
                </a:cubicBezTo>
                <a:cubicBezTo>
                  <a:pt x="847" y="224"/>
                  <a:pt x="845" y="231"/>
                  <a:pt x="843" y="237"/>
                </a:cubicBezTo>
                <a:cubicBezTo>
                  <a:pt x="842" y="243"/>
                  <a:pt x="839" y="252"/>
                  <a:pt x="838" y="257"/>
                </a:cubicBezTo>
                <a:cubicBezTo>
                  <a:pt x="830" y="286"/>
                  <a:pt x="827" y="297"/>
                  <a:pt x="818" y="325"/>
                </a:cubicBezTo>
                <a:cubicBezTo>
                  <a:pt x="818" y="327"/>
                  <a:pt x="817" y="329"/>
                  <a:pt x="816" y="332"/>
                </a:cubicBezTo>
                <a:cubicBezTo>
                  <a:pt x="816" y="333"/>
                  <a:pt x="815" y="336"/>
                  <a:pt x="815" y="338"/>
                </a:cubicBezTo>
                <a:cubicBezTo>
                  <a:pt x="815" y="338"/>
                  <a:pt x="815" y="338"/>
                  <a:pt x="815" y="339"/>
                </a:cubicBezTo>
                <a:cubicBezTo>
                  <a:pt x="815" y="339"/>
                  <a:pt x="814" y="340"/>
                  <a:pt x="814" y="340"/>
                </a:cubicBezTo>
                <a:cubicBezTo>
                  <a:pt x="813" y="341"/>
                  <a:pt x="813" y="341"/>
                  <a:pt x="812" y="342"/>
                </a:cubicBezTo>
                <a:cubicBezTo>
                  <a:pt x="812" y="343"/>
                  <a:pt x="813" y="343"/>
                  <a:pt x="813" y="343"/>
                </a:cubicBezTo>
                <a:cubicBezTo>
                  <a:pt x="813" y="344"/>
                  <a:pt x="813" y="345"/>
                  <a:pt x="813" y="347"/>
                </a:cubicBezTo>
                <a:cubicBezTo>
                  <a:pt x="812" y="348"/>
                  <a:pt x="812" y="350"/>
                  <a:pt x="811" y="352"/>
                </a:cubicBezTo>
                <a:cubicBezTo>
                  <a:pt x="810" y="355"/>
                  <a:pt x="809" y="359"/>
                  <a:pt x="808" y="363"/>
                </a:cubicBezTo>
                <a:cubicBezTo>
                  <a:pt x="807" y="366"/>
                  <a:pt x="805" y="370"/>
                  <a:pt x="804" y="374"/>
                </a:cubicBezTo>
                <a:cubicBezTo>
                  <a:pt x="804" y="375"/>
                  <a:pt x="803" y="377"/>
                  <a:pt x="803" y="378"/>
                </a:cubicBezTo>
                <a:cubicBezTo>
                  <a:pt x="803" y="380"/>
                  <a:pt x="802" y="382"/>
                  <a:pt x="801" y="383"/>
                </a:cubicBezTo>
                <a:cubicBezTo>
                  <a:pt x="800" y="384"/>
                  <a:pt x="799" y="384"/>
                  <a:pt x="799" y="386"/>
                </a:cubicBezTo>
                <a:cubicBezTo>
                  <a:pt x="800" y="386"/>
                  <a:pt x="800" y="386"/>
                  <a:pt x="800" y="387"/>
                </a:cubicBezTo>
                <a:cubicBezTo>
                  <a:pt x="800" y="387"/>
                  <a:pt x="800" y="387"/>
                  <a:pt x="800" y="387"/>
                </a:cubicBezTo>
                <a:cubicBezTo>
                  <a:pt x="800" y="391"/>
                  <a:pt x="798" y="395"/>
                  <a:pt x="797" y="399"/>
                </a:cubicBezTo>
                <a:cubicBezTo>
                  <a:pt x="795" y="403"/>
                  <a:pt x="794" y="407"/>
                  <a:pt x="793" y="411"/>
                </a:cubicBezTo>
                <a:cubicBezTo>
                  <a:pt x="790" y="420"/>
                  <a:pt x="787" y="428"/>
                  <a:pt x="785" y="436"/>
                </a:cubicBezTo>
                <a:cubicBezTo>
                  <a:pt x="783" y="443"/>
                  <a:pt x="780" y="450"/>
                  <a:pt x="778" y="457"/>
                </a:cubicBezTo>
                <a:cubicBezTo>
                  <a:pt x="773" y="474"/>
                  <a:pt x="768" y="490"/>
                  <a:pt x="763" y="507"/>
                </a:cubicBezTo>
                <a:cubicBezTo>
                  <a:pt x="762" y="510"/>
                  <a:pt x="760" y="514"/>
                  <a:pt x="759" y="517"/>
                </a:cubicBezTo>
                <a:cubicBezTo>
                  <a:pt x="759" y="519"/>
                  <a:pt x="758" y="521"/>
                  <a:pt x="758" y="523"/>
                </a:cubicBezTo>
                <a:cubicBezTo>
                  <a:pt x="757" y="524"/>
                  <a:pt x="756" y="526"/>
                  <a:pt x="757" y="527"/>
                </a:cubicBezTo>
                <a:cubicBezTo>
                  <a:pt x="757" y="529"/>
                  <a:pt x="756" y="528"/>
                  <a:pt x="756" y="529"/>
                </a:cubicBezTo>
                <a:cubicBezTo>
                  <a:pt x="756" y="530"/>
                  <a:pt x="755" y="532"/>
                  <a:pt x="755" y="532"/>
                </a:cubicBezTo>
                <a:cubicBezTo>
                  <a:pt x="755" y="532"/>
                  <a:pt x="754" y="534"/>
                  <a:pt x="754" y="534"/>
                </a:cubicBezTo>
                <a:cubicBezTo>
                  <a:pt x="754" y="536"/>
                  <a:pt x="754" y="537"/>
                  <a:pt x="753" y="539"/>
                </a:cubicBezTo>
                <a:cubicBezTo>
                  <a:pt x="752" y="542"/>
                  <a:pt x="751" y="546"/>
                  <a:pt x="750" y="549"/>
                </a:cubicBezTo>
                <a:cubicBezTo>
                  <a:pt x="750" y="550"/>
                  <a:pt x="749" y="550"/>
                  <a:pt x="750" y="550"/>
                </a:cubicBezTo>
                <a:cubicBezTo>
                  <a:pt x="750" y="551"/>
                  <a:pt x="750" y="551"/>
                  <a:pt x="750" y="551"/>
                </a:cubicBezTo>
                <a:cubicBezTo>
                  <a:pt x="750" y="553"/>
                  <a:pt x="750" y="555"/>
                  <a:pt x="750" y="556"/>
                </a:cubicBezTo>
                <a:cubicBezTo>
                  <a:pt x="750" y="557"/>
                  <a:pt x="750" y="558"/>
                  <a:pt x="749" y="558"/>
                </a:cubicBezTo>
                <a:cubicBezTo>
                  <a:pt x="749" y="558"/>
                  <a:pt x="748" y="556"/>
                  <a:pt x="747" y="558"/>
                </a:cubicBezTo>
                <a:cubicBezTo>
                  <a:pt x="747" y="558"/>
                  <a:pt x="747" y="559"/>
                  <a:pt x="747" y="559"/>
                </a:cubicBezTo>
                <a:cubicBezTo>
                  <a:pt x="748" y="560"/>
                  <a:pt x="747" y="561"/>
                  <a:pt x="746" y="561"/>
                </a:cubicBezTo>
                <a:cubicBezTo>
                  <a:pt x="746" y="561"/>
                  <a:pt x="746" y="561"/>
                  <a:pt x="746" y="561"/>
                </a:cubicBezTo>
                <a:cubicBezTo>
                  <a:pt x="745" y="563"/>
                  <a:pt x="745" y="565"/>
                  <a:pt x="744" y="568"/>
                </a:cubicBezTo>
                <a:cubicBezTo>
                  <a:pt x="744" y="570"/>
                  <a:pt x="742" y="573"/>
                  <a:pt x="743" y="575"/>
                </a:cubicBezTo>
                <a:cubicBezTo>
                  <a:pt x="743" y="575"/>
                  <a:pt x="743" y="576"/>
                  <a:pt x="743" y="576"/>
                </a:cubicBezTo>
                <a:cubicBezTo>
                  <a:pt x="743" y="577"/>
                  <a:pt x="743" y="578"/>
                  <a:pt x="742" y="579"/>
                </a:cubicBezTo>
                <a:cubicBezTo>
                  <a:pt x="742" y="580"/>
                  <a:pt x="741" y="582"/>
                  <a:pt x="740" y="583"/>
                </a:cubicBezTo>
                <a:cubicBezTo>
                  <a:pt x="740" y="584"/>
                  <a:pt x="738" y="586"/>
                  <a:pt x="739" y="587"/>
                </a:cubicBezTo>
                <a:cubicBezTo>
                  <a:pt x="739" y="588"/>
                  <a:pt x="739" y="588"/>
                  <a:pt x="739" y="588"/>
                </a:cubicBezTo>
                <a:cubicBezTo>
                  <a:pt x="739" y="588"/>
                  <a:pt x="739" y="588"/>
                  <a:pt x="739" y="589"/>
                </a:cubicBezTo>
                <a:cubicBezTo>
                  <a:pt x="739" y="589"/>
                  <a:pt x="739" y="590"/>
                  <a:pt x="738" y="590"/>
                </a:cubicBezTo>
                <a:cubicBezTo>
                  <a:pt x="737" y="590"/>
                  <a:pt x="736" y="595"/>
                  <a:pt x="736" y="595"/>
                </a:cubicBezTo>
                <a:cubicBezTo>
                  <a:pt x="735" y="598"/>
                  <a:pt x="734" y="600"/>
                  <a:pt x="734" y="602"/>
                </a:cubicBezTo>
                <a:cubicBezTo>
                  <a:pt x="732" y="608"/>
                  <a:pt x="730" y="613"/>
                  <a:pt x="728" y="619"/>
                </a:cubicBezTo>
                <a:cubicBezTo>
                  <a:pt x="727" y="621"/>
                  <a:pt x="727" y="623"/>
                  <a:pt x="726" y="626"/>
                </a:cubicBezTo>
                <a:cubicBezTo>
                  <a:pt x="726" y="627"/>
                  <a:pt x="725" y="628"/>
                  <a:pt x="725" y="629"/>
                </a:cubicBezTo>
                <a:cubicBezTo>
                  <a:pt x="725" y="630"/>
                  <a:pt x="725" y="631"/>
                  <a:pt x="725" y="632"/>
                </a:cubicBezTo>
                <a:cubicBezTo>
                  <a:pt x="725" y="633"/>
                  <a:pt x="724" y="634"/>
                  <a:pt x="724" y="635"/>
                </a:cubicBezTo>
                <a:cubicBezTo>
                  <a:pt x="724" y="636"/>
                  <a:pt x="723" y="636"/>
                  <a:pt x="723" y="637"/>
                </a:cubicBezTo>
                <a:cubicBezTo>
                  <a:pt x="723" y="637"/>
                  <a:pt x="724" y="638"/>
                  <a:pt x="723" y="639"/>
                </a:cubicBezTo>
                <a:cubicBezTo>
                  <a:pt x="723" y="639"/>
                  <a:pt x="722" y="640"/>
                  <a:pt x="722" y="641"/>
                </a:cubicBezTo>
                <a:cubicBezTo>
                  <a:pt x="720" y="643"/>
                  <a:pt x="720" y="645"/>
                  <a:pt x="719" y="647"/>
                </a:cubicBezTo>
                <a:cubicBezTo>
                  <a:pt x="718" y="651"/>
                  <a:pt x="717" y="654"/>
                  <a:pt x="717" y="654"/>
                </a:cubicBezTo>
                <a:cubicBezTo>
                  <a:pt x="717" y="655"/>
                  <a:pt x="715" y="660"/>
                  <a:pt x="714" y="665"/>
                </a:cubicBezTo>
                <a:cubicBezTo>
                  <a:pt x="713" y="667"/>
                  <a:pt x="712" y="669"/>
                  <a:pt x="712" y="671"/>
                </a:cubicBezTo>
                <a:cubicBezTo>
                  <a:pt x="712" y="672"/>
                  <a:pt x="711" y="673"/>
                  <a:pt x="711" y="673"/>
                </a:cubicBezTo>
                <a:cubicBezTo>
                  <a:pt x="711" y="674"/>
                  <a:pt x="710" y="675"/>
                  <a:pt x="711" y="675"/>
                </a:cubicBezTo>
                <a:cubicBezTo>
                  <a:pt x="711" y="676"/>
                  <a:pt x="711" y="676"/>
                  <a:pt x="711" y="676"/>
                </a:cubicBezTo>
                <a:cubicBezTo>
                  <a:pt x="711" y="676"/>
                  <a:pt x="711" y="676"/>
                  <a:pt x="710" y="676"/>
                </a:cubicBezTo>
                <a:cubicBezTo>
                  <a:pt x="710" y="677"/>
                  <a:pt x="710" y="678"/>
                  <a:pt x="710" y="679"/>
                </a:cubicBezTo>
                <a:cubicBezTo>
                  <a:pt x="709" y="680"/>
                  <a:pt x="709" y="682"/>
                  <a:pt x="708" y="683"/>
                </a:cubicBezTo>
                <a:cubicBezTo>
                  <a:pt x="706" y="689"/>
                  <a:pt x="705" y="692"/>
                  <a:pt x="703" y="696"/>
                </a:cubicBezTo>
                <a:cubicBezTo>
                  <a:pt x="701" y="699"/>
                  <a:pt x="697" y="712"/>
                  <a:pt x="696" y="719"/>
                </a:cubicBezTo>
                <a:cubicBezTo>
                  <a:pt x="695" y="721"/>
                  <a:pt x="694" y="725"/>
                  <a:pt x="695" y="727"/>
                </a:cubicBezTo>
                <a:cubicBezTo>
                  <a:pt x="695" y="727"/>
                  <a:pt x="695" y="728"/>
                  <a:pt x="695" y="728"/>
                </a:cubicBezTo>
                <a:cubicBezTo>
                  <a:pt x="694" y="729"/>
                  <a:pt x="694" y="728"/>
                  <a:pt x="693" y="729"/>
                </a:cubicBezTo>
                <a:cubicBezTo>
                  <a:pt x="693" y="730"/>
                  <a:pt x="693" y="731"/>
                  <a:pt x="692" y="732"/>
                </a:cubicBezTo>
                <a:cubicBezTo>
                  <a:pt x="692" y="733"/>
                  <a:pt x="691" y="735"/>
                  <a:pt x="692" y="736"/>
                </a:cubicBezTo>
                <a:cubicBezTo>
                  <a:pt x="692" y="736"/>
                  <a:pt x="692" y="736"/>
                  <a:pt x="693" y="737"/>
                </a:cubicBezTo>
                <a:cubicBezTo>
                  <a:pt x="693" y="737"/>
                  <a:pt x="692" y="737"/>
                  <a:pt x="692" y="738"/>
                </a:cubicBezTo>
                <a:cubicBezTo>
                  <a:pt x="692" y="738"/>
                  <a:pt x="692" y="739"/>
                  <a:pt x="692" y="740"/>
                </a:cubicBezTo>
                <a:cubicBezTo>
                  <a:pt x="692" y="740"/>
                  <a:pt x="691" y="740"/>
                  <a:pt x="691" y="740"/>
                </a:cubicBezTo>
                <a:cubicBezTo>
                  <a:pt x="691" y="739"/>
                  <a:pt x="691" y="739"/>
                  <a:pt x="690" y="739"/>
                </a:cubicBezTo>
                <a:cubicBezTo>
                  <a:pt x="690" y="739"/>
                  <a:pt x="690" y="739"/>
                  <a:pt x="690" y="740"/>
                </a:cubicBezTo>
                <a:cubicBezTo>
                  <a:pt x="690" y="740"/>
                  <a:pt x="690" y="741"/>
                  <a:pt x="690" y="741"/>
                </a:cubicBezTo>
                <a:cubicBezTo>
                  <a:pt x="690" y="742"/>
                  <a:pt x="690" y="744"/>
                  <a:pt x="690" y="745"/>
                </a:cubicBezTo>
                <a:cubicBezTo>
                  <a:pt x="690" y="746"/>
                  <a:pt x="690" y="747"/>
                  <a:pt x="689" y="748"/>
                </a:cubicBezTo>
                <a:cubicBezTo>
                  <a:pt x="689" y="749"/>
                  <a:pt x="689" y="750"/>
                  <a:pt x="688" y="751"/>
                </a:cubicBezTo>
                <a:cubicBezTo>
                  <a:pt x="686" y="751"/>
                  <a:pt x="686" y="750"/>
                  <a:pt x="686" y="752"/>
                </a:cubicBezTo>
                <a:cubicBezTo>
                  <a:pt x="686" y="753"/>
                  <a:pt x="686" y="753"/>
                  <a:pt x="686" y="754"/>
                </a:cubicBezTo>
                <a:cubicBezTo>
                  <a:pt x="685" y="755"/>
                  <a:pt x="684" y="757"/>
                  <a:pt x="684" y="759"/>
                </a:cubicBezTo>
                <a:cubicBezTo>
                  <a:pt x="683" y="761"/>
                  <a:pt x="682" y="763"/>
                  <a:pt x="682" y="765"/>
                </a:cubicBezTo>
                <a:cubicBezTo>
                  <a:pt x="683" y="766"/>
                  <a:pt x="683" y="766"/>
                  <a:pt x="683" y="767"/>
                </a:cubicBezTo>
                <a:cubicBezTo>
                  <a:pt x="684" y="768"/>
                  <a:pt x="683" y="771"/>
                  <a:pt x="681" y="771"/>
                </a:cubicBezTo>
                <a:cubicBezTo>
                  <a:pt x="681" y="771"/>
                  <a:pt x="681" y="771"/>
                  <a:pt x="681" y="771"/>
                </a:cubicBezTo>
                <a:cubicBezTo>
                  <a:pt x="680" y="771"/>
                  <a:pt x="679" y="772"/>
                  <a:pt x="678" y="773"/>
                </a:cubicBezTo>
                <a:cubicBezTo>
                  <a:pt x="678" y="773"/>
                  <a:pt x="679" y="773"/>
                  <a:pt x="679" y="773"/>
                </a:cubicBezTo>
                <a:cubicBezTo>
                  <a:pt x="679" y="774"/>
                  <a:pt x="680" y="774"/>
                  <a:pt x="679" y="775"/>
                </a:cubicBezTo>
                <a:cubicBezTo>
                  <a:pt x="679" y="775"/>
                  <a:pt x="678" y="775"/>
                  <a:pt x="678" y="775"/>
                </a:cubicBezTo>
                <a:cubicBezTo>
                  <a:pt x="678" y="776"/>
                  <a:pt x="678" y="776"/>
                  <a:pt x="678" y="776"/>
                </a:cubicBezTo>
                <a:cubicBezTo>
                  <a:pt x="676" y="784"/>
                  <a:pt x="673" y="792"/>
                  <a:pt x="670" y="799"/>
                </a:cubicBezTo>
                <a:cubicBezTo>
                  <a:pt x="670" y="800"/>
                  <a:pt x="669" y="802"/>
                  <a:pt x="669" y="804"/>
                </a:cubicBezTo>
                <a:cubicBezTo>
                  <a:pt x="668" y="806"/>
                  <a:pt x="667" y="809"/>
                  <a:pt x="666" y="811"/>
                </a:cubicBezTo>
                <a:cubicBezTo>
                  <a:pt x="665" y="813"/>
                  <a:pt x="664" y="816"/>
                  <a:pt x="663" y="818"/>
                </a:cubicBezTo>
                <a:cubicBezTo>
                  <a:pt x="662" y="820"/>
                  <a:pt x="662" y="821"/>
                  <a:pt x="661" y="823"/>
                </a:cubicBezTo>
                <a:cubicBezTo>
                  <a:pt x="661" y="824"/>
                  <a:pt x="659" y="825"/>
                  <a:pt x="660" y="826"/>
                </a:cubicBezTo>
                <a:cubicBezTo>
                  <a:pt x="660" y="828"/>
                  <a:pt x="660" y="829"/>
                  <a:pt x="660" y="831"/>
                </a:cubicBezTo>
                <a:cubicBezTo>
                  <a:pt x="659" y="833"/>
                  <a:pt x="658" y="835"/>
                  <a:pt x="658" y="837"/>
                </a:cubicBezTo>
                <a:cubicBezTo>
                  <a:pt x="657" y="840"/>
                  <a:pt x="656" y="843"/>
                  <a:pt x="655" y="847"/>
                </a:cubicBezTo>
                <a:cubicBezTo>
                  <a:pt x="654" y="850"/>
                  <a:pt x="653" y="852"/>
                  <a:pt x="653" y="855"/>
                </a:cubicBezTo>
                <a:cubicBezTo>
                  <a:pt x="653" y="856"/>
                  <a:pt x="653" y="856"/>
                  <a:pt x="653" y="857"/>
                </a:cubicBezTo>
                <a:cubicBezTo>
                  <a:pt x="653" y="857"/>
                  <a:pt x="653" y="858"/>
                  <a:pt x="653" y="858"/>
                </a:cubicBezTo>
                <a:cubicBezTo>
                  <a:pt x="652" y="858"/>
                  <a:pt x="651" y="861"/>
                  <a:pt x="651" y="862"/>
                </a:cubicBezTo>
                <a:cubicBezTo>
                  <a:pt x="651" y="863"/>
                  <a:pt x="650" y="865"/>
                  <a:pt x="650" y="866"/>
                </a:cubicBezTo>
                <a:cubicBezTo>
                  <a:pt x="650" y="867"/>
                  <a:pt x="651" y="868"/>
                  <a:pt x="650" y="868"/>
                </a:cubicBezTo>
                <a:cubicBezTo>
                  <a:pt x="650" y="868"/>
                  <a:pt x="649" y="868"/>
                  <a:pt x="649" y="868"/>
                </a:cubicBezTo>
                <a:cubicBezTo>
                  <a:pt x="649" y="869"/>
                  <a:pt x="648" y="869"/>
                  <a:pt x="648" y="870"/>
                </a:cubicBezTo>
                <a:cubicBezTo>
                  <a:pt x="648" y="871"/>
                  <a:pt x="648" y="873"/>
                  <a:pt x="647" y="873"/>
                </a:cubicBezTo>
                <a:cubicBezTo>
                  <a:pt x="646" y="874"/>
                  <a:pt x="644" y="873"/>
                  <a:pt x="645" y="875"/>
                </a:cubicBezTo>
                <a:cubicBezTo>
                  <a:pt x="645" y="876"/>
                  <a:pt x="645" y="876"/>
                  <a:pt x="646" y="877"/>
                </a:cubicBezTo>
                <a:cubicBezTo>
                  <a:pt x="647" y="878"/>
                  <a:pt x="646" y="880"/>
                  <a:pt x="645" y="881"/>
                </a:cubicBezTo>
                <a:cubicBezTo>
                  <a:pt x="644" y="884"/>
                  <a:pt x="644" y="886"/>
                  <a:pt x="643" y="888"/>
                </a:cubicBezTo>
                <a:cubicBezTo>
                  <a:pt x="641" y="893"/>
                  <a:pt x="640" y="897"/>
                  <a:pt x="639" y="902"/>
                </a:cubicBezTo>
                <a:cubicBezTo>
                  <a:pt x="634" y="915"/>
                  <a:pt x="630" y="929"/>
                  <a:pt x="629" y="931"/>
                </a:cubicBezTo>
                <a:cubicBezTo>
                  <a:pt x="629" y="934"/>
                  <a:pt x="625" y="945"/>
                  <a:pt x="622" y="955"/>
                </a:cubicBezTo>
                <a:cubicBezTo>
                  <a:pt x="619" y="966"/>
                  <a:pt x="614" y="983"/>
                  <a:pt x="611" y="993"/>
                </a:cubicBezTo>
                <a:cubicBezTo>
                  <a:pt x="607" y="1004"/>
                  <a:pt x="599" y="1031"/>
                  <a:pt x="592" y="1054"/>
                </a:cubicBezTo>
                <a:cubicBezTo>
                  <a:pt x="589" y="1062"/>
                  <a:pt x="587" y="1069"/>
                  <a:pt x="585" y="1076"/>
                </a:cubicBezTo>
                <a:cubicBezTo>
                  <a:pt x="584" y="1080"/>
                  <a:pt x="583" y="1083"/>
                  <a:pt x="582" y="1087"/>
                </a:cubicBezTo>
                <a:cubicBezTo>
                  <a:pt x="581" y="1090"/>
                  <a:pt x="579" y="1094"/>
                  <a:pt x="579" y="1097"/>
                </a:cubicBezTo>
                <a:cubicBezTo>
                  <a:pt x="579" y="1097"/>
                  <a:pt x="579" y="1098"/>
                  <a:pt x="579" y="1098"/>
                </a:cubicBezTo>
                <a:cubicBezTo>
                  <a:pt x="579" y="1099"/>
                  <a:pt x="578" y="1100"/>
                  <a:pt x="577" y="1102"/>
                </a:cubicBezTo>
                <a:cubicBezTo>
                  <a:pt x="577" y="1103"/>
                  <a:pt x="576" y="1105"/>
                  <a:pt x="576" y="1107"/>
                </a:cubicBezTo>
                <a:cubicBezTo>
                  <a:pt x="575" y="1111"/>
                  <a:pt x="574" y="1115"/>
                  <a:pt x="573" y="1118"/>
                </a:cubicBezTo>
                <a:cubicBezTo>
                  <a:pt x="572" y="1122"/>
                  <a:pt x="571" y="1125"/>
                  <a:pt x="570" y="1128"/>
                </a:cubicBezTo>
                <a:cubicBezTo>
                  <a:pt x="569" y="1130"/>
                  <a:pt x="569" y="1132"/>
                  <a:pt x="568" y="1133"/>
                </a:cubicBezTo>
                <a:cubicBezTo>
                  <a:pt x="568" y="1135"/>
                  <a:pt x="567" y="1136"/>
                  <a:pt x="567" y="1138"/>
                </a:cubicBezTo>
                <a:cubicBezTo>
                  <a:pt x="567" y="1138"/>
                  <a:pt x="566" y="1139"/>
                  <a:pt x="566" y="1139"/>
                </a:cubicBezTo>
                <a:cubicBezTo>
                  <a:pt x="566" y="1140"/>
                  <a:pt x="566" y="1141"/>
                  <a:pt x="566" y="1142"/>
                </a:cubicBezTo>
                <a:cubicBezTo>
                  <a:pt x="565" y="1144"/>
                  <a:pt x="565" y="1145"/>
                  <a:pt x="564" y="1146"/>
                </a:cubicBezTo>
                <a:cubicBezTo>
                  <a:pt x="563" y="1150"/>
                  <a:pt x="560" y="1160"/>
                  <a:pt x="558" y="1168"/>
                </a:cubicBezTo>
                <a:cubicBezTo>
                  <a:pt x="557" y="1171"/>
                  <a:pt x="556" y="1173"/>
                  <a:pt x="555" y="1176"/>
                </a:cubicBezTo>
                <a:cubicBezTo>
                  <a:pt x="555" y="1178"/>
                  <a:pt x="554" y="1181"/>
                  <a:pt x="553" y="1183"/>
                </a:cubicBezTo>
                <a:cubicBezTo>
                  <a:pt x="553" y="1183"/>
                  <a:pt x="553" y="1183"/>
                  <a:pt x="553" y="1183"/>
                </a:cubicBezTo>
                <a:cubicBezTo>
                  <a:pt x="553" y="1183"/>
                  <a:pt x="553" y="1183"/>
                  <a:pt x="552" y="1183"/>
                </a:cubicBezTo>
                <a:cubicBezTo>
                  <a:pt x="552" y="1183"/>
                  <a:pt x="551" y="1183"/>
                  <a:pt x="551" y="1184"/>
                </a:cubicBezTo>
                <a:cubicBezTo>
                  <a:pt x="551" y="1184"/>
                  <a:pt x="551" y="1185"/>
                  <a:pt x="551" y="1186"/>
                </a:cubicBezTo>
                <a:cubicBezTo>
                  <a:pt x="551" y="1187"/>
                  <a:pt x="550" y="1188"/>
                  <a:pt x="550" y="1190"/>
                </a:cubicBezTo>
                <a:cubicBezTo>
                  <a:pt x="550" y="1190"/>
                  <a:pt x="550" y="1191"/>
                  <a:pt x="550" y="1192"/>
                </a:cubicBezTo>
                <a:cubicBezTo>
                  <a:pt x="550" y="1192"/>
                  <a:pt x="550" y="1192"/>
                  <a:pt x="550" y="1193"/>
                </a:cubicBezTo>
                <a:cubicBezTo>
                  <a:pt x="550" y="1193"/>
                  <a:pt x="549" y="1193"/>
                  <a:pt x="549" y="1194"/>
                </a:cubicBezTo>
                <a:cubicBezTo>
                  <a:pt x="549" y="1194"/>
                  <a:pt x="549" y="1194"/>
                  <a:pt x="549" y="1194"/>
                </a:cubicBezTo>
                <a:cubicBezTo>
                  <a:pt x="550" y="1195"/>
                  <a:pt x="549" y="1198"/>
                  <a:pt x="548" y="1199"/>
                </a:cubicBezTo>
                <a:cubicBezTo>
                  <a:pt x="548" y="1200"/>
                  <a:pt x="547" y="1200"/>
                  <a:pt x="547" y="1202"/>
                </a:cubicBezTo>
                <a:cubicBezTo>
                  <a:pt x="546" y="1203"/>
                  <a:pt x="546" y="1206"/>
                  <a:pt x="546" y="1206"/>
                </a:cubicBezTo>
                <a:cubicBezTo>
                  <a:pt x="545" y="1208"/>
                  <a:pt x="545" y="1210"/>
                  <a:pt x="544" y="1211"/>
                </a:cubicBezTo>
                <a:cubicBezTo>
                  <a:pt x="544" y="1213"/>
                  <a:pt x="543" y="1215"/>
                  <a:pt x="543" y="1217"/>
                </a:cubicBezTo>
                <a:cubicBezTo>
                  <a:pt x="542" y="1218"/>
                  <a:pt x="542" y="1220"/>
                  <a:pt x="541" y="1221"/>
                </a:cubicBezTo>
                <a:cubicBezTo>
                  <a:pt x="540" y="1221"/>
                  <a:pt x="540" y="1221"/>
                  <a:pt x="540" y="1221"/>
                </a:cubicBezTo>
                <a:cubicBezTo>
                  <a:pt x="539" y="1222"/>
                  <a:pt x="539" y="1222"/>
                  <a:pt x="539" y="1223"/>
                </a:cubicBezTo>
                <a:cubicBezTo>
                  <a:pt x="539" y="1223"/>
                  <a:pt x="539" y="1224"/>
                  <a:pt x="539" y="1224"/>
                </a:cubicBezTo>
                <a:cubicBezTo>
                  <a:pt x="540" y="1226"/>
                  <a:pt x="539" y="1228"/>
                  <a:pt x="539" y="1230"/>
                </a:cubicBez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23" name="Freeform 6">
            <a:extLst>
              <a:ext uri="{FF2B5EF4-FFF2-40B4-BE49-F238E27FC236}">
                <a16:creationId xmlns:a16="http://schemas.microsoft.com/office/drawing/2014/main" id="{552BBAD0-AAE7-CF17-7C9D-23C0DBC47FE3}"/>
              </a:ext>
            </a:extLst>
          </p:cNvPr>
          <p:cNvSpPr>
            <a:spLocks noChangeAspect="1"/>
          </p:cNvSpPr>
          <p:nvPr userDrawn="1"/>
        </p:nvSpPr>
        <p:spPr bwMode="auto">
          <a:xfrm rot="907405">
            <a:off x="8555250" y="2872966"/>
            <a:ext cx="1340431" cy="2697584"/>
          </a:xfrm>
          <a:custGeom>
            <a:avLst/>
            <a:gdLst>
              <a:gd name="T0" fmla="*/ 635 w 1407"/>
              <a:gd name="T1" fmla="*/ 1617 h 2831"/>
              <a:gd name="T2" fmla="*/ 682 w 1407"/>
              <a:gd name="T3" fmla="*/ 1519 h 2831"/>
              <a:gd name="T4" fmla="*/ 746 w 1407"/>
              <a:gd name="T5" fmla="*/ 1386 h 2831"/>
              <a:gd name="T6" fmla="*/ 784 w 1407"/>
              <a:gd name="T7" fmla="*/ 1305 h 2831"/>
              <a:gd name="T8" fmla="*/ 819 w 1407"/>
              <a:gd name="T9" fmla="*/ 1245 h 2831"/>
              <a:gd name="T10" fmla="*/ 840 w 1407"/>
              <a:gd name="T11" fmla="*/ 1192 h 2831"/>
              <a:gd name="T12" fmla="*/ 859 w 1407"/>
              <a:gd name="T13" fmla="*/ 1151 h 2831"/>
              <a:gd name="T14" fmla="*/ 887 w 1407"/>
              <a:gd name="T15" fmla="*/ 1090 h 2831"/>
              <a:gd name="T16" fmla="*/ 929 w 1407"/>
              <a:gd name="T17" fmla="*/ 1012 h 2831"/>
              <a:gd name="T18" fmla="*/ 981 w 1407"/>
              <a:gd name="T19" fmla="*/ 892 h 2831"/>
              <a:gd name="T20" fmla="*/ 1015 w 1407"/>
              <a:gd name="T21" fmla="*/ 820 h 2831"/>
              <a:gd name="T22" fmla="*/ 1069 w 1407"/>
              <a:gd name="T23" fmla="*/ 711 h 2831"/>
              <a:gd name="T24" fmla="*/ 1097 w 1407"/>
              <a:gd name="T25" fmla="*/ 653 h 2831"/>
              <a:gd name="T26" fmla="*/ 1120 w 1407"/>
              <a:gd name="T27" fmla="*/ 606 h 2831"/>
              <a:gd name="T28" fmla="*/ 1151 w 1407"/>
              <a:gd name="T29" fmla="*/ 542 h 2831"/>
              <a:gd name="T30" fmla="*/ 1187 w 1407"/>
              <a:gd name="T31" fmla="*/ 474 h 2831"/>
              <a:gd name="T32" fmla="*/ 1239 w 1407"/>
              <a:gd name="T33" fmla="*/ 366 h 2831"/>
              <a:gd name="T34" fmla="*/ 1261 w 1407"/>
              <a:gd name="T35" fmla="*/ 325 h 2831"/>
              <a:gd name="T36" fmla="*/ 1290 w 1407"/>
              <a:gd name="T37" fmla="*/ 266 h 2831"/>
              <a:gd name="T38" fmla="*/ 1324 w 1407"/>
              <a:gd name="T39" fmla="*/ 200 h 2831"/>
              <a:gd name="T40" fmla="*/ 1343 w 1407"/>
              <a:gd name="T41" fmla="*/ 150 h 2831"/>
              <a:gd name="T42" fmla="*/ 1366 w 1407"/>
              <a:gd name="T43" fmla="*/ 96 h 2831"/>
              <a:gd name="T44" fmla="*/ 1377 w 1407"/>
              <a:gd name="T45" fmla="*/ 3 h 2831"/>
              <a:gd name="T46" fmla="*/ 1211 w 1407"/>
              <a:gd name="T47" fmla="*/ 317 h 2831"/>
              <a:gd name="T48" fmla="*/ 1118 w 1407"/>
              <a:gd name="T49" fmla="*/ 512 h 2831"/>
              <a:gd name="T50" fmla="*/ 1075 w 1407"/>
              <a:gd name="T51" fmla="*/ 600 h 2831"/>
              <a:gd name="T52" fmla="*/ 1028 w 1407"/>
              <a:gd name="T53" fmla="*/ 692 h 2831"/>
              <a:gd name="T54" fmla="*/ 990 w 1407"/>
              <a:gd name="T55" fmla="*/ 764 h 2831"/>
              <a:gd name="T56" fmla="*/ 953 w 1407"/>
              <a:gd name="T57" fmla="*/ 843 h 2831"/>
              <a:gd name="T58" fmla="*/ 818 w 1407"/>
              <a:gd name="T59" fmla="*/ 1124 h 2831"/>
              <a:gd name="T60" fmla="*/ 779 w 1407"/>
              <a:gd name="T61" fmla="*/ 1207 h 2831"/>
              <a:gd name="T62" fmla="*/ 725 w 1407"/>
              <a:gd name="T63" fmla="*/ 1318 h 2831"/>
              <a:gd name="T64" fmla="*/ 685 w 1407"/>
              <a:gd name="T65" fmla="*/ 1409 h 2831"/>
              <a:gd name="T66" fmla="*/ 648 w 1407"/>
              <a:gd name="T67" fmla="*/ 1476 h 2831"/>
              <a:gd name="T68" fmla="*/ 631 w 1407"/>
              <a:gd name="T69" fmla="*/ 1512 h 2831"/>
              <a:gd name="T70" fmla="*/ 604 w 1407"/>
              <a:gd name="T71" fmla="*/ 1567 h 2831"/>
              <a:gd name="T72" fmla="*/ 570 w 1407"/>
              <a:gd name="T73" fmla="*/ 1636 h 2831"/>
              <a:gd name="T74" fmla="*/ 547 w 1407"/>
              <a:gd name="T75" fmla="*/ 1684 h 2831"/>
              <a:gd name="T76" fmla="*/ 514 w 1407"/>
              <a:gd name="T77" fmla="*/ 1756 h 2831"/>
              <a:gd name="T78" fmla="*/ 480 w 1407"/>
              <a:gd name="T79" fmla="*/ 1824 h 2831"/>
              <a:gd name="T80" fmla="*/ 430 w 1407"/>
              <a:gd name="T81" fmla="*/ 1939 h 2831"/>
              <a:gd name="T82" fmla="*/ 374 w 1407"/>
              <a:gd name="T83" fmla="*/ 2057 h 2831"/>
              <a:gd name="T84" fmla="*/ 326 w 1407"/>
              <a:gd name="T85" fmla="*/ 2153 h 2831"/>
              <a:gd name="T86" fmla="*/ 296 w 1407"/>
              <a:gd name="T87" fmla="*/ 2209 h 2831"/>
              <a:gd name="T88" fmla="*/ 271 w 1407"/>
              <a:gd name="T89" fmla="*/ 2260 h 2831"/>
              <a:gd name="T90" fmla="*/ 244 w 1407"/>
              <a:gd name="T91" fmla="*/ 2310 h 2831"/>
              <a:gd name="T92" fmla="*/ 201 w 1407"/>
              <a:gd name="T93" fmla="*/ 2402 h 2831"/>
              <a:gd name="T94" fmla="*/ 169 w 1407"/>
              <a:gd name="T95" fmla="*/ 2465 h 2831"/>
              <a:gd name="T96" fmla="*/ 153 w 1407"/>
              <a:gd name="T97" fmla="*/ 2493 h 2831"/>
              <a:gd name="T98" fmla="*/ 132 w 1407"/>
              <a:gd name="T99" fmla="*/ 2541 h 2831"/>
              <a:gd name="T100" fmla="*/ 103 w 1407"/>
              <a:gd name="T101" fmla="*/ 2599 h 2831"/>
              <a:gd name="T102" fmla="*/ 77 w 1407"/>
              <a:gd name="T103" fmla="*/ 2652 h 2831"/>
              <a:gd name="T104" fmla="*/ 61 w 1407"/>
              <a:gd name="T105" fmla="*/ 2695 h 2831"/>
              <a:gd name="T106" fmla="*/ 31 w 1407"/>
              <a:gd name="T107" fmla="*/ 2755 h 2831"/>
              <a:gd name="T108" fmla="*/ 196 w 1407"/>
              <a:gd name="T109" fmla="*/ 2520 h 2831"/>
              <a:gd name="T110" fmla="*/ 288 w 1407"/>
              <a:gd name="T111" fmla="*/ 2331 h 2831"/>
              <a:gd name="T112" fmla="*/ 330 w 1407"/>
              <a:gd name="T113" fmla="*/ 2243 h 2831"/>
              <a:gd name="T114" fmla="*/ 381 w 1407"/>
              <a:gd name="T115" fmla="*/ 2138 h 2831"/>
              <a:gd name="T116" fmla="*/ 418 w 1407"/>
              <a:gd name="T117" fmla="*/ 2069 h 2831"/>
              <a:gd name="T118" fmla="*/ 528 w 1407"/>
              <a:gd name="T119" fmla="*/ 1840 h 2831"/>
              <a:gd name="T120" fmla="*/ 592 w 1407"/>
              <a:gd name="T121" fmla="*/ 1708 h 2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07" h="2831">
                <a:moveTo>
                  <a:pt x="607" y="1674"/>
                </a:moveTo>
                <a:lnTo>
                  <a:pt x="607" y="1674"/>
                </a:lnTo>
                <a:cubicBezTo>
                  <a:pt x="608" y="1674"/>
                  <a:pt x="608" y="1673"/>
                  <a:pt x="608" y="1672"/>
                </a:cubicBezTo>
                <a:cubicBezTo>
                  <a:pt x="610" y="1670"/>
                  <a:pt x="611" y="1668"/>
                  <a:pt x="613" y="1666"/>
                </a:cubicBezTo>
                <a:cubicBezTo>
                  <a:pt x="614" y="1665"/>
                  <a:pt x="615" y="1664"/>
                  <a:pt x="616" y="1663"/>
                </a:cubicBezTo>
                <a:cubicBezTo>
                  <a:pt x="616" y="1662"/>
                  <a:pt x="617" y="1662"/>
                  <a:pt x="617" y="1661"/>
                </a:cubicBezTo>
                <a:cubicBezTo>
                  <a:pt x="618" y="1660"/>
                  <a:pt x="617" y="1659"/>
                  <a:pt x="617" y="1658"/>
                </a:cubicBezTo>
                <a:cubicBezTo>
                  <a:pt x="617" y="1657"/>
                  <a:pt x="617" y="1656"/>
                  <a:pt x="617" y="1655"/>
                </a:cubicBezTo>
                <a:cubicBezTo>
                  <a:pt x="618" y="1654"/>
                  <a:pt x="619" y="1655"/>
                  <a:pt x="620" y="1654"/>
                </a:cubicBezTo>
                <a:cubicBezTo>
                  <a:pt x="621" y="1654"/>
                  <a:pt x="620" y="1652"/>
                  <a:pt x="621" y="1651"/>
                </a:cubicBezTo>
                <a:cubicBezTo>
                  <a:pt x="621" y="1651"/>
                  <a:pt x="621" y="1651"/>
                  <a:pt x="621" y="1651"/>
                </a:cubicBezTo>
                <a:cubicBezTo>
                  <a:pt x="622" y="1651"/>
                  <a:pt x="622" y="1651"/>
                  <a:pt x="623" y="1650"/>
                </a:cubicBezTo>
                <a:cubicBezTo>
                  <a:pt x="623" y="1650"/>
                  <a:pt x="623" y="1650"/>
                  <a:pt x="623" y="1650"/>
                </a:cubicBezTo>
                <a:cubicBezTo>
                  <a:pt x="623" y="1650"/>
                  <a:pt x="623" y="1650"/>
                  <a:pt x="624" y="1649"/>
                </a:cubicBezTo>
                <a:cubicBezTo>
                  <a:pt x="624" y="1649"/>
                  <a:pt x="624" y="1649"/>
                  <a:pt x="624" y="1648"/>
                </a:cubicBezTo>
                <a:cubicBezTo>
                  <a:pt x="625" y="1647"/>
                  <a:pt x="625" y="1646"/>
                  <a:pt x="625" y="1645"/>
                </a:cubicBezTo>
                <a:cubicBezTo>
                  <a:pt x="626" y="1644"/>
                  <a:pt x="626" y="1643"/>
                  <a:pt x="627" y="1642"/>
                </a:cubicBezTo>
                <a:cubicBezTo>
                  <a:pt x="628" y="1640"/>
                  <a:pt x="630" y="1637"/>
                  <a:pt x="630" y="1635"/>
                </a:cubicBezTo>
                <a:cubicBezTo>
                  <a:pt x="630" y="1633"/>
                  <a:pt x="628" y="1634"/>
                  <a:pt x="627" y="1633"/>
                </a:cubicBezTo>
                <a:cubicBezTo>
                  <a:pt x="627" y="1633"/>
                  <a:pt x="627" y="1633"/>
                  <a:pt x="627" y="1632"/>
                </a:cubicBezTo>
                <a:cubicBezTo>
                  <a:pt x="627" y="1632"/>
                  <a:pt x="628" y="1631"/>
                  <a:pt x="628" y="1631"/>
                </a:cubicBezTo>
                <a:cubicBezTo>
                  <a:pt x="629" y="1630"/>
                  <a:pt x="629" y="1629"/>
                  <a:pt x="629" y="1629"/>
                </a:cubicBezTo>
                <a:cubicBezTo>
                  <a:pt x="630" y="1627"/>
                  <a:pt x="631" y="1625"/>
                  <a:pt x="632" y="1623"/>
                </a:cubicBezTo>
                <a:cubicBezTo>
                  <a:pt x="633" y="1622"/>
                  <a:pt x="637" y="1619"/>
                  <a:pt x="635" y="1617"/>
                </a:cubicBezTo>
                <a:cubicBezTo>
                  <a:pt x="635" y="1617"/>
                  <a:pt x="634" y="1617"/>
                  <a:pt x="634" y="1617"/>
                </a:cubicBezTo>
                <a:cubicBezTo>
                  <a:pt x="633" y="1616"/>
                  <a:pt x="635" y="1614"/>
                  <a:pt x="636" y="1614"/>
                </a:cubicBezTo>
                <a:cubicBezTo>
                  <a:pt x="641" y="1606"/>
                  <a:pt x="644" y="1600"/>
                  <a:pt x="649" y="1591"/>
                </a:cubicBezTo>
                <a:cubicBezTo>
                  <a:pt x="649" y="1589"/>
                  <a:pt x="650" y="1586"/>
                  <a:pt x="651" y="1584"/>
                </a:cubicBezTo>
                <a:cubicBezTo>
                  <a:pt x="652" y="1583"/>
                  <a:pt x="653" y="1583"/>
                  <a:pt x="653" y="1583"/>
                </a:cubicBezTo>
                <a:cubicBezTo>
                  <a:pt x="654" y="1582"/>
                  <a:pt x="655" y="1582"/>
                  <a:pt x="655" y="1581"/>
                </a:cubicBezTo>
                <a:cubicBezTo>
                  <a:pt x="656" y="1579"/>
                  <a:pt x="656" y="1578"/>
                  <a:pt x="657" y="1577"/>
                </a:cubicBezTo>
                <a:cubicBezTo>
                  <a:pt x="657" y="1576"/>
                  <a:pt x="658" y="1576"/>
                  <a:pt x="659" y="1575"/>
                </a:cubicBezTo>
                <a:cubicBezTo>
                  <a:pt x="660" y="1574"/>
                  <a:pt x="659" y="1573"/>
                  <a:pt x="659" y="1572"/>
                </a:cubicBezTo>
                <a:cubicBezTo>
                  <a:pt x="658" y="1570"/>
                  <a:pt x="658" y="1570"/>
                  <a:pt x="659" y="1568"/>
                </a:cubicBezTo>
                <a:cubicBezTo>
                  <a:pt x="660" y="1567"/>
                  <a:pt x="661" y="1565"/>
                  <a:pt x="662" y="1563"/>
                </a:cubicBezTo>
                <a:cubicBezTo>
                  <a:pt x="664" y="1558"/>
                  <a:pt x="666" y="1554"/>
                  <a:pt x="666" y="1553"/>
                </a:cubicBezTo>
                <a:cubicBezTo>
                  <a:pt x="667" y="1552"/>
                  <a:pt x="667" y="1551"/>
                  <a:pt x="668" y="1551"/>
                </a:cubicBezTo>
                <a:cubicBezTo>
                  <a:pt x="668" y="1550"/>
                  <a:pt x="669" y="1550"/>
                  <a:pt x="670" y="1550"/>
                </a:cubicBezTo>
                <a:cubicBezTo>
                  <a:pt x="670" y="1549"/>
                  <a:pt x="671" y="1549"/>
                  <a:pt x="671" y="1548"/>
                </a:cubicBezTo>
                <a:cubicBezTo>
                  <a:pt x="672" y="1547"/>
                  <a:pt x="673" y="1545"/>
                  <a:pt x="674" y="1544"/>
                </a:cubicBezTo>
                <a:cubicBezTo>
                  <a:pt x="674" y="1544"/>
                  <a:pt x="674" y="1543"/>
                  <a:pt x="674" y="1543"/>
                </a:cubicBezTo>
                <a:cubicBezTo>
                  <a:pt x="674" y="1542"/>
                  <a:pt x="674" y="1542"/>
                  <a:pt x="674" y="1541"/>
                </a:cubicBezTo>
                <a:cubicBezTo>
                  <a:pt x="673" y="1538"/>
                  <a:pt x="675" y="1535"/>
                  <a:pt x="677" y="1533"/>
                </a:cubicBezTo>
                <a:cubicBezTo>
                  <a:pt x="678" y="1532"/>
                  <a:pt x="679" y="1530"/>
                  <a:pt x="680" y="1528"/>
                </a:cubicBezTo>
                <a:cubicBezTo>
                  <a:pt x="680" y="1528"/>
                  <a:pt x="680" y="1527"/>
                  <a:pt x="680" y="1526"/>
                </a:cubicBezTo>
                <a:cubicBezTo>
                  <a:pt x="680" y="1526"/>
                  <a:pt x="680" y="1526"/>
                  <a:pt x="680" y="1525"/>
                </a:cubicBezTo>
                <a:cubicBezTo>
                  <a:pt x="679" y="1524"/>
                  <a:pt x="680" y="1523"/>
                  <a:pt x="680" y="1522"/>
                </a:cubicBezTo>
                <a:cubicBezTo>
                  <a:pt x="681" y="1521"/>
                  <a:pt x="682" y="1520"/>
                  <a:pt x="682" y="1519"/>
                </a:cubicBezTo>
                <a:cubicBezTo>
                  <a:pt x="683" y="1517"/>
                  <a:pt x="684" y="1516"/>
                  <a:pt x="684" y="1514"/>
                </a:cubicBezTo>
                <a:cubicBezTo>
                  <a:pt x="685" y="1512"/>
                  <a:pt x="686" y="1510"/>
                  <a:pt x="687" y="1508"/>
                </a:cubicBezTo>
                <a:cubicBezTo>
                  <a:pt x="690" y="1502"/>
                  <a:pt x="692" y="1495"/>
                  <a:pt x="693" y="1493"/>
                </a:cubicBezTo>
                <a:cubicBezTo>
                  <a:pt x="694" y="1492"/>
                  <a:pt x="695" y="1490"/>
                  <a:pt x="695" y="1488"/>
                </a:cubicBezTo>
                <a:cubicBezTo>
                  <a:pt x="695" y="1488"/>
                  <a:pt x="695" y="1488"/>
                  <a:pt x="695" y="1487"/>
                </a:cubicBezTo>
                <a:cubicBezTo>
                  <a:pt x="695" y="1486"/>
                  <a:pt x="697" y="1485"/>
                  <a:pt x="698" y="1484"/>
                </a:cubicBezTo>
                <a:cubicBezTo>
                  <a:pt x="699" y="1483"/>
                  <a:pt x="699" y="1482"/>
                  <a:pt x="700" y="1480"/>
                </a:cubicBezTo>
                <a:cubicBezTo>
                  <a:pt x="701" y="1477"/>
                  <a:pt x="703" y="1474"/>
                  <a:pt x="704" y="1470"/>
                </a:cubicBezTo>
                <a:cubicBezTo>
                  <a:pt x="706" y="1468"/>
                  <a:pt x="707" y="1465"/>
                  <a:pt x="709" y="1462"/>
                </a:cubicBezTo>
                <a:cubicBezTo>
                  <a:pt x="710" y="1460"/>
                  <a:pt x="712" y="1457"/>
                  <a:pt x="712" y="1454"/>
                </a:cubicBezTo>
                <a:cubicBezTo>
                  <a:pt x="712" y="1454"/>
                  <a:pt x="712" y="1453"/>
                  <a:pt x="712" y="1453"/>
                </a:cubicBezTo>
                <a:cubicBezTo>
                  <a:pt x="712" y="1453"/>
                  <a:pt x="712" y="1453"/>
                  <a:pt x="712" y="1452"/>
                </a:cubicBezTo>
                <a:cubicBezTo>
                  <a:pt x="713" y="1451"/>
                  <a:pt x="713" y="1451"/>
                  <a:pt x="714" y="1450"/>
                </a:cubicBezTo>
                <a:cubicBezTo>
                  <a:pt x="715" y="1449"/>
                  <a:pt x="716" y="1448"/>
                  <a:pt x="717" y="1447"/>
                </a:cubicBezTo>
                <a:cubicBezTo>
                  <a:pt x="718" y="1445"/>
                  <a:pt x="718" y="1443"/>
                  <a:pt x="719" y="1440"/>
                </a:cubicBezTo>
                <a:cubicBezTo>
                  <a:pt x="720" y="1439"/>
                  <a:pt x="721" y="1437"/>
                  <a:pt x="722" y="1435"/>
                </a:cubicBezTo>
                <a:cubicBezTo>
                  <a:pt x="722" y="1434"/>
                  <a:pt x="722" y="1433"/>
                  <a:pt x="722" y="1433"/>
                </a:cubicBezTo>
                <a:cubicBezTo>
                  <a:pt x="722" y="1432"/>
                  <a:pt x="722" y="1431"/>
                  <a:pt x="722" y="1430"/>
                </a:cubicBezTo>
                <a:cubicBezTo>
                  <a:pt x="722" y="1430"/>
                  <a:pt x="722" y="1429"/>
                  <a:pt x="722" y="1428"/>
                </a:cubicBezTo>
                <a:cubicBezTo>
                  <a:pt x="724" y="1425"/>
                  <a:pt x="725" y="1422"/>
                  <a:pt x="726" y="1419"/>
                </a:cubicBezTo>
                <a:cubicBezTo>
                  <a:pt x="728" y="1416"/>
                  <a:pt x="730" y="1414"/>
                  <a:pt x="731" y="1411"/>
                </a:cubicBezTo>
                <a:cubicBezTo>
                  <a:pt x="733" y="1408"/>
                  <a:pt x="734" y="1405"/>
                  <a:pt x="736" y="1401"/>
                </a:cubicBezTo>
                <a:cubicBezTo>
                  <a:pt x="737" y="1398"/>
                  <a:pt x="740" y="1397"/>
                  <a:pt x="742" y="1394"/>
                </a:cubicBezTo>
                <a:cubicBezTo>
                  <a:pt x="743" y="1391"/>
                  <a:pt x="744" y="1389"/>
                  <a:pt x="746" y="1386"/>
                </a:cubicBezTo>
                <a:cubicBezTo>
                  <a:pt x="746" y="1385"/>
                  <a:pt x="747" y="1384"/>
                  <a:pt x="747" y="1382"/>
                </a:cubicBezTo>
                <a:cubicBezTo>
                  <a:pt x="748" y="1381"/>
                  <a:pt x="748" y="1380"/>
                  <a:pt x="748" y="1379"/>
                </a:cubicBezTo>
                <a:cubicBezTo>
                  <a:pt x="749" y="1378"/>
                  <a:pt x="749" y="1378"/>
                  <a:pt x="749" y="1378"/>
                </a:cubicBezTo>
                <a:cubicBezTo>
                  <a:pt x="751" y="1376"/>
                  <a:pt x="752" y="1374"/>
                  <a:pt x="753" y="1372"/>
                </a:cubicBezTo>
                <a:cubicBezTo>
                  <a:pt x="755" y="1370"/>
                  <a:pt x="756" y="1367"/>
                  <a:pt x="758" y="1364"/>
                </a:cubicBezTo>
                <a:cubicBezTo>
                  <a:pt x="759" y="1363"/>
                  <a:pt x="759" y="1361"/>
                  <a:pt x="760" y="1359"/>
                </a:cubicBezTo>
                <a:cubicBezTo>
                  <a:pt x="760" y="1358"/>
                  <a:pt x="760" y="1356"/>
                  <a:pt x="761" y="1355"/>
                </a:cubicBezTo>
                <a:cubicBezTo>
                  <a:pt x="761" y="1354"/>
                  <a:pt x="761" y="1354"/>
                  <a:pt x="761" y="1354"/>
                </a:cubicBezTo>
                <a:cubicBezTo>
                  <a:pt x="762" y="1354"/>
                  <a:pt x="762" y="1353"/>
                  <a:pt x="762" y="1352"/>
                </a:cubicBezTo>
                <a:cubicBezTo>
                  <a:pt x="763" y="1351"/>
                  <a:pt x="764" y="1349"/>
                  <a:pt x="764" y="1347"/>
                </a:cubicBezTo>
                <a:cubicBezTo>
                  <a:pt x="764" y="1347"/>
                  <a:pt x="764" y="1347"/>
                  <a:pt x="764" y="1346"/>
                </a:cubicBezTo>
                <a:cubicBezTo>
                  <a:pt x="764" y="1346"/>
                  <a:pt x="764" y="1345"/>
                  <a:pt x="764" y="1345"/>
                </a:cubicBezTo>
                <a:cubicBezTo>
                  <a:pt x="765" y="1343"/>
                  <a:pt x="766" y="1341"/>
                  <a:pt x="767" y="1340"/>
                </a:cubicBezTo>
                <a:cubicBezTo>
                  <a:pt x="769" y="1338"/>
                  <a:pt x="770" y="1336"/>
                  <a:pt x="771" y="1334"/>
                </a:cubicBezTo>
                <a:cubicBezTo>
                  <a:pt x="773" y="1332"/>
                  <a:pt x="774" y="1330"/>
                  <a:pt x="776" y="1328"/>
                </a:cubicBezTo>
                <a:cubicBezTo>
                  <a:pt x="777" y="1326"/>
                  <a:pt x="777" y="1324"/>
                  <a:pt x="778" y="1322"/>
                </a:cubicBezTo>
                <a:cubicBezTo>
                  <a:pt x="778" y="1322"/>
                  <a:pt x="778" y="1321"/>
                  <a:pt x="779" y="1321"/>
                </a:cubicBezTo>
                <a:cubicBezTo>
                  <a:pt x="779" y="1321"/>
                  <a:pt x="779" y="1321"/>
                  <a:pt x="779" y="1321"/>
                </a:cubicBezTo>
                <a:cubicBezTo>
                  <a:pt x="779" y="1321"/>
                  <a:pt x="780" y="1320"/>
                  <a:pt x="780" y="1320"/>
                </a:cubicBezTo>
                <a:cubicBezTo>
                  <a:pt x="781" y="1318"/>
                  <a:pt x="782" y="1317"/>
                  <a:pt x="783" y="1315"/>
                </a:cubicBezTo>
                <a:cubicBezTo>
                  <a:pt x="783" y="1314"/>
                  <a:pt x="784" y="1314"/>
                  <a:pt x="784" y="1313"/>
                </a:cubicBezTo>
                <a:cubicBezTo>
                  <a:pt x="785" y="1312"/>
                  <a:pt x="786" y="1311"/>
                  <a:pt x="785" y="1310"/>
                </a:cubicBezTo>
                <a:cubicBezTo>
                  <a:pt x="785" y="1309"/>
                  <a:pt x="784" y="1310"/>
                  <a:pt x="783" y="1309"/>
                </a:cubicBezTo>
                <a:cubicBezTo>
                  <a:pt x="782" y="1308"/>
                  <a:pt x="783" y="1306"/>
                  <a:pt x="784" y="1305"/>
                </a:cubicBezTo>
                <a:cubicBezTo>
                  <a:pt x="785" y="1304"/>
                  <a:pt x="785" y="1302"/>
                  <a:pt x="786" y="1300"/>
                </a:cubicBezTo>
                <a:cubicBezTo>
                  <a:pt x="787" y="1299"/>
                  <a:pt x="788" y="1297"/>
                  <a:pt x="789" y="1295"/>
                </a:cubicBezTo>
                <a:cubicBezTo>
                  <a:pt x="790" y="1294"/>
                  <a:pt x="790" y="1292"/>
                  <a:pt x="792" y="1293"/>
                </a:cubicBezTo>
                <a:cubicBezTo>
                  <a:pt x="793" y="1293"/>
                  <a:pt x="794" y="1293"/>
                  <a:pt x="794" y="1292"/>
                </a:cubicBezTo>
                <a:cubicBezTo>
                  <a:pt x="794" y="1292"/>
                  <a:pt x="794" y="1291"/>
                  <a:pt x="794" y="1291"/>
                </a:cubicBezTo>
                <a:cubicBezTo>
                  <a:pt x="794" y="1291"/>
                  <a:pt x="795" y="1291"/>
                  <a:pt x="795" y="1291"/>
                </a:cubicBezTo>
                <a:cubicBezTo>
                  <a:pt x="795" y="1291"/>
                  <a:pt x="795" y="1290"/>
                  <a:pt x="796" y="1290"/>
                </a:cubicBezTo>
                <a:cubicBezTo>
                  <a:pt x="796" y="1289"/>
                  <a:pt x="797" y="1288"/>
                  <a:pt x="797" y="1288"/>
                </a:cubicBezTo>
                <a:cubicBezTo>
                  <a:pt x="797" y="1287"/>
                  <a:pt x="797" y="1287"/>
                  <a:pt x="797" y="1287"/>
                </a:cubicBezTo>
                <a:cubicBezTo>
                  <a:pt x="797" y="1287"/>
                  <a:pt x="797" y="1286"/>
                  <a:pt x="798" y="1286"/>
                </a:cubicBezTo>
                <a:cubicBezTo>
                  <a:pt x="799" y="1285"/>
                  <a:pt x="799" y="1284"/>
                  <a:pt x="799" y="1283"/>
                </a:cubicBezTo>
                <a:cubicBezTo>
                  <a:pt x="800" y="1281"/>
                  <a:pt x="801" y="1280"/>
                  <a:pt x="801" y="1278"/>
                </a:cubicBezTo>
                <a:cubicBezTo>
                  <a:pt x="802" y="1276"/>
                  <a:pt x="803" y="1275"/>
                  <a:pt x="804" y="1274"/>
                </a:cubicBezTo>
                <a:cubicBezTo>
                  <a:pt x="805" y="1273"/>
                  <a:pt x="805" y="1272"/>
                  <a:pt x="805" y="1271"/>
                </a:cubicBezTo>
                <a:cubicBezTo>
                  <a:pt x="806" y="1271"/>
                  <a:pt x="805" y="1270"/>
                  <a:pt x="806" y="1270"/>
                </a:cubicBezTo>
                <a:cubicBezTo>
                  <a:pt x="806" y="1268"/>
                  <a:pt x="807" y="1266"/>
                  <a:pt x="807" y="1264"/>
                </a:cubicBezTo>
                <a:cubicBezTo>
                  <a:pt x="808" y="1263"/>
                  <a:pt x="809" y="1261"/>
                  <a:pt x="809" y="1259"/>
                </a:cubicBezTo>
                <a:cubicBezTo>
                  <a:pt x="810" y="1258"/>
                  <a:pt x="810" y="1256"/>
                  <a:pt x="811" y="1255"/>
                </a:cubicBezTo>
                <a:cubicBezTo>
                  <a:pt x="812" y="1253"/>
                  <a:pt x="813" y="1252"/>
                  <a:pt x="814" y="1250"/>
                </a:cubicBezTo>
                <a:cubicBezTo>
                  <a:pt x="814" y="1249"/>
                  <a:pt x="815" y="1248"/>
                  <a:pt x="815" y="1248"/>
                </a:cubicBezTo>
                <a:cubicBezTo>
                  <a:pt x="816" y="1247"/>
                  <a:pt x="816" y="1245"/>
                  <a:pt x="817" y="1245"/>
                </a:cubicBezTo>
                <a:cubicBezTo>
                  <a:pt x="817" y="1245"/>
                  <a:pt x="817" y="1245"/>
                  <a:pt x="817" y="1245"/>
                </a:cubicBezTo>
                <a:cubicBezTo>
                  <a:pt x="817" y="1246"/>
                  <a:pt x="818" y="1246"/>
                  <a:pt x="818" y="1246"/>
                </a:cubicBezTo>
                <a:cubicBezTo>
                  <a:pt x="818" y="1246"/>
                  <a:pt x="819" y="1246"/>
                  <a:pt x="819" y="1245"/>
                </a:cubicBezTo>
                <a:cubicBezTo>
                  <a:pt x="819" y="1245"/>
                  <a:pt x="819" y="1245"/>
                  <a:pt x="819" y="1244"/>
                </a:cubicBezTo>
                <a:cubicBezTo>
                  <a:pt x="819" y="1244"/>
                  <a:pt x="819" y="1244"/>
                  <a:pt x="819" y="1243"/>
                </a:cubicBezTo>
                <a:cubicBezTo>
                  <a:pt x="819" y="1243"/>
                  <a:pt x="819" y="1243"/>
                  <a:pt x="819" y="1243"/>
                </a:cubicBezTo>
                <a:cubicBezTo>
                  <a:pt x="819" y="1243"/>
                  <a:pt x="819" y="1243"/>
                  <a:pt x="819" y="1242"/>
                </a:cubicBezTo>
                <a:cubicBezTo>
                  <a:pt x="820" y="1242"/>
                  <a:pt x="820" y="1242"/>
                  <a:pt x="820" y="1242"/>
                </a:cubicBezTo>
                <a:cubicBezTo>
                  <a:pt x="820" y="1242"/>
                  <a:pt x="820" y="1241"/>
                  <a:pt x="820" y="1241"/>
                </a:cubicBezTo>
                <a:cubicBezTo>
                  <a:pt x="820" y="1241"/>
                  <a:pt x="821" y="1240"/>
                  <a:pt x="821" y="1239"/>
                </a:cubicBezTo>
                <a:cubicBezTo>
                  <a:pt x="822" y="1238"/>
                  <a:pt x="823" y="1236"/>
                  <a:pt x="823" y="1235"/>
                </a:cubicBezTo>
                <a:cubicBezTo>
                  <a:pt x="825" y="1232"/>
                  <a:pt x="826" y="1229"/>
                  <a:pt x="828" y="1226"/>
                </a:cubicBezTo>
                <a:cubicBezTo>
                  <a:pt x="828" y="1224"/>
                  <a:pt x="829" y="1222"/>
                  <a:pt x="829" y="1220"/>
                </a:cubicBezTo>
                <a:cubicBezTo>
                  <a:pt x="830" y="1220"/>
                  <a:pt x="830" y="1219"/>
                  <a:pt x="830" y="1218"/>
                </a:cubicBezTo>
                <a:cubicBezTo>
                  <a:pt x="830" y="1217"/>
                  <a:pt x="830" y="1216"/>
                  <a:pt x="830" y="1215"/>
                </a:cubicBezTo>
                <a:cubicBezTo>
                  <a:pt x="830" y="1215"/>
                  <a:pt x="830" y="1215"/>
                  <a:pt x="831" y="1215"/>
                </a:cubicBezTo>
                <a:cubicBezTo>
                  <a:pt x="831" y="1215"/>
                  <a:pt x="831" y="1215"/>
                  <a:pt x="831" y="1215"/>
                </a:cubicBezTo>
                <a:cubicBezTo>
                  <a:pt x="832" y="1215"/>
                  <a:pt x="833" y="1214"/>
                  <a:pt x="833" y="1214"/>
                </a:cubicBezTo>
                <a:cubicBezTo>
                  <a:pt x="833" y="1213"/>
                  <a:pt x="833" y="1213"/>
                  <a:pt x="833" y="1213"/>
                </a:cubicBezTo>
                <a:cubicBezTo>
                  <a:pt x="833" y="1212"/>
                  <a:pt x="833" y="1212"/>
                  <a:pt x="833" y="1211"/>
                </a:cubicBezTo>
                <a:cubicBezTo>
                  <a:pt x="832" y="1211"/>
                  <a:pt x="833" y="1210"/>
                  <a:pt x="833" y="1209"/>
                </a:cubicBezTo>
                <a:cubicBezTo>
                  <a:pt x="833" y="1209"/>
                  <a:pt x="833" y="1208"/>
                  <a:pt x="833" y="1207"/>
                </a:cubicBezTo>
                <a:cubicBezTo>
                  <a:pt x="833" y="1206"/>
                  <a:pt x="834" y="1206"/>
                  <a:pt x="835" y="1205"/>
                </a:cubicBezTo>
                <a:cubicBezTo>
                  <a:pt x="835" y="1204"/>
                  <a:pt x="834" y="1204"/>
                  <a:pt x="834" y="1203"/>
                </a:cubicBezTo>
                <a:cubicBezTo>
                  <a:pt x="834" y="1202"/>
                  <a:pt x="835" y="1200"/>
                  <a:pt x="836" y="1199"/>
                </a:cubicBezTo>
                <a:cubicBezTo>
                  <a:pt x="837" y="1197"/>
                  <a:pt x="838" y="1196"/>
                  <a:pt x="839" y="1194"/>
                </a:cubicBezTo>
                <a:cubicBezTo>
                  <a:pt x="839" y="1194"/>
                  <a:pt x="840" y="1193"/>
                  <a:pt x="840" y="1192"/>
                </a:cubicBezTo>
                <a:cubicBezTo>
                  <a:pt x="841" y="1192"/>
                  <a:pt x="842" y="1192"/>
                  <a:pt x="842" y="1191"/>
                </a:cubicBezTo>
                <a:cubicBezTo>
                  <a:pt x="843" y="1191"/>
                  <a:pt x="843" y="1190"/>
                  <a:pt x="843" y="1189"/>
                </a:cubicBezTo>
                <a:cubicBezTo>
                  <a:pt x="843" y="1189"/>
                  <a:pt x="842" y="1189"/>
                  <a:pt x="842" y="1188"/>
                </a:cubicBezTo>
                <a:cubicBezTo>
                  <a:pt x="842" y="1188"/>
                  <a:pt x="842" y="1188"/>
                  <a:pt x="843" y="1188"/>
                </a:cubicBezTo>
                <a:cubicBezTo>
                  <a:pt x="843" y="1188"/>
                  <a:pt x="844" y="1188"/>
                  <a:pt x="844" y="1188"/>
                </a:cubicBezTo>
                <a:cubicBezTo>
                  <a:pt x="844" y="1187"/>
                  <a:pt x="845" y="1187"/>
                  <a:pt x="844" y="1187"/>
                </a:cubicBezTo>
                <a:cubicBezTo>
                  <a:pt x="844" y="1186"/>
                  <a:pt x="843" y="1185"/>
                  <a:pt x="843" y="1185"/>
                </a:cubicBezTo>
                <a:cubicBezTo>
                  <a:pt x="843" y="1184"/>
                  <a:pt x="844" y="1184"/>
                  <a:pt x="844" y="1183"/>
                </a:cubicBezTo>
                <a:cubicBezTo>
                  <a:pt x="844" y="1183"/>
                  <a:pt x="845" y="1183"/>
                  <a:pt x="845" y="1183"/>
                </a:cubicBezTo>
                <a:cubicBezTo>
                  <a:pt x="845" y="1182"/>
                  <a:pt x="846" y="1181"/>
                  <a:pt x="847" y="1181"/>
                </a:cubicBezTo>
                <a:cubicBezTo>
                  <a:pt x="847" y="1180"/>
                  <a:pt x="848" y="1180"/>
                  <a:pt x="849" y="1180"/>
                </a:cubicBezTo>
                <a:cubicBezTo>
                  <a:pt x="849" y="1179"/>
                  <a:pt x="849" y="1179"/>
                  <a:pt x="850" y="1178"/>
                </a:cubicBezTo>
                <a:cubicBezTo>
                  <a:pt x="850" y="1178"/>
                  <a:pt x="850" y="1177"/>
                  <a:pt x="850" y="1177"/>
                </a:cubicBezTo>
                <a:cubicBezTo>
                  <a:pt x="850" y="1176"/>
                  <a:pt x="849" y="1176"/>
                  <a:pt x="849" y="1175"/>
                </a:cubicBezTo>
                <a:cubicBezTo>
                  <a:pt x="849" y="1175"/>
                  <a:pt x="849" y="1175"/>
                  <a:pt x="849" y="1175"/>
                </a:cubicBezTo>
                <a:cubicBezTo>
                  <a:pt x="849" y="1175"/>
                  <a:pt x="849" y="1174"/>
                  <a:pt x="849" y="1174"/>
                </a:cubicBezTo>
                <a:cubicBezTo>
                  <a:pt x="848" y="1174"/>
                  <a:pt x="849" y="1174"/>
                  <a:pt x="849" y="1173"/>
                </a:cubicBezTo>
                <a:cubicBezTo>
                  <a:pt x="849" y="1173"/>
                  <a:pt x="849" y="1172"/>
                  <a:pt x="849" y="1171"/>
                </a:cubicBezTo>
                <a:cubicBezTo>
                  <a:pt x="850" y="1171"/>
                  <a:pt x="850" y="1170"/>
                  <a:pt x="851" y="1169"/>
                </a:cubicBezTo>
                <a:cubicBezTo>
                  <a:pt x="852" y="1168"/>
                  <a:pt x="853" y="1166"/>
                  <a:pt x="854" y="1164"/>
                </a:cubicBezTo>
                <a:cubicBezTo>
                  <a:pt x="854" y="1163"/>
                  <a:pt x="856" y="1160"/>
                  <a:pt x="858" y="1160"/>
                </a:cubicBezTo>
                <a:cubicBezTo>
                  <a:pt x="858" y="1160"/>
                  <a:pt x="859" y="1159"/>
                  <a:pt x="859" y="1157"/>
                </a:cubicBezTo>
                <a:cubicBezTo>
                  <a:pt x="860" y="1157"/>
                  <a:pt x="860" y="1156"/>
                  <a:pt x="860" y="1155"/>
                </a:cubicBezTo>
                <a:cubicBezTo>
                  <a:pt x="861" y="1154"/>
                  <a:pt x="859" y="1152"/>
                  <a:pt x="859" y="1151"/>
                </a:cubicBezTo>
                <a:cubicBezTo>
                  <a:pt x="860" y="1150"/>
                  <a:pt x="861" y="1149"/>
                  <a:pt x="861" y="1149"/>
                </a:cubicBezTo>
                <a:cubicBezTo>
                  <a:pt x="863" y="1148"/>
                  <a:pt x="864" y="1146"/>
                  <a:pt x="865" y="1146"/>
                </a:cubicBezTo>
                <a:cubicBezTo>
                  <a:pt x="865" y="1145"/>
                  <a:pt x="867" y="1144"/>
                  <a:pt x="866" y="1143"/>
                </a:cubicBezTo>
                <a:cubicBezTo>
                  <a:pt x="866" y="1143"/>
                  <a:pt x="866" y="1143"/>
                  <a:pt x="865" y="1142"/>
                </a:cubicBezTo>
                <a:cubicBezTo>
                  <a:pt x="865" y="1142"/>
                  <a:pt x="865" y="1141"/>
                  <a:pt x="865" y="1140"/>
                </a:cubicBezTo>
                <a:cubicBezTo>
                  <a:pt x="866" y="1140"/>
                  <a:pt x="866" y="1139"/>
                  <a:pt x="866" y="1138"/>
                </a:cubicBezTo>
                <a:cubicBezTo>
                  <a:pt x="867" y="1137"/>
                  <a:pt x="868" y="1135"/>
                  <a:pt x="867" y="1134"/>
                </a:cubicBezTo>
                <a:cubicBezTo>
                  <a:pt x="867" y="1133"/>
                  <a:pt x="867" y="1133"/>
                  <a:pt x="867" y="1133"/>
                </a:cubicBezTo>
                <a:cubicBezTo>
                  <a:pt x="867" y="1133"/>
                  <a:pt x="868" y="1132"/>
                  <a:pt x="868" y="1131"/>
                </a:cubicBezTo>
                <a:cubicBezTo>
                  <a:pt x="868" y="1131"/>
                  <a:pt x="868" y="1131"/>
                  <a:pt x="868" y="1131"/>
                </a:cubicBezTo>
                <a:cubicBezTo>
                  <a:pt x="868" y="1131"/>
                  <a:pt x="869" y="1130"/>
                  <a:pt x="869" y="1130"/>
                </a:cubicBezTo>
                <a:cubicBezTo>
                  <a:pt x="869" y="1130"/>
                  <a:pt x="870" y="1130"/>
                  <a:pt x="870" y="1129"/>
                </a:cubicBezTo>
                <a:cubicBezTo>
                  <a:pt x="870" y="1129"/>
                  <a:pt x="871" y="1127"/>
                  <a:pt x="872" y="1126"/>
                </a:cubicBezTo>
                <a:cubicBezTo>
                  <a:pt x="872" y="1125"/>
                  <a:pt x="873" y="1123"/>
                  <a:pt x="874" y="1122"/>
                </a:cubicBezTo>
                <a:cubicBezTo>
                  <a:pt x="875" y="1120"/>
                  <a:pt x="875" y="1119"/>
                  <a:pt x="876" y="1118"/>
                </a:cubicBezTo>
                <a:cubicBezTo>
                  <a:pt x="876" y="1117"/>
                  <a:pt x="876" y="1116"/>
                  <a:pt x="876" y="1115"/>
                </a:cubicBezTo>
                <a:cubicBezTo>
                  <a:pt x="876" y="1115"/>
                  <a:pt x="876" y="1114"/>
                  <a:pt x="877" y="1114"/>
                </a:cubicBezTo>
                <a:cubicBezTo>
                  <a:pt x="877" y="1113"/>
                  <a:pt x="876" y="1113"/>
                  <a:pt x="877" y="1112"/>
                </a:cubicBezTo>
                <a:cubicBezTo>
                  <a:pt x="877" y="1112"/>
                  <a:pt x="877" y="1112"/>
                  <a:pt x="877" y="1112"/>
                </a:cubicBezTo>
                <a:cubicBezTo>
                  <a:pt x="877" y="1112"/>
                  <a:pt x="877" y="1111"/>
                  <a:pt x="877" y="1111"/>
                </a:cubicBezTo>
                <a:cubicBezTo>
                  <a:pt x="877" y="1111"/>
                  <a:pt x="878" y="1111"/>
                  <a:pt x="878" y="1111"/>
                </a:cubicBezTo>
                <a:cubicBezTo>
                  <a:pt x="879" y="1110"/>
                  <a:pt x="879" y="1108"/>
                  <a:pt x="880" y="1106"/>
                </a:cubicBezTo>
                <a:cubicBezTo>
                  <a:pt x="881" y="1105"/>
                  <a:pt x="881" y="1103"/>
                  <a:pt x="882" y="1101"/>
                </a:cubicBezTo>
                <a:cubicBezTo>
                  <a:pt x="884" y="1098"/>
                  <a:pt x="885" y="1094"/>
                  <a:pt x="887" y="1090"/>
                </a:cubicBezTo>
                <a:cubicBezTo>
                  <a:pt x="888" y="1088"/>
                  <a:pt x="889" y="1086"/>
                  <a:pt x="891" y="1085"/>
                </a:cubicBezTo>
                <a:cubicBezTo>
                  <a:pt x="891" y="1085"/>
                  <a:pt x="892" y="1084"/>
                  <a:pt x="892" y="1084"/>
                </a:cubicBezTo>
                <a:cubicBezTo>
                  <a:pt x="892" y="1083"/>
                  <a:pt x="892" y="1082"/>
                  <a:pt x="892" y="1082"/>
                </a:cubicBezTo>
                <a:cubicBezTo>
                  <a:pt x="892" y="1080"/>
                  <a:pt x="893" y="1079"/>
                  <a:pt x="894" y="1078"/>
                </a:cubicBezTo>
                <a:cubicBezTo>
                  <a:pt x="895" y="1076"/>
                  <a:pt x="896" y="1074"/>
                  <a:pt x="897" y="1071"/>
                </a:cubicBezTo>
                <a:cubicBezTo>
                  <a:pt x="897" y="1071"/>
                  <a:pt x="898" y="1071"/>
                  <a:pt x="898" y="1071"/>
                </a:cubicBezTo>
                <a:cubicBezTo>
                  <a:pt x="899" y="1071"/>
                  <a:pt x="899" y="1070"/>
                  <a:pt x="900" y="1069"/>
                </a:cubicBezTo>
                <a:cubicBezTo>
                  <a:pt x="900" y="1068"/>
                  <a:pt x="900" y="1068"/>
                  <a:pt x="900" y="1067"/>
                </a:cubicBezTo>
                <a:cubicBezTo>
                  <a:pt x="900" y="1066"/>
                  <a:pt x="899" y="1067"/>
                  <a:pt x="898" y="1066"/>
                </a:cubicBezTo>
                <a:cubicBezTo>
                  <a:pt x="898" y="1066"/>
                  <a:pt x="899" y="1066"/>
                  <a:pt x="900" y="1065"/>
                </a:cubicBezTo>
                <a:cubicBezTo>
                  <a:pt x="900" y="1064"/>
                  <a:pt x="899" y="1064"/>
                  <a:pt x="900" y="1063"/>
                </a:cubicBezTo>
                <a:cubicBezTo>
                  <a:pt x="901" y="1062"/>
                  <a:pt x="903" y="1062"/>
                  <a:pt x="903" y="1061"/>
                </a:cubicBezTo>
                <a:cubicBezTo>
                  <a:pt x="904" y="1060"/>
                  <a:pt x="903" y="1059"/>
                  <a:pt x="903" y="1058"/>
                </a:cubicBezTo>
                <a:cubicBezTo>
                  <a:pt x="904" y="1058"/>
                  <a:pt x="904" y="1058"/>
                  <a:pt x="904" y="1057"/>
                </a:cubicBezTo>
                <a:cubicBezTo>
                  <a:pt x="905" y="1056"/>
                  <a:pt x="904" y="1055"/>
                  <a:pt x="904" y="1055"/>
                </a:cubicBezTo>
                <a:cubicBezTo>
                  <a:pt x="904" y="1054"/>
                  <a:pt x="904" y="1054"/>
                  <a:pt x="905" y="1053"/>
                </a:cubicBezTo>
                <a:cubicBezTo>
                  <a:pt x="905" y="1053"/>
                  <a:pt x="906" y="1053"/>
                  <a:pt x="906" y="1053"/>
                </a:cubicBezTo>
                <a:cubicBezTo>
                  <a:pt x="907" y="1051"/>
                  <a:pt x="907" y="1049"/>
                  <a:pt x="908" y="1048"/>
                </a:cubicBezTo>
                <a:cubicBezTo>
                  <a:pt x="914" y="1033"/>
                  <a:pt x="917" y="1027"/>
                  <a:pt x="917" y="1026"/>
                </a:cubicBezTo>
                <a:cubicBezTo>
                  <a:pt x="917" y="1026"/>
                  <a:pt x="921" y="1018"/>
                  <a:pt x="922" y="1017"/>
                </a:cubicBezTo>
                <a:cubicBezTo>
                  <a:pt x="923" y="1015"/>
                  <a:pt x="925" y="1014"/>
                  <a:pt x="926" y="1013"/>
                </a:cubicBezTo>
                <a:cubicBezTo>
                  <a:pt x="926" y="1012"/>
                  <a:pt x="927" y="1011"/>
                  <a:pt x="927" y="1010"/>
                </a:cubicBezTo>
                <a:cubicBezTo>
                  <a:pt x="928" y="1010"/>
                  <a:pt x="928" y="1011"/>
                  <a:pt x="928" y="1012"/>
                </a:cubicBezTo>
                <a:cubicBezTo>
                  <a:pt x="929" y="1012"/>
                  <a:pt x="929" y="1012"/>
                  <a:pt x="929" y="1012"/>
                </a:cubicBezTo>
                <a:cubicBezTo>
                  <a:pt x="930" y="1012"/>
                  <a:pt x="930" y="1011"/>
                  <a:pt x="930" y="1010"/>
                </a:cubicBezTo>
                <a:cubicBezTo>
                  <a:pt x="930" y="1009"/>
                  <a:pt x="930" y="1008"/>
                  <a:pt x="930" y="1007"/>
                </a:cubicBezTo>
                <a:cubicBezTo>
                  <a:pt x="930" y="1006"/>
                  <a:pt x="931" y="1005"/>
                  <a:pt x="931" y="1003"/>
                </a:cubicBezTo>
                <a:cubicBezTo>
                  <a:pt x="932" y="1003"/>
                  <a:pt x="932" y="1002"/>
                  <a:pt x="932" y="1002"/>
                </a:cubicBezTo>
                <a:cubicBezTo>
                  <a:pt x="932" y="1002"/>
                  <a:pt x="933" y="1002"/>
                  <a:pt x="934" y="1002"/>
                </a:cubicBezTo>
                <a:cubicBezTo>
                  <a:pt x="934" y="1002"/>
                  <a:pt x="935" y="1001"/>
                  <a:pt x="935" y="1001"/>
                </a:cubicBezTo>
                <a:cubicBezTo>
                  <a:pt x="935" y="1001"/>
                  <a:pt x="934" y="1000"/>
                  <a:pt x="934" y="1000"/>
                </a:cubicBezTo>
                <a:cubicBezTo>
                  <a:pt x="932" y="998"/>
                  <a:pt x="935" y="994"/>
                  <a:pt x="936" y="992"/>
                </a:cubicBezTo>
                <a:cubicBezTo>
                  <a:pt x="938" y="988"/>
                  <a:pt x="940" y="984"/>
                  <a:pt x="940" y="982"/>
                </a:cubicBezTo>
                <a:cubicBezTo>
                  <a:pt x="941" y="980"/>
                  <a:pt x="942" y="978"/>
                  <a:pt x="942" y="975"/>
                </a:cubicBezTo>
                <a:cubicBezTo>
                  <a:pt x="942" y="974"/>
                  <a:pt x="943" y="972"/>
                  <a:pt x="944" y="971"/>
                </a:cubicBezTo>
                <a:cubicBezTo>
                  <a:pt x="945" y="970"/>
                  <a:pt x="946" y="970"/>
                  <a:pt x="946" y="968"/>
                </a:cubicBezTo>
                <a:cubicBezTo>
                  <a:pt x="947" y="968"/>
                  <a:pt x="947" y="967"/>
                  <a:pt x="947" y="966"/>
                </a:cubicBezTo>
                <a:cubicBezTo>
                  <a:pt x="949" y="962"/>
                  <a:pt x="950" y="959"/>
                  <a:pt x="952" y="955"/>
                </a:cubicBezTo>
                <a:cubicBezTo>
                  <a:pt x="954" y="951"/>
                  <a:pt x="956" y="947"/>
                  <a:pt x="958" y="943"/>
                </a:cubicBezTo>
                <a:cubicBezTo>
                  <a:pt x="964" y="930"/>
                  <a:pt x="970" y="916"/>
                  <a:pt x="972" y="912"/>
                </a:cubicBezTo>
                <a:cubicBezTo>
                  <a:pt x="973" y="911"/>
                  <a:pt x="973" y="909"/>
                  <a:pt x="974" y="908"/>
                </a:cubicBezTo>
                <a:cubicBezTo>
                  <a:pt x="974" y="907"/>
                  <a:pt x="976" y="906"/>
                  <a:pt x="975" y="904"/>
                </a:cubicBezTo>
                <a:cubicBezTo>
                  <a:pt x="975" y="904"/>
                  <a:pt x="976" y="904"/>
                  <a:pt x="976" y="905"/>
                </a:cubicBezTo>
                <a:cubicBezTo>
                  <a:pt x="976" y="905"/>
                  <a:pt x="977" y="904"/>
                  <a:pt x="977" y="904"/>
                </a:cubicBezTo>
                <a:cubicBezTo>
                  <a:pt x="977" y="903"/>
                  <a:pt x="977" y="903"/>
                  <a:pt x="977" y="902"/>
                </a:cubicBezTo>
                <a:cubicBezTo>
                  <a:pt x="977" y="902"/>
                  <a:pt x="976" y="902"/>
                  <a:pt x="976" y="902"/>
                </a:cubicBezTo>
                <a:cubicBezTo>
                  <a:pt x="976" y="900"/>
                  <a:pt x="978" y="897"/>
                  <a:pt x="979" y="896"/>
                </a:cubicBezTo>
                <a:cubicBezTo>
                  <a:pt x="980" y="895"/>
                  <a:pt x="981" y="893"/>
                  <a:pt x="981" y="892"/>
                </a:cubicBezTo>
                <a:cubicBezTo>
                  <a:pt x="981" y="892"/>
                  <a:pt x="981" y="892"/>
                  <a:pt x="981" y="892"/>
                </a:cubicBezTo>
                <a:cubicBezTo>
                  <a:pt x="981" y="891"/>
                  <a:pt x="981" y="891"/>
                  <a:pt x="981" y="890"/>
                </a:cubicBezTo>
                <a:cubicBezTo>
                  <a:pt x="981" y="890"/>
                  <a:pt x="981" y="889"/>
                  <a:pt x="981" y="889"/>
                </a:cubicBezTo>
                <a:cubicBezTo>
                  <a:pt x="981" y="888"/>
                  <a:pt x="982" y="887"/>
                  <a:pt x="983" y="888"/>
                </a:cubicBezTo>
                <a:cubicBezTo>
                  <a:pt x="983" y="888"/>
                  <a:pt x="983" y="889"/>
                  <a:pt x="984" y="889"/>
                </a:cubicBezTo>
                <a:cubicBezTo>
                  <a:pt x="984" y="889"/>
                  <a:pt x="984" y="889"/>
                  <a:pt x="985" y="888"/>
                </a:cubicBezTo>
                <a:cubicBezTo>
                  <a:pt x="985" y="888"/>
                  <a:pt x="985" y="888"/>
                  <a:pt x="985" y="887"/>
                </a:cubicBezTo>
                <a:cubicBezTo>
                  <a:pt x="984" y="886"/>
                  <a:pt x="986" y="884"/>
                  <a:pt x="986" y="883"/>
                </a:cubicBezTo>
                <a:cubicBezTo>
                  <a:pt x="987" y="881"/>
                  <a:pt x="987" y="878"/>
                  <a:pt x="988" y="877"/>
                </a:cubicBezTo>
                <a:cubicBezTo>
                  <a:pt x="988" y="877"/>
                  <a:pt x="989" y="877"/>
                  <a:pt x="989" y="877"/>
                </a:cubicBezTo>
                <a:cubicBezTo>
                  <a:pt x="989" y="876"/>
                  <a:pt x="989" y="876"/>
                  <a:pt x="990" y="876"/>
                </a:cubicBezTo>
                <a:cubicBezTo>
                  <a:pt x="990" y="875"/>
                  <a:pt x="991" y="873"/>
                  <a:pt x="992" y="872"/>
                </a:cubicBezTo>
                <a:cubicBezTo>
                  <a:pt x="992" y="871"/>
                  <a:pt x="994" y="866"/>
                  <a:pt x="996" y="862"/>
                </a:cubicBezTo>
                <a:cubicBezTo>
                  <a:pt x="997" y="860"/>
                  <a:pt x="998" y="858"/>
                  <a:pt x="998" y="857"/>
                </a:cubicBezTo>
                <a:cubicBezTo>
                  <a:pt x="999" y="856"/>
                  <a:pt x="1000" y="855"/>
                  <a:pt x="1000" y="854"/>
                </a:cubicBezTo>
                <a:cubicBezTo>
                  <a:pt x="1000" y="853"/>
                  <a:pt x="999" y="853"/>
                  <a:pt x="999" y="852"/>
                </a:cubicBezTo>
                <a:cubicBezTo>
                  <a:pt x="999" y="851"/>
                  <a:pt x="1000" y="851"/>
                  <a:pt x="1000" y="850"/>
                </a:cubicBezTo>
                <a:cubicBezTo>
                  <a:pt x="1000" y="850"/>
                  <a:pt x="1001" y="850"/>
                  <a:pt x="1001" y="850"/>
                </a:cubicBezTo>
                <a:cubicBezTo>
                  <a:pt x="1002" y="849"/>
                  <a:pt x="1002" y="849"/>
                  <a:pt x="1002" y="848"/>
                </a:cubicBezTo>
                <a:cubicBezTo>
                  <a:pt x="1003" y="847"/>
                  <a:pt x="1004" y="846"/>
                  <a:pt x="1004" y="844"/>
                </a:cubicBezTo>
                <a:cubicBezTo>
                  <a:pt x="1006" y="842"/>
                  <a:pt x="1007" y="839"/>
                  <a:pt x="1008" y="836"/>
                </a:cubicBezTo>
                <a:cubicBezTo>
                  <a:pt x="1010" y="833"/>
                  <a:pt x="1011" y="831"/>
                  <a:pt x="1012" y="828"/>
                </a:cubicBezTo>
                <a:cubicBezTo>
                  <a:pt x="1014" y="826"/>
                  <a:pt x="1016" y="823"/>
                  <a:pt x="1015" y="821"/>
                </a:cubicBezTo>
                <a:cubicBezTo>
                  <a:pt x="1015" y="820"/>
                  <a:pt x="1015" y="820"/>
                  <a:pt x="1015" y="820"/>
                </a:cubicBezTo>
                <a:cubicBezTo>
                  <a:pt x="1015" y="819"/>
                  <a:pt x="1016" y="819"/>
                  <a:pt x="1016" y="819"/>
                </a:cubicBezTo>
                <a:cubicBezTo>
                  <a:pt x="1016" y="819"/>
                  <a:pt x="1016" y="818"/>
                  <a:pt x="1016" y="818"/>
                </a:cubicBezTo>
                <a:cubicBezTo>
                  <a:pt x="1016" y="818"/>
                  <a:pt x="1016" y="817"/>
                  <a:pt x="1016" y="817"/>
                </a:cubicBezTo>
                <a:cubicBezTo>
                  <a:pt x="1017" y="815"/>
                  <a:pt x="1018" y="813"/>
                  <a:pt x="1019" y="811"/>
                </a:cubicBezTo>
                <a:cubicBezTo>
                  <a:pt x="1020" y="809"/>
                  <a:pt x="1022" y="807"/>
                  <a:pt x="1023" y="806"/>
                </a:cubicBezTo>
                <a:cubicBezTo>
                  <a:pt x="1025" y="801"/>
                  <a:pt x="1027" y="797"/>
                  <a:pt x="1029" y="792"/>
                </a:cubicBezTo>
                <a:cubicBezTo>
                  <a:pt x="1032" y="785"/>
                  <a:pt x="1036" y="777"/>
                  <a:pt x="1039" y="769"/>
                </a:cubicBezTo>
                <a:cubicBezTo>
                  <a:pt x="1039" y="769"/>
                  <a:pt x="1039" y="769"/>
                  <a:pt x="1039" y="769"/>
                </a:cubicBezTo>
                <a:cubicBezTo>
                  <a:pt x="1040" y="769"/>
                  <a:pt x="1040" y="769"/>
                  <a:pt x="1040" y="769"/>
                </a:cubicBezTo>
                <a:cubicBezTo>
                  <a:pt x="1040" y="769"/>
                  <a:pt x="1040" y="769"/>
                  <a:pt x="1040" y="769"/>
                </a:cubicBezTo>
                <a:cubicBezTo>
                  <a:pt x="1041" y="768"/>
                  <a:pt x="1041" y="767"/>
                  <a:pt x="1042" y="766"/>
                </a:cubicBezTo>
                <a:cubicBezTo>
                  <a:pt x="1042" y="765"/>
                  <a:pt x="1043" y="764"/>
                  <a:pt x="1044" y="763"/>
                </a:cubicBezTo>
                <a:cubicBezTo>
                  <a:pt x="1044" y="763"/>
                  <a:pt x="1045" y="763"/>
                  <a:pt x="1045" y="762"/>
                </a:cubicBezTo>
                <a:cubicBezTo>
                  <a:pt x="1045" y="761"/>
                  <a:pt x="1044" y="760"/>
                  <a:pt x="1044" y="760"/>
                </a:cubicBezTo>
                <a:cubicBezTo>
                  <a:pt x="1044" y="759"/>
                  <a:pt x="1045" y="758"/>
                  <a:pt x="1046" y="757"/>
                </a:cubicBezTo>
                <a:cubicBezTo>
                  <a:pt x="1047" y="755"/>
                  <a:pt x="1049" y="751"/>
                  <a:pt x="1050" y="749"/>
                </a:cubicBezTo>
                <a:cubicBezTo>
                  <a:pt x="1052" y="745"/>
                  <a:pt x="1056" y="735"/>
                  <a:pt x="1059" y="730"/>
                </a:cubicBezTo>
                <a:cubicBezTo>
                  <a:pt x="1060" y="729"/>
                  <a:pt x="1061" y="726"/>
                  <a:pt x="1062" y="723"/>
                </a:cubicBezTo>
                <a:cubicBezTo>
                  <a:pt x="1063" y="722"/>
                  <a:pt x="1063" y="721"/>
                  <a:pt x="1064" y="719"/>
                </a:cubicBezTo>
                <a:cubicBezTo>
                  <a:pt x="1064" y="719"/>
                  <a:pt x="1065" y="719"/>
                  <a:pt x="1065" y="719"/>
                </a:cubicBezTo>
                <a:cubicBezTo>
                  <a:pt x="1065" y="719"/>
                  <a:pt x="1066" y="719"/>
                  <a:pt x="1066" y="718"/>
                </a:cubicBezTo>
                <a:cubicBezTo>
                  <a:pt x="1066" y="718"/>
                  <a:pt x="1067" y="717"/>
                  <a:pt x="1067" y="716"/>
                </a:cubicBezTo>
                <a:cubicBezTo>
                  <a:pt x="1067" y="716"/>
                  <a:pt x="1067" y="716"/>
                  <a:pt x="1067" y="715"/>
                </a:cubicBezTo>
                <a:cubicBezTo>
                  <a:pt x="1067" y="714"/>
                  <a:pt x="1068" y="712"/>
                  <a:pt x="1069" y="711"/>
                </a:cubicBezTo>
                <a:cubicBezTo>
                  <a:pt x="1069" y="709"/>
                  <a:pt x="1071" y="709"/>
                  <a:pt x="1073" y="709"/>
                </a:cubicBezTo>
                <a:cubicBezTo>
                  <a:pt x="1073" y="709"/>
                  <a:pt x="1074" y="709"/>
                  <a:pt x="1073" y="708"/>
                </a:cubicBezTo>
                <a:cubicBezTo>
                  <a:pt x="1073" y="707"/>
                  <a:pt x="1073" y="706"/>
                  <a:pt x="1073" y="705"/>
                </a:cubicBezTo>
                <a:cubicBezTo>
                  <a:pt x="1073" y="704"/>
                  <a:pt x="1073" y="704"/>
                  <a:pt x="1073" y="704"/>
                </a:cubicBezTo>
                <a:cubicBezTo>
                  <a:pt x="1073" y="704"/>
                  <a:pt x="1073" y="703"/>
                  <a:pt x="1073" y="703"/>
                </a:cubicBezTo>
                <a:cubicBezTo>
                  <a:pt x="1073" y="703"/>
                  <a:pt x="1073" y="703"/>
                  <a:pt x="1073" y="702"/>
                </a:cubicBezTo>
                <a:cubicBezTo>
                  <a:pt x="1073" y="701"/>
                  <a:pt x="1074" y="699"/>
                  <a:pt x="1075" y="698"/>
                </a:cubicBezTo>
                <a:cubicBezTo>
                  <a:pt x="1076" y="696"/>
                  <a:pt x="1077" y="694"/>
                  <a:pt x="1078" y="691"/>
                </a:cubicBezTo>
                <a:cubicBezTo>
                  <a:pt x="1080" y="687"/>
                  <a:pt x="1083" y="683"/>
                  <a:pt x="1085" y="678"/>
                </a:cubicBezTo>
                <a:cubicBezTo>
                  <a:pt x="1085" y="678"/>
                  <a:pt x="1085" y="677"/>
                  <a:pt x="1085" y="677"/>
                </a:cubicBezTo>
                <a:cubicBezTo>
                  <a:pt x="1085" y="677"/>
                  <a:pt x="1085" y="676"/>
                  <a:pt x="1085" y="676"/>
                </a:cubicBezTo>
                <a:cubicBezTo>
                  <a:pt x="1085" y="676"/>
                  <a:pt x="1085" y="676"/>
                  <a:pt x="1085" y="676"/>
                </a:cubicBezTo>
                <a:cubicBezTo>
                  <a:pt x="1085" y="675"/>
                  <a:pt x="1085" y="675"/>
                  <a:pt x="1085" y="675"/>
                </a:cubicBezTo>
                <a:cubicBezTo>
                  <a:pt x="1085" y="675"/>
                  <a:pt x="1086" y="673"/>
                  <a:pt x="1086" y="672"/>
                </a:cubicBezTo>
                <a:cubicBezTo>
                  <a:pt x="1087" y="672"/>
                  <a:pt x="1088" y="671"/>
                  <a:pt x="1088" y="670"/>
                </a:cubicBezTo>
                <a:cubicBezTo>
                  <a:pt x="1089" y="669"/>
                  <a:pt x="1090" y="668"/>
                  <a:pt x="1090" y="667"/>
                </a:cubicBezTo>
                <a:cubicBezTo>
                  <a:pt x="1090" y="666"/>
                  <a:pt x="1091" y="666"/>
                  <a:pt x="1091" y="666"/>
                </a:cubicBezTo>
                <a:cubicBezTo>
                  <a:pt x="1091" y="666"/>
                  <a:pt x="1090" y="666"/>
                  <a:pt x="1090" y="666"/>
                </a:cubicBezTo>
                <a:cubicBezTo>
                  <a:pt x="1090" y="665"/>
                  <a:pt x="1091" y="664"/>
                  <a:pt x="1091" y="664"/>
                </a:cubicBezTo>
                <a:cubicBezTo>
                  <a:pt x="1091" y="664"/>
                  <a:pt x="1092" y="664"/>
                  <a:pt x="1092" y="664"/>
                </a:cubicBezTo>
                <a:cubicBezTo>
                  <a:pt x="1092" y="663"/>
                  <a:pt x="1093" y="662"/>
                  <a:pt x="1093" y="661"/>
                </a:cubicBezTo>
                <a:cubicBezTo>
                  <a:pt x="1094" y="660"/>
                  <a:pt x="1094" y="659"/>
                  <a:pt x="1095" y="658"/>
                </a:cubicBezTo>
                <a:cubicBezTo>
                  <a:pt x="1096" y="658"/>
                  <a:pt x="1097" y="658"/>
                  <a:pt x="1097" y="657"/>
                </a:cubicBezTo>
                <a:cubicBezTo>
                  <a:pt x="1098" y="656"/>
                  <a:pt x="1095" y="653"/>
                  <a:pt x="1097" y="653"/>
                </a:cubicBezTo>
                <a:cubicBezTo>
                  <a:pt x="1097" y="653"/>
                  <a:pt x="1098" y="653"/>
                  <a:pt x="1098" y="653"/>
                </a:cubicBezTo>
                <a:cubicBezTo>
                  <a:pt x="1098" y="653"/>
                  <a:pt x="1098" y="653"/>
                  <a:pt x="1098" y="653"/>
                </a:cubicBezTo>
                <a:cubicBezTo>
                  <a:pt x="1099" y="653"/>
                  <a:pt x="1099" y="653"/>
                  <a:pt x="1099" y="653"/>
                </a:cubicBezTo>
                <a:cubicBezTo>
                  <a:pt x="1099" y="653"/>
                  <a:pt x="1100" y="652"/>
                  <a:pt x="1099" y="651"/>
                </a:cubicBezTo>
                <a:cubicBezTo>
                  <a:pt x="1099" y="651"/>
                  <a:pt x="1099" y="651"/>
                  <a:pt x="1099" y="650"/>
                </a:cubicBezTo>
                <a:cubicBezTo>
                  <a:pt x="1099" y="648"/>
                  <a:pt x="1101" y="645"/>
                  <a:pt x="1102" y="643"/>
                </a:cubicBezTo>
                <a:cubicBezTo>
                  <a:pt x="1103" y="641"/>
                  <a:pt x="1104" y="639"/>
                  <a:pt x="1105" y="637"/>
                </a:cubicBezTo>
                <a:cubicBezTo>
                  <a:pt x="1105" y="636"/>
                  <a:pt x="1106" y="635"/>
                  <a:pt x="1106" y="635"/>
                </a:cubicBezTo>
                <a:cubicBezTo>
                  <a:pt x="1107" y="633"/>
                  <a:pt x="1107" y="634"/>
                  <a:pt x="1108" y="634"/>
                </a:cubicBezTo>
                <a:cubicBezTo>
                  <a:pt x="1109" y="634"/>
                  <a:pt x="1110" y="634"/>
                  <a:pt x="1110" y="634"/>
                </a:cubicBezTo>
                <a:cubicBezTo>
                  <a:pt x="1110" y="633"/>
                  <a:pt x="1111" y="633"/>
                  <a:pt x="1111" y="633"/>
                </a:cubicBezTo>
                <a:cubicBezTo>
                  <a:pt x="1111" y="633"/>
                  <a:pt x="1111" y="632"/>
                  <a:pt x="1110" y="632"/>
                </a:cubicBezTo>
                <a:cubicBezTo>
                  <a:pt x="1110" y="631"/>
                  <a:pt x="1110" y="631"/>
                  <a:pt x="1109" y="630"/>
                </a:cubicBezTo>
                <a:cubicBezTo>
                  <a:pt x="1110" y="629"/>
                  <a:pt x="1110" y="628"/>
                  <a:pt x="1111" y="626"/>
                </a:cubicBezTo>
                <a:cubicBezTo>
                  <a:pt x="1111" y="625"/>
                  <a:pt x="1113" y="624"/>
                  <a:pt x="1113" y="623"/>
                </a:cubicBezTo>
                <a:cubicBezTo>
                  <a:pt x="1114" y="621"/>
                  <a:pt x="1115" y="619"/>
                  <a:pt x="1116" y="617"/>
                </a:cubicBezTo>
                <a:cubicBezTo>
                  <a:pt x="1116" y="616"/>
                  <a:pt x="1117" y="615"/>
                  <a:pt x="1117" y="614"/>
                </a:cubicBezTo>
                <a:cubicBezTo>
                  <a:pt x="1117" y="613"/>
                  <a:pt x="1117" y="613"/>
                  <a:pt x="1118" y="613"/>
                </a:cubicBezTo>
                <a:cubicBezTo>
                  <a:pt x="1118" y="612"/>
                  <a:pt x="1118" y="612"/>
                  <a:pt x="1119" y="612"/>
                </a:cubicBezTo>
                <a:cubicBezTo>
                  <a:pt x="1119" y="612"/>
                  <a:pt x="1119" y="612"/>
                  <a:pt x="1120" y="611"/>
                </a:cubicBezTo>
                <a:cubicBezTo>
                  <a:pt x="1120" y="611"/>
                  <a:pt x="1120" y="611"/>
                  <a:pt x="1120" y="611"/>
                </a:cubicBezTo>
                <a:cubicBezTo>
                  <a:pt x="1120" y="611"/>
                  <a:pt x="1120" y="611"/>
                  <a:pt x="1120" y="611"/>
                </a:cubicBezTo>
                <a:cubicBezTo>
                  <a:pt x="1120" y="610"/>
                  <a:pt x="1120" y="609"/>
                  <a:pt x="1120" y="608"/>
                </a:cubicBezTo>
                <a:cubicBezTo>
                  <a:pt x="1120" y="608"/>
                  <a:pt x="1119" y="607"/>
                  <a:pt x="1120" y="606"/>
                </a:cubicBezTo>
                <a:cubicBezTo>
                  <a:pt x="1120" y="605"/>
                  <a:pt x="1120" y="605"/>
                  <a:pt x="1120" y="604"/>
                </a:cubicBezTo>
                <a:cubicBezTo>
                  <a:pt x="1121" y="602"/>
                  <a:pt x="1122" y="599"/>
                  <a:pt x="1124" y="597"/>
                </a:cubicBezTo>
                <a:cubicBezTo>
                  <a:pt x="1125" y="595"/>
                  <a:pt x="1126" y="595"/>
                  <a:pt x="1128" y="594"/>
                </a:cubicBezTo>
                <a:cubicBezTo>
                  <a:pt x="1128" y="594"/>
                  <a:pt x="1128" y="594"/>
                  <a:pt x="1129" y="593"/>
                </a:cubicBezTo>
                <a:cubicBezTo>
                  <a:pt x="1129" y="593"/>
                  <a:pt x="1128" y="592"/>
                  <a:pt x="1128" y="591"/>
                </a:cubicBezTo>
                <a:cubicBezTo>
                  <a:pt x="1128" y="590"/>
                  <a:pt x="1129" y="590"/>
                  <a:pt x="1129" y="590"/>
                </a:cubicBezTo>
                <a:cubicBezTo>
                  <a:pt x="1131" y="588"/>
                  <a:pt x="1131" y="586"/>
                  <a:pt x="1131" y="584"/>
                </a:cubicBezTo>
                <a:cubicBezTo>
                  <a:pt x="1131" y="583"/>
                  <a:pt x="1131" y="582"/>
                  <a:pt x="1131" y="581"/>
                </a:cubicBezTo>
                <a:cubicBezTo>
                  <a:pt x="1132" y="579"/>
                  <a:pt x="1133" y="578"/>
                  <a:pt x="1134" y="576"/>
                </a:cubicBezTo>
                <a:cubicBezTo>
                  <a:pt x="1134" y="576"/>
                  <a:pt x="1135" y="575"/>
                  <a:pt x="1135" y="575"/>
                </a:cubicBezTo>
                <a:cubicBezTo>
                  <a:pt x="1136" y="573"/>
                  <a:pt x="1137" y="572"/>
                  <a:pt x="1138" y="570"/>
                </a:cubicBezTo>
                <a:cubicBezTo>
                  <a:pt x="1139" y="569"/>
                  <a:pt x="1140" y="567"/>
                  <a:pt x="1140" y="566"/>
                </a:cubicBezTo>
                <a:cubicBezTo>
                  <a:pt x="1141" y="565"/>
                  <a:pt x="1143" y="564"/>
                  <a:pt x="1144" y="564"/>
                </a:cubicBezTo>
                <a:cubicBezTo>
                  <a:pt x="1144" y="563"/>
                  <a:pt x="1145" y="563"/>
                  <a:pt x="1145" y="563"/>
                </a:cubicBezTo>
                <a:cubicBezTo>
                  <a:pt x="1145" y="563"/>
                  <a:pt x="1145" y="562"/>
                  <a:pt x="1145" y="562"/>
                </a:cubicBezTo>
                <a:cubicBezTo>
                  <a:pt x="1145" y="562"/>
                  <a:pt x="1145" y="562"/>
                  <a:pt x="1145" y="562"/>
                </a:cubicBezTo>
                <a:cubicBezTo>
                  <a:pt x="1144" y="562"/>
                  <a:pt x="1144" y="561"/>
                  <a:pt x="1145" y="561"/>
                </a:cubicBezTo>
                <a:cubicBezTo>
                  <a:pt x="1145" y="561"/>
                  <a:pt x="1145" y="562"/>
                  <a:pt x="1145" y="561"/>
                </a:cubicBezTo>
                <a:cubicBezTo>
                  <a:pt x="1145" y="561"/>
                  <a:pt x="1145" y="560"/>
                  <a:pt x="1145" y="560"/>
                </a:cubicBezTo>
                <a:cubicBezTo>
                  <a:pt x="1145" y="560"/>
                  <a:pt x="1145" y="560"/>
                  <a:pt x="1145" y="559"/>
                </a:cubicBezTo>
                <a:cubicBezTo>
                  <a:pt x="1145" y="559"/>
                  <a:pt x="1146" y="559"/>
                  <a:pt x="1146" y="559"/>
                </a:cubicBezTo>
                <a:cubicBezTo>
                  <a:pt x="1147" y="559"/>
                  <a:pt x="1147" y="558"/>
                  <a:pt x="1146" y="557"/>
                </a:cubicBezTo>
                <a:cubicBezTo>
                  <a:pt x="1145" y="554"/>
                  <a:pt x="1148" y="550"/>
                  <a:pt x="1149" y="547"/>
                </a:cubicBezTo>
                <a:cubicBezTo>
                  <a:pt x="1150" y="545"/>
                  <a:pt x="1150" y="543"/>
                  <a:pt x="1151" y="542"/>
                </a:cubicBezTo>
                <a:cubicBezTo>
                  <a:pt x="1152" y="542"/>
                  <a:pt x="1152" y="541"/>
                  <a:pt x="1152" y="541"/>
                </a:cubicBezTo>
                <a:cubicBezTo>
                  <a:pt x="1153" y="541"/>
                  <a:pt x="1153" y="540"/>
                  <a:pt x="1154" y="540"/>
                </a:cubicBezTo>
                <a:cubicBezTo>
                  <a:pt x="1154" y="540"/>
                  <a:pt x="1154" y="540"/>
                  <a:pt x="1155" y="540"/>
                </a:cubicBezTo>
                <a:cubicBezTo>
                  <a:pt x="1156" y="540"/>
                  <a:pt x="1157" y="538"/>
                  <a:pt x="1157" y="537"/>
                </a:cubicBezTo>
                <a:cubicBezTo>
                  <a:pt x="1158" y="536"/>
                  <a:pt x="1160" y="535"/>
                  <a:pt x="1159" y="533"/>
                </a:cubicBezTo>
                <a:cubicBezTo>
                  <a:pt x="1159" y="533"/>
                  <a:pt x="1160" y="531"/>
                  <a:pt x="1161" y="530"/>
                </a:cubicBezTo>
                <a:cubicBezTo>
                  <a:pt x="1161" y="529"/>
                  <a:pt x="1162" y="528"/>
                  <a:pt x="1163" y="526"/>
                </a:cubicBezTo>
                <a:cubicBezTo>
                  <a:pt x="1163" y="525"/>
                  <a:pt x="1164" y="525"/>
                  <a:pt x="1164" y="524"/>
                </a:cubicBezTo>
                <a:cubicBezTo>
                  <a:pt x="1164" y="523"/>
                  <a:pt x="1163" y="522"/>
                  <a:pt x="1163" y="521"/>
                </a:cubicBezTo>
                <a:cubicBezTo>
                  <a:pt x="1163" y="521"/>
                  <a:pt x="1164" y="520"/>
                  <a:pt x="1165" y="520"/>
                </a:cubicBezTo>
                <a:cubicBezTo>
                  <a:pt x="1165" y="520"/>
                  <a:pt x="1165" y="521"/>
                  <a:pt x="1165" y="521"/>
                </a:cubicBezTo>
                <a:cubicBezTo>
                  <a:pt x="1166" y="521"/>
                  <a:pt x="1167" y="518"/>
                  <a:pt x="1167" y="518"/>
                </a:cubicBezTo>
                <a:cubicBezTo>
                  <a:pt x="1167" y="517"/>
                  <a:pt x="1169" y="514"/>
                  <a:pt x="1168" y="514"/>
                </a:cubicBezTo>
                <a:cubicBezTo>
                  <a:pt x="1168" y="514"/>
                  <a:pt x="1167" y="514"/>
                  <a:pt x="1167" y="513"/>
                </a:cubicBezTo>
                <a:cubicBezTo>
                  <a:pt x="1167" y="513"/>
                  <a:pt x="1168" y="511"/>
                  <a:pt x="1168" y="511"/>
                </a:cubicBezTo>
                <a:cubicBezTo>
                  <a:pt x="1169" y="510"/>
                  <a:pt x="1169" y="509"/>
                  <a:pt x="1170" y="508"/>
                </a:cubicBezTo>
                <a:cubicBezTo>
                  <a:pt x="1172" y="505"/>
                  <a:pt x="1176" y="498"/>
                  <a:pt x="1179" y="492"/>
                </a:cubicBezTo>
                <a:cubicBezTo>
                  <a:pt x="1180" y="490"/>
                  <a:pt x="1181" y="488"/>
                  <a:pt x="1182" y="486"/>
                </a:cubicBezTo>
                <a:cubicBezTo>
                  <a:pt x="1182" y="484"/>
                  <a:pt x="1183" y="482"/>
                  <a:pt x="1185" y="481"/>
                </a:cubicBezTo>
                <a:cubicBezTo>
                  <a:pt x="1185" y="480"/>
                  <a:pt x="1185" y="480"/>
                  <a:pt x="1185" y="480"/>
                </a:cubicBezTo>
                <a:cubicBezTo>
                  <a:pt x="1186" y="480"/>
                  <a:pt x="1186" y="479"/>
                  <a:pt x="1186" y="478"/>
                </a:cubicBezTo>
                <a:cubicBezTo>
                  <a:pt x="1186" y="477"/>
                  <a:pt x="1186" y="476"/>
                  <a:pt x="1186" y="476"/>
                </a:cubicBezTo>
                <a:cubicBezTo>
                  <a:pt x="1186" y="475"/>
                  <a:pt x="1186" y="475"/>
                  <a:pt x="1186" y="475"/>
                </a:cubicBezTo>
                <a:cubicBezTo>
                  <a:pt x="1186" y="475"/>
                  <a:pt x="1187" y="474"/>
                  <a:pt x="1187" y="474"/>
                </a:cubicBezTo>
                <a:cubicBezTo>
                  <a:pt x="1189" y="472"/>
                  <a:pt x="1192" y="469"/>
                  <a:pt x="1192" y="466"/>
                </a:cubicBezTo>
                <a:cubicBezTo>
                  <a:pt x="1193" y="465"/>
                  <a:pt x="1193" y="465"/>
                  <a:pt x="1192" y="465"/>
                </a:cubicBezTo>
                <a:cubicBezTo>
                  <a:pt x="1191" y="464"/>
                  <a:pt x="1193" y="461"/>
                  <a:pt x="1194" y="460"/>
                </a:cubicBezTo>
                <a:cubicBezTo>
                  <a:pt x="1195" y="458"/>
                  <a:pt x="1197" y="454"/>
                  <a:pt x="1198" y="453"/>
                </a:cubicBezTo>
                <a:cubicBezTo>
                  <a:pt x="1198" y="451"/>
                  <a:pt x="1200" y="447"/>
                  <a:pt x="1202" y="443"/>
                </a:cubicBezTo>
                <a:cubicBezTo>
                  <a:pt x="1204" y="440"/>
                  <a:pt x="1208" y="431"/>
                  <a:pt x="1211" y="424"/>
                </a:cubicBezTo>
                <a:cubicBezTo>
                  <a:pt x="1213" y="422"/>
                  <a:pt x="1214" y="420"/>
                  <a:pt x="1215" y="417"/>
                </a:cubicBezTo>
                <a:cubicBezTo>
                  <a:pt x="1215" y="417"/>
                  <a:pt x="1217" y="412"/>
                  <a:pt x="1218" y="412"/>
                </a:cubicBezTo>
                <a:cubicBezTo>
                  <a:pt x="1218" y="412"/>
                  <a:pt x="1218" y="412"/>
                  <a:pt x="1218" y="413"/>
                </a:cubicBezTo>
                <a:cubicBezTo>
                  <a:pt x="1219" y="413"/>
                  <a:pt x="1219" y="413"/>
                  <a:pt x="1220" y="412"/>
                </a:cubicBezTo>
                <a:cubicBezTo>
                  <a:pt x="1220" y="412"/>
                  <a:pt x="1220" y="411"/>
                  <a:pt x="1220" y="411"/>
                </a:cubicBezTo>
                <a:cubicBezTo>
                  <a:pt x="1221" y="410"/>
                  <a:pt x="1221" y="409"/>
                  <a:pt x="1221" y="408"/>
                </a:cubicBezTo>
                <a:cubicBezTo>
                  <a:pt x="1222" y="407"/>
                  <a:pt x="1222" y="406"/>
                  <a:pt x="1223" y="405"/>
                </a:cubicBezTo>
                <a:cubicBezTo>
                  <a:pt x="1224" y="404"/>
                  <a:pt x="1225" y="403"/>
                  <a:pt x="1225" y="402"/>
                </a:cubicBezTo>
                <a:cubicBezTo>
                  <a:pt x="1225" y="401"/>
                  <a:pt x="1224" y="401"/>
                  <a:pt x="1224" y="400"/>
                </a:cubicBezTo>
                <a:cubicBezTo>
                  <a:pt x="1224" y="399"/>
                  <a:pt x="1224" y="399"/>
                  <a:pt x="1225" y="398"/>
                </a:cubicBezTo>
                <a:cubicBezTo>
                  <a:pt x="1225" y="397"/>
                  <a:pt x="1226" y="394"/>
                  <a:pt x="1227" y="392"/>
                </a:cubicBezTo>
                <a:cubicBezTo>
                  <a:pt x="1228" y="391"/>
                  <a:pt x="1228" y="389"/>
                  <a:pt x="1229" y="388"/>
                </a:cubicBezTo>
                <a:cubicBezTo>
                  <a:pt x="1230" y="387"/>
                  <a:pt x="1230" y="386"/>
                  <a:pt x="1231" y="385"/>
                </a:cubicBezTo>
                <a:cubicBezTo>
                  <a:pt x="1231" y="384"/>
                  <a:pt x="1232" y="382"/>
                  <a:pt x="1233" y="381"/>
                </a:cubicBezTo>
                <a:cubicBezTo>
                  <a:pt x="1234" y="381"/>
                  <a:pt x="1234" y="381"/>
                  <a:pt x="1235" y="380"/>
                </a:cubicBezTo>
                <a:cubicBezTo>
                  <a:pt x="1236" y="379"/>
                  <a:pt x="1236" y="376"/>
                  <a:pt x="1236" y="375"/>
                </a:cubicBezTo>
                <a:cubicBezTo>
                  <a:pt x="1237" y="373"/>
                  <a:pt x="1237" y="371"/>
                  <a:pt x="1237" y="369"/>
                </a:cubicBezTo>
                <a:cubicBezTo>
                  <a:pt x="1238" y="368"/>
                  <a:pt x="1238" y="367"/>
                  <a:pt x="1239" y="366"/>
                </a:cubicBezTo>
                <a:cubicBezTo>
                  <a:pt x="1240" y="364"/>
                  <a:pt x="1241" y="363"/>
                  <a:pt x="1242" y="362"/>
                </a:cubicBezTo>
                <a:cubicBezTo>
                  <a:pt x="1243" y="361"/>
                  <a:pt x="1244" y="360"/>
                  <a:pt x="1244" y="358"/>
                </a:cubicBezTo>
                <a:cubicBezTo>
                  <a:pt x="1244" y="358"/>
                  <a:pt x="1244" y="358"/>
                  <a:pt x="1244" y="358"/>
                </a:cubicBezTo>
                <a:cubicBezTo>
                  <a:pt x="1243" y="357"/>
                  <a:pt x="1244" y="356"/>
                  <a:pt x="1244" y="355"/>
                </a:cubicBezTo>
                <a:cubicBezTo>
                  <a:pt x="1245" y="355"/>
                  <a:pt x="1246" y="352"/>
                  <a:pt x="1247" y="354"/>
                </a:cubicBezTo>
                <a:cubicBezTo>
                  <a:pt x="1247" y="354"/>
                  <a:pt x="1247" y="354"/>
                  <a:pt x="1247" y="354"/>
                </a:cubicBezTo>
                <a:cubicBezTo>
                  <a:pt x="1248" y="354"/>
                  <a:pt x="1248" y="354"/>
                  <a:pt x="1249" y="354"/>
                </a:cubicBezTo>
                <a:cubicBezTo>
                  <a:pt x="1249" y="354"/>
                  <a:pt x="1249" y="354"/>
                  <a:pt x="1250" y="353"/>
                </a:cubicBezTo>
                <a:cubicBezTo>
                  <a:pt x="1250" y="353"/>
                  <a:pt x="1249" y="353"/>
                  <a:pt x="1249" y="352"/>
                </a:cubicBezTo>
                <a:cubicBezTo>
                  <a:pt x="1250" y="352"/>
                  <a:pt x="1250" y="352"/>
                  <a:pt x="1251" y="352"/>
                </a:cubicBezTo>
                <a:cubicBezTo>
                  <a:pt x="1251" y="351"/>
                  <a:pt x="1252" y="351"/>
                  <a:pt x="1252" y="350"/>
                </a:cubicBezTo>
                <a:cubicBezTo>
                  <a:pt x="1252" y="350"/>
                  <a:pt x="1251" y="349"/>
                  <a:pt x="1251" y="349"/>
                </a:cubicBezTo>
                <a:cubicBezTo>
                  <a:pt x="1250" y="349"/>
                  <a:pt x="1250" y="349"/>
                  <a:pt x="1250" y="349"/>
                </a:cubicBezTo>
                <a:cubicBezTo>
                  <a:pt x="1249" y="349"/>
                  <a:pt x="1250" y="348"/>
                  <a:pt x="1250" y="348"/>
                </a:cubicBezTo>
                <a:cubicBezTo>
                  <a:pt x="1250" y="347"/>
                  <a:pt x="1250" y="347"/>
                  <a:pt x="1251" y="347"/>
                </a:cubicBezTo>
                <a:cubicBezTo>
                  <a:pt x="1251" y="347"/>
                  <a:pt x="1251" y="347"/>
                  <a:pt x="1251" y="347"/>
                </a:cubicBezTo>
                <a:cubicBezTo>
                  <a:pt x="1252" y="346"/>
                  <a:pt x="1253" y="345"/>
                  <a:pt x="1254" y="344"/>
                </a:cubicBezTo>
                <a:cubicBezTo>
                  <a:pt x="1254" y="342"/>
                  <a:pt x="1255" y="341"/>
                  <a:pt x="1256" y="340"/>
                </a:cubicBezTo>
                <a:cubicBezTo>
                  <a:pt x="1256" y="339"/>
                  <a:pt x="1257" y="338"/>
                  <a:pt x="1257" y="337"/>
                </a:cubicBezTo>
                <a:cubicBezTo>
                  <a:pt x="1258" y="336"/>
                  <a:pt x="1258" y="335"/>
                  <a:pt x="1258" y="334"/>
                </a:cubicBezTo>
                <a:cubicBezTo>
                  <a:pt x="1258" y="334"/>
                  <a:pt x="1259" y="333"/>
                  <a:pt x="1259" y="332"/>
                </a:cubicBezTo>
                <a:cubicBezTo>
                  <a:pt x="1259" y="331"/>
                  <a:pt x="1259" y="331"/>
                  <a:pt x="1259" y="331"/>
                </a:cubicBezTo>
                <a:cubicBezTo>
                  <a:pt x="1259" y="330"/>
                  <a:pt x="1259" y="330"/>
                  <a:pt x="1260" y="329"/>
                </a:cubicBezTo>
                <a:cubicBezTo>
                  <a:pt x="1260" y="328"/>
                  <a:pt x="1260" y="326"/>
                  <a:pt x="1261" y="325"/>
                </a:cubicBezTo>
                <a:cubicBezTo>
                  <a:pt x="1261" y="325"/>
                  <a:pt x="1261" y="324"/>
                  <a:pt x="1261" y="324"/>
                </a:cubicBezTo>
                <a:cubicBezTo>
                  <a:pt x="1261" y="324"/>
                  <a:pt x="1262" y="324"/>
                  <a:pt x="1262" y="324"/>
                </a:cubicBezTo>
                <a:cubicBezTo>
                  <a:pt x="1262" y="324"/>
                  <a:pt x="1262" y="324"/>
                  <a:pt x="1263" y="325"/>
                </a:cubicBezTo>
                <a:cubicBezTo>
                  <a:pt x="1263" y="325"/>
                  <a:pt x="1264" y="325"/>
                  <a:pt x="1264" y="325"/>
                </a:cubicBezTo>
                <a:cubicBezTo>
                  <a:pt x="1264" y="324"/>
                  <a:pt x="1265" y="324"/>
                  <a:pt x="1265" y="323"/>
                </a:cubicBezTo>
                <a:cubicBezTo>
                  <a:pt x="1266" y="323"/>
                  <a:pt x="1266" y="321"/>
                  <a:pt x="1266" y="320"/>
                </a:cubicBezTo>
                <a:cubicBezTo>
                  <a:pt x="1266" y="319"/>
                  <a:pt x="1267" y="318"/>
                  <a:pt x="1267" y="316"/>
                </a:cubicBezTo>
                <a:cubicBezTo>
                  <a:pt x="1268" y="316"/>
                  <a:pt x="1267" y="315"/>
                  <a:pt x="1267" y="315"/>
                </a:cubicBezTo>
                <a:cubicBezTo>
                  <a:pt x="1267" y="314"/>
                  <a:pt x="1267" y="314"/>
                  <a:pt x="1267" y="314"/>
                </a:cubicBezTo>
                <a:cubicBezTo>
                  <a:pt x="1267" y="313"/>
                  <a:pt x="1267" y="313"/>
                  <a:pt x="1268" y="313"/>
                </a:cubicBezTo>
                <a:cubicBezTo>
                  <a:pt x="1270" y="312"/>
                  <a:pt x="1270" y="309"/>
                  <a:pt x="1270" y="308"/>
                </a:cubicBezTo>
                <a:cubicBezTo>
                  <a:pt x="1271" y="306"/>
                  <a:pt x="1272" y="304"/>
                  <a:pt x="1272" y="303"/>
                </a:cubicBezTo>
                <a:cubicBezTo>
                  <a:pt x="1272" y="303"/>
                  <a:pt x="1274" y="300"/>
                  <a:pt x="1276" y="297"/>
                </a:cubicBezTo>
                <a:cubicBezTo>
                  <a:pt x="1276" y="296"/>
                  <a:pt x="1277" y="295"/>
                  <a:pt x="1278" y="293"/>
                </a:cubicBezTo>
                <a:cubicBezTo>
                  <a:pt x="1278" y="293"/>
                  <a:pt x="1279" y="292"/>
                  <a:pt x="1279" y="291"/>
                </a:cubicBezTo>
                <a:cubicBezTo>
                  <a:pt x="1279" y="290"/>
                  <a:pt x="1278" y="290"/>
                  <a:pt x="1278" y="289"/>
                </a:cubicBezTo>
                <a:cubicBezTo>
                  <a:pt x="1278" y="289"/>
                  <a:pt x="1278" y="288"/>
                  <a:pt x="1278" y="288"/>
                </a:cubicBezTo>
                <a:cubicBezTo>
                  <a:pt x="1278" y="287"/>
                  <a:pt x="1279" y="287"/>
                  <a:pt x="1279" y="286"/>
                </a:cubicBezTo>
                <a:cubicBezTo>
                  <a:pt x="1280" y="285"/>
                  <a:pt x="1281" y="284"/>
                  <a:pt x="1281" y="284"/>
                </a:cubicBezTo>
                <a:cubicBezTo>
                  <a:pt x="1283" y="284"/>
                  <a:pt x="1285" y="278"/>
                  <a:pt x="1285" y="276"/>
                </a:cubicBezTo>
                <a:cubicBezTo>
                  <a:pt x="1285" y="274"/>
                  <a:pt x="1284" y="272"/>
                  <a:pt x="1286" y="271"/>
                </a:cubicBezTo>
                <a:cubicBezTo>
                  <a:pt x="1286" y="271"/>
                  <a:pt x="1286" y="271"/>
                  <a:pt x="1287" y="271"/>
                </a:cubicBezTo>
                <a:cubicBezTo>
                  <a:pt x="1287" y="271"/>
                  <a:pt x="1287" y="271"/>
                  <a:pt x="1288" y="271"/>
                </a:cubicBezTo>
                <a:cubicBezTo>
                  <a:pt x="1289" y="269"/>
                  <a:pt x="1289" y="268"/>
                  <a:pt x="1290" y="266"/>
                </a:cubicBezTo>
                <a:cubicBezTo>
                  <a:pt x="1291" y="264"/>
                  <a:pt x="1293" y="262"/>
                  <a:pt x="1294" y="261"/>
                </a:cubicBezTo>
                <a:cubicBezTo>
                  <a:pt x="1294" y="261"/>
                  <a:pt x="1296" y="257"/>
                  <a:pt x="1298" y="254"/>
                </a:cubicBezTo>
                <a:cubicBezTo>
                  <a:pt x="1299" y="252"/>
                  <a:pt x="1301" y="248"/>
                  <a:pt x="1299" y="246"/>
                </a:cubicBezTo>
                <a:cubicBezTo>
                  <a:pt x="1299" y="245"/>
                  <a:pt x="1299" y="245"/>
                  <a:pt x="1299" y="245"/>
                </a:cubicBezTo>
                <a:cubicBezTo>
                  <a:pt x="1299" y="245"/>
                  <a:pt x="1299" y="244"/>
                  <a:pt x="1299" y="244"/>
                </a:cubicBezTo>
                <a:cubicBezTo>
                  <a:pt x="1300" y="243"/>
                  <a:pt x="1299" y="242"/>
                  <a:pt x="1300" y="241"/>
                </a:cubicBezTo>
                <a:cubicBezTo>
                  <a:pt x="1301" y="240"/>
                  <a:pt x="1301" y="239"/>
                  <a:pt x="1302" y="238"/>
                </a:cubicBezTo>
                <a:cubicBezTo>
                  <a:pt x="1303" y="237"/>
                  <a:pt x="1304" y="235"/>
                  <a:pt x="1305" y="233"/>
                </a:cubicBezTo>
                <a:cubicBezTo>
                  <a:pt x="1305" y="233"/>
                  <a:pt x="1306" y="230"/>
                  <a:pt x="1307" y="230"/>
                </a:cubicBezTo>
                <a:cubicBezTo>
                  <a:pt x="1307" y="230"/>
                  <a:pt x="1307" y="230"/>
                  <a:pt x="1307" y="230"/>
                </a:cubicBezTo>
                <a:cubicBezTo>
                  <a:pt x="1308" y="229"/>
                  <a:pt x="1309" y="228"/>
                  <a:pt x="1309" y="227"/>
                </a:cubicBezTo>
                <a:cubicBezTo>
                  <a:pt x="1310" y="225"/>
                  <a:pt x="1312" y="223"/>
                  <a:pt x="1312" y="221"/>
                </a:cubicBezTo>
                <a:cubicBezTo>
                  <a:pt x="1313" y="220"/>
                  <a:pt x="1314" y="219"/>
                  <a:pt x="1313" y="218"/>
                </a:cubicBezTo>
                <a:cubicBezTo>
                  <a:pt x="1313" y="217"/>
                  <a:pt x="1313" y="216"/>
                  <a:pt x="1313" y="215"/>
                </a:cubicBezTo>
                <a:cubicBezTo>
                  <a:pt x="1314" y="213"/>
                  <a:pt x="1315" y="212"/>
                  <a:pt x="1315" y="211"/>
                </a:cubicBezTo>
                <a:cubicBezTo>
                  <a:pt x="1316" y="209"/>
                  <a:pt x="1317" y="207"/>
                  <a:pt x="1318" y="205"/>
                </a:cubicBezTo>
                <a:cubicBezTo>
                  <a:pt x="1318" y="206"/>
                  <a:pt x="1318" y="206"/>
                  <a:pt x="1318" y="206"/>
                </a:cubicBezTo>
                <a:cubicBezTo>
                  <a:pt x="1319" y="206"/>
                  <a:pt x="1319" y="206"/>
                  <a:pt x="1319" y="206"/>
                </a:cubicBezTo>
                <a:cubicBezTo>
                  <a:pt x="1319" y="206"/>
                  <a:pt x="1319" y="205"/>
                  <a:pt x="1319" y="205"/>
                </a:cubicBezTo>
                <a:cubicBezTo>
                  <a:pt x="1319" y="204"/>
                  <a:pt x="1318" y="201"/>
                  <a:pt x="1320" y="201"/>
                </a:cubicBezTo>
                <a:cubicBezTo>
                  <a:pt x="1321" y="201"/>
                  <a:pt x="1321" y="201"/>
                  <a:pt x="1321" y="201"/>
                </a:cubicBezTo>
                <a:cubicBezTo>
                  <a:pt x="1322" y="202"/>
                  <a:pt x="1322" y="202"/>
                  <a:pt x="1322" y="202"/>
                </a:cubicBezTo>
                <a:cubicBezTo>
                  <a:pt x="1322" y="202"/>
                  <a:pt x="1323" y="202"/>
                  <a:pt x="1323" y="201"/>
                </a:cubicBezTo>
                <a:cubicBezTo>
                  <a:pt x="1324" y="201"/>
                  <a:pt x="1324" y="201"/>
                  <a:pt x="1324" y="200"/>
                </a:cubicBezTo>
                <a:cubicBezTo>
                  <a:pt x="1324" y="199"/>
                  <a:pt x="1323" y="199"/>
                  <a:pt x="1323" y="198"/>
                </a:cubicBezTo>
                <a:cubicBezTo>
                  <a:pt x="1323" y="198"/>
                  <a:pt x="1324" y="198"/>
                  <a:pt x="1324" y="198"/>
                </a:cubicBezTo>
                <a:cubicBezTo>
                  <a:pt x="1324" y="198"/>
                  <a:pt x="1324" y="198"/>
                  <a:pt x="1324" y="198"/>
                </a:cubicBezTo>
                <a:cubicBezTo>
                  <a:pt x="1326" y="199"/>
                  <a:pt x="1327" y="195"/>
                  <a:pt x="1327" y="194"/>
                </a:cubicBezTo>
                <a:cubicBezTo>
                  <a:pt x="1328" y="192"/>
                  <a:pt x="1329" y="190"/>
                  <a:pt x="1330" y="187"/>
                </a:cubicBezTo>
                <a:cubicBezTo>
                  <a:pt x="1331" y="185"/>
                  <a:pt x="1332" y="183"/>
                  <a:pt x="1333" y="181"/>
                </a:cubicBezTo>
                <a:cubicBezTo>
                  <a:pt x="1334" y="179"/>
                  <a:pt x="1336" y="177"/>
                  <a:pt x="1335" y="176"/>
                </a:cubicBezTo>
                <a:cubicBezTo>
                  <a:pt x="1335" y="175"/>
                  <a:pt x="1335" y="175"/>
                  <a:pt x="1335" y="175"/>
                </a:cubicBezTo>
                <a:cubicBezTo>
                  <a:pt x="1334" y="174"/>
                  <a:pt x="1335" y="174"/>
                  <a:pt x="1335" y="173"/>
                </a:cubicBezTo>
                <a:cubicBezTo>
                  <a:pt x="1335" y="172"/>
                  <a:pt x="1335" y="171"/>
                  <a:pt x="1335" y="170"/>
                </a:cubicBezTo>
                <a:cubicBezTo>
                  <a:pt x="1334" y="169"/>
                  <a:pt x="1334" y="169"/>
                  <a:pt x="1334" y="168"/>
                </a:cubicBezTo>
                <a:cubicBezTo>
                  <a:pt x="1335" y="167"/>
                  <a:pt x="1335" y="166"/>
                  <a:pt x="1336" y="165"/>
                </a:cubicBezTo>
                <a:cubicBezTo>
                  <a:pt x="1336" y="165"/>
                  <a:pt x="1337" y="161"/>
                  <a:pt x="1338" y="161"/>
                </a:cubicBezTo>
                <a:cubicBezTo>
                  <a:pt x="1338" y="161"/>
                  <a:pt x="1339" y="162"/>
                  <a:pt x="1339" y="162"/>
                </a:cubicBezTo>
                <a:cubicBezTo>
                  <a:pt x="1339" y="162"/>
                  <a:pt x="1340" y="161"/>
                  <a:pt x="1340" y="161"/>
                </a:cubicBezTo>
                <a:cubicBezTo>
                  <a:pt x="1340" y="160"/>
                  <a:pt x="1340" y="160"/>
                  <a:pt x="1339" y="160"/>
                </a:cubicBezTo>
                <a:cubicBezTo>
                  <a:pt x="1339" y="160"/>
                  <a:pt x="1339" y="159"/>
                  <a:pt x="1339" y="159"/>
                </a:cubicBezTo>
                <a:cubicBezTo>
                  <a:pt x="1339" y="157"/>
                  <a:pt x="1340" y="155"/>
                  <a:pt x="1341" y="154"/>
                </a:cubicBezTo>
                <a:cubicBezTo>
                  <a:pt x="1341" y="154"/>
                  <a:pt x="1341" y="154"/>
                  <a:pt x="1341" y="154"/>
                </a:cubicBezTo>
                <a:cubicBezTo>
                  <a:pt x="1341" y="154"/>
                  <a:pt x="1342" y="154"/>
                  <a:pt x="1342" y="154"/>
                </a:cubicBezTo>
                <a:cubicBezTo>
                  <a:pt x="1343" y="154"/>
                  <a:pt x="1347" y="154"/>
                  <a:pt x="1346" y="152"/>
                </a:cubicBezTo>
                <a:cubicBezTo>
                  <a:pt x="1345" y="151"/>
                  <a:pt x="1345" y="152"/>
                  <a:pt x="1344" y="151"/>
                </a:cubicBezTo>
                <a:cubicBezTo>
                  <a:pt x="1344" y="151"/>
                  <a:pt x="1344" y="151"/>
                  <a:pt x="1343" y="151"/>
                </a:cubicBezTo>
                <a:cubicBezTo>
                  <a:pt x="1343" y="150"/>
                  <a:pt x="1343" y="150"/>
                  <a:pt x="1343" y="150"/>
                </a:cubicBezTo>
                <a:cubicBezTo>
                  <a:pt x="1342" y="149"/>
                  <a:pt x="1343" y="148"/>
                  <a:pt x="1344" y="148"/>
                </a:cubicBezTo>
                <a:cubicBezTo>
                  <a:pt x="1345" y="147"/>
                  <a:pt x="1345" y="148"/>
                  <a:pt x="1346" y="147"/>
                </a:cubicBezTo>
                <a:cubicBezTo>
                  <a:pt x="1346" y="147"/>
                  <a:pt x="1346" y="146"/>
                  <a:pt x="1347" y="145"/>
                </a:cubicBezTo>
                <a:cubicBezTo>
                  <a:pt x="1347" y="144"/>
                  <a:pt x="1348" y="143"/>
                  <a:pt x="1348" y="142"/>
                </a:cubicBezTo>
                <a:cubicBezTo>
                  <a:pt x="1348" y="141"/>
                  <a:pt x="1348" y="140"/>
                  <a:pt x="1348" y="139"/>
                </a:cubicBezTo>
                <a:cubicBezTo>
                  <a:pt x="1348" y="137"/>
                  <a:pt x="1350" y="134"/>
                  <a:pt x="1351" y="131"/>
                </a:cubicBezTo>
                <a:cubicBezTo>
                  <a:pt x="1352" y="130"/>
                  <a:pt x="1354" y="122"/>
                  <a:pt x="1356" y="122"/>
                </a:cubicBezTo>
                <a:cubicBezTo>
                  <a:pt x="1356" y="123"/>
                  <a:pt x="1356" y="123"/>
                  <a:pt x="1356" y="123"/>
                </a:cubicBezTo>
                <a:cubicBezTo>
                  <a:pt x="1357" y="123"/>
                  <a:pt x="1357" y="122"/>
                  <a:pt x="1357" y="122"/>
                </a:cubicBezTo>
                <a:cubicBezTo>
                  <a:pt x="1357" y="122"/>
                  <a:pt x="1358" y="118"/>
                  <a:pt x="1359" y="121"/>
                </a:cubicBezTo>
                <a:cubicBezTo>
                  <a:pt x="1359" y="121"/>
                  <a:pt x="1359" y="121"/>
                  <a:pt x="1359" y="121"/>
                </a:cubicBezTo>
                <a:cubicBezTo>
                  <a:pt x="1360" y="121"/>
                  <a:pt x="1360" y="121"/>
                  <a:pt x="1360" y="120"/>
                </a:cubicBezTo>
                <a:cubicBezTo>
                  <a:pt x="1360" y="120"/>
                  <a:pt x="1360" y="119"/>
                  <a:pt x="1360" y="119"/>
                </a:cubicBezTo>
                <a:cubicBezTo>
                  <a:pt x="1360" y="118"/>
                  <a:pt x="1361" y="118"/>
                  <a:pt x="1361" y="117"/>
                </a:cubicBezTo>
                <a:cubicBezTo>
                  <a:pt x="1361" y="117"/>
                  <a:pt x="1361" y="116"/>
                  <a:pt x="1362" y="115"/>
                </a:cubicBezTo>
                <a:cubicBezTo>
                  <a:pt x="1362" y="113"/>
                  <a:pt x="1363" y="111"/>
                  <a:pt x="1364" y="110"/>
                </a:cubicBezTo>
                <a:cubicBezTo>
                  <a:pt x="1364" y="109"/>
                  <a:pt x="1364" y="108"/>
                  <a:pt x="1365" y="107"/>
                </a:cubicBezTo>
                <a:cubicBezTo>
                  <a:pt x="1365" y="107"/>
                  <a:pt x="1366" y="106"/>
                  <a:pt x="1366" y="105"/>
                </a:cubicBezTo>
                <a:cubicBezTo>
                  <a:pt x="1366" y="105"/>
                  <a:pt x="1366" y="104"/>
                  <a:pt x="1366" y="104"/>
                </a:cubicBezTo>
                <a:cubicBezTo>
                  <a:pt x="1366" y="103"/>
                  <a:pt x="1366" y="103"/>
                  <a:pt x="1366" y="102"/>
                </a:cubicBezTo>
                <a:cubicBezTo>
                  <a:pt x="1365" y="101"/>
                  <a:pt x="1366" y="100"/>
                  <a:pt x="1365" y="100"/>
                </a:cubicBezTo>
                <a:cubicBezTo>
                  <a:pt x="1365" y="100"/>
                  <a:pt x="1365" y="99"/>
                  <a:pt x="1365" y="99"/>
                </a:cubicBezTo>
                <a:cubicBezTo>
                  <a:pt x="1365" y="99"/>
                  <a:pt x="1365" y="99"/>
                  <a:pt x="1365" y="98"/>
                </a:cubicBezTo>
                <a:cubicBezTo>
                  <a:pt x="1365" y="98"/>
                  <a:pt x="1365" y="97"/>
                  <a:pt x="1366" y="96"/>
                </a:cubicBezTo>
                <a:cubicBezTo>
                  <a:pt x="1366" y="96"/>
                  <a:pt x="1366" y="95"/>
                  <a:pt x="1367" y="95"/>
                </a:cubicBezTo>
                <a:cubicBezTo>
                  <a:pt x="1368" y="95"/>
                  <a:pt x="1368" y="95"/>
                  <a:pt x="1369" y="95"/>
                </a:cubicBezTo>
                <a:cubicBezTo>
                  <a:pt x="1370" y="95"/>
                  <a:pt x="1369" y="93"/>
                  <a:pt x="1370" y="92"/>
                </a:cubicBezTo>
                <a:cubicBezTo>
                  <a:pt x="1371" y="91"/>
                  <a:pt x="1373" y="91"/>
                  <a:pt x="1374" y="90"/>
                </a:cubicBezTo>
                <a:cubicBezTo>
                  <a:pt x="1375" y="89"/>
                  <a:pt x="1375" y="87"/>
                  <a:pt x="1376" y="86"/>
                </a:cubicBezTo>
                <a:cubicBezTo>
                  <a:pt x="1376" y="85"/>
                  <a:pt x="1376" y="84"/>
                  <a:pt x="1376" y="83"/>
                </a:cubicBezTo>
                <a:cubicBezTo>
                  <a:pt x="1377" y="83"/>
                  <a:pt x="1376" y="82"/>
                  <a:pt x="1376" y="82"/>
                </a:cubicBezTo>
                <a:cubicBezTo>
                  <a:pt x="1376" y="80"/>
                  <a:pt x="1378" y="78"/>
                  <a:pt x="1379" y="77"/>
                </a:cubicBezTo>
                <a:cubicBezTo>
                  <a:pt x="1380" y="75"/>
                  <a:pt x="1380" y="73"/>
                  <a:pt x="1381" y="71"/>
                </a:cubicBezTo>
                <a:cubicBezTo>
                  <a:pt x="1382" y="70"/>
                  <a:pt x="1382" y="68"/>
                  <a:pt x="1383" y="67"/>
                </a:cubicBezTo>
                <a:cubicBezTo>
                  <a:pt x="1388" y="54"/>
                  <a:pt x="1399" y="44"/>
                  <a:pt x="1404" y="31"/>
                </a:cubicBezTo>
                <a:cubicBezTo>
                  <a:pt x="1406" y="27"/>
                  <a:pt x="1406" y="23"/>
                  <a:pt x="1407" y="20"/>
                </a:cubicBezTo>
                <a:cubicBezTo>
                  <a:pt x="1407" y="18"/>
                  <a:pt x="1407" y="16"/>
                  <a:pt x="1407" y="14"/>
                </a:cubicBezTo>
                <a:cubicBezTo>
                  <a:pt x="1406" y="13"/>
                  <a:pt x="1405" y="12"/>
                  <a:pt x="1403" y="12"/>
                </a:cubicBezTo>
                <a:cubicBezTo>
                  <a:pt x="1403" y="13"/>
                  <a:pt x="1403" y="13"/>
                  <a:pt x="1402" y="12"/>
                </a:cubicBezTo>
                <a:cubicBezTo>
                  <a:pt x="1402" y="12"/>
                  <a:pt x="1402" y="12"/>
                  <a:pt x="1401" y="11"/>
                </a:cubicBezTo>
                <a:cubicBezTo>
                  <a:pt x="1401" y="11"/>
                  <a:pt x="1400" y="12"/>
                  <a:pt x="1399" y="11"/>
                </a:cubicBezTo>
                <a:cubicBezTo>
                  <a:pt x="1399" y="11"/>
                  <a:pt x="1398" y="10"/>
                  <a:pt x="1398" y="9"/>
                </a:cubicBezTo>
                <a:cubicBezTo>
                  <a:pt x="1397" y="8"/>
                  <a:pt x="1395" y="9"/>
                  <a:pt x="1395" y="8"/>
                </a:cubicBezTo>
                <a:cubicBezTo>
                  <a:pt x="1395" y="8"/>
                  <a:pt x="1394" y="7"/>
                  <a:pt x="1394" y="7"/>
                </a:cubicBezTo>
                <a:cubicBezTo>
                  <a:pt x="1393" y="7"/>
                  <a:pt x="1392" y="6"/>
                  <a:pt x="1391" y="6"/>
                </a:cubicBezTo>
                <a:cubicBezTo>
                  <a:pt x="1390" y="5"/>
                  <a:pt x="1389" y="5"/>
                  <a:pt x="1388" y="4"/>
                </a:cubicBezTo>
                <a:cubicBezTo>
                  <a:pt x="1385" y="4"/>
                  <a:pt x="1382" y="3"/>
                  <a:pt x="1380" y="3"/>
                </a:cubicBezTo>
                <a:cubicBezTo>
                  <a:pt x="1379" y="3"/>
                  <a:pt x="1378" y="3"/>
                  <a:pt x="1377" y="3"/>
                </a:cubicBezTo>
                <a:cubicBezTo>
                  <a:pt x="1376" y="3"/>
                  <a:pt x="1375" y="3"/>
                  <a:pt x="1375" y="3"/>
                </a:cubicBezTo>
                <a:cubicBezTo>
                  <a:pt x="1374" y="3"/>
                  <a:pt x="1374" y="4"/>
                  <a:pt x="1373" y="4"/>
                </a:cubicBezTo>
                <a:cubicBezTo>
                  <a:pt x="1371" y="3"/>
                  <a:pt x="1370" y="2"/>
                  <a:pt x="1368" y="1"/>
                </a:cubicBezTo>
                <a:cubicBezTo>
                  <a:pt x="1367" y="1"/>
                  <a:pt x="1365" y="0"/>
                  <a:pt x="1363" y="1"/>
                </a:cubicBezTo>
                <a:cubicBezTo>
                  <a:pt x="1363" y="1"/>
                  <a:pt x="1363" y="1"/>
                  <a:pt x="1362" y="1"/>
                </a:cubicBezTo>
                <a:cubicBezTo>
                  <a:pt x="1362" y="1"/>
                  <a:pt x="1362" y="1"/>
                  <a:pt x="1361" y="2"/>
                </a:cubicBezTo>
                <a:cubicBezTo>
                  <a:pt x="1355" y="8"/>
                  <a:pt x="1353" y="16"/>
                  <a:pt x="1348" y="23"/>
                </a:cubicBezTo>
                <a:cubicBezTo>
                  <a:pt x="1346" y="28"/>
                  <a:pt x="1343" y="32"/>
                  <a:pt x="1341" y="37"/>
                </a:cubicBezTo>
                <a:cubicBezTo>
                  <a:pt x="1340" y="39"/>
                  <a:pt x="1339" y="41"/>
                  <a:pt x="1338" y="43"/>
                </a:cubicBezTo>
                <a:cubicBezTo>
                  <a:pt x="1337" y="46"/>
                  <a:pt x="1336" y="48"/>
                  <a:pt x="1335" y="50"/>
                </a:cubicBezTo>
                <a:cubicBezTo>
                  <a:pt x="1334" y="52"/>
                  <a:pt x="1334" y="54"/>
                  <a:pt x="1333" y="55"/>
                </a:cubicBezTo>
                <a:cubicBezTo>
                  <a:pt x="1332" y="58"/>
                  <a:pt x="1330" y="61"/>
                  <a:pt x="1330" y="64"/>
                </a:cubicBezTo>
                <a:cubicBezTo>
                  <a:pt x="1330" y="65"/>
                  <a:pt x="1330" y="66"/>
                  <a:pt x="1329" y="68"/>
                </a:cubicBezTo>
                <a:cubicBezTo>
                  <a:pt x="1329" y="69"/>
                  <a:pt x="1328" y="70"/>
                  <a:pt x="1327" y="71"/>
                </a:cubicBezTo>
                <a:cubicBezTo>
                  <a:pt x="1310" y="104"/>
                  <a:pt x="1271" y="185"/>
                  <a:pt x="1264" y="200"/>
                </a:cubicBezTo>
                <a:cubicBezTo>
                  <a:pt x="1262" y="204"/>
                  <a:pt x="1259" y="211"/>
                  <a:pt x="1257" y="217"/>
                </a:cubicBezTo>
                <a:cubicBezTo>
                  <a:pt x="1254" y="222"/>
                  <a:pt x="1250" y="231"/>
                  <a:pt x="1248" y="236"/>
                </a:cubicBezTo>
                <a:cubicBezTo>
                  <a:pt x="1236" y="263"/>
                  <a:pt x="1231" y="273"/>
                  <a:pt x="1219" y="300"/>
                </a:cubicBezTo>
                <a:cubicBezTo>
                  <a:pt x="1217" y="302"/>
                  <a:pt x="1216" y="304"/>
                  <a:pt x="1215" y="307"/>
                </a:cubicBezTo>
                <a:cubicBezTo>
                  <a:pt x="1215" y="308"/>
                  <a:pt x="1214" y="308"/>
                  <a:pt x="1214" y="309"/>
                </a:cubicBezTo>
                <a:cubicBezTo>
                  <a:pt x="1213" y="310"/>
                  <a:pt x="1214" y="311"/>
                  <a:pt x="1214" y="312"/>
                </a:cubicBezTo>
                <a:cubicBezTo>
                  <a:pt x="1214" y="313"/>
                  <a:pt x="1213" y="313"/>
                  <a:pt x="1212" y="314"/>
                </a:cubicBezTo>
                <a:cubicBezTo>
                  <a:pt x="1211" y="315"/>
                  <a:pt x="1210" y="315"/>
                  <a:pt x="1211" y="317"/>
                </a:cubicBezTo>
                <a:cubicBezTo>
                  <a:pt x="1211" y="317"/>
                  <a:pt x="1211" y="317"/>
                  <a:pt x="1211" y="317"/>
                </a:cubicBezTo>
                <a:cubicBezTo>
                  <a:pt x="1211" y="319"/>
                  <a:pt x="1210" y="320"/>
                  <a:pt x="1209" y="322"/>
                </a:cubicBezTo>
                <a:cubicBezTo>
                  <a:pt x="1208" y="323"/>
                  <a:pt x="1208" y="325"/>
                  <a:pt x="1207" y="326"/>
                </a:cubicBezTo>
                <a:cubicBezTo>
                  <a:pt x="1205" y="329"/>
                  <a:pt x="1204" y="332"/>
                  <a:pt x="1202" y="335"/>
                </a:cubicBezTo>
                <a:cubicBezTo>
                  <a:pt x="1198" y="345"/>
                  <a:pt x="1194" y="353"/>
                  <a:pt x="1194" y="354"/>
                </a:cubicBezTo>
                <a:cubicBezTo>
                  <a:pt x="1193" y="355"/>
                  <a:pt x="1193" y="355"/>
                  <a:pt x="1193" y="356"/>
                </a:cubicBezTo>
                <a:cubicBezTo>
                  <a:pt x="1192" y="356"/>
                  <a:pt x="1191" y="356"/>
                  <a:pt x="1191" y="358"/>
                </a:cubicBezTo>
                <a:cubicBezTo>
                  <a:pt x="1191" y="359"/>
                  <a:pt x="1190" y="360"/>
                  <a:pt x="1190" y="362"/>
                </a:cubicBezTo>
                <a:cubicBezTo>
                  <a:pt x="1189" y="364"/>
                  <a:pt x="1188" y="365"/>
                  <a:pt x="1187" y="367"/>
                </a:cubicBezTo>
                <a:cubicBezTo>
                  <a:pt x="1185" y="371"/>
                  <a:pt x="1184" y="374"/>
                  <a:pt x="1182" y="378"/>
                </a:cubicBezTo>
                <a:cubicBezTo>
                  <a:pt x="1174" y="393"/>
                  <a:pt x="1166" y="409"/>
                  <a:pt x="1159" y="424"/>
                </a:cubicBezTo>
                <a:cubicBezTo>
                  <a:pt x="1155" y="431"/>
                  <a:pt x="1152" y="438"/>
                  <a:pt x="1149" y="445"/>
                </a:cubicBezTo>
                <a:cubicBezTo>
                  <a:pt x="1146" y="450"/>
                  <a:pt x="1144" y="455"/>
                  <a:pt x="1141" y="460"/>
                </a:cubicBezTo>
                <a:cubicBezTo>
                  <a:pt x="1139" y="465"/>
                  <a:pt x="1136" y="470"/>
                  <a:pt x="1134" y="475"/>
                </a:cubicBezTo>
                <a:cubicBezTo>
                  <a:pt x="1133" y="477"/>
                  <a:pt x="1132" y="479"/>
                  <a:pt x="1131" y="481"/>
                </a:cubicBezTo>
                <a:cubicBezTo>
                  <a:pt x="1130" y="482"/>
                  <a:pt x="1130" y="483"/>
                  <a:pt x="1129" y="484"/>
                </a:cubicBezTo>
                <a:cubicBezTo>
                  <a:pt x="1129" y="485"/>
                  <a:pt x="1128" y="486"/>
                  <a:pt x="1128" y="487"/>
                </a:cubicBezTo>
                <a:cubicBezTo>
                  <a:pt x="1128" y="487"/>
                  <a:pt x="1128" y="488"/>
                  <a:pt x="1128" y="488"/>
                </a:cubicBezTo>
                <a:cubicBezTo>
                  <a:pt x="1128" y="488"/>
                  <a:pt x="1128" y="488"/>
                  <a:pt x="1128" y="489"/>
                </a:cubicBezTo>
                <a:cubicBezTo>
                  <a:pt x="1127" y="490"/>
                  <a:pt x="1128" y="491"/>
                  <a:pt x="1128" y="492"/>
                </a:cubicBezTo>
                <a:cubicBezTo>
                  <a:pt x="1127" y="492"/>
                  <a:pt x="1126" y="493"/>
                  <a:pt x="1125" y="493"/>
                </a:cubicBezTo>
                <a:cubicBezTo>
                  <a:pt x="1124" y="494"/>
                  <a:pt x="1124" y="496"/>
                  <a:pt x="1123" y="497"/>
                </a:cubicBezTo>
                <a:cubicBezTo>
                  <a:pt x="1122" y="500"/>
                  <a:pt x="1121" y="502"/>
                  <a:pt x="1120" y="504"/>
                </a:cubicBezTo>
                <a:cubicBezTo>
                  <a:pt x="1120" y="505"/>
                  <a:pt x="1116" y="511"/>
                  <a:pt x="1117" y="512"/>
                </a:cubicBezTo>
                <a:cubicBezTo>
                  <a:pt x="1118" y="512"/>
                  <a:pt x="1118" y="512"/>
                  <a:pt x="1118" y="512"/>
                </a:cubicBezTo>
                <a:cubicBezTo>
                  <a:pt x="1119" y="513"/>
                  <a:pt x="1118" y="515"/>
                  <a:pt x="1117" y="516"/>
                </a:cubicBezTo>
                <a:cubicBezTo>
                  <a:pt x="1117" y="516"/>
                  <a:pt x="1116" y="520"/>
                  <a:pt x="1115" y="519"/>
                </a:cubicBezTo>
                <a:cubicBezTo>
                  <a:pt x="1114" y="519"/>
                  <a:pt x="1114" y="520"/>
                  <a:pt x="1114" y="520"/>
                </a:cubicBezTo>
                <a:cubicBezTo>
                  <a:pt x="1114" y="521"/>
                  <a:pt x="1115" y="521"/>
                  <a:pt x="1114" y="522"/>
                </a:cubicBezTo>
                <a:cubicBezTo>
                  <a:pt x="1114" y="523"/>
                  <a:pt x="1114" y="524"/>
                  <a:pt x="1113" y="524"/>
                </a:cubicBezTo>
                <a:cubicBezTo>
                  <a:pt x="1113" y="525"/>
                  <a:pt x="1112" y="524"/>
                  <a:pt x="1111" y="525"/>
                </a:cubicBezTo>
                <a:cubicBezTo>
                  <a:pt x="1109" y="526"/>
                  <a:pt x="1108" y="529"/>
                  <a:pt x="1107" y="530"/>
                </a:cubicBezTo>
                <a:cubicBezTo>
                  <a:pt x="1107" y="532"/>
                  <a:pt x="1106" y="534"/>
                  <a:pt x="1106" y="536"/>
                </a:cubicBezTo>
                <a:cubicBezTo>
                  <a:pt x="1107" y="537"/>
                  <a:pt x="1106" y="538"/>
                  <a:pt x="1105" y="539"/>
                </a:cubicBezTo>
                <a:cubicBezTo>
                  <a:pt x="1104" y="540"/>
                  <a:pt x="1103" y="541"/>
                  <a:pt x="1102" y="543"/>
                </a:cubicBezTo>
                <a:cubicBezTo>
                  <a:pt x="1101" y="544"/>
                  <a:pt x="1101" y="545"/>
                  <a:pt x="1101" y="547"/>
                </a:cubicBezTo>
                <a:cubicBezTo>
                  <a:pt x="1101" y="548"/>
                  <a:pt x="1101" y="549"/>
                  <a:pt x="1101" y="550"/>
                </a:cubicBezTo>
                <a:cubicBezTo>
                  <a:pt x="1100" y="550"/>
                  <a:pt x="1100" y="551"/>
                  <a:pt x="1099" y="551"/>
                </a:cubicBezTo>
                <a:cubicBezTo>
                  <a:pt x="1099" y="552"/>
                  <a:pt x="1098" y="552"/>
                  <a:pt x="1098" y="552"/>
                </a:cubicBezTo>
                <a:cubicBezTo>
                  <a:pt x="1097" y="553"/>
                  <a:pt x="1096" y="555"/>
                  <a:pt x="1095" y="556"/>
                </a:cubicBezTo>
                <a:cubicBezTo>
                  <a:pt x="1094" y="557"/>
                  <a:pt x="1094" y="559"/>
                  <a:pt x="1093" y="561"/>
                </a:cubicBezTo>
                <a:cubicBezTo>
                  <a:pt x="1090" y="566"/>
                  <a:pt x="1087" y="571"/>
                  <a:pt x="1085" y="576"/>
                </a:cubicBezTo>
                <a:cubicBezTo>
                  <a:pt x="1084" y="578"/>
                  <a:pt x="1083" y="580"/>
                  <a:pt x="1082" y="582"/>
                </a:cubicBezTo>
                <a:cubicBezTo>
                  <a:pt x="1081" y="584"/>
                  <a:pt x="1080" y="585"/>
                  <a:pt x="1080" y="587"/>
                </a:cubicBezTo>
                <a:cubicBezTo>
                  <a:pt x="1080" y="588"/>
                  <a:pt x="1081" y="590"/>
                  <a:pt x="1081" y="591"/>
                </a:cubicBezTo>
                <a:cubicBezTo>
                  <a:pt x="1081" y="592"/>
                  <a:pt x="1080" y="593"/>
                  <a:pt x="1080" y="593"/>
                </a:cubicBezTo>
                <a:cubicBezTo>
                  <a:pt x="1079" y="594"/>
                  <a:pt x="1078" y="595"/>
                  <a:pt x="1077" y="597"/>
                </a:cubicBezTo>
                <a:cubicBezTo>
                  <a:pt x="1077" y="598"/>
                  <a:pt x="1077" y="599"/>
                  <a:pt x="1076" y="600"/>
                </a:cubicBezTo>
                <a:cubicBezTo>
                  <a:pt x="1076" y="600"/>
                  <a:pt x="1076" y="600"/>
                  <a:pt x="1075" y="600"/>
                </a:cubicBezTo>
                <a:cubicBezTo>
                  <a:pt x="1075" y="600"/>
                  <a:pt x="1075" y="600"/>
                  <a:pt x="1075" y="600"/>
                </a:cubicBezTo>
                <a:cubicBezTo>
                  <a:pt x="1074" y="599"/>
                  <a:pt x="1074" y="600"/>
                  <a:pt x="1074" y="600"/>
                </a:cubicBezTo>
                <a:cubicBezTo>
                  <a:pt x="1073" y="601"/>
                  <a:pt x="1072" y="602"/>
                  <a:pt x="1072" y="603"/>
                </a:cubicBezTo>
                <a:cubicBezTo>
                  <a:pt x="1070" y="606"/>
                  <a:pt x="1068" y="609"/>
                  <a:pt x="1068" y="610"/>
                </a:cubicBezTo>
                <a:cubicBezTo>
                  <a:pt x="1068" y="611"/>
                  <a:pt x="1066" y="615"/>
                  <a:pt x="1063" y="620"/>
                </a:cubicBezTo>
                <a:cubicBezTo>
                  <a:pt x="1062" y="622"/>
                  <a:pt x="1062" y="624"/>
                  <a:pt x="1061" y="625"/>
                </a:cubicBezTo>
                <a:cubicBezTo>
                  <a:pt x="1061" y="626"/>
                  <a:pt x="1059" y="628"/>
                  <a:pt x="1060" y="629"/>
                </a:cubicBezTo>
                <a:cubicBezTo>
                  <a:pt x="1060" y="630"/>
                  <a:pt x="1061" y="630"/>
                  <a:pt x="1060" y="631"/>
                </a:cubicBezTo>
                <a:cubicBezTo>
                  <a:pt x="1060" y="631"/>
                  <a:pt x="1060" y="632"/>
                  <a:pt x="1059" y="632"/>
                </a:cubicBezTo>
                <a:cubicBezTo>
                  <a:pt x="1059" y="632"/>
                  <a:pt x="1059" y="632"/>
                  <a:pt x="1059" y="632"/>
                </a:cubicBezTo>
                <a:cubicBezTo>
                  <a:pt x="1057" y="632"/>
                  <a:pt x="1056" y="636"/>
                  <a:pt x="1055" y="637"/>
                </a:cubicBezTo>
                <a:cubicBezTo>
                  <a:pt x="1052" y="643"/>
                  <a:pt x="1051" y="645"/>
                  <a:pt x="1048" y="649"/>
                </a:cubicBezTo>
                <a:cubicBezTo>
                  <a:pt x="1046" y="652"/>
                  <a:pt x="1040" y="664"/>
                  <a:pt x="1037" y="671"/>
                </a:cubicBezTo>
                <a:cubicBezTo>
                  <a:pt x="1037" y="672"/>
                  <a:pt x="1037" y="673"/>
                  <a:pt x="1036" y="674"/>
                </a:cubicBezTo>
                <a:cubicBezTo>
                  <a:pt x="1036" y="674"/>
                  <a:pt x="1036" y="675"/>
                  <a:pt x="1036" y="676"/>
                </a:cubicBezTo>
                <a:cubicBezTo>
                  <a:pt x="1036" y="676"/>
                  <a:pt x="1036" y="676"/>
                  <a:pt x="1036" y="677"/>
                </a:cubicBezTo>
                <a:cubicBezTo>
                  <a:pt x="1035" y="677"/>
                  <a:pt x="1035" y="677"/>
                  <a:pt x="1035" y="677"/>
                </a:cubicBezTo>
                <a:cubicBezTo>
                  <a:pt x="1035" y="678"/>
                  <a:pt x="1035" y="678"/>
                  <a:pt x="1035" y="679"/>
                </a:cubicBezTo>
                <a:cubicBezTo>
                  <a:pt x="1035" y="679"/>
                  <a:pt x="1034" y="680"/>
                  <a:pt x="1033" y="680"/>
                </a:cubicBezTo>
                <a:cubicBezTo>
                  <a:pt x="1033" y="681"/>
                  <a:pt x="1033" y="682"/>
                  <a:pt x="1032" y="683"/>
                </a:cubicBezTo>
                <a:cubicBezTo>
                  <a:pt x="1032" y="684"/>
                  <a:pt x="1031" y="685"/>
                  <a:pt x="1031" y="687"/>
                </a:cubicBezTo>
                <a:cubicBezTo>
                  <a:pt x="1031" y="688"/>
                  <a:pt x="1032" y="689"/>
                  <a:pt x="1031" y="690"/>
                </a:cubicBezTo>
                <a:cubicBezTo>
                  <a:pt x="1030" y="691"/>
                  <a:pt x="1029" y="691"/>
                  <a:pt x="1028" y="691"/>
                </a:cubicBezTo>
                <a:cubicBezTo>
                  <a:pt x="1028" y="692"/>
                  <a:pt x="1028" y="692"/>
                  <a:pt x="1028" y="692"/>
                </a:cubicBezTo>
                <a:cubicBezTo>
                  <a:pt x="1028" y="692"/>
                  <a:pt x="1028" y="692"/>
                  <a:pt x="1028" y="692"/>
                </a:cubicBezTo>
                <a:cubicBezTo>
                  <a:pt x="1028" y="693"/>
                  <a:pt x="1028" y="693"/>
                  <a:pt x="1028" y="693"/>
                </a:cubicBezTo>
                <a:cubicBezTo>
                  <a:pt x="1029" y="695"/>
                  <a:pt x="1028" y="697"/>
                  <a:pt x="1027" y="698"/>
                </a:cubicBezTo>
                <a:cubicBezTo>
                  <a:pt x="1027" y="699"/>
                  <a:pt x="1026" y="700"/>
                  <a:pt x="1026" y="700"/>
                </a:cubicBezTo>
                <a:cubicBezTo>
                  <a:pt x="1025" y="700"/>
                  <a:pt x="1024" y="700"/>
                  <a:pt x="1024" y="700"/>
                </a:cubicBezTo>
                <a:cubicBezTo>
                  <a:pt x="1023" y="700"/>
                  <a:pt x="1024" y="701"/>
                  <a:pt x="1024" y="701"/>
                </a:cubicBezTo>
                <a:cubicBezTo>
                  <a:pt x="1024" y="703"/>
                  <a:pt x="1022" y="703"/>
                  <a:pt x="1021" y="705"/>
                </a:cubicBezTo>
                <a:cubicBezTo>
                  <a:pt x="1020" y="706"/>
                  <a:pt x="1020" y="707"/>
                  <a:pt x="1019" y="708"/>
                </a:cubicBezTo>
                <a:cubicBezTo>
                  <a:pt x="1019" y="709"/>
                  <a:pt x="1016" y="713"/>
                  <a:pt x="1017" y="714"/>
                </a:cubicBezTo>
                <a:cubicBezTo>
                  <a:pt x="1017" y="715"/>
                  <a:pt x="1017" y="715"/>
                  <a:pt x="1018" y="715"/>
                </a:cubicBezTo>
                <a:cubicBezTo>
                  <a:pt x="1019" y="716"/>
                  <a:pt x="1017" y="717"/>
                  <a:pt x="1017" y="718"/>
                </a:cubicBezTo>
                <a:cubicBezTo>
                  <a:pt x="1016" y="719"/>
                  <a:pt x="1016" y="720"/>
                  <a:pt x="1015" y="721"/>
                </a:cubicBezTo>
                <a:cubicBezTo>
                  <a:pt x="1014" y="721"/>
                  <a:pt x="1014" y="721"/>
                  <a:pt x="1013" y="722"/>
                </a:cubicBezTo>
                <a:cubicBezTo>
                  <a:pt x="1013" y="722"/>
                  <a:pt x="1013" y="723"/>
                  <a:pt x="1013" y="723"/>
                </a:cubicBezTo>
                <a:cubicBezTo>
                  <a:pt x="1013" y="723"/>
                  <a:pt x="1013" y="723"/>
                  <a:pt x="1014" y="724"/>
                </a:cubicBezTo>
                <a:cubicBezTo>
                  <a:pt x="1014" y="724"/>
                  <a:pt x="1014" y="724"/>
                  <a:pt x="1014" y="724"/>
                </a:cubicBezTo>
                <a:cubicBezTo>
                  <a:pt x="1013" y="725"/>
                  <a:pt x="1013" y="725"/>
                  <a:pt x="1013" y="726"/>
                </a:cubicBezTo>
                <a:cubicBezTo>
                  <a:pt x="1012" y="726"/>
                  <a:pt x="1012" y="727"/>
                  <a:pt x="1011" y="727"/>
                </a:cubicBezTo>
                <a:cubicBezTo>
                  <a:pt x="1011" y="727"/>
                  <a:pt x="1011" y="727"/>
                  <a:pt x="1010" y="727"/>
                </a:cubicBezTo>
                <a:cubicBezTo>
                  <a:pt x="1010" y="728"/>
                  <a:pt x="1009" y="728"/>
                  <a:pt x="1009" y="729"/>
                </a:cubicBezTo>
                <a:cubicBezTo>
                  <a:pt x="1007" y="733"/>
                  <a:pt x="1001" y="744"/>
                  <a:pt x="1000" y="746"/>
                </a:cubicBezTo>
                <a:cubicBezTo>
                  <a:pt x="999" y="747"/>
                  <a:pt x="999" y="749"/>
                  <a:pt x="998" y="750"/>
                </a:cubicBezTo>
                <a:cubicBezTo>
                  <a:pt x="997" y="752"/>
                  <a:pt x="995" y="755"/>
                  <a:pt x="994" y="757"/>
                </a:cubicBezTo>
                <a:cubicBezTo>
                  <a:pt x="993" y="759"/>
                  <a:pt x="991" y="762"/>
                  <a:pt x="990" y="764"/>
                </a:cubicBezTo>
                <a:cubicBezTo>
                  <a:pt x="988" y="767"/>
                  <a:pt x="985" y="770"/>
                  <a:pt x="985" y="773"/>
                </a:cubicBezTo>
                <a:cubicBezTo>
                  <a:pt x="985" y="774"/>
                  <a:pt x="985" y="775"/>
                  <a:pt x="985" y="776"/>
                </a:cubicBezTo>
                <a:cubicBezTo>
                  <a:pt x="984" y="778"/>
                  <a:pt x="983" y="780"/>
                  <a:pt x="982" y="782"/>
                </a:cubicBezTo>
                <a:cubicBezTo>
                  <a:pt x="980" y="786"/>
                  <a:pt x="977" y="792"/>
                  <a:pt x="976" y="794"/>
                </a:cubicBezTo>
                <a:cubicBezTo>
                  <a:pt x="976" y="796"/>
                  <a:pt x="975" y="797"/>
                  <a:pt x="974" y="799"/>
                </a:cubicBezTo>
                <a:cubicBezTo>
                  <a:pt x="974" y="799"/>
                  <a:pt x="974" y="800"/>
                  <a:pt x="975" y="800"/>
                </a:cubicBezTo>
                <a:cubicBezTo>
                  <a:pt x="975" y="800"/>
                  <a:pt x="976" y="800"/>
                  <a:pt x="976" y="800"/>
                </a:cubicBezTo>
                <a:cubicBezTo>
                  <a:pt x="976" y="801"/>
                  <a:pt x="976" y="801"/>
                  <a:pt x="975" y="802"/>
                </a:cubicBezTo>
                <a:cubicBezTo>
                  <a:pt x="975" y="802"/>
                  <a:pt x="975" y="802"/>
                  <a:pt x="974" y="802"/>
                </a:cubicBezTo>
                <a:cubicBezTo>
                  <a:pt x="974" y="802"/>
                  <a:pt x="974" y="802"/>
                  <a:pt x="974" y="802"/>
                </a:cubicBezTo>
                <a:cubicBezTo>
                  <a:pt x="974" y="802"/>
                  <a:pt x="974" y="802"/>
                  <a:pt x="973" y="802"/>
                </a:cubicBezTo>
                <a:cubicBezTo>
                  <a:pt x="973" y="803"/>
                  <a:pt x="972" y="804"/>
                  <a:pt x="972" y="806"/>
                </a:cubicBezTo>
                <a:cubicBezTo>
                  <a:pt x="971" y="806"/>
                  <a:pt x="971" y="808"/>
                  <a:pt x="970" y="808"/>
                </a:cubicBezTo>
                <a:cubicBezTo>
                  <a:pt x="970" y="809"/>
                  <a:pt x="970" y="810"/>
                  <a:pt x="970" y="810"/>
                </a:cubicBezTo>
                <a:cubicBezTo>
                  <a:pt x="971" y="811"/>
                  <a:pt x="972" y="812"/>
                  <a:pt x="970" y="812"/>
                </a:cubicBezTo>
                <a:cubicBezTo>
                  <a:pt x="970" y="812"/>
                  <a:pt x="970" y="813"/>
                  <a:pt x="969" y="813"/>
                </a:cubicBezTo>
                <a:cubicBezTo>
                  <a:pt x="969" y="813"/>
                  <a:pt x="968" y="813"/>
                  <a:pt x="968" y="813"/>
                </a:cubicBezTo>
                <a:cubicBezTo>
                  <a:pt x="967" y="814"/>
                  <a:pt x="966" y="816"/>
                  <a:pt x="965" y="816"/>
                </a:cubicBezTo>
                <a:cubicBezTo>
                  <a:pt x="965" y="816"/>
                  <a:pt x="965" y="816"/>
                  <a:pt x="965" y="816"/>
                </a:cubicBezTo>
                <a:cubicBezTo>
                  <a:pt x="964" y="816"/>
                  <a:pt x="964" y="816"/>
                  <a:pt x="964" y="817"/>
                </a:cubicBezTo>
                <a:cubicBezTo>
                  <a:pt x="964" y="818"/>
                  <a:pt x="964" y="819"/>
                  <a:pt x="964" y="820"/>
                </a:cubicBezTo>
                <a:cubicBezTo>
                  <a:pt x="964" y="821"/>
                  <a:pt x="963" y="822"/>
                  <a:pt x="963" y="823"/>
                </a:cubicBezTo>
                <a:cubicBezTo>
                  <a:pt x="962" y="825"/>
                  <a:pt x="961" y="827"/>
                  <a:pt x="960" y="829"/>
                </a:cubicBezTo>
                <a:cubicBezTo>
                  <a:pt x="957" y="834"/>
                  <a:pt x="955" y="838"/>
                  <a:pt x="953" y="843"/>
                </a:cubicBezTo>
                <a:cubicBezTo>
                  <a:pt x="947" y="855"/>
                  <a:pt x="941" y="868"/>
                  <a:pt x="940" y="870"/>
                </a:cubicBezTo>
                <a:cubicBezTo>
                  <a:pt x="938" y="873"/>
                  <a:pt x="934" y="883"/>
                  <a:pt x="929" y="893"/>
                </a:cubicBezTo>
                <a:cubicBezTo>
                  <a:pt x="925" y="903"/>
                  <a:pt x="917" y="919"/>
                  <a:pt x="912" y="929"/>
                </a:cubicBezTo>
                <a:cubicBezTo>
                  <a:pt x="907" y="939"/>
                  <a:pt x="894" y="964"/>
                  <a:pt x="884" y="986"/>
                </a:cubicBezTo>
                <a:cubicBezTo>
                  <a:pt x="880" y="994"/>
                  <a:pt x="876" y="1001"/>
                  <a:pt x="873" y="1009"/>
                </a:cubicBezTo>
                <a:cubicBezTo>
                  <a:pt x="871" y="1012"/>
                  <a:pt x="869" y="1016"/>
                  <a:pt x="867" y="1020"/>
                </a:cubicBezTo>
                <a:cubicBezTo>
                  <a:pt x="867" y="1022"/>
                  <a:pt x="865" y="1023"/>
                  <a:pt x="865" y="1025"/>
                </a:cubicBezTo>
                <a:cubicBezTo>
                  <a:pt x="864" y="1027"/>
                  <a:pt x="866" y="1028"/>
                  <a:pt x="864" y="1028"/>
                </a:cubicBezTo>
                <a:cubicBezTo>
                  <a:pt x="863" y="1029"/>
                  <a:pt x="862" y="1031"/>
                  <a:pt x="862" y="1032"/>
                </a:cubicBezTo>
                <a:cubicBezTo>
                  <a:pt x="861" y="1034"/>
                  <a:pt x="860" y="1035"/>
                  <a:pt x="859" y="1037"/>
                </a:cubicBezTo>
                <a:cubicBezTo>
                  <a:pt x="858" y="1040"/>
                  <a:pt x="856" y="1043"/>
                  <a:pt x="855" y="1047"/>
                </a:cubicBezTo>
                <a:cubicBezTo>
                  <a:pt x="853" y="1050"/>
                  <a:pt x="852" y="1053"/>
                  <a:pt x="850" y="1057"/>
                </a:cubicBezTo>
                <a:cubicBezTo>
                  <a:pt x="849" y="1059"/>
                  <a:pt x="847" y="1062"/>
                  <a:pt x="847" y="1065"/>
                </a:cubicBezTo>
                <a:cubicBezTo>
                  <a:pt x="847" y="1066"/>
                  <a:pt x="846" y="1066"/>
                  <a:pt x="846" y="1067"/>
                </a:cubicBezTo>
                <a:cubicBezTo>
                  <a:pt x="844" y="1068"/>
                  <a:pt x="844" y="1071"/>
                  <a:pt x="843" y="1073"/>
                </a:cubicBezTo>
                <a:cubicBezTo>
                  <a:pt x="841" y="1076"/>
                  <a:pt x="836" y="1086"/>
                  <a:pt x="833" y="1094"/>
                </a:cubicBezTo>
                <a:cubicBezTo>
                  <a:pt x="830" y="1098"/>
                  <a:pt x="828" y="1103"/>
                  <a:pt x="826" y="1107"/>
                </a:cubicBezTo>
                <a:cubicBezTo>
                  <a:pt x="826" y="1107"/>
                  <a:pt x="825" y="1108"/>
                  <a:pt x="825" y="1108"/>
                </a:cubicBezTo>
                <a:cubicBezTo>
                  <a:pt x="825" y="1108"/>
                  <a:pt x="824" y="1109"/>
                  <a:pt x="824" y="1109"/>
                </a:cubicBezTo>
                <a:cubicBezTo>
                  <a:pt x="823" y="1109"/>
                  <a:pt x="823" y="1112"/>
                  <a:pt x="822" y="1113"/>
                </a:cubicBezTo>
                <a:cubicBezTo>
                  <a:pt x="822" y="1114"/>
                  <a:pt x="821" y="1115"/>
                  <a:pt x="821" y="1116"/>
                </a:cubicBezTo>
                <a:cubicBezTo>
                  <a:pt x="821" y="1117"/>
                  <a:pt x="820" y="1118"/>
                  <a:pt x="820" y="1119"/>
                </a:cubicBezTo>
                <a:cubicBezTo>
                  <a:pt x="820" y="1120"/>
                  <a:pt x="820" y="1121"/>
                  <a:pt x="820" y="1121"/>
                </a:cubicBezTo>
                <a:cubicBezTo>
                  <a:pt x="820" y="1122"/>
                  <a:pt x="818" y="1123"/>
                  <a:pt x="818" y="1124"/>
                </a:cubicBezTo>
                <a:cubicBezTo>
                  <a:pt x="817" y="1125"/>
                  <a:pt x="818" y="1126"/>
                  <a:pt x="817" y="1127"/>
                </a:cubicBezTo>
                <a:cubicBezTo>
                  <a:pt x="817" y="1128"/>
                  <a:pt x="817" y="1128"/>
                  <a:pt x="816" y="1128"/>
                </a:cubicBezTo>
                <a:cubicBezTo>
                  <a:pt x="814" y="1129"/>
                  <a:pt x="814" y="1132"/>
                  <a:pt x="813" y="1134"/>
                </a:cubicBezTo>
                <a:cubicBezTo>
                  <a:pt x="812" y="1136"/>
                  <a:pt x="811" y="1138"/>
                  <a:pt x="810" y="1140"/>
                </a:cubicBezTo>
                <a:cubicBezTo>
                  <a:pt x="810" y="1141"/>
                  <a:pt x="809" y="1143"/>
                  <a:pt x="808" y="1143"/>
                </a:cubicBezTo>
                <a:cubicBezTo>
                  <a:pt x="807" y="1144"/>
                  <a:pt x="806" y="1143"/>
                  <a:pt x="806" y="1143"/>
                </a:cubicBezTo>
                <a:cubicBezTo>
                  <a:pt x="805" y="1143"/>
                  <a:pt x="805" y="1143"/>
                  <a:pt x="805" y="1144"/>
                </a:cubicBezTo>
                <a:cubicBezTo>
                  <a:pt x="804" y="1144"/>
                  <a:pt x="803" y="1145"/>
                  <a:pt x="803" y="1146"/>
                </a:cubicBezTo>
                <a:cubicBezTo>
                  <a:pt x="803" y="1147"/>
                  <a:pt x="803" y="1147"/>
                  <a:pt x="803" y="1147"/>
                </a:cubicBezTo>
                <a:cubicBezTo>
                  <a:pt x="803" y="1148"/>
                  <a:pt x="804" y="1148"/>
                  <a:pt x="805" y="1148"/>
                </a:cubicBezTo>
                <a:cubicBezTo>
                  <a:pt x="805" y="1148"/>
                  <a:pt x="805" y="1149"/>
                  <a:pt x="805" y="1149"/>
                </a:cubicBezTo>
                <a:cubicBezTo>
                  <a:pt x="806" y="1151"/>
                  <a:pt x="804" y="1153"/>
                  <a:pt x="804" y="1154"/>
                </a:cubicBezTo>
                <a:cubicBezTo>
                  <a:pt x="802" y="1156"/>
                  <a:pt x="801" y="1158"/>
                  <a:pt x="799" y="1160"/>
                </a:cubicBezTo>
                <a:cubicBezTo>
                  <a:pt x="798" y="1161"/>
                  <a:pt x="795" y="1163"/>
                  <a:pt x="795" y="1166"/>
                </a:cubicBezTo>
                <a:cubicBezTo>
                  <a:pt x="795" y="1168"/>
                  <a:pt x="795" y="1169"/>
                  <a:pt x="794" y="1171"/>
                </a:cubicBezTo>
                <a:cubicBezTo>
                  <a:pt x="793" y="1172"/>
                  <a:pt x="793" y="1173"/>
                  <a:pt x="792" y="1174"/>
                </a:cubicBezTo>
                <a:cubicBezTo>
                  <a:pt x="792" y="1175"/>
                  <a:pt x="791" y="1175"/>
                  <a:pt x="790" y="1176"/>
                </a:cubicBezTo>
                <a:cubicBezTo>
                  <a:pt x="789" y="1177"/>
                  <a:pt x="788" y="1178"/>
                  <a:pt x="788" y="1179"/>
                </a:cubicBezTo>
                <a:cubicBezTo>
                  <a:pt x="787" y="1180"/>
                  <a:pt x="786" y="1182"/>
                  <a:pt x="785" y="1184"/>
                </a:cubicBezTo>
                <a:cubicBezTo>
                  <a:pt x="784" y="1186"/>
                  <a:pt x="782" y="1188"/>
                  <a:pt x="783" y="1190"/>
                </a:cubicBezTo>
                <a:cubicBezTo>
                  <a:pt x="783" y="1192"/>
                  <a:pt x="784" y="1192"/>
                  <a:pt x="785" y="1193"/>
                </a:cubicBezTo>
                <a:cubicBezTo>
                  <a:pt x="785" y="1195"/>
                  <a:pt x="783" y="1196"/>
                  <a:pt x="783" y="1197"/>
                </a:cubicBezTo>
                <a:cubicBezTo>
                  <a:pt x="782" y="1198"/>
                  <a:pt x="777" y="1205"/>
                  <a:pt x="779" y="1206"/>
                </a:cubicBezTo>
                <a:cubicBezTo>
                  <a:pt x="779" y="1206"/>
                  <a:pt x="779" y="1207"/>
                  <a:pt x="779" y="1207"/>
                </a:cubicBezTo>
                <a:cubicBezTo>
                  <a:pt x="778" y="1209"/>
                  <a:pt x="777" y="1211"/>
                  <a:pt x="776" y="1212"/>
                </a:cubicBezTo>
                <a:cubicBezTo>
                  <a:pt x="771" y="1220"/>
                  <a:pt x="768" y="1226"/>
                  <a:pt x="763" y="1235"/>
                </a:cubicBezTo>
                <a:cubicBezTo>
                  <a:pt x="762" y="1238"/>
                  <a:pt x="761" y="1242"/>
                  <a:pt x="759" y="1245"/>
                </a:cubicBezTo>
                <a:cubicBezTo>
                  <a:pt x="759" y="1245"/>
                  <a:pt x="759" y="1245"/>
                  <a:pt x="759" y="1245"/>
                </a:cubicBezTo>
                <a:cubicBezTo>
                  <a:pt x="758" y="1245"/>
                  <a:pt x="758" y="1245"/>
                  <a:pt x="758" y="1245"/>
                </a:cubicBezTo>
                <a:cubicBezTo>
                  <a:pt x="757" y="1245"/>
                  <a:pt x="757" y="1246"/>
                  <a:pt x="758" y="1247"/>
                </a:cubicBezTo>
                <a:cubicBezTo>
                  <a:pt x="758" y="1248"/>
                  <a:pt x="756" y="1248"/>
                  <a:pt x="755" y="1250"/>
                </a:cubicBezTo>
                <a:cubicBezTo>
                  <a:pt x="754" y="1250"/>
                  <a:pt x="753" y="1252"/>
                  <a:pt x="754" y="1253"/>
                </a:cubicBezTo>
                <a:cubicBezTo>
                  <a:pt x="754" y="1254"/>
                  <a:pt x="754" y="1254"/>
                  <a:pt x="754" y="1254"/>
                </a:cubicBezTo>
                <a:cubicBezTo>
                  <a:pt x="755" y="1255"/>
                  <a:pt x="753" y="1257"/>
                  <a:pt x="753" y="1258"/>
                </a:cubicBezTo>
                <a:cubicBezTo>
                  <a:pt x="752" y="1260"/>
                  <a:pt x="751" y="1261"/>
                  <a:pt x="750" y="1263"/>
                </a:cubicBezTo>
                <a:cubicBezTo>
                  <a:pt x="748" y="1267"/>
                  <a:pt x="746" y="1272"/>
                  <a:pt x="746" y="1273"/>
                </a:cubicBezTo>
                <a:cubicBezTo>
                  <a:pt x="745" y="1275"/>
                  <a:pt x="744" y="1277"/>
                  <a:pt x="743" y="1278"/>
                </a:cubicBezTo>
                <a:cubicBezTo>
                  <a:pt x="742" y="1279"/>
                  <a:pt x="742" y="1279"/>
                  <a:pt x="742" y="1279"/>
                </a:cubicBezTo>
                <a:cubicBezTo>
                  <a:pt x="741" y="1279"/>
                  <a:pt x="741" y="1279"/>
                  <a:pt x="740" y="1280"/>
                </a:cubicBezTo>
                <a:cubicBezTo>
                  <a:pt x="739" y="1281"/>
                  <a:pt x="739" y="1282"/>
                  <a:pt x="738" y="1283"/>
                </a:cubicBezTo>
                <a:cubicBezTo>
                  <a:pt x="738" y="1284"/>
                  <a:pt x="738" y="1284"/>
                  <a:pt x="738" y="1284"/>
                </a:cubicBezTo>
                <a:cubicBezTo>
                  <a:pt x="738" y="1285"/>
                  <a:pt x="739" y="1285"/>
                  <a:pt x="739" y="1285"/>
                </a:cubicBezTo>
                <a:cubicBezTo>
                  <a:pt x="739" y="1286"/>
                  <a:pt x="738" y="1287"/>
                  <a:pt x="738" y="1288"/>
                </a:cubicBezTo>
                <a:cubicBezTo>
                  <a:pt x="737" y="1291"/>
                  <a:pt x="736" y="1292"/>
                  <a:pt x="735" y="1294"/>
                </a:cubicBezTo>
                <a:cubicBezTo>
                  <a:pt x="733" y="1296"/>
                  <a:pt x="733" y="1297"/>
                  <a:pt x="733" y="1300"/>
                </a:cubicBezTo>
                <a:cubicBezTo>
                  <a:pt x="733" y="1301"/>
                  <a:pt x="733" y="1302"/>
                  <a:pt x="733" y="1303"/>
                </a:cubicBezTo>
                <a:cubicBezTo>
                  <a:pt x="732" y="1304"/>
                  <a:pt x="731" y="1305"/>
                  <a:pt x="730" y="1306"/>
                </a:cubicBezTo>
                <a:cubicBezTo>
                  <a:pt x="728" y="1310"/>
                  <a:pt x="727" y="1314"/>
                  <a:pt x="725" y="1318"/>
                </a:cubicBezTo>
                <a:cubicBezTo>
                  <a:pt x="722" y="1324"/>
                  <a:pt x="720" y="1331"/>
                  <a:pt x="719" y="1333"/>
                </a:cubicBezTo>
                <a:cubicBezTo>
                  <a:pt x="718" y="1334"/>
                  <a:pt x="717" y="1336"/>
                  <a:pt x="718" y="1338"/>
                </a:cubicBezTo>
                <a:cubicBezTo>
                  <a:pt x="718" y="1338"/>
                  <a:pt x="718" y="1338"/>
                  <a:pt x="718" y="1338"/>
                </a:cubicBezTo>
                <a:cubicBezTo>
                  <a:pt x="718" y="1338"/>
                  <a:pt x="718" y="1338"/>
                  <a:pt x="718" y="1339"/>
                </a:cubicBezTo>
                <a:cubicBezTo>
                  <a:pt x="718" y="1339"/>
                  <a:pt x="717" y="1339"/>
                  <a:pt x="717" y="1340"/>
                </a:cubicBezTo>
                <a:cubicBezTo>
                  <a:pt x="717" y="1340"/>
                  <a:pt x="716" y="1340"/>
                  <a:pt x="716" y="1340"/>
                </a:cubicBezTo>
                <a:cubicBezTo>
                  <a:pt x="713" y="1342"/>
                  <a:pt x="713" y="1345"/>
                  <a:pt x="711" y="1347"/>
                </a:cubicBezTo>
                <a:cubicBezTo>
                  <a:pt x="710" y="1350"/>
                  <a:pt x="709" y="1353"/>
                  <a:pt x="708" y="1356"/>
                </a:cubicBezTo>
                <a:cubicBezTo>
                  <a:pt x="706" y="1359"/>
                  <a:pt x="705" y="1362"/>
                  <a:pt x="703" y="1365"/>
                </a:cubicBezTo>
                <a:cubicBezTo>
                  <a:pt x="702" y="1366"/>
                  <a:pt x="701" y="1368"/>
                  <a:pt x="701" y="1369"/>
                </a:cubicBezTo>
                <a:cubicBezTo>
                  <a:pt x="700" y="1370"/>
                  <a:pt x="700" y="1371"/>
                  <a:pt x="700" y="1372"/>
                </a:cubicBezTo>
                <a:cubicBezTo>
                  <a:pt x="700" y="1373"/>
                  <a:pt x="700" y="1373"/>
                  <a:pt x="700" y="1373"/>
                </a:cubicBezTo>
                <a:cubicBezTo>
                  <a:pt x="700" y="1374"/>
                  <a:pt x="700" y="1374"/>
                  <a:pt x="700" y="1374"/>
                </a:cubicBezTo>
                <a:cubicBezTo>
                  <a:pt x="698" y="1376"/>
                  <a:pt x="696" y="1377"/>
                  <a:pt x="695" y="1379"/>
                </a:cubicBezTo>
                <a:cubicBezTo>
                  <a:pt x="694" y="1381"/>
                  <a:pt x="694" y="1383"/>
                  <a:pt x="693" y="1385"/>
                </a:cubicBezTo>
                <a:cubicBezTo>
                  <a:pt x="692" y="1387"/>
                  <a:pt x="691" y="1389"/>
                  <a:pt x="691" y="1391"/>
                </a:cubicBezTo>
                <a:cubicBezTo>
                  <a:pt x="690" y="1392"/>
                  <a:pt x="690" y="1393"/>
                  <a:pt x="690" y="1395"/>
                </a:cubicBezTo>
                <a:cubicBezTo>
                  <a:pt x="690" y="1396"/>
                  <a:pt x="690" y="1396"/>
                  <a:pt x="690" y="1397"/>
                </a:cubicBezTo>
                <a:cubicBezTo>
                  <a:pt x="689" y="1398"/>
                  <a:pt x="689" y="1400"/>
                  <a:pt x="688" y="1401"/>
                </a:cubicBezTo>
                <a:cubicBezTo>
                  <a:pt x="687" y="1403"/>
                  <a:pt x="687" y="1404"/>
                  <a:pt x="686" y="1405"/>
                </a:cubicBezTo>
                <a:cubicBezTo>
                  <a:pt x="686" y="1406"/>
                  <a:pt x="686" y="1406"/>
                  <a:pt x="686" y="1407"/>
                </a:cubicBezTo>
                <a:cubicBezTo>
                  <a:pt x="686" y="1407"/>
                  <a:pt x="686" y="1407"/>
                  <a:pt x="686" y="1407"/>
                </a:cubicBezTo>
                <a:cubicBezTo>
                  <a:pt x="686" y="1408"/>
                  <a:pt x="686" y="1408"/>
                  <a:pt x="686" y="1408"/>
                </a:cubicBezTo>
                <a:cubicBezTo>
                  <a:pt x="686" y="1409"/>
                  <a:pt x="685" y="1409"/>
                  <a:pt x="685" y="1409"/>
                </a:cubicBezTo>
                <a:cubicBezTo>
                  <a:pt x="684" y="1410"/>
                  <a:pt x="683" y="1411"/>
                  <a:pt x="682" y="1412"/>
                </a:cubicBezTo>
                <a:cubicBezTo>
                  <a:pt x="682" y="1413"/>
                  <a:pt x="681" y="1414"/>
                  <a:pt x="680" y="1416"/>
                </a:cubicBezTo>
                <a:cubicBezTo>
                  <a:pt x="680" y="1416"/>
                  <a:pt x="680" y="1416"/>
                  <a:pt x="680" y="1416"/>
                </a:cubicBezTo>
                <a:cubicBezTo>
                  <a:pt x="679" y="1418"/>
                  <a:pt x="678" y="1420"/>
                  <a:pt x="677" y="1422"/>
                </a:cubicBezTo>
                <a:cubicBezTo>
                  <a:pt x="677" y="1423"/>
                  <a:pt x="676" y="1424"/>
                  <a:pt x="675" y="1425"/>
                </a:cubicBezTo>
                <a:cubicBezTo>
                  <a:pt x="675" y="1427"/>
                  <a:pt x="674" y="1428"/>
                  <a:pt x="673" y="1428"/>
                </a:cubicBezTo>
                <a:cubicBezTo>
                  <a:pt x="672" y="1429"/>
                  <a:pt x="672" y="1429"/>
                  <a:pt x="671" y="1430"/>
                </a:cubicBezTo>
                <a:cubicBezTo>
                  <a:pt x="670" y="1432"/>
                  <a:pt x="669" y="1433"/>
                  <a:pt x="669" y="1435"/>
                </a:cubicBezTo>
                <a:cubicBezTo>
                  <a:pt x="666" y="1440"/>
                  <a:pt x="665" y="1444"/>
                  <a:pt x="663" y="1449"/>
                </a:cubicBezTo>
                <a:cubicBezTo>
                  <a:pt x="663" y="1449"/>
                  <a:pt x="662" y="1449"/>
                  <a:pt x="662" y="1450"/>
                </a:cubicBezTo>
                <a:cubicBezTo>
                  <a:pt x="662" y="1450"/>
                  <a:pt x="662" y="1450"/>
                  <a:pt x="661" y="1451"/>
                </a:cubicBezTo>
                <a:cubicBezTo>
                  <a:pt x="661" y="1451"/>
                  <a:pt x="660" y="1452"/>
                  <a:pt x="659" y="1452"/>
                </a:cubicBezTo>
                <a:cubicBezTo>
                  <a:pt x="659" y="1453"/>
                  <a:pt x="658" y="1454"/>
                  <a:pt x="658" y="1454"/>
                </a:cubicBezTo>
                <a:cubicBezTo>
                  <a:pt x="657" y="1456"/>
                  <a:pt x="656" y="1458"/>
                  <a:pt x="656" y="1459"/>
                </a:cubicBezTo>
                <a:cubicBezTo>
                  <a:pt x="655" y="1461"/>
                  <a:pt x="654" y="1462"/>
                  <a:pt x="653" y="1464"/>
                </a:cubicBezTo>
                <a:cubicBezTo>
                  <a:pt x="653" y="1464"/>
                  <a:pt x="653" y="1465"/>
                  <a:pt x="652" y="1465"/>
                </a:cubicBezTo>
                <a:cubicBezTo>
                  <a:pt x="652" y="1466"/>
                  <a:pt x="652" y="1467"/>
                  <a:pt x="652" y="1467"/>
                </a:cubicBezTo>
                <a:cubicBezTo>
                  <a:pt x="652" y="1468"/>
                  <a:pt x="654" y="1471"/>
                  <a:pt x="652" y="1472"/>
                </a:cubicBezTo>
                <a:cubicBezTo>
                  <a:pt x="651" y="1472"/>
                  <a:pt x="651" y="1471"/>
                  <a:pt x="650" y="1471"/>
                </a:cubicBezTo>
                <a:cubicBezTo>
                  <a:pt x="649" y="1471"/>
                  <a:pt x="647" y="1473"/>
                  <a:pt x="648" y="1474"/>
                </a:cubicBezTo>
                <a:cubicBezTo>
                  <a:pt x="648" y="1474"/>
                  <a:pt x="648" y="1474"/>
                  <a:pt x="648" y="1473"/>
                </a:cubicBezTo>
                <a:cubicBezTo>
                  <a:pt x="649" y="1473"/>
                  <a:pt x="649" y="1473"/>
                  <a:pt x="649" y="1473"/>
                </a:cubicBezTo>
                <a:cubicBezTo>
                  <a:pt x="650" y="1473"/>
                  <a:pt x="650" y="1473"/>
                  <a:pt x="650" y="1473"/>
                </a:cubicBezTo>
                <a:cubicBezTo>
                  <a:pt x="650" y="1474"/>
                  <a:pt x="649" y="1475"/>
                  <a:pt x="648" y="1476"/>
                </a:cubicBezTo>
                <a:cubicBezTo>
                  <a:pt x="648" y="1477"/>
                  <a:pt x="648" y="1478"/>
                  <a:pt x="647" y="1478"/>
                </a:cubicBezTo>
                <a:cubicBezTo>
                  <a:pt x="647" y="1479"/>
                  <a:pt x="647" y="1479"/>
                  <a:pt x="647" y="1480"/>
                </a:cubicBezTo>
                <a:cubicBezTo>
                  <a:pt x="646" y="1479"/>
                  <a:pt x="646" y="1480"/>
                  <a:pt x="646" y="1480"/>
                </a:cubicBezTo>
                <a:cubicBezTo>
                  <a:pt x="646" y="1480"/>
                  <a:pt x="646" y="1481"/>
                  <a:pt x="646" y="1481"/>
                </a:cubicBezTo>
                <a:cubicBezTo>
                  <a:pt x="646" y="1481"/>
                  <a:pt x="647" y="1481"/>
                  <a:pt x="647" y="1481"/>
                </a:cubicBezTo>
                <a:cubicBezTo>
                  <a:pt x="649" y="1482"/>
                  <a:pt x="647" y="1483"/>
                  <a:pt x="646" y="1484"/>
                </a:cubicBezTo>
                <a:cubicBezTo>
                  <a:pt x="645" y="1486"/>
                  <a:pt x="643" y="1488"/>
                  <a:pt x="642" y="1488"/>
                </a:cubicBezTo>
                <a:cubicBezTo>
                  <a:pt x="640" y="1490"/>
                  <a:pt x="639" y="1491"/>
                  <a:pt x="638" y="1493"/>
                </a:cubicBezTo>
                <a:cubicBezTo>
                  <a:pt x="638" y="1494"/>
                  <a:pt x="637" y="1495"/>
                  <a:pt x="636" y="1497"/>
                </a:cubicBezTo>
                <a:cubicBezTo>
                  <a:pt x="636" y="1498"/>
                  <a:pt x="635" y="1499"/>
                  <a:pt x="634" y="1501"/>
                </a:cubicBezTo>
                <a:cubicBezTo>
                  <a:pt x="634" y="1501"/>
                  <a:pt x="633" y="1503"/>
                  <a:pt x="634" y="1503"/>
                </a:cubicBezTo>
                <a:cubicBezTo>
                  <a:pt x="634" y="1504"/>
                  <a:pt x="633" y="1504"/>
                  <a:pt x="633" y="1504"/>
                </a:cubicBezTo>
                <a:cubicBezTo>
                  <a:pt x="633" y="1504"/>
                  <a:pt x="634" y="1505"/>
                  <a:pt x="634" y="1505"/>
                </a:cubicBezTo>
                <a:cubicBezTo>
                  <a:pt x="634" y="1505"/>
                  <a:pt x="634" y="1505"/>
                  <a:pt x="634" y="1505"/>
                </a:cubicBezTo>
                <a:cubicBezTo>
                  <a:pt x="635" y="1505"/>
                  <a:pt x="634" y="1507"/>
                  <a:pt x="634" y="1507"/>
                </a:cubicBezTo>
                <a:cubicBezTo>
                  <a:pt x="633" y="1507"/>
                  <a:pt x="633" y="1506"/>
                  <a:pt x="633" y="1506"/>
                </a:cubicBezTo>
                <a:cubicBezTo>
                  <a:pt x="632" y="1506"/>
                  <a:pt x="631" y="1508"/>
                  <a:pt x="631" y="1509"/>
                </a:cubicBezTo>
                <a:cubicBezTo>
                  <a:pt x="630" y="1510"/>
                  <a:pt x="630" y="1510"/>
                  <a:pt x="629" y="1511"/>
                </a:cubicBezTo>
                <a:cubicBezTo>
                  <a:pt x="629" y="1511"/>
                  <a:pt x="629" y="1512"/>
                  <a:pt x="629" y="1512"/>
                </a:cubicBezTo>
                <a:cubicBezTo>
                  <a:pt x="629" y="1512"/>
                  <a:pt x="629" y="1513"/>
                  <a:pt x="629" y="1513"/>
                </a:cubicBezTo>
                <a:cubicBezTo>
                  <a:pt x="628" y="1513"/>
                  <a:pt x="628" y="1514"/>
                  <a:pt x="628" y="1514"/>
                </a:cubicBezTo>
                <a:cubicBezTo>
                  <a:pt x="628" y="1514"/>
                  <a:pt x="628" y="1515"/>
                  <a:pt x="628" y="1515"/>
                </a:cubicBezTo>
                <a:cubicBezTo>
                  <a:pt x="629" y="1516"/>
                  <a:pt x="630" y="1513"/>
                  <a:pt x="630" y="1513"/>
                </a:cubicBezTo>
                <a:cubicBezTo>
                  <a:pt x="631" y="1513"/>
                  <a:pt x="630" y="1511"/>
                  <a:pt x="631" y="1512"/>
                </a:cubicBezTo>
                <a:cubicBezTo>
                  <a:pt x="632" y="1512"/>
                  <a:pt x="633" y="1513"/>
                  <a:pt x="632" y="1514"/>
                </a:cubicBezTo>
                <a:cubicBezTo>
                  <a:pt x="631" y="1515"/>
                  <a:pt x="631" y="1516"/>
                  <a:pt x="630" y="1517"/>
                </a:cubicBezTo>
                <a:cubicBezTo>
                  <a:pt x="629" y="1519"/>
                  <a:pt x="628" y="1521"/>
                  <a:pt x="627" y="1523"/>
                </a:cubicBezTo>
                <a:cubicBezTo>
                  <a:pt x="626" y="1526"/>
                  <a:pt x="624" y="1528"/>
                  <a:pt x="623" y="1530"/>
                </a:cubicBezTo>
                <a:cubicBezTo>
                  <a:pt x="622" y="1531"/>
                  <a:pt x="622" y="1532"/>
                  <a:pt x="622" y="1533"/>
                </a:cubicBezTo>
                <a:cubicBezTo>
                  <a:pt x="621" y="1534"/>
                  <a:pt x="621" y="1535"/>
                  <a:pt x="621" y="1535"/>
                </a:cubicBezTo>
                <a:cubicBezTo>
                  <a:pt x="620" y="1535"/>
                  <a:pt x="620" y="1535"/>
                  <a:pt x="620" y="1535"/>
                </a:cubicBezTo>
                <a:cubicBezTo>
                  <a:pt x="620" y="1536"/>
                  <a:pt x="620" y="1536"/>
                  <a:pt x="619" y="1536"/>
                </a:cubicBezTo>
                <a:cubicBezTo>
                  <a:pt x="619" y="1536"/>
                  <a:pt x="619" y="1534"/>
                  <a:pt x="619" y="1534"/>
                </a:cubicBezTo>
                <a:cubicBezTo>
                  <a:pt x="618" y="1533"/>
                  <a:pt x="617" y="1534"/>
                  <a:pt x="617" y="1535"/>
                </a:cubicBezTo>
                <a:cubicBezTo>
                  <a:pt x="617" y="1535"/>
                  <a:pt x="618" y="1536"/>
                  <a:pt x="618" y="1537"/>
                </a:cubicBezTo>
                <a:cubicBezTo>
                  <a:pt x="618" y="1537"/>
                  <a:pt x="617" y="1537"/>
                  <a:pt x="617" y="1537"/>
                </a:cubicBezTo>
                <a:cubicBezTo>
                  <a:pt x="616" y="1538"/>
                  <a:pt x="616" y="1539"/>
                  <a:pt x="615" y="1539"/>
                </a:cubicBezTo>
                <a:cubicBezTo>
                  <a:pt x="614" y="1540"/>
                  <a:pt x="614" y="1542"/>
                  <a:pt x="613" y="1543"/>
                </a:cubicBezTo>
                <a:cubicBezTo>
                  <a:pt x="611" y="1546"/>
                  <a:pt x="610" y="1549"/>
                  <a:pt x="610" y="1550"/>
                </a:cubicBezTo>
                <a:cubicBezTo>
                  <a:pt x="610" y="1551"/>
                  <a:pt x="608" y="1553"/>
                  <a:pt x="607" y="1554"/>
                </a:cubicBezTo>
                <a:cubicBezTo>
                  <a:pt x="607" y="1554"/>
                  <a:pt x="607" y="1555"/>
                  <a:pt x="607" y="1555"/>
                </a:cubicBezTo>
                <a:cubicBezTo>
                  <a:pt x="607" y="1555"/>
                  <a:pt x="608" y="1556"/>
                  <a:pt x="608" y="1556"/>
                </a:cubicBezTo>
                <a:cubicBezTo>
                  <a:pt x="609" y="1556"/>
                  <a:pt x="609" y="1556"/>
                  <a:pt x="609" y="1557"/>
                </a:cubicBezTo>
                <a:cubicBezTo>
                  <a:pt x="608" y="1557"/>
                  <a:pt x="607" y="1558"/>
                  <a:pt x="607" y="1558"/>
                </a:cubicBezTo>
                <a:cubicBezTo>
                  <a:pt x="606" y="1559"/>
                  <a:pt x="606" y="1559"/>
                  <a:pt x="605" y="1560"/>
                </a:cubicBezTo>
                <a:cubicBezTo>
                  <a:pt x="604" y="1561"/>
                  <a:pt x="604" y="1563"/>
                  <a:pt x="603" y="1564"/>
                </a:cubicBezTo>
                <a:cubicBezTo>
                  <a:pt x="603" y="1565"/>
                  <a:pt x="603" y="1565"/>
                  <a:pt x="603" y="1566"/>
                </a:cubicBezTo>
                <a:cubicBezTo>
                  <a:pt x="603" y="1567"/>
                  <a:pt x="603" y="1567"/>
                  <a:pt x="604" y="1567"/>
                </a:cubicBezTo>
                <a:cubicBezTo>
                  <a:pt x="602" y="1570"/>
                  <a:pt x="600" y="1572"/>
                  <a:pt x="598" y="1575"/>
                </a:cubicBezTo>
                <a:cubicBezTo>
                  <a:pt x="597" y="1577"/>
                  <a:pt x="596" y="1579"/>
                  <a:pt x="596" y="1581"/>
                </a:cubicBezTo>
                <a:cubicBezTo>
                  <a:pt x="596" y="1581"/>
                  <a:pt x="596" y="1582"/>
                  <a:pt x="596" y="1582"/>
                </a:cubicBezTo>
                <a:cubicBezTo>
                  <a:pt x="596" y="1583"/>
                  <a:pt x="595" y="1585"/>
                  <a:pt x="594" y="1584"/>
                </a:cubicBezTo>
                <a:cubicBezTo>
                  <a:pt x="594" y="1583"/>
                  <a:pt x="594" y="1581"/>
                  <a:pt x="594" y="1581"/>
                </a:cubicBezTo>
                <a:cubicBezTo>
                  <a:pt x="593" y="1581"/>
                  <a:pt x="593" y="1582"/>
                  <a:pt x="593" y="1583"/>
                </a:cubicBezTo>
                <a:cubicBezTo>
                  <a:pt x="593" y="1583"/>
                  <a:pt x="594" y="1585"/>
                  <a:pt x="594" y="1585"/>
                </a:cubicBezTo>
                <a:cubicBezTo>
                  <a:pt x="593" y="1586"/>
                  <a:pt x="593" y="1586"/>
                  <a:pt x="593" y="1586"/>
                </a:cubicBezTo>
                <a:cubicBezTo>
                  <a:pt x="592" y="1586"/>
                  <a:pt x="592" y="1586"/>
                  <a:pt x="592" y="1586"/>
                </a:cubicBezTo>
                <a:cubicBezTo>
                  <a:pt x="590" y="1587"/>
                  <a:pt x="590" y="1589"/>
                  <a:pt x="589" y="1591"/>
                </a:cubicBezTo>
                <a:cubicBezTo>
                  <a:pt x="587" y="1594"/>
                  <a:pt x="585" y="1598"/>
                  <a:pt x="584" y="1601"/>
                </a:cubicBezTo>
                <a:cubicBezTo>
                  <a:pt x="583" y="1603"/>
                  <a:pt x="583" y="1605"/>
                  <a:pt x="582" y="1607"/>
                </a:cubicBezTo>
                <a:cubicBezTo>
                  <a:pt x="582" y="1608"/>
                  <a:pt x="582" y="1610"/>
                  <a:pt x="581" y="1612"/>
                </a:cubicBezTo>
                <a:cubicBezTo>
                  <a:pt x="581" y="1612"/>
                  <a:pt x="581" y="1612"/>
                  <a:pt x="581" y="1612"/>
                </a:cubicBezTo>
                <a:cubicBezTo>
                  <a:pt x="581" y="1612"/>
                  <a:pt x="581" y="1612"/>
                  <a:pt x="580" y="1612"/>
                </a:cubicBezTo>
                <a:cubicBezTo>
                  <a:pt x="579" y="1613"/>
                  <a:pt x="579" y="1613"/>
                  <a:pt x="579" y="1614"/>
                </a:cubicBezTo>
                <a:cubicBezTo>
                  <a:pt x="579" y="1615"/>
                  <a:pt x="579" y="1615"/>
                  <a:pt x="579" y="1616"/>
                </a:cubicBezTo>
                <a:cubicBezTo>
                  <a:pt x="580" y="1616"/>
                  <a:pt x="580" y="1616"/>
                  <a:pt x="580" y="1617"/>
                </a:cubicBezTo>
                <a:cubicBezTo>
                  <a:pt x="580" y="1618"/>
                  <a:pt x="579" y="1618"/>
                  <a:pt x="579" y="1619"/>
                </a:cubicBezTo>
                <a:cubicBezTo>
                  <a:pt x="578" y="1619"/>
                  <a:pt x="578" y="1620"/>
                  <a:pt x="577" y="1622"/>
                </a:cubicBezTo>
                <a:cubicBezTo>
                  <a:pt x="578" y="1622"/>
                  <a:pt x="578" y="1623"/>
                  <a:pt x="578" y="1624"/>
                </a:cubicBezTo>
                <a:cubicBezTo>
                  <a:pt x="577" y="1625"/>
                  <a:pt x="577" y="1626"/>
                  <a:pt x="576" y="1627"/>
                </a:cubicBezTo>
                <a:cubicBezTo>
                  <a:pt x="575" y="1629"/>
                  <a:pt x="573" y="1632"/>
                  <a:pt x="572" y="1634"/>
                </a:cubicBezTo>
                <a:cubicBezTo>
                  <a:pt x="571" y="1635"/>
                  <a:pt x="570" y="1635"/>
                  <a:pt x="570" y="1636"/>
                </a:cubicBezTo>
                <a:cubicBezTo>
                  <a:pt x="570" y="1636"/>
                  <a:pt x="569" y="1637"/>
                  <a:pt x="569" y="1638"/>
                </a:cubicBezTo>
                <a:cubicBezTo>
                  <a:pt x="569" y="1638"/>
                  <a:pt x="569" y="1638"/>
                  <a:pt x="569" y="1639"/>
                </a:cubicBezTo>
                <a:cubicBezTo>
                  <a:pt x="567" y="1640"/>
                  <a:pt x="568" y="1641"/>
                  <a:pt x="569" y="1643"/>
                </a:cubicBezTo>
                <a:cubicBezTo>
                  <a:pt x="569" y="1643"/>
                  <a:pt x="568" y="1644"/>
                  <a:pt x="568" y="1644"/>
                </a:cubicBezTo>
                <a:cubicBezTo>
                  <a:pt x="567" y="1644"/>
                  <a:pt x="567" y="1644"/>
                  <a:pt x="566" y="1644"/>
                </a:cubicBezTo>
                <a:cubicBezTo>
                  <a:pt x="566" y="1645"/>
                  <a:pt x="565" y="1646"/>
                  <a:pt x="565" y="1647"/>
                </a:cubicBezTo>
                <a:cubicBezTo>
                  <a:pt x="564" y="1647"/>
                  <a:pt x="564" y="1647"/>
                  <a:pt x="564" y="1647"/>
                </a:cubicBezTo>
                <a:cubicBezTo>
                  <a:pt x="563" y="1648"/>
                  <a:pt x="564" y="1648"/>
                  <a:pt x="564" y="1648"/>
                </a:cubicBezTo>
                <a:cubicBezTo>
                  <a:pt x="564" y="1649"/>
                  <a:pt x="563" y="1649"/>
                  <a:pt x="563" y="1649"/>
                </a:cubicBezTo>
                <a:cubicBezTo>
                  <a:pt x="563" y="1649"/>
                  <a:pt x="563" y="1649"/>
                  <a:pt x="563" y="1649"/>
                </a:cubicBezTo>
                <a:cubicBezTo>
                  <a:pt x="562" y="1650"/>
                  <a:pt x="563" y="1651"/>
                  <a:pt x="563" y="1651"/>
                </a:cubicBezTo>
                <a:cubicBezTo>
                  <a:pt x="563" y="1651"/>
                  <a:pt x="564" y="1652"/>
                  <a:pt x="564" y="1651"/>
                </a:cubicBezTo>
                <a:cubicBezTo>
                  <a:pt x="564" y="1652"/>
                  <a:pt x="564" y="1652"/>
                  <a:pt x="564" y="1653"/>
                </a:cubicBezTo>
                <a:cubicBezTo>
                  <a:pt x="563" y="1654"/>
                  <a:pt x="563" y="1654"/>
                  <a:pt x="562" y="1655"/>
                </a:cubicBezTo>
                <a:cubicBezTo>
                  <a:pt x="561" y="1657"/>
                  <a:pt x="560" y="1659"/>
                  <a:pt x="558" y="1662"/>
                </a:cubicBezTo>
                <a:cubicBezTo>
                  <a:pt x="558" y="1662"/>
                  <a:pt x="557" y="1663"/>
                  <a:pt x="556" y="1664"/>
                </a:cubicBezTo>
                <a:cubicBezTo>
                  <a:pt x="556" y="1665"/>
                  <a:pt x="555" y="1666"/>
                  <a:pt x="555" y="1666"/>
                </a:cubicBezTo>
                <a:cubicBezTo>
                  <a:pt x="553" y="1667"/>
                  <a:pt x="553" y="1667"/>
                  <a:pt x="553" y="1668"/>
                </a:cubicBezTo>
                <a:cubicBezTo>
                  <a:pt x="552" y="1669"/>
                  <a:pt x="551" y="1671"/>
                  <a:pt x="552" y="1672"/>
                </a:cubicBezTo>
                <a:cubicBezTo>
                  <a:pt x="552" y="1672"/>
                  <a:pt x="552" y="1673"/>
                  <a:pt x="552" y="1673"/>
                </a:cubicBezTo>
                <a:cubicBezTo>
                  <a:pt x="552" y="1673"/>
                  <a:pt x="552" y="1674"/>
                  <a:pt x="553" y="1674"/>
                </a:cubicBezTo>
                <a:cubicBezTo>
                  <a:pt x="553" y="1674"/>
                  <a:pt x="553" y="1675"/>
                  <a:pt x="552" y="1675"/>
                </a:cubicBezTo>
                <a:cubicBezTo>
                  <a:pt x="551" y="1678"/>
                  <a:pt x="547" y="1679"/>
                  <a:pt x="546" y="1682"/>
                </a:cubicBezTo>
                <a:cubicBezTo>
                  <a:pt x="546" y="1683"/>
                  <a:pt x="546" y="1683"/>
                  <a:pt x="547" y="1684"/>
                </a:cubicBezTo>
                <a:cubicBezTo>
                  <a:pt x="547" y="1685"/>
                  <a:pt x="546" y="1686"/>
                  <a:pt x="546" y="1688"/>
                </a:cubicBezTo>
                <a:cubicBezTo>
                  <a:pt x="545" y="1689"/>
                  <a:pt x="545" y="1689"/>
                  <a:pt x="545" y="1690"/>
                </a:cubicBezTo>
                <a:cubicBezTo>
                  <a:pt x="544" y="1691"/>
                  <a:pt x="545" y="1691"/>
                  <a:pt x="545" y="1692"/>
                </a:cubicBezTo>
                <a:cubicBezTo>
                  <a:pt x="545" y="1692"/>
                  <a:pt x="545" y="1693"/>
                  <a:pt x="545" y="1693"/>
                </a:cubicBezTo>
                <a:cubicBezTo>
                  <a:pt x="544" y="1695"/>
                  <a:pt x="544" y="1696"/>
                  <a:pt x="543" y="1697"/>
                </a:cubicBezTo>
                <a:cubicBezTo>
                  <a:pt x="543" y="1697"/>
                  <a:pt x="542" y="1697"/>
                  <a:pt x="542" y="1698"/>
                </a:cubicBezTo>
                <a:cubicBezTo>
                  <a:pt x="541" y="1698"/>
                  <a:pt x="540" y="1700"/>
                  <a:pt x="540" y="1701"/>
                </a:cubicBezTo>
                <a:cubicBezTo>
                  <a:pt x="539" y="1702"/>
                  <a:pt x="539" y="1703"/>
                  <a:pt x="538" y="1704"/>
                </a:cubicBezTo>
                <a:cubicBezTo>
                  <a:pt x="538" y="1705"/>
                  <a:pt x="537" y="1706"/>
                  <a:pt x="536" y="1708"/>
                </a:cubicBezTo>
                <a:cubicBezTo>
                  <a:pt x="536" y="1708"/>
                  <a:pt x="535" y="1709"/>
                  <a:pt x="535" y="1710"/>
                </a:cubicBezTo>
                <a:cubicBezTo>
                  <a:pt x="535" y="1711"/>
                  <a:pt x="537" y="1712"/>
                  <a:pt x="537" y="1713"/>
                </a:cubicBezTo>
                <a:cubicBezTo>
                  <a:pt x="536" y="1714"/>
                  <a:pt x="535" y="1715"/>
                  <a:pt x="534" y="1716"/>
                </a:cubicBezTo>
                <a:cubicBezTo>
                  <a:pt x="533" y="1717"/>
                  <a:pt x="533" y="1718"/>
                  <a:pt x="532" y="1720"/>
                </a:cubicBezTo>
                <a:cubicBezTo>
                  <a:pt x="531" y="1721"/>
                  <a:pt x="531" y="1723"/>
                  <a:pt x="530" y="1725"/>
                </a:cubicBezTo>
                <a:cubicBezTo>
                  <a:pt x="528" y="1729"/>
                  <a:pt x="527" y="1733"/>
                  <a:pt x="525" y="1736"/>
                </a:cubicBezTo>
                <a:cubicBezTo>
                  <a:pt x="524" y="1737"/>
                  <a:pt x="523" y="1738"/>
                  <a:pt x="523" y="1739"/>
                </a:cubicBezTo>
                <a:cubicBezTo>
                  <a:pt x="522" y="1740"/>
                  <a:pt x="521" y="1741"/>
                  <a:pt x="521" y="1742"/>
                </a:cubicBezTo>
                <a:cubicBezTo>
                  <a:pt x="520" y="1742"/>
                  <a:pt x="520" y="1742"/>
                  <a:pt x="520" y="1742"/>
                </a:cubicBezTo>
                <a:cubicBezTo>
                  <a:pt x="520" y="1742"/>
                  <a:pt x="521" y="1743"/>
                  <a:pt x="521" y="1743"/>
                </a:cubicBezTo>
                <a:cubicBezTo>
                  <a:pt x="521" y="1744"/>
                  <a:pt x="520" y="1744"/>
                  <a:pt x="520" y="1745"/>
                </a:cubicBezTo>
                <a:cubicBezTo>
                  <a:pt x="519" y="1746"/>
                  <a:pt x="519" y="1747"/>
                  <a:pt x="518" y="1748"/>
                </a:cubicBezTo>
                <a:cubicBezTo>
                  <a:pt x="518" y="1749"/>
                  <a:pt x="517" y="1751"/>
                  <a:pt x="516" y="1752"/>
                </a:cubicBezTo>
                <a:cubicBezTo>
                  <a:pt x="516" y="1753"/>
                  <a:pt x="516" y="1755"/>
                  <a:pt x="515" y="1756"/>
                </a:cubicBezTo>
                <a:cubicBezTo>
                  <a:pt x="515" y="1756"/>
                  <a:pt x="514" y="1755"/>
                  <a:pt x="514" y="1756"/>
                </a:cubicBezTo>
                <a:cubicBezTo>
                  <a:pt x="514" y="1756"/>
                  <a:pt x="514" y="1756"/>
                  <a:pt x="514" y="1757"/>
                </a:cubicBezTo>
                <a:cubicBezTo>
                  <a:pt x="514" y="1757"/>
                  <a:pt x="514" y="1757"/>
                  <a:pt x="514" y="1757"/>
                </a:cubicBezTo>
                <a:cubicBezTo>
                  <a:pt x="516" y="1756"/>
                  <a:pt x="516" y="1760"/>
                  <a:pt x="515" y="1760"/>
                </a:cubicBezTo>
                <a:cubicBezTo>
                  <a:pt x="515" y="1761"/>
                  <a:pt x="514" y="1760"/>
                  <a:pt x="513" y="1761"/>
                </a:cubicBezTo>
                <a:cubicBezTo>
                  <a:pt x="512" y="1761"/>
                  <a:pt x="513" y="1761"/>
                  <a:pt x="512" y="1762"/>
                </a:cubicBezTo>
                <a:cubicBezTo>
                  <a:pt x="512" y="1763"/>
                  <a:pt x="511" y="1764"/>
                  <a:pt x="511" y="1764"/>
                </a:cubicBezTo>
                <a:cubicBezTo>
                  <a:pt x="510" y="1765"/>
                  <a:pt x="509" y="1766"/>
                  <a:pt x="509" y="1766"/>
                </a:cubicBezTo>
                <a:cubicBezTo>
                  <a:pt x="509" y="1767"/>
                  <a:pt x="509" y="1767"/>
                  <a:pt x="509" y="1767"/>
                </a:cubicBezTo>
                <a:cubicBezTo>
                  <a:pt x="510" y="1768"/>
                  <a:pt x="509" y="1768"/>
                  <a:pt x="508" y="1769"/>
                </a:cubicBezTo>
                <a:cubicBezTo>
                  <a:pt x="508" y="1770"/>
                  <a:pt x="508" y="1771"/>
                  <a:pt x="508" y="1772"/>
                </a:cubicBezTo>
                <a:cubicBezTo>
                  <a:pt x="508" y="1772"/>
                  <a:pt x="508" y="1773"/>
                  <a:pt x="508" y="1773"/>
                </a:cubicBezTo>
                <a:cubicBezTo>
                  <a:pt x="508" y="1774"/>
                  <a:pt x="508" y="1774"/>
                  <a:pt x="508" y="1774"/>
                </a:cubicBezTo>
                <a:cubicBezTo>
                  <a:pt x="507" y="1774"/>
                  <a:pt x="507" y="1774"/>
                  <a:pt x="506" y="1774"/>
                </a:cubicBezTo>
                <a:cubicBezTo>
                  <a:pt x="505" y="1775"/>
                  <a:pt x="505" y="1777"/>
                  <a:pt x="504" y="1778"/>
                </a:cubicBezTo>
                <a:cubicBezTo>
                  <a:pt x="498" y="1792"/>
                  <a:pt x="495" y="1799"/>
                  <a:pt x="495" y="1800"/>
                </a:cubicBezTo>
                <a:cubicBezTo>
                  <a:pt x="495" y="1800"/>
                  <a:pt x="491" y="1808"/>
                  <a:pt x="490" y="1809"/>
                </a:cubicBezTo>
                <a:cubicBezTo>
                  <a:pt x="490" y="1810"/>
                  <a:pt x="488" y="1811"/>
                  <a:pt x="488" y="1811"/>
                </a:cubicBezTo>
                <a:cubicBezTo>
                  <a:pt x="487" y="1812"/>
                  <a:pt x="487" y="1812"/>
                  <a:pt x="486" y="1813"/>
                </a:cubicBezTo>
                <a:cubicBezTo>
                  <a:pt x="486" y="1814"/>
                  <a:pt x="486" y="1814"/>
                  <a:pt x="485" y="1815"/>
                </a:cubicBezTo>
                <a:cubicBezTo>
                  <a:pt x="485" y="1815"/>
                  <a:pt x="485" y="1815"/>
                  <a:pt x="485" y="1816"/>
                </a:cubicBezTo>
                <a:cubicBezTo>
                  <a:pt x="484" y="1816"/>
                  <a:pt x="484" y="1815"/>
                  <a:pt x="484" y="1815"/>
                </a:cubicBezTo>
                <a:cubicBezTo>
                  <a:pt x="483" y="1816"/>
                  <a:pt x="482" y="1816"/>
                  <a:pt x="482" y="1817"/>
                </a:cubicBezTo>
                <a:cubicBezTo>
                  <a:pt x="482" y="1818"/>
                  <a:pt x="482" y="1819"/>
                  <a:pt x="482" y="1820"/>
                </a:cubicBezTo>
                <a:cubicBezTo>
                  <a:pt x="481" y="1822"/>
                  <a:pt x="482" y="1823"/>
                  <a:pt x="480" y="1824"/>
                </a:cubicBezTo>
                <a:cubicBezTo>
                  <a:pt x="479" y="1824"/>
                  <a:pt x="479" y="1824"/>
                  <a:pt x="479" y="1825"/>
                </a:cubicBezTo>
                <a:cubicBezTo>
                  <a:pt x="478" y="1825"/>
                  <a:pt x="479" y="1826"/>
                  <a:pt x="479" y="1827"/>
                </a:cubicBezTo>
                <a:cubicBezTo>
                  <a:pt x="479" y="1828"/>
                  <a:pt x="479" y="1828"/>
                  <a:pt x="478" y="1829"/>
                </a:cubicBezTo>
                <a:cubicBezTo>
                  <a:pt x="478" y="1831"/>
                  <a:pt x="477" y="1832"/>
                  <a:pt x="476" y="1834"/>
                </a:cubicBezTo>
                <a:cubicBezTo>
                  <a:pt x="474" y="1838"/>
                  <a:pt x="472" y="1842"/>
                  <a:pt x="472" y="1843"/>
                </a:cubicBezTo>
                <a:cubicBezTo>
                  <a:pt x="471" y="1845"/>
                  <a:pt x="471" y="1847"/>
                  <a:pt x="470" y="1848"/>
                </a:cubicBezTo>
                <a:cubicBezTo>
                  <a:pt x="470" y="1848"/>
                  <a:pt x="470" y="1849"/>
                  <a:pt x="470" y="1850"/>
                </a:cubicBezTo>
                <a:cubicBezTo>
                  <a:pt x="470" y="1850"/>
                  <a:pt x="470" y="1851"/>
                  <a:pt x="470" y="1851"/>
                </a:cubicBezTo>
                <a:cubicBezTo>
                  <a:pt x="471" y="1853"/>
                  <a:pt x="469" y="1854"/>
                  <a:pt x="468" y="1855"/>
                </a:cubicBezTo>
                <a:cubicBezTo>
                  <a:pt x="467" y="1856"/>
                  <a:pt x="467" y="1857"/>
                  <a:pt x="466" y="1858"/>
                </a:cubicBezTo>
                <a:cubicBezTo>
                  <a:pt x="466" y="1858"/>
                  <a:pt x="465" y="1859"/>
                  <a:pt x="465" y="1860"/>
                </a:cubicBezTo>
                <a:cubicBezTo>
                  <a:pt x="464" y="1862"/>
                  <a:pt x="463" y="1864"/>
                  <a:pt x="462" y="1866"/>
                </a:cubicBezTo>
                <a:cubicBezTo>
                  <a:pt x="460" y="1870"/>
                  <a:pt x="458" y="1876"/>
                  <a:pt x="454" y="1883"/>
                </a:cubicBezTo>
                <a:cubicBezTo>
                  <a:pt x="448" y="1896"/>
                  <a:pt x="442" y="1910"/>
                  <a:pt x="440" y="1913"/>
                </a:cubicBezTo>
                <a:cubicBezTo>
                  <a:pt x="439" y="1915"/>
                  <a:pt x="439" y="1916"/>
                  <a:pt x="438" y="1918"/>
                </a:cubicBezTo>
                <a:cubicBezTo>
                  <a:pt x="438" y="1919"/>
                  <a:pt x="437" y="1920"/>
                  <a:pt x="437" y="1921"/>
                </a:cubicBezTo>
                <a:cubicBezTo>
                  <a:pt x="437" y="1922"/>
                  <a:pt x="437" y="1922"/>
                  <a:pt x="437" y="1922"/>
                </a:cubicBezTo>
                <a:cubicBezTo>
                  <a:pt x="437" y="1923"/>
                  <a:pt x="437" y="1923"/>
                  <a:pt x="436" y="1923"/>
                </a:cubicBezTo>
                <a:cubicBezTo>
                  <a:pt x="436" y="1923"/>
                  <a:pt x="436" y="1923"/>
                  <a:pt x="436" y="1923"/>
                </a:cubicBezTo>
                <a:cubicBezTo>
                  <a:pt x="436" y="1924"/>
                  <a:pt x="435" y="1926"/>
                  <a:pt x="435" y="1927"/>
                </a:cubicBezTo>
                <a:cubicBezTo>
                  <a:pt x="434" y="1928"/>
                  <a:pt x="433" y="1929"/>
                  <a:pt x="433" y="1930"/>
                </a:cubicBezTo>
                <a:cubicBezTo>
                  <a:pt x="432" y="1931"/>
                  <a:pt x="432" y="1932"/>
                  <a:pt x="431" y="1933"/>
                </a:cubicBezTo>
                <a:cubicBezTo>
                  <a:pt x="431" y="1934"/>
                  <a:pt x="431" y="1934"/>
                  <a:pt x="431" y="1934"/>
                </a:cubicBezTo>
                <a:cubicBezTo>
                  <a:pt x="432" y="1936"/>
                  <a:pt x="431" y="1937"/>
                  <a:pt x="430" y="1939"/>
                </a:cubicBezTo>
                <a:cubicBezTo>
                  <a:pt x="430" y="1939"/>
                  <a:pt x="429" y="1939"/>
                  <a:pt x="429" y="1939"/>
                </a:cubicBezTo>
                <a:cubicBezTo>
                  <a:pt x="429" y="1939"/>
                  <a:pt x="428" y="1939"/>
                  <a:pt x="428" y="1939"/>
                </a:cubicBezTo>
                <a:cubicBezTo>
                  <a:pt x="427" y="1940"/>
                  <a:pt x="426" y="1942"/>
                  <a:pt x="426" y="1943"/>
                </a:cubicBezTo>
                <a:cubicBezTo>
                  <a:pt x="425" y="1945"/>
                  <a:pt x="425" y="1947"/>
                  <a:pt x="424" y="1949"/>
                </a:cubicBezTo>
                <a:cubicBezTo>
                  <a:pt x="423" y="1950"/>
                  <a:pt x="421" y="1952"/>
                  <a:pt x="420" y="1954"/>
                </a:cubicBezTo>
                <a:cubicBezTo>
                  <a:pt x="420" y="1955"/>
                  <a:pt x="418" y="1960"/>
                  <a:pt x="416" y="1964"/>
                </a:cubicBezTo>
                <a:cubicBezTo>
                  <a:pt x="415" y="1966"/>
                  <a:pt x="415" y="1967"/>
                  <a:pt x="414" y="1969"/>
                </a:cubicBezTo>
                <a:cubicBezTo>
                  <a:pt x="413" y="1970"/>
                  <a:pt x="413" y="1971"/>
                  <a:pt x="413" y="1973"/>
                </a:cubicBezTo>
                <a:cubicBezTo>
                  <a:pt x="413" y="1973"/>
                  <a:pt x="413" y="1974"/>
                  <a:pt x="413" y="1974"/>
                </a:cubicBezTo>
                <a:cubicBezTo>
                  <a:pt x="412" y="1975"/>
                  <a:pt x="412" y="1976"/>
                  <a:pt x="411" y="1976"/>
                </a:cubicBezTo>
                <a:cubicBezTo>
                  <a:pt x="409" y="1978"/>
                  <a:pt x="408" y="1981"/>
                  <a:pt x="407" y="1983"/>
                </a:cubicBezTo>
                <a:cubicBezTo>
                  <a:pt x="406" y="1985"/>
                  <a:pt x="405" y="1988"/>
                  <a:pt x="404" y="1990"/>
                </a:cubicBezTo>
                <a:cubicBezTo>
                  <a:pt x="402" y="1993"/>
                  <a:pt x="401" y="1995"/>
                  <a:pt x="400" y="1998"/>
                </a:cubicBezTo>
                <a:cubicBezTo>
                  <a:pt x="399" y="1999"/>
                  <a:pt x="399" y="2000"/>
                  <a:pt x="398" y="2001"/>
                </a:cubicBezTo>
                <a:cubicBezTo>
                  <a:pt x="398" y="2002"/>
                  <a:pt x="397" y="2003"/>
                  <a:pt x="397" y="2005"/>
                </a:cubicBezTo>
                <a:cubicBezTo>
                  <a:pt x="397" y="2006"/>
                  <a:pt x="397" y="2008"/>
                  <a:pt x="396" y="2009"/>
                </a:cubicBezTo>
                <a:cubicBezTo>
                  <a:pt x="395" y="2011"/>
                  <a:pt x="394" y="2013"/>
                  <a:pt x="393" y="2015"/>
                </a:cubicBezTo>
                <a:cubicBezTo>
                  <a:pt x="392" y="2017"/>
                  <a:pt x="390" y="2018"/>
                  <a:pt x="389" y="2020"/>
                </a:cubicBezTo>
                <a:cubicBezTo>
                  <a:pt x="387" y="2025"/>
                  <a:pt x="385" y="2029"/>
                  <a:pt x="383" y="2033"/>
                </a:cubicBezTo>
                <a:cubicBezTo>
                  <a:pt x="382" y="2037"/>
                  <a:pt x="380" y="2040"/>
                  <a:pt x="379" y="2043"/>
                </a:cubicBezTo>
                <a:cubicBezTo>
                  <a:pt x="377" y="2046"/>
                  <a:pt x="376" y="2049"/>
                  <a:pt x="375" y="2051"/>
                </a:cubicBezTo>
                <a:cubicBezTo>
                  <a:pt x="375" y="2052"/>
                  <a:pt x="374" y="2053"/>
                  <a:pt x="374" y="2054"/>
                </a:cubicBezTo>
                <a:cubicBezTo>
                  <a:pt x="374" y="2054"/>
                  <a:pt x="374" y="2054"/>
                  <a:pt x="374" y="2055"/>
                </a:cubicBezTo>
                <a:cubicBezTo>
                  <a:pt x="374" y="2055"/>
                  <a:pt x="374" y="2056"/>
                  <a:pt x="374" y="2057"/>
                </a:cubicBezTo>
                <a:cubicBezTo>
                  <a:pt x="374" y="2057"/>
                  <a:pt x="373" y="2057"/>
                  <a:pt x="373" y="2057"/>
                </a:cubicBezTo>
                <a:cubicBezTo>
                  <a:pt x="372" y="2057"/>
                  <a:pt x="370" y="2060"/>
                  <a:pt x="370" y="2060"/>
                </a:cubicBezTo>
                <a:cubicBezTo>
                  <a:pt x="369" y="2061"/>
                  <a:pt x="367" y="2063"/>
                  <a:pt x="368" y="2064"/>
                </a:cubicBezTo>
                <a:cubicBezTo>
                  <a:pt x="368" y="2064"/>
                  <a:pt x="368" y="2064"/>
                  <a:pt x="368" y="2065"/>
                </a:cubicBezTo>
                <a:cubicBezTo>
                  <a:pt x="368" y="2065"/>
                  <a:pt x="368" y="2065"/>
                  <a:pt x="368" y="2065"/>
                </a:cubicBezTo>
                <a:cubicBezTo>
                  <a:pt x="368" y="2067"/>
                  <a:pt x="367" y="2068"/>
                  <a:pt x="366" y="2069"/>
                </a:cubicBezTo>
                <a:cubicBezTo>
                  <a:pt x="365" y="2071"/>
                  <a:pt x="363" y="2075"/>
                  <a:pt x="362" y="2077"/>
                </a:cubicBezTo>
                <a:cubicBezTo>
                  <a:pt x="360" y="2081"/>
                  <a:pt x="356" y="2091"/>
                  <a:pt x="353" y="2096"/>
                </a:cubicBezTo>
                <a:cubicBezTo>
                  <a:pt x="352" y="2097"/>
                  <a:pt x="351" y="2100"/>
                  <a:pt x="350" y="2103"/>
                </a:cubicBezTo>
                <a:cubicBezTo>
                  <a:pt x="349" y="2104"/>
                  <a:pt x="349" y="2106"/>
                  <a:pt x="347" y="2107"/>
                </a:cubicBezTo>
                <a:cubicBezTo>
                  <a:pt x="347" y="2108"/>
                  <a:pt x="346" y="2108"/>
                  <a:pt x="346" y="2109"/>
                </a:cubicBezTo>
                <a:cubicBezTo>
                  <a:pt x="345" y="2110"/>
                  <a:pt x="345" y="2111"/>
                  <a:pt x="345" y="2112"/>
                </a:cubicBezTo>
                <a:cubicBezTo>
                  <a:pt x="344" y="2113"/>
                  <a:pt x="343" y="2116"/>
                  <a:pt x="342" y="2117"/>
                </a:cubicBezTo>
                <a:cubicBezTo>
                  <a:pt x="341" y="2118"/>
                  <a:pt x="341" y="2119"/>
                  <a:pt x="340" y="2119"/>
                </a:cubicBezTo>
                <a:cubicBezTo>
                  <a:pt x="340" y="2120"/>
                  <a:pt x="340" y="2120"/>
                  <a:pt x="340" y="2120"/>
                </a:cubicBezTo>
                <a:cubicBezTo>
                  <a:pt x="340" y="2120"/>
                  <a:pt x="340" y="2121"/>
                  <a:pt x="340" y="2121"/>
                </a:cubicBezTo>
                <a:cubicBezTo>
                  <a:pt x="340" y="2122"/>
                  <a:pt x="340" y="2123"/>
                  <a:pt x="339" y="2124"/>
                </a:cubicBezTo>
                <a:cubicBezTo>
                  <a:pt x="338" y="2125"/>
                  <a:pt x="338" y="2126"/>
                  <a:pt x="337" y="2127"/>
                </a:cubicBezTo>
                <a:cubicBezTo>
                  <a:pt x="336" y="2130"/>
                  <a:pt x="335" y="2132"/>
                  <a:pt x="334" y="2134"/>
                </a:cubicBezTo>
                <a:cubicBezTo>
                  <a:pt x="332" y="2139"/>
                  <a:pt x="330" y="2143"/>
                  <a:pt x="327" y="2147"/>
                </a:cubicBezTo>
                <a:cubicBezTo>
                  <a:pt x="328" y="2148"/>
                  <a:pt x="328" y="2149"/>
                  <a:pt x="328" y="2150"/>
                </a:cubicBezTo>
                <a:cubicBezTo>
                  <a:pt x="328" y="2150"/>
                  <a:pt x="328" y="2151"/>
                  <a:pt x="328" y="2151"/>
                </a:cubicBezTo>
                <a:cubicBezTo>
                  <a:pt x="328" y="2151"/>
                  <a:pt x="328" y="2152"/>
                  <a:pt x="328" y="2152"/>
                </a:cubicBezTo>
                <a:cubicBezTo>
                  <a:pt x="327" y="2153"/>
                  <a:pt x="326" y="2153"/>
                  <a:pt x="326" y="2153"/>
                </a:cubicBezTo>
                <a:cubicBezTo>
                  <a:pt x="325" y="2154"/>
                  <a:pt x="324" y="2155"/>
                  <a:pt x="324" y="2156"/>
                </a:cubicBezTo>
                <a:cubicBezTo>
                  <a:pt x="323" y="2157"/>
                  <a:pt x="322" y="2159"/>
                  <a:pt x="322" y="2160"/>
                </a:cubicBezTo>
                <a:cubicBezTo>
                  <a:pt x="322" y="2160"/>
                  <a:pt x="323" y="2160"/>
                  <a:pt x="323" y="2161"/>
                </a:cubicBezTo>
                <a:cubicBezTo>
                  <a:pt x="323" y="2161"/>
                  <a:pt x="323" y="2161"/>
                  <a:pt x="323" y="2161"/>
                </a:cubicBezTo>
                <a:cubicBezTo>
                  <a:pt x="323" y="2162"/>
                  <a:pt x="322" y="2162"/>
                  <a:pt x="322" y="2162"/>
                </a:cubicBezTo>
                <a:cubicBezTo>
                  <a:pt x="320" y="2162"/>
                  <a:pt x="319" y="2164"/>
                  <a:pt x="319" y="2165"/>
                </a:cubicBezTo>
                <a:cubicBezTo>
                  <a:pt x="318" y="2166"/>
                  <a:pt x="317" y="2168"/>
                  <a:pt x="316" y="2169"/>
                </a:cubicBezTo>
                <a:cubicBezTo>
                  <a:pt x="316" y="2169"/>
                  <a:pt x="316" y="2169"/>
                  <a:pt x="316" y="2169"/>
                </a:cubicBezTo>
                <a:cubicBezTo>
                  <a:pt x="315" y="2170"/>
                  <a:pt x="315" y="2170"/>
                  <a:pt x="315" y="2171"/>
                </a:cubicBezTo>
                <a:cubicBezTo>
                  <a:pt x="315" y="2171"/>
                  <a:pt x="316" y="2172"/>
                  <a:pt x="316" y="2172"/>
                </a:cubicBezTo>
                <a:cubicBezTo>
                  <a:pt x="316" y="2172"/>
                  <a:pt x="316" y="2172"/>
                  <a:pt x="316" y="2173"/>
                </a:cubicBezTo>
                <a:cubicBezTo>
                  <a:pt x="315" y="2173"/>
                  <a:pt x="315" y="2173"/>
                  <a:pt x="315" y="2173"/>
                </a:cubicBezTo>
                <a:cubicBezTo>
                  <a:pt x="314" y="2173"/>
                  <a:pt x="314" y="2173"/>
                  <a:pt x="313" y="2173"/>
                </a:cubicBezTo>
                <a:cubicBezTo>
                  <a:pt x="313" y="2173"/>
                  <a:pt x="313" y="2173"/>
                  <a:pt x="313" y="2174"/>
                </a:cubicBezTo>
                <a:cubicBezTo>
                  <a:pt x="312" y="2175"/>
                  <a:pt x="313" y="2176"/>
                  <a:pt x="313" y="2177"/>
                </a:cubicBezTo>
                <a:cubicBezTo>
                  <a:pt x="313" y="2178"/>
                  <a:pt x="312" y="2178"/>
                  <a:pt x="312" y="2179"/>
                </a:cubicBezTo>
                <a:cubicBezTo>
                  <a:pt x="311" y="2180"/>
                  <a:pt x="311" y="2181"/>
                  <a:pt x="310" y="2183"/>
                </a:cubicBezTo>
                <a:cubicBezTo>
                  <a:pt x="309" y="2186"/>
                  <a:pt x="307" y="2190"/>
                  <a:pt x="306" y="2191"/>
                </a:cubicBezTo>
                <a:cubicBezTo>
                  <a:pt x="305" y="2192"/>
                  <a:pt x="304" y="2193"/>
                  <a:pt x="304" y="2194"/>
                </a:cubicBezTo>
                <a:cubicBezTo>
                  <a:pt x="303" y="2194"/>
                  <a:pt x="303" y="2194"/>
                  <a:pt x="303" y="2194"/>
                </a:cubicBezTo>
                <a:cubicBezTo>
                  <a:pt x="302" y="2194"/>
                  <a:pt x="302" y="2194"/>
                  <a:pt x="302" y="2195"/>
                </a:cubicBezTo>
                <a:cubicBezTo>
                  <a:pt x="302" y="2196"/>
                  <a:pt x="303" y="2195"/>
                  <a:pt x="303" y="2196"/>
                </a:cubicBezTo>
                <a:cubicBezTo>
                  <a:pt x="303" y="2198"/>
                  <a:pt x="302" y="2199"/>
                  <a:pt x="301" y="2200"/>
                </a:cubicBezTo>
                <a:cubicBezTo>
                  <a:pt x="299" y="2203"/>
                  <a:pt x="297" y="2206"/>
                  <a:pt x="296" y="2209"/>
                </a:cubicBezTo>
                <a:cubicBezTo>
                  <a:pt x="296" y="2210"/>
                  <a:pt x="295" y="2211"/>
                  <a:pt x="294" y="2213"/>
                </a:cubicBezTo>
                <a:cubicBezTo>
                  <a:pt x="294" y="2213"/>
                  <a:pt x="294" y="2214"/>
                  <a:pt x="294" y="2214"/>
                </a:cubicBezTo>
                <a:cubicBezTo>
                  <a:pt x="294" y="2215"/>
                  <a:pt x="293" y="2215"/>
                  <a:pt x="293" y="2215"/>
                </a:cubicBezTo>
                <a:cubicBezTo>
                  <a:pt x="293" y="2215"/>
                  <a:pt x="292" y="2216"/>
                  <a:pt x="292" y="2216"/>
                </a:cubicBezTo>
                <a:cubicBezTo>
                  <a:pt x="292" y="2216"/>
                  <a:pt x="292" y="2217"/>
                  <a:pt x="292" y="2217"/>
                </a:cubicBezTo>
                <a:cubicBezTo>
                  <a:pt x="292" y="2218"/>
                  <a:pt x="292" y="2218"/>
                  <a:pt x="292" y="2218"/>
                </a:cubicBezTo>
                <a:cubicBezTo>
                  <a:pt x="293" y="2219"/>
                  <a:pt x="293" y="2219"/>
                  <a:pt x="292" y="2220"/>
                </a:cubicBezTo>
                <a:cubicBezTo>
                  <a:pt x="292" y="2222"/>
                  <a:pt x="292" y="2224"/>
                  <a:pt x="291" y="2226"/>
                </a:cubicBezTo>
                <a:cubicBezTo>
                  <a:pt x="290" y="2227"/>
                  <a:pt x="289" y="2228"/>
                  <a:pt x="289" y="2229"/>
                </a:cubicBezTo>
                <a:cubicBezTo>
                  <a:pt x="288" y="2230"/>
                  <a:pt x="287" y="2230"/>
                  <a:pt x="286" y="2231"/>
                </a:cubicBezTo>
                <a:cubicBezTo>
                  <a:pt x="286" y="2231"/>
                  <a:pt x="285" y="2232"/>
                  <a:pt x="285" y="2232"/>
                </a:cubicBezTo>
                <a:cubicBezTo>
                  <a:pt x="285" y="2232"/>
                  <a:pt x="285" y="2232"/>
                  <a:pt x="285" y="2232"/>
                </a:cubicBezTo>
                <a:cubicBezTo>
                  <a:pt x="284" y="2233"/>
                  <a:pt x="284" y="2233"/>
                  <a:pt x="284" y="2233"/>
                </a:cubicBezTo>
                <a:cubicBezTo>
                  <a:pt x="284" y="2234"/>
                  <a:pt x="284" y="2234"/>
                  <a:pt x="284" y="2234"/>
                </a:cubicBezTo>
                <a:cubicBezTo>
                  <a:pt x="285" y="2234"/>
                  <a:pt x="285" y="2234"/>
                  <a:pt x="284" y="2234"/>
                </a:cubicBezTo>
                <a:cubicBezTo>
                  <a:pt x="284" y="2236"/>
                  <a:pt x="282" y="2237"/>
                  <a:pt x="282" y="2238"/>
                </a:cubicBezTo>
                <a:cubicBezTo>
                  <a:pt x="282" y="2238"/>
                  <a:pt x="282" y="2238"/>
                  <a:pt x="281" y="2239"/>
                </a:cubicBezTo>
                <a:cubicBezTo>
                  <a:pt x="281" y="2240"/>
                  <a:pt x="281" y="2241"/>
                  <a:pt x="281" y="2242"/>
                </a:cubicBezTo>
                <a:cubicBezTo>
                  <a:pt x="281" y="2243"/>
                  <a:pt x="281" y="2244"/>
                  <a:pt x="281" y="2245"/>
                </a:cubicBezTo>
                <a:cubicBezTo>
                  <a:pt x="281" y="2245"/>
                  <a:pt x="281" y="2246"/>
                  <a:pt x="281" y="2247"/>
                </a:cubicBezTo>
                <a:cubicBezTo>
                  <a:pt x="281" y="2248"/>
                  <a:pt x="280" y="2248"/>
                  <a:pt x="279" y="2249"/>
                </a:cubicBezTo>
                <a:cubicBezTo>
                  <a:pt x="279" y="2250"/>
                  <a:pt x="278" y="2250"/>
                  <a:pt x="277" y="2251"/>
                </a:cubicBezTo>
                <a:cubicBezTo>
                  <a:pt x="276" y="2253"/>
                  <a:pt x="275" y="2254"/>
                  <a:pt x="274" y="2256"/>
                </a:cubicBezTo>
                <a:cubicBezTo>
                  <a:pt x="273" y="2257"/>
                  <a:pt x="272" y="2259"/>
                  <a:pt x="271" y="2260"/>
                </a:cubicBezTo>
                <a:cubicBezTo>
                  <a:pt x="271" y="2261"/>
                  <a:pt x="270" y="2262"/>
                  <a:pt x="269" y="2262"/>
                </a:cubicBezTo>
                <a:cubicBezTo>
                  <a:pt x="269" y="2263"/>
                  <a:pt x="269" y="2263"/>
                  <a:pt x="269" y="2263"/>
                </a:cubicBezTo>
                <a:cubicBezTo>
                  <a:pt x="268" y="2263"/>
                  <a:pt x="268" y="2263"/>
                  <a:pt x="269" y="2264"/>
                </a:cubicBezTo>
                <a:cubicBezTo>
                  <a:pt x="269" y="2264"/>
                  <a:pt x="269" y="2264"/>
                  <a:pt x="269" y="2264"/>
                </a:cubicBezTo>
                <a:cubicBezTo>
                  <a:pt x="269" y="2264"/>
                  <a:pt x="268" y="2264"/>
                  <a:pt x="268" y="2264"/>
                </a:cubicBezTo>
                <a:cubicBezTo>
                  <a:pt x="268" y="2264"/>
                  <a:pt x="268" y="2265"/>
                  <a:pt x="268" y="2265"/>
                </a:cubicBezTo>
                <a:cubicBezTo>
                  <a:pt x="269" y="2265"/>
                  <a:pt x="268" y="2266"/>
                  <a:pt x="268" y="2266"/>
                </a:cubicBezTo>
                <a:cubicBezTo>
                  <a:pt x="268" y="2266"/>
                  <a:pt x="268" y="2266"/>
                  <a:pt x="268" y="2267"/>
                </a:cubicBezTo>
                <a:cubicBezTo>
                  <a:pt x="268" y="2267"/>
                  <a:pt x="267" y="2267"/>
                  <a:pt x="267" y="2268"/>
                </a:cubicBezTo>
                <a:cubicBezTo>
                  <a:pt x="265" y="2272"/>
                  <a:pt x="264" y="2276"/>
                  <a:pt x="263" y="2279"/>
                </a:cubicBezTo>
                <a:cubicBezTo>
                  <a:pt x="262" y="2281"/>
                  <a:pt x="262" y="2282"/>
                  <a:pt x="261" y="2284"/>
                </a:cubicBezTo>
                <a:cubicBezTo>
                  <a:pt x="260" y="2285"/>
                  <a:pt x="260" y="2285"/>
                  <a:pt x="258" y="2286"/>
                </a:cubicBezTo>
                <a:cubicBezTo>
                  <a:pt x="258" y="2286"/>
                  <a:pt x="257" y="2286"/>
                  <a:pt x="257" y="2286"/>
                </a:cubicBezTo>
                <a:cubicBezTo>
                  <a:pt x="256" y="2287"/>
                  <a:pt x="255" y="2288"/>
                  <a:pt x="255" y="2289"/>
                </a:cubicBezTo>
                <a:cubicBezTo>
                  <a:pt x="254" y="2289"/>
                  <a:pt x="253" y="2291"/>
                  <a:pt x="253" y="2292"/>
                </a:cubicBezTo>
                <a:cubicBezTo>
                  <a:pt x="255" y="2292"/>
                  <a:pt x="253" y="2294"/>
                  <a:pt x="252" y="2294"/>
                </a:cubicBezTo>
                <a:cubicBezTo>
                  <a:pt x="251" y="2296"/>
                  <a:pt x="250" y="2297"/>
                  <a:pt x="249" y="2299"/>
                </a:cubicBezTo>
                <a:cubicBezTo>
                  <a:pt x="249" y="2300"/>
                  <a:pt x="249" y="2301"/>
                  <a:pt x="249" y="2301"/>
                </a:cubicBezTo>
                <a:cubicBezTo>
                  <a:pt x="248" y="2302"/>
                  <a:pt x="249" y="2303"/>
                  <a:pt x="249" y="2304"/>
                </a:cubicBezTo>
                <a:cubicBezTo>
                  <a:pt x="249" y="2304"/>
                  <a:pt x="249" y="2305"/>
                  <a:pt x="248" y="2306"/>
                </a:cubicBezTo>
                <a:cubicBezTo>
                  <a:pt x="248" y="2305"/>
                  <a:pt x="248" y="2306"/>
                  <a:pt x="247" y="2306"/>
                </a:cubicBezTo>
                <a:cubicBezTo>
                  <a:pt x="247" y="2305"/>
                  <a:pt x="246" y="2306"/>
                  <a:pt x="246" y="2307"/>
                </a:cubicBezTo>
                <a:cubicBezTo>
                  <a:pt x="245" y="2307"/>
                  <a:pt x="245" y="2308"/>
                  <a:pt x="245" y="2308"/>
                </a:cubicBezTo>
                <a:cubicBezTo>
                  <a:pt x="245" y="2309"/>
                  <a:pt x="244" y="2310"/>
                  <a:pt x="244" y="2310"/>
                </a:cubicBezTo>
                <a:cubicBezTo>
                  <a:pt x="244" y="2311"/>
                  <a:pt x="245" y="2311"/>
                  <a:pt x="245" y="2311"/>
                </a:cubicBezTo>
                <a:cubicBezTo>
                  <a:pt x="245" y="2311"/>
                  <a:pt x="245" y="2311"/>
                  <a:pt x="245" y="2312"/>
                </a:cubicBezTo>
                <a:cubicBezTo>
                  <a:pt x="245" y="2313"/>
                  <a:pt x="245" y="2314"/>
                  <a:pt x="244" y="2314"/>
                </a:cubicBezTo>
                <a:cubicBezTo>
                  <a:pt x="244" y="2316"/>
                  <a:pt x="243" y="2317"/>
                  <a:pt x="242" y="2318"/>
                </a:cubicBezTo>
                <a:cubicBezTo>
                  <a:pt x="240" y="2321"/>
                  <a:pt x="236" y="2328"/>
                  <a:pt x="233" y="2334"/>
                </a:cubicBezTo>
                <a:cubicBezTo>
                  <a:pt x="232" y="2336"/>
                  <a:pt x="231" y="2338"/>
                  <a:pt x="230" y="2340"/>
                </a:cubicBezTo>
                <a:cubicBezTo>
                  <a:pt x="230" y="2342"/>
                  <a:pt x="229" y="2343"/>
                  <a:pt x="228" y="2345"/>
                </a:cubicBezTo>
                <a:cubicBezTo>
                  <a:pt x="227" y="2346"/>
                  <a:pt x="227" y="2346"/>
                  <a:pt x="226" y="2347"/>
                </a:cubicBezTo>
                <a:cubicBezTo>
                  <a:pt x="226" y="2347"/>
                  <a:pt x="226" y="2347"/>
                  <a:pt x="226" y="2347"/>
                </a:cubicBezTo>
                <a:cubicBezTo>
                  <a:pt x="225" y="2347"/>
                  <a:pt x="225" y="2348"/>
                  <a:pt x="226" y="2348"/>
                </a:cubicBezTo>
                <a:cubicBezTo>
                  <a:pt x="226" y="2348"/>
                  <a:pt x="226" y="2349"/>
                  <a:pt x="226" y="2349"/>
                </a:cubicBezTo>
                <a:cubicBezTo>
                  <a:pt x="226" y="2349"/>
                  <a:pt x="227" y="2349"/>
                  <a:pt x="226" y="2350"/>
                </a:cubicBezTo>
                <a:cubicBezTo>
                  <a:pt x="226" y="2351"/>
                  <a:pt x="225" y="2351"/>
                  <a:pt x="225" y="2352"/>
                </a:cubicBezTo>
                <a:cubicBezTo>
                  <a:pt x="224" y="2353"/>
                  <a:pt x="222" y="2355"/>
                  <a:pt x="221" y="2357"/>
                </a:cubicBezTo>
                <a:cubicBezTo>
                  <a:pt x="221" y="2357"/>
                  <a:pt x="220" y="2358"/>
                  <a:pt x="220" y="2359"/>
                </a:cubicBezTo>
                <a:cubicBezTo>
                  <a:pt x="220" y="2359"/>
                  <a:pt x="219" y="2360"/>
                  <a:pt x="219" y="2360"/>
                </a:cubicBezTo>
                <a:cubicBezTo>
                  <a:pt x="218" y="2360"/>
                  <a:pt x="218" y="2361"/>
                  <a:pt x="219" y="2361"/>
                </a:cubicBezTo>
                <a:cubicBezTo>
                  <a:pt x="219" y="2361"/>
                  <a:pt x="219" y="2361"/>
                  <a:pt x="220" y="2361"/>
                </a:cubicBezTo>
                <a:cubicBezTo>
                  <a:pt x="220" y="2361"/>
                  <a:pt x="220" y="2361"/>
                  <a:pt x="220" y="2362"/>
                </a:cubicBezTo>
                <a:cubicBezTo>
                  <a:pt x="220" y="2362"/>
                  <a:pt x="220" y="2362"/>
                  <a:pt x="220" y="2362"/>
                </a:cubicBezTo>
                <a:cubicBezTo>
                  <a:pt x="219" y="2363"/>
                  <a:pt x="219" y="2365"/>
                  <a:pt x="218" y="2366"/>
                </a:cubicBezTo>
                <a:cubicBezTo>
                  <a:pt x="217" y="2368"/>
                  <a:pt x="215" y="2372"/>
                  <a:pt x="214" y="2373"/>
                </a:cubicBezTo>
                <a:cubicBezTo>
                  <a:pt x="214" y="2375"/>
                  <a:pt x="212" y="2379"/>
                  <a:pt x="210" y="2383"/>
                </a:cubicBezTo>
                <a:cubicBezTo>
                  <a:pt x="208" y="2386"/>
                  <a:pt x="204" y="2395"/>
                  <a:pt x="201" y="2402"/>
                </a:cubicBezTo>
                <a:cubicBezTo>
                  <a:pt x="199" y="2404"/>
                  <a:pt x="198" y="2406"/>
                  <a:pt x="197" y="2409"/>
                </a:cubicBezTo>
                <a:cubicBezTo>
                  <a:pt x="197" y="2410"/>
                  <a:pt x="196" y="2411"/>
                  <a:pt x="195" y="2412"/>
                </a:cubicBezTo>
                <a:cubicBezTo>
                  <a:pt x="195" y="2413"/>
                  <a:pt x="195" y="2415"/>
                  <a:pt x="194" y="2415"/>
                </a:cubicBezTo>
                <a:cubicBezTo>
                  <a:pt x="193" y="2415"/>
                  <a:pt x="193" y="2414"/>
                  <a:pt x="193" y="2415"/>
                </a:cubicBezTo>
                <a:cubicBezTo>
                  <a:pt x="191" y="2415"/>
                  <a:pt x="191" y="2417"/>
                  <a:pt x="191" y="2418"/>
                </a:cubicBezTo>
                <a:cubicBezTo>
                  <a:pt x="190" y="2419"/>
                  <a:pt x="190" y="2420"/>
                  <a:pt x="189" y="2421"/>
                </a:cubicBezTo>
                <a:cubicBezTo>
                  <a:pt x="189" y="2421"/>
                  <a:pt x="189" y="2422"/>
                  <a:pt x="189" y="2422"/>
                </a:cubicBezTo>
                <a:cubicBezTo>
                  <a:pt x="188" y="2422"/>
                  <a:pt x="188" y="2422"/>
                  <a:pt x="188" y="2422"/>
                </a:cubicBezTo>
                <a:cubicBezTo>
                  <a:pt x="188" y="2423"/>
                  <a:pt x="188" y="2423"/>
                  <a:pt x="187" y="2423"/>
                </a:cubicBezTo>
                <a:cubicBezTo>
                  <a:pt x="187" y="2423"/>
                  <a:pt x="187" y="2423"/>
                  <a:pt x="188" y="2424"/>
                </a:cubicBezTo>
                <a:cubicBezTo>
                  <a:pt x="189" y="2425"/>
                  <a:pt x="188" y="2427"/>
                  <a:pt x="187" y="2428"/>
                </a:cubicBezTo>
                <a:cubicBezTo>
                  <a:pt x="187" y="2429"/>
                  <a:pt x="186" y="2432"/>
                  <a:pt x="185" y="2434"/>
                </a:cubicBezTo>
                <a:cubicBezTo>
                  <a:pt x="185" y="2435"/>
                  <a:pt x="184" y="2435"/>
                  <a:pt x="184" y="2436"/>
                </a:cubicBezTo>
                <a:cubicBezTo>
                  <a:pt x="184" y="2437"/>
                  <a:pt x="184" y="2437"/>
                  <a:pt x="184" y="2438"/>
                </a:cubicBezTo>
                <a:cubicBezTo>
                  <a:pt x="183" y="2438"/>
                  <a:pt x="183" y="2438"/>
                  <a:pt x="183" y="2438"/>
                </a:cubicBezTo>
                <a:cubicBezTo>
                  <a:pt x="182" y="2439"/>
                  <a:pt x="181" y="2440"/>
                  <a:pt x="181" y="2441"/>
                </a:cubicBezTo>
                <a:cubicBezTo>
                  <a:pt x="181" y="2442"/>
                  <a:pt x="181" y="2443"/>
                  <a:pt x="180" y="2444"/>
                </a:cubicBezTo>
                <a:cubicBezTo>
                  <a:pt x="180" y="2444"/>
                  <a:pt x="179" y="2445"/>
                  <a:pt x="178" y="2445"/>
                </a:cubicBezTo>
                <a:cubicBezTo>
                  <a:pt x="177" y="2446"/>
                  <a:pt x="177" y="2446"/>
                  <a:pt x="176" y="2446"/>
                </a:cubicBezTo>
                <a:cubicBezTo>
                  <a:pt x="176" y="2447"/>
                  <a:pt x="177" y="2447"/>
                  <a:pt x="177" y="2448"/>
                </a:cubicBezTo>
                <a:cubicBezTo>
                  <a:pt x="177" y="2449"/>
                  <a:pt x="176" y="2450"/>
                  <a:pt x="176" y="2451"/>
                </a:cubicBezTo>
                <a:cubicBezTo>
                  <a:pt x="175" y="2452"/>
                  <a:pt x="175" y="2454"/>
                  <a:pt x="175" y="2455"/>
                </a:cubicBezTo>
                <a:cubicBezTo>
                  <a:pt x="175" y="2457"/>
                  <a:pt x="174" y="2458"/>
                  <a:pt x="173" y="2460"/>
                </a:cubicBezTo>
                <a:cubicBezTo>
                  <a:pt x="172" y="2462"/>
                  <a:pt x="171" y="2464"/>
                  <a:pt x="169" y="2465"/>
                </a:cubicBezTo>
                <a:cubicBezTo>
                  <a:pt x="169" y="2466"/>
                  <a:pt x="168" y="2466"/>
                  <a:pt x="168" y="2467"/>
                </a:cubicBezTo>
                <a:cubicBezTo>
                  <a:pt x="168" y="2467"/>
                  <a:pt x="167" y="2468"/>
                  <a:pt x="168" y="2468"/>
                </a:cubicBezTo>
                <a:cubicBezTo>
                  <a:pt x="168" y="2469"/>
                  <a:pt x="168" y="2469"/>
                  <a:pt x="168" y="2469"/>
                </a:cubicBezTo>
                <a:cubicBezTo>
                  <a:pt x="168" y="2470"/>
                  <a:pt x="168" y="2470"/>
                  <a:pt x="168" y="2470"/>
                </a:cubicBezTo>
                <a:cubicBezTo>
                  <a:pt x="168" y="2471"/>
                  <a:pt x="167" y="2472"/>
                  <a:pt x="167" y="2472"/>
                </a:cubicBezTo>
                <a:cubicBezTo>
                  <a:pt x="167" y="2472"/>
                  <a:pt x="166" y="2472"/>
                  <a:pt x="165" y="2472"/>
                </a:cubicBezTo>
                <a:cubicBezTo>
                  <a:pt x="165" y="2472"/>
                  <a:pt x="165" y="2472"/>
                  <a:pt x="164" y="2473"/>
                </a:cubicBezTo>
                <a:cubicBezTo>
                  <a:pt x="164" y="2473"/>
                  <a:pt x="163" y="2473"/>
                  <a:pt x="162" y="2473"/>
                </a:cubicBezTo>
                <a:cubicBezTo>
                  <a:pt x="162" y="2474"/>
                  <a:pt x="163" y="2474"/>
                  <a:pt x="163" y="2475"/>
                </a:cubicBezTo>
                <a:cubicBezTo>
                  <a:pt x="163" y="2475"/>
                  <a:pt x="163" y="2475"/>
                  <a:pt x="162" y="2475"/>
                </a:cubicBezTo>
                <a:cubicBezTo>
                  <a:pt x="162" y="2475"/>
                  <a:pt x="162" y="2475"/>
                  <a:pt x="161" y="2475"/>
                </a:cubicBezTo>
                <a:cubicBezTo>
                  <a:pt x="161" y="2475"/>
                  <a:pt x="161" y="2475"/>
                  <a:pt x="161" y="2475"/>
                </a:cubicBezTo>
                <a:cubicBezTo>
                  <a:pt x="161" y="2475"/>
                  <a:pt x="160" y="2476"/>
                  <a:pt x="161" y="2476"/>
                </a:cubicBezTo>
                <a:cubicBezTo>
                  <a:pt x="161" y="2476"/>
                  <a:pt x="161" y="2476"/>
                  <a:pt x="161" y="2477"/>
                </a:cubicBezTo>
                <a:cubicBezTo>
                  <a:pt x="161" y="2477"/>
                  <a:pt x="162" y="2477"/>
                  <a:pt x="162" y="2477"/>
                </a:cubicBezTo>
                <a:cubicBezTo>
                  <a:pt x="162" y="2477"/>
                  <a:pt x="163" y="2477"/>
                  <a:pt x="163" y="2477"/>
                </a:cubicBezTo>
                <a:cubicBezTo>
                  <a:pt x="164" y="2477"/>
                  <a:pt x="164" y="2477"/>
                  <a:pt x="164" y="2478"/>
                </a:cubicBezTo>
                <a:cubicBezTo>
                  <a:pt x="164" y="2478"/>
                  <a:pt x="164" y="2479"/>
                  <a:pt x="164" y="2479"/>
                </a:cubicBezTo>
                <a:cubicBezTo>
                  <a:pt x="163" y="2479"/>
                  <a:pt x="163" y="2479"/>
                  <a:pt x="162" y="2479"/>
                </a:cubicBezTo>
                <a:cubicBezTo>
                  <a:pt x="161" y="2480"/>
                  <a:pt x="161" y="2480"/>
                  <a:pt x="160" y="2480"/>
                </a:cubicBezTo>
                <a:cubicBezTo>
                  <a:pt x="160" y="2481"/>
                  <a:pt x="159" y="2481"/>
                  <a:pt x="159" y="2482"/>
                </a:cubicBezTo>
                <a:cubicBezTo>
                  <a:pt x="158" y="2483"/>
                  <a:pt x="156" y="2486"/>
                  <a:pt x="155" y="2488"/>
                </a:cubicBezTo>
                <a:cubicBezTo>
                  <a:pt x="155" y="2489"/>
                  <a:pt x="154" y="2490"/>
                  <a:pt x="154" y="2491"/>
                </a:cubicBezTo>
                <a:cubicBezTo>
                  <a:pt x="154" y="2491"/>
                  <a:pt x="153" y="2492"/>
                  <a:pt x="153" y="2493"/>
                </a:cubicBezTo>
                <a:cubicBezTo>
                  <a:pt x="153" y="2493"/>
                  <a:pt x="153" y="2494"/>
                  <a:pt x="154" y="2494"/>
                </a:cubicBezTo>
                <a:cubicBezTo>
                  <a:pt x="154" y="2494"/>
                  <a:pt x="153" y="2495"/>
                  <a:pt x="153" y="2496"/>
                </a:cubicBezTo>
                <a:cubicBezTo>
                  <a:pt x="153" y="2497"/>
                  <a:pt x="152" y="2498"/>
                  <a:pt x="152" y="2498"/>
                </a:cubicBezTo>
                <a:cubicBezTo>
                  <a:pt x="152" y="2500"/>
                  <a:pt x="152" y="2502"/>
                  <a:pt x="151" y="2502"/>
                </a:cubicBezTo>
                <a:cubicBezTo>
                  <a:pt x="150" y="2503"/>
                  <a:pt x="149" y="2503"/>
                  <a:pt x="149" y="2503"/>
                </a:cubicBezTo>
                <a:cubicBezTo>
                  <a:pt x="149" y="2503"/>
                  <a:pt x="148" y="2503"/>
                  <a:pt x="148" y="2503"/>
                </a:cubicBezTo>
                <a:cubicBezTo>
                  <a:pt x="148" y="2503"/>
                  <a:pt x="148" y="2503"/>
                  <a:pt x="147" y="2503"/>
                </a:cubicBezTo>
                <a:cubicBezTo>
                  <a:pt x="147" y="2504"/>
                  <a:pt x="146" y="2505"/>
                  <a:pt x="146" y="2506"/>
                </a:cubicBezTo>
                <a:cubicBezTo>
                  <a:pt x="146" y="2506"/>
                  <a:pt x="145" y="2507"/>
                  <a:pt x="145" y="2508"/>
                </a:cubicBezTo>
                <a:cubicBezTo>
                  <a:pt x="145" y="2508"/>
                  <a:pt x="145" y="2509"/>
                  <a:pt x="145" y="2509"/>
                </a:cubicBezTo>
                <a:cubicBezTo>
                  <a:pt x="145" y="2509"/>
                  <a:pt x="145" y="2509"/>
                  <a:pt x="145" y="2509"/>
                </a:cubicBezTo>
                <a:cubicBezTo>
                  <a:pt x="145" y="2510"/>
                  <a:pt x="145" y="2511"/>
                  <a:pt x="145" y="2512"/>
                </a:cubicBezTo>
                <a:cubicBezTo>
                  <a:pt x="145" y="2512"/>
                  <a:pt x="146" y="2513"/>
                  <a:pt x="146" y="2513"/>
                </a:cubicBezTo>
                <a:cubicBezTo>
                  <a:pt x="146" y="2513"/>
                  <a:pt x="145" y="2514"/>
                  <a:pt x="145" y="2514"/>
                </a:cubicBezTo>
                <a:cubicBezTo>
                  <a:pt x="145" y="2514"/>
                  <a:pt x="145" y="2514"/>
                  <a:pt x="144" y="2514"/>
                </a:cubicBezTo>
                <a:cubicBezTo>
                  <a:pt x="144" y="2514"/>
                  <a:pt x="143" y="2514"/>
                  <a:pt x="143" y="2515"/>
                </a:cubicBezTo>
                <a:cubicBezTo>
                  <a:pt x="143" y="2516"/>
                  <a:pt x="142" y="2518"/>
                  <a:pt x="141" y="2519"/>
                </a:cubicBezTo>
                <a:cubicBezTo>
                  <a:pt x="141" y="2520"/>
                  <a:pt x="141" y="2522"/>
                  <a:pt x="140" y="2522"/>
                </a:cubicBezTo>
                <a:cubicBezTo>
                  <a:pt x="140" y="2523"/>
                  <a:pt x="138" y="2526"/>
                  <a:pt x="136" y="2529"/>
                </a:cubicBezTo>
                <a:cubicBezTo>
                  <a:pt x="136" y="2530"/>
                  <a:pt x="135" y="2531"/>
                  <a:pt x="135" y="2532"/>
                </a:cubicBezTo>
                <a:cubicBezTo>
                  <a:pt x="134" y="2533"/>
                  <a:pt x="133" y="2534"/>
                  <a:pt x="133" y="2535"/>
                </a:cubicBezTo>
                <a:cubicBezTo>
                  <a:pt x="133" y="2536"/>
                  <a:pt x="133" y="2536"/>
                  <a:pt x="134" y="2537"/>
                </a:cubicBezTo>
                <a:cubicBezTo>
                  <a:pt x="134" y="2538"/>
                  <a:pt x="134" y="2539"/>
                  <a:pt x="133" y="2540"/>
                </a:cubicBezTo>
                <a:cubicBezTo>
                  <a:pt x="133" y="2540"/>
                  <a:pt x="133" y="2540"/>
                  <a:pt x="132" y="2541"/>
                </a:cubicBezTo>
                <a:cubicBezTo>
                  <a:pt x="132" y="2541"/>
                  <a:pt x="131" y="2541"/>
                  <a:pt x="131" y="2541"/>
                </a:cubicBezTo>
                <a:cubicBezTo>
                  <a:pt x="130" y="2542"/>
                  <a:pt x="130" y="2542"/>
                  <a:pt x="130" y="2543"/>
                </a:cubicBezTo>
                <a:cubicBezTo>
                  <a:pt x="129" y="2543"/>
                  <a:pt x="129" y="2544"/>
                  <a:pt x="128" y="2545"/>
                </a:cubicBezTo>
                <a:cubicBezTo>
                  <a:pt x="128" y="2547"/>
                  <a:pt x="127" y="2549"/>
                  <a:pt x="127" y="2550"/>
                </a:cubicBezTo>
                <a:cubicBezTo>
                  <a:pt x="127" y="2551"/>
                  <a:pt x="128" y="2553"/>
                  <a:pt x="127" y="2554"/>
                </a:cubicBezTo>
                <a:cubicBezTo>
                  <a:pt x="127" y="2555"/>
                  <a:pt x="126" y="2555"/>
                  <a:pt x="125" y="2556"/>
                </a:cubicBezTo>
                <a:cubicBezTo>
                  <a:pt x="124" y="2556"/>
                  <a:pt x="124" y="2556"/>
                  <a:pt x="123" y="2556"/>
                </a:cubicBezTo>
                <a:cubicBezTo>
                  <a:pt x="123" y="2557"/>
                  <a:pt x="122" y="2558"/>
                  <a:pt x="122" y="2559"/>
                </a:cubicBezTo>
                <a:cubicBezTo>
                  <a:pt x="121" y="2561"/>
                  <a:pt x="119" y="2564"/>
                  <a:pt x="119" y="2565"/>
                </a:cubicBezTo>
                <a:cubicBezTo>
                  <a:pt x="118" y="2565"/>
                  <a:pt x="116" y="2569"/>
                  <a:pt x="114" y="2572"/>
                </a:cubicBezTo>
                <a:cubicBezTo>
                  <a:pt x="114" y="2574"/>
                  <a:pt x="113" y="2576"/>
                  <a:pt x="112" y="2577"/>
                </a:cubicBezTo>
                <a:cubicBezTo>
                  <a:pt x="112" y="2577"/>
                  <a:pt x="112" y="2578"/>
                  <a:pt x="112" y="2578"/>
                </a:cubicBezTo>
                <a:cubicBezTo>
                  <a:pt x="112" y="2578"/>
                  <a:pt x="112" y="2578"/>
                  <a:pt x="113" y="2578"/>
                </a:cubicBezTo>
                <a:cubicBezTo>
                  <a:pt x="113" y="2578"/>
                  <a:pt x="113" y="2578"/>
                  <a:pt x="113" y="2579"/>
                </a:cubicBezTo>
                <a:cubicBezTo>
                  <a:pt x="113" y="2579"/>
                  <a:pt x="112" y="2579"/>
                  <a:pt x="112" y="2580"/>
                </a:cubicBezTo>
                <a:cubicBezTo>
                  <a:pt x="112" y="2581"/>
                  <a:pt x="113" y="2581"/>
                  <a:pt x="113" y="2583"/>
                </a:cubicBezTo>
                <a:cubicBezTo>
                  <a:pt x="113" y="2583"/>
                  <a:pt x="112" y="2584"/>
                  <a:pt x="112" y="2584"/>
                </a:cubicBezTo>
                <a:cubicBezTo>
                  <a:pt x="111" y="2585"/>
                  <a:pt x="111" y="2587"/>
                  <a:pt x="110" y="2588"/>
                </a:cubicBezTo>
                <a:cubicBezTo>
                  <a:pt x="109" y="2589"/>
                  <a:pt x="108" y="2591"/>
                  <a:pt x="107" y="2593"/>
                </a:cubicBezTo>
                <a:cubicBezTo>
                  <a:pt x="107" y="2594"/>
                  <a:pt x="106" y="2595"/>
                  <a:pt x="106" y="2596"/>
                </a:cubicBezTo>
                <a:cubicBezTo>
                  <a:pt x="106" y="2596"/>
                  <a:pt x="106" y="2597"/>
                  <a:pt x="105" y="2597"/>
                </a:cubicBezTo>
                <a:cubicBezTo>
                  <a:pt x="105" y="2597"/>
                  <a:pt x="105" y="2597"/>
                  <a:pt x="105" y="2597"/>
                </a:cubicBezTo>
                <a:cubicBezTo>
                  <a:pt x="104" y="2597"/>
                  <a:pt x="104" y="2597"/>
                  <a:pt x="104" y="2597"/>
                </a:cubicBezTo>
                <a:cubicBezTo>
                  <a:pt x="103" y="2598"/>
                  <a:pt x="103" y="2598"/>
                  <a:pt x="103" y="2599"/>
                </a:cubicBezTo>
                <a:cubicBezTo>
                  <a:pt x="102" y="2601"/>
                  <a:pt x="100" y="2603"/>
                  <a:pt x="100" y="2604"/>
                </a:cubicBezTo>
                <a:cubicBezTo>
                  <a:pt x="99" y="2605"/>
                  <a:pt x="98" y="2607"/>
                  <a:pt x="98" y="2608"/>
                </a:cubicBezTo>
                <a:cubicBezTo>
                  <a:pt x="98" y="2608"/>
                  <a:pt x="99" y="2608"/>
                  <a:pt x="99" y="2608"/>
                </a:cubicBezTo>
                <a:cubicBezTo>
                  <a:pt x="99" y="2609"/>
                  <a:pt x="99" y="2609"/>
                  <a:pt x="99" y="2609"/>
                </a:cubicBezTo>
                <a:cubicBezTo>
                  <a:pt x="100" y="2609"/>
                  <a:pt x="100" y="2609"/>
                  <a:pt x="99" y="2610"/>
                </a:cubicBezTo>
                <a:cubicBezTo>
                  <a:pt x="99" y="2612"/>
                  <a:pt x="98" y="2613"/>
                  <a:pt x="97" y="2615"/>
                </a:cubicBezTo>
                <a:cubicBezTo>
                  <a:pt x="96" y="2617"/>
                  <a:pt x="95" y="2618"/>
                  <a:pt x="95" y="2620"/>
                </a:cubicBezTo>
                <a:cubicBezTo>
                  <a:pt x="95" y="2620"/>
                  <a:pt x="95" y="2621"/>
                  <a:pt x="94" y="2621"/>
                </a:cubicBezTo>
                <a:cubicBezTo>
                  <a:pt x="94" y="2621"/>
                  <a:pt x="94" y="2621"/>
                  <a:pt x="93" y="2621"/>
                </a:cubicBezTo>
                <a:cubicBezTo>
                  <a:pt x="93" y="2621"/>
                  <a:pt x="93" y="2621"/>
                  <a:pt x="93" y="2621"/>
                </a:cubicBezTo>
                <a:cubicBezTo>
                  <a:pt x="93" y="2622"/>
                  <a:pt x="94" y="2625"/>
                  <a:pt x="92" y="2626"/>
                </a:cubicBezTo>
                <a:cubicBezTo>
                  <a:pt x="92" y="2625"/>
                  <a:pt x="92" y="2625"/>
                  <a:pt x="91" y="2625"/>
                </a:cubicBezTo>
                <a:cubicBezTo>
                  <a:pt x="91" y="2625"/>
                  <a:pt x="91" y="2625"/>
                  <a:pt x="91" y="2625"/>
                </a:cubicBezTo>
                <a:cubicBezTo>
                  <a:pt x="90" y="2625"/>
                  <a:pt x="90" y="2625"/>
                  <a:pt x="89" y="2625"/>
                </a:cubicBezTo>
                <a:cubicBezTo>
                  <a:pt x="89" y="2625"/>
                  <a:pt x="89" y="2625"/>
                  <a:pt x="89" y="2626"/>
                </a:cubicBezTo>
                <a:cubicBezTo>
                  <a:pt x="88" y="2626"/>
                  <a:pt x="88" y="2626"/>
                  <a:pt x="88" y="2627"/>
                </a:cubicBezTo>
                <a:cubicBezTo>
                  <a:pt x="88" y="2627"/>
                  <a:pt x="88" y="2627"/>
                  <a:pt x="89" y="2627"/>
                </a:cubicBezTo>
                <a:cubicBezTo>
                  <a:pt x="89" y="2628"/>
                  <a:pt x="87" y="2628"/>
                  <a:pt x="87" y="2628"/>
                </a:cubicBezTo>
                <a:cubicBezTo>
                  <a:pt x="86" y="2629"/>
                  <a:pt x="86" y="2630"/>
                  <a:pt x="85" y="2631"/>
                </a:cubicBezTo>
                <a:cubicBezTo>
                  <a:pt x="84" y="2634"/>
                  <a:pt x="83" y="2636"/>
                  <a:pt x="82" y="2639"/>
                </a:cubicBezTo>
                <a:cubicBezTo>
                  <a:pt x="81" y="2641"/>
                  <a:pt x="80" y="2643"/>
                  <a:pt x="79" y="2645"/>
                </a:cubicBezTo>
                <a:cubicBezTo>
                  <a:pt x="78" y="2646"/>
                  <a:pt x="78" y="2647"/>
                  <a:pt x="77" y="2648"/>
                </a:cubicBezTo>
                <a:cubicBezTo>
                  <a:pt x="77" y="2649"/>
                  <a:pt x="76" y="2650"/>
                  <a:pt x="77" y="2651"/>
                </a:cubicBezTo>
                <a:cubicBezTo>
                  <a:pt x="77" y="2651"/>
                  <a:pt x="78" y="2651"/>
                  <a:pt x="77" y="2652"/>
                </a:cubicBezTo>
                <a:cubicBezTo>
                  <a:pt x="77" y="2653"/>
                  <a:pt x="77" y="2654"/>
                  <a:pt x="78" y="2655"/>
                </a:cubicBezTo>
                <a:cubicBezTo>
                  <a:pt x="78" y="2656"/>
                  <a:pt x="78" y="2656"/>
                  <a:pt x="78" y="2658"/>
                </a:cubicBezTo>
                <a:cubicBezTo>
                  <a:pt x="77" y="2659"/>
                  <a:pt x="77" y="2660"/>
                  <a:pt x="76" y="2661"/>
                </a:cubicBezTo>
                <a:cubicBezTo>
                  <a:pt x="76" y="2662"/>
                  <a:pt x="75" y="2663"/>
                  <a:pt x="74" y="2665"/>
                </a:cubicBezTo>
                <a:cubicBezTo>
                  <a:pt x="74" y="2665"/>
                  <a:pt x="74" y="2665"/>
                  <a:pt x="74" y="2666"/>
                </a:cubicBezTo>
                <a:cubicBezTo>
                  <a:pt x="73" y="2666"/>
                  <a:pt x="74" y="2666"/>
                  <a:pt x="74" y="2666"/>
                </a:cubicBezTo>
                <a:cubicBezTo>
                  <a:pt x="74" y="2667"/>
                  <a:pt x="74" y="2667"/>
                  <a:pt x="73" y="2667"/>
                </a:cubicBezTo>
                <a:cubicBezTo>
                  <a:pt x="73" y="2668"/>
                  <a:pt x="73" y="2669"/>
                  <a:pt x="73" y="2669"/>
                </a:cubicBezTo>
                <a:cubicBezTo>
                  <a:pt x="72" y="2670"/>
                  <a:pt x="72" y="2671"/>
                  <a:pt x="71" y="2672"/>
                </a:cubicBezTo>
                <a:cubicBezTo>
                  <a:pt x="71" y="2672"/>
                  <a:pt x="71" y="2672"/>
                  <a:pt x="71" y="2672"/>
                </a:cubicBezTo>
                <a:cubicBezTo>
                  <a:pt x="70" y="2672"/>
                  <a:pt x="70" y="2672"/>
                  <a:pt x="69" y="2672"/>
                </a:cubicBezTo>
                <a:cubicBezTo>
                  <a:pt x="69" y="2672"/>
                  <a:pt x="69" y="2673"/>
                  <a:pt x="68" y="2673"/>
                </a:cubicBezTo>
                <a:cubicBezTo>
                  <a:pt x="68" y="2673"/>
                  <a:pt x="68" y="2674"/>
                  <a:pt x="68" y="2674"/>
                </a:cubicBezTo>
                <a:cubicBezTo>
                  <a:pt x="68" y="2674"/>
                  <a:pt x="68" y="2674"/>
                  <a:pt x="68" y="2675"/>
                </a:cubicBezTo>
                <a:cubicBezTo>
                  <a:pt x="68" y="2675"/>
                  <a:pt x="68" y="2675"/>
                  <a:pt x="69" y="2675"/>
                </a:cubicBezTo>
                <a:cubicBezTo>
                  <a:pt x="70" y="2674"/>
                  <a:pt x="70" y="2676"/>
                  <a:pt x="69" y="2677"/>
                </a:cubicBezTo>
                <a:cubicBezTo>
                  <a:pt x="69" y="2678"/>
                  <a:pt x="68" y="2678"/>
                  <a:pt x="67" y="2679"/>
                </a:cubicBezTo>
                <a:cubicBezTo>
                  <a:pt x="66" y="2679"/>
                  <a:pt x="66" y="2680"/>
                  <a:pt x="65" y="2682"/>
                </a:cubicBezTo>
                <a:cubicBezTo>
                  <a:pt x="65" y="2682"/>
                  <a:pt x="65" y="2683"/>
                  <a:pt x="65" y="2683"/>
                </a:cubicBezTo>
                <a:cubicBezTo>
                  <a:pt x="65" y="2683"/>
                  <a:pt x="64" y="2683"/>
                  <a:pt x="65" y="2683"/>
                </a:cubicBezTo>
                <a:cubicBezTo>
                  <a:pt x="65" y="2684"/>
                  <a:pt x="65" y="2684"/>
                  <a:pt x="65" y="2684"/>
                </a:cubicBezTo>
                <a:cubicBezTo>
                  <a:pt x="65" y="2684"/>
                  <a:pt x="65" y="2684"/>
                  <a:pt x="65" y="2684"/>
                </a:cubicBezTo>
                <a:cubicBezTo>
                  <a:pt x="65" y="2686"/>
                  <a:pt x="64" y="2688"/>
                  <a:pt x="63" y="2689"/>
                </a:cubicBezTo>
                <a:cubicBezTo>
                  <a:pt x="62" y="2691"/>
                  <a:pt x="62" y="2693"/>
                  <a:pt x="61" y="2695"/>
                </a:cubicBezTo>
                <a:cubicBezTo>
                  <a:pt x="60" y="2697"/>
                  <a:pt x="59" y="2699"/>
                  <a:pt x="58" y="2701"/>
                </a:cubicBezTo>
                <a:cubicBezTo>
                  <a:pt x="58" y="2702"/>
                  <a:pt x="57" y="2703"/>
                  <a:pt x="57" y="2704"/>
                </a:cubicBezTo>
                <a:cubicBezTo>
                  <a:pt x="56" y="2705"/>
                  <a:pt x="56" y="2705"/>
                  <a:pt x="56" y="2705"/>
                </a:cubicBezTo>
                <a:cubicBezTo>
                  <a:pt x="55" y="2705"/>
                  <a:pt x="55" y="2704"/>
                  <a:pt x="55" y="2704"/>
                </a:cubicBezTo>
                <a:cubicBezTo>
                  <a:pt x="54" y="2705"/>
                  <a:pt x="54" y="2708"/>
                  <a:pt x="53" y="2708"/>
                </a:cubicBezTo>
                <a:cubicBezTo>
                  <a:pt x="53" y="2708"/>
                  <a:pt x="52" y="2708"/>
                  <a:pt x="52" y="2708"/>
                </a:cubicBezTo>
                <a:cubicBezTo>
                  <a:pt x="52" y="2707"/>
                  <a:pt x="52" y="2708"/>
                  <a:pt x="52" y="2708"/>
                </a:cubicBezTo>
                <a:cubicBezTo>
                  <a:pt x="51" y="2708"/>
                  <a:pt x="51" y="2708"/>
                  <a:pt x="51" y="2708"/>
                </a:cubicBezTo>
                <a:cubicBezTo>
                  <a:pt x="50" y="2712"/>
                  <a:pt x="49" y="2716"/>
                  <a:pt x="47" y="2719"/>
                </a:cubicBezTo>
                <a:cubicBezTo>
                  <a:pt x="47" y="2720"/>
                  <a:pt x="46" y="2721"/>
                  <a:pt x="46" y="2722"/>
                </a:cubicBezTo>
                <a:cubicBezTo>
                  <a:pt x="46" y="2723"/>
                  <a:pt x="46" y="2723"/>
                  <a:pt x="47" y="2724"/>
                </a:cubicBezTo>
                <a:cubicBezTo>
                  <a:pt x="47" y="2725"/>
                  <a:pt x="47" y="2726"/>
                  <a:pt x="47" y="2727"/>
                </a:cubicBezTo>
                <a:cubicBezTo>
                  <a:pt x="47" y="2728"/>
                  <a:pt x="47" y="2729"/>
                  <a:pt x="46" y="2729"/>
                </a:cubicBezTo>
                <a:cubicBezTo>
                  <a:pt x="46" y="2730"/>
                  <a:pt x="46" y="2731"/>
                  <a:pt x="45" y="2731"/>
                </a:cubicBezTo>
                <a:cubicBezTo>
                  <a:pt x="45" y="2732"/>
                  <a:pt x="45" y="2732"/>
                  <a:pt x="44" y="2732"/>
                </a:cubicBezTo>
                <a:cubicBezTo>
                  <a:pt x="44" y="2731"/>
                  <a:pt x="44" y="2731"/>
                  <a:pt x="43" y="2731"/>
                </a:cubicBezTo>
                <a:cubicBezTo>
                  <a:pt x="43" y="2732"/>
                  <a:pt x="43" y="2733"/>
                  <a:pt x="42" y="2734"/>
                </a:cubicBezTo>
                <a:cubicBezTo>
                  <a:pt x="42" y="2735"/>
                  <a:pt x="41" y="2735"/>
                  <a:pt x="40" y="2735"/>
                </a:cubicBezTo>
                <a:cubicBezTo>
                  <a:pt x="39" y="2735"/>
                  <a:pt x="39" y="2736"/>
                  <a:pt x="38" y="2737"/>
                </a:cubicBezTo>
                <a:cubicBezTo>
                  <a:pt x="38" y="2737"/>
                  <a:pt x="37" y="2738"/>
                  <a:pt x="37" y="2739"/>
                </a:cubicBezTo>
                <a:cubicBezTo>
                  <a:pt x="37" y="2740"/>
                  <a:pt x="36" y="2741"/>
                  <a:pt x="36" y="2742"/>
                </a:cubicBezTo>
                <a:cubicBezTo>
                  <a:pt x="36" y="2743"/>
                  <a:pt x="36" y="2744"/>
                  <a:pt x="36" y="2744"/>
                </a:cubicBezTo>
                <a:cubicBezTo>
                  <a:pt x="36" y="2745"/>
                  <a:pt x="36" y="2746"/>
                  <a:pt x="35" y="2746"/>
                </a:cubicBezTo>
                <a:cubicBezTo>
                  <a:pt x="34" y="2747"/>
                  <a:pt x="32" y="2751"/>
                  <a:pt x="31" y="2755"/>
                </a:cubicBezTo>
                <a:cubicBezTo>
                  <a:pt x="30" y="2756"/>
                  <a:pt x="30" y="2757"/>
                  <a:pt x="29" y="2759"/>
                </a:cubicBezTo>
                <a:cubicBezTo>
                  <a:pt x="24" y="2770"/>
                  <a:pt x="17" y="2778"/>
                  <a:pt x="11" y="2792"/>
                </a:cubicBezTo>
                <a:cubicBezTo>
                  <a:pt x="8" y="2800"/>
                  <a:pt x="0" y="2809"/>
                  <a:pt x="4" y="2817"/>
                </a:cubicBezTo>
                <a:cubicBezTo>
                  <a:pt x="7" y="2823"/>
                  <a:pt x="16" y="2824"/>
                  <a:pt x="21" y="2827"/>
                </a:cubicBezTo>
                <a:cubicBezTo>
                  <a:pt x="26" y="2829"/>
                  <a:pt x="28" y="2828"/>
                  <a:pt x="32" y="2829"/>
                </a:cubicBezTo>
                <a:cubicBezTo>
                  <a:pt x="34" y="2829"/>
                  <a:pt x="37" y="2831"/>
                  <a:pt x="39" y="2831"/>
                </a:cubicBezTo>
                <a:cubicBezTo>
                  <a:pt x="40" y="2831"/>
                  <a:pt x="42" y="2830"/>
                  <a:pt x="43" y="2829"/>
                </a:cubicBezTo>
                <a:cubicBezTo>
                  <a:pt x="47" y="2826"/>
                  <a:pt x="48" y="2825"/>
                  <a:pt x="52" y="2820"/>
                </a:cubicBezTo>
                <a:cubicBezTo>
                  <a:pt x="55" y="2816"/>
                  <a:pt x="58" y="2812"/>
                  <a:pt x="60" y="2808"/>
                </a:cubicBezTo>
                <a:cubicBezTo>
                  <a:pt x="62" y="2804"/>
                  <a:pt x="64" y="2800"/>
                  <a:pt x="66" y="2796"/>
                </a:cubicBezTo>
                <a:cubicBezTo>
                  <a:pt x="67" y="2795"/>
                  <a:pt x="68" y="2793"/>
                  <a:pt x="68" y="2792"/>
                </a:cubicBezTo>
                <a:cubicBezTo>
                  <a:pt x="68" y="2791"/>
                  <a:pt x="68" y="2790"/>
                  <a:pt x="69" y="2789"/>
                </a:cubicBezTo>
                <a:cubicBezTo>
                  <a:pt x="69" y="2788"/>
                  <a:pt x="71" y="2787"/>
                  <a:pt x="72" y="2785"/>
                </a:cubicBezTo>
                <a:cubicBezTo>
                  <a:pt x="72" y="2784"/>
                  <a:pt x="73" y="2783"/>
                  <a:pt x="73" y="2782"/>
                </a:cubicBezTo>
                <a:cubicBezTo>
                  <a:pt x="74" y="2780"/>
                  <a:pt x="76" y="2778"/>
                  <a:pt x="77" y="2776"/>
                </a:cubicBezTo>
                <a:cubicBezTo>
                  <a:pt x="78" y="2774"/>
                  <a:pt x="78" y="2772"/>
                  <a:pt x="79" y="2770"/>
                </a:cubicBezTo>
                <a:cubicBezTo>
                  <a:pt x="80" y="2768"/>
                  <a:pt x="81" y="2766"/>
                  <a:pt x="82" y="2764"/>
                </a:cubicBezTo>
                <a:cubicBezTo>
                  <a:pt x="83" y="2763"/>
                  <a:pt x="82" y="2761"/>
                  <a:pt x="82" y="2760"/>
                </a:cubicBezTo>
                <a:cubicBezTo>
                  <a:pt x="83" y="2758"/>
                  <a:pt x="84" y="2756"/>
                  <a:pt x="85" y="2755"/>
                </a:cubicBezTo>
                <a:cubicBezTo>
                  <a:pt x="102" y="2722"/>
                  <a:pt x="141" y="2641"/>
                  <a:pt x="148" y="2625"/>
                </a:cubicBezTo>
                <a:cubicBezTo>
                  <a:pt x="150" y="2622"/>
                  <a:pt x="153" y="2615"/>
                  <a:pt x="156" y="2609"/>
                </a:cubicBezTo>
                <a:cubicBezTo>
                  <a:pt x="158" y="2604"/>
                  <a:pt x="162" y="2595"/>
                  <a:pt x="164" y="2590"/>
                </a:cubicBezTo>
                <a:cubicBezTo>
                  <a:pt x="176" y="2563"/>
                  <a:pt x="181" y="2553"/>
                  <a:pt x="193" y="2526"/>
                </a:cubicBezTo>
                <a:cubicBezTo>
                  <a:pt x="194" y="2524"/>
                  <a:pt x="195" y="2522"/>
                  <a:pt x="196" y="2520"/>
                </a:cubicBezTo>
                <a:cubicBezTo>
                  <a:pt x="197" y="2518"/>
                  <a:pt x="199" y="2516"/>
                  <a:pt x="199" y="2514"/>
                </a:cubicBezTo>
                <a:cubicBezTo>
                  <a:pt x="199" y="2514"/>
                  <a:pt x="199" y="2513"/>
                  <a:pt x="199" y="2513"/>
                </a:cubicBezTo>
                <a:cubicBezTo>
                  <a:pt x="199" y="2513"/>
                  <a:pt x="200" y="2512"/>
                  <a:pt x="200" y="2512"/>
                </a:cubicBezTo>
                <a:cubicBezTo>
                  <a:pt x="201" y="2511"/>
                  <a:pt x="202" y="2511"/>
                  <a:pt x="202" y="2510"/>
                </a:cubicBezTo>
                <a:cubicBezTo>
                  <a:pt x="202" y="2510"/>
                  <a:pt x="202" y="2509"/>
                  <a:pt x="202" y="2509"/>
                </a:cubicBezTo>
                <a:cubicBezTo>
                  <a:pt x="201" y="2508"/>
                  <a:pt x="202" y="2507"/>
                  <a:pt x="202" y="2506"/>
                </a:cubicBezTo>
                <a:cubicBezTo>
                  <a:pt x="203" y="2504"/>
                  <a:pt x="204" y="2502"/>
                  <a:pt x="205" y="2501"/>
                </a:cubicBezTo>
                <a:cubicBezTo>
                  <a:pt x="206" y="2497"/>
                  <a:pt x="208" y="2494"/>
                  <a:pt x="210" y="2490"/>
                </a:cubicBezTo>
                <a:cubicBezTo>
                  <a:pt x="211" y="2487"/>
                  <a:pt x="213" y="2483"/>
                  <a:pt x="215" y="2480"/>
                </a:cubicBezTo>
                <a:cubicBezTo>
                  <a:pt x="215" y="2479"/>
                  <a:pt x="216" y="2477"/>
                  <a:pt x="217" y="2476"/>
                </a:cubicBezTo>
                <a:cubicBezTo>
                  <a:pt x="217" y="2475"/>
                  <a:pt x="218" y="2472"/>
                  <a:pt x="219" y="2472"/>
                </a:cubicBezTo>
                <a:cubicBezTo>
                  <a:pt x="221" y="2471"/>
                  <a:pt x="222" y="2471"/>
                  <a:pt x="221" y="2469"/>
                </a:cubicBezTo>
                <a:cubicBezTo>
                  <a:pt x="221" y="2469"/>
                  <a:pt x="221" y="2468"/>
                  <a:pt x="221" y="2468"/>
                </a:cubicBezTo>
                <a:cubicBezTo>
                  <a:pt x="221" y="2468"/>
                  <a:pt x="221" y="2468"/>
                  <a:pt x="221" y="2467"/>
                </a:cubicBezTo>
                <a:cubicBezTo>
                  <a:pt x="222" y="2463"/>
                  <a:pt x="225" y="2460"/>
                  <a:pt x="226" y="2456"/>
                </a:cubicBezTo>
                <a:cubicBezTo>
                  <a:pt x="228" y="2452"/>
                  <a:pt x="230" y="2449"/>
                  <a:pt x="232" y="2445"/>
                </a:cubicBezTo>
                <a:cubicBezTo>
                  <a:pt x="236" y="2437"/>
                  <a:pt x="240" y="2429"/>
                  <a:pt x="244" y="2421"/>
                </a:cubicBezTo>
                <a:cubicBezTo>
                  <a:pt x="247" y="2415"/>
                  <a:pt x="250" y="2408"/>
                  <a:pt x="253" y="2402"/>
                </a:cubicBezTo>
                <a:cubicBezTo>
                  <a:pt x="261" y="2386"/>
                  <a:pt x="268" y="2371"/>
                  <a:pt x="276" y="2355"/>
                </a:cubicBezTo>
                <a:cubicBezTo>
                  <a:pt x="278" y="2352"/>
                  <a:pt x="279" y="2348"/>
                  <a:pt x="281" y="2345"/>
                </a:cubicBezTo>
                <a:cubicBezTo>
                  <a:pt x="282" y="2343"/>
                  <a:pt x="283" y="2341"/>
                  <a:pt x="284" y="2340"/>
                </a:cubicBezTo>
                <a:cubicBezTo>
                  <a:pt x="284" y="2338"/>
                  <a:pt x="285" y="2337"/>
                  <a:pt x="285" y="2336"/>
                </a:cubicBezTo>
                <a:cubicBezTo>
                  <a:pt x="285" y="2334"/>
                  <a:pt x="286" y="2334"/>
                  <a:pt x="287" y="2334"/>
                </a:cubicBezTo>
                <a:cubicBezTo>
                  <a:pt x="287" y="2333"/>
                  <a:pt x="288" y="2331"/>
                  <a:pt x="288" y="2331"/>
                </a:cubicBezTo>
                <a:cubicBezTo>
                  <a:pt x="288" y="2331"/>
                  <a:pt x="288" y="2330"/>
                  <a:pt x="289" y="2329"/>
                </a:cubicBezTo>
                <a:cubicBezTo>
                  <a:pt x="289" y="2328"/>
                  <a:pt x="290" y="2326"/>
                  <a:pt x="290" y="2325"/>
                </a:cubicBezTo>
                <a:cubicBezTo>
                  <a:pt x="292" y="2321"/>
                  <a:pt x="294" y="2318"/>
                  <a:pt x="296" y="2315"/>
                </a:cubicBezTo>
                <a:cubicBezTo>
                  <a:pt x="296" y="2314"/>
                  <a:pt x="296" y="2314"/>
                  <a:pt x="296" y="2314"/>
                </a:cubicBezTo>
                <a:cubicBezTo>
                  <a:pt x="296" y="2313"/>
                  <a:pt x="296" y="2313"/>
                  <a:pt x="296" y="2313"/>
                </a:cubicBezTo>
                <a:cubicBezTo>
                  <a:pt x="295" y="2311"/>
                  <a:pt x="296" y="2309"/>
                  <a:pt x="296" y="2308"/>
                </a:cubicBezTo>
                <a:cubicBezTo>
                  <a:pt x="296" y="2308"/>
                  <a:pt x="297" y="2306"/>
                  <a:pt x="297" y="2307"/>
                </a:cubicBezTo>
                <a:cubicBezTo>
                  <a:pt x="298" y="2307"/>
                  <a:pt x="298" y="2309"/>
                  <a:pt x="299" y="2307"/>
                </a:cubicBezTo>
                <a:cubicBezTo>
                  <a:pt x="300" y="2307"/>
                  <a:pt x="299" y="2306"/>
                  <a:pt x="299" y="2305"/>
                </a:cubicBezTo>
                <a:cubicBezTo>
                  <a:pt x="299" y="2305"/>
                  <a:pt x="299" y="2304"/>
                  <a:pt x="300" y="2304"/>
                </a:cubicBezTo>
                <a:cubicBezTo>
                  <a:pt x="301" y="2304"/>
                  <a:pt x="301" y="2304"/>
                  <a:pt x="301" y="2304"/>
                </a:cubicBezTo>
                <a:cubicBezTo>
                  <a:pt x="302" y="2302"/>
                  <a:pt x="303" y="2300"/>
                  <a:pt x="304" y="2297"/>
                </a:cubicBezTo>
                <a:cubicBezTo>
                  <a:pt x="304" y="2296"/>
                  <a:pt x="306" y="2293"/>
                  <a:pt x="306" y="2291"/>
                </a:cubicBezTo>
                <a:cubicBezTo>
                  <a:pt x="306" y="2290"/>
                  <a:pt x="306" y="2290"/>
                  <a:pt x="306" y="2289"/>
                </a:cubicBezTo>
                <a:cubicBezTo>
                  <a:pt x="306" y="2289"/>
                  <a:pt x="307" y="2287"/>
                  <a:pt x="307" y="2287"/>
                </a:cubicBezTo>
                <a:cubicBezTo>
                  <a:pt x="308" y="2285"/>
                  <a:pt x="309" y="2284"/>
                  <a:pt x="310" y="2283"/>
                </a:cubicBezTo>
                <a:cubicBezTo>
                  <a:pt x="311" y="2282"/>
                  <a:pt x="312" y="2280"/>
                  <a:pt x="312" y="2279"/>
                </a:cubicBezTo>
                <a:cubicBezTo>
                  <a:pt x="312" y="2279"/>
                  <a:pt x="312" y="2279"/>
                  <a:pt x="312" y="2278"/>
                </a:cubicBezTo>
                <a:cubicBezTo>
                  <a:pt x="312" y="2278"/>
                  <a:pt x="312" y="2278"/>
                  <a:pt x="312" y="2278"/>
                </a:cubicBezTo>
                <a:cubicBezTo>
                  <a:pt x="312" y="2277"/>
                  <a:pt x="312" y="2277"/>
                  <a:pt x="313" y="2276"/>
                </a:cubicBezTo>
                <a:cubicBezTo>
                  <a:pt x="314" y="2276"/>
                  <a:pt x="316" y="2272"/>
                  <a:pt x="316" y="2271"/>
                </a:cubicBezTo>
                <a:cubicBezTo>
                  <a:pt x="317" y="2269"/>
                  <a:pt x="318" y="2267"/>
                  <a:pt x="319" y="2265"/>
                </a:cubicBezTo>
                <a:cubicBezTo>
                  <a:pt x="322" y="2260"/>
                  <a:pt x="325" y="2255"/>
                  <a:pt x="327" y="2249"/>
                </a:cubicBezTo>
                <a:cubicBezTo>
                  <a:pt x="328" y="2247"/>
                  <a:pt x="329" y="2245"/>
                  <a:pt x="330" y="2243"/>
                </a:cubicBezTo>
                <a:cubicBezTo>
                  <a:pt x="331" y="2242"/>
                  <a:pt x="332" y="2241"/>
                  <a:pt x="332" y="2240"/>
                </a:cubicBezTo>
                <a:cubicBezTo>
                  <a:pt x="332" y="2239"/>
                  <a:pt x="332" y="2238"/>
                  <a:pt x="333" y="2237"/>
                </a:cubicBezTo>
                <a:cubicBezTo>
                  <a:pt x="333" y="2236"/>
                  <a:pt x="333" y="2235"/>
                  <a:pt x="334" y="2234"/>
                </a:cubicBezTo>
                <a:cubicBezTo>
                  <a:pt x="334" y="2233"/>
                  <a:pt x="335" y="2233"/>
                  <a:pt x="335" y="2232"/>
                </a:cubicBezTo>
                <a:cubicBezTo>
                  <a:pt x="335" y="2232"/>
                  <a:pt x="335" y="2231"/>
                  <a:pt x="335" y="2231"/>
                </a:cubicBezTo>
                <a:cubicBezTo>
                  <a:pt x="336" y="2230"/>
                  <a:pt x="337" y="2230"/>
                  <a:pt x="337" y="2229"/>
                </a:cubicBezTo>
                <a:cubicBezTo>
                  <a:pt x="339" y="2227"/>
                  <a:pt x="339" y="2225"/>
                  <a:pt x="340" y="2223"/>
                </a:cubicBezTo>
                <a:cubicBezTo>
                  <a:pt x="342" y="2220"/>
                  <a:pt x="344" y="2217"/>
                  <a:pt x="344" y="2216"/>
                </a:cubicBezTo>
                <a:cubicBezTo>
                  <a:pt x="344" y="2215"/>
                  <a:pt x="346" y="2211"/>
                  <a:pt x="349" y="2206"/>
                </a:cubicBezTo>
                <a:cubicBezTo>
                  <a:pt x="350" y="2204"/>
                  <a:pt x="350" y="2202"/>
                  <a:pt x="351" y="2200"/>
                </a:cubicBezTo>
                <a:cubicBezTo>
                  <a:pt x="352" y="2200"/>
                  <a:pt x="352" y="2199"/>
                  <a:pt x="352" y="2198"/>
                </a:cubicBezTo>
                <a:cubicBezTo>
                  <a:pt x="353" y="2198"/>
                  <a:pt x="353" y="2197"/>
                  <a:pt x="353" y="2196"/>
                </a:cubicBezTo>
                <a:cubicBezTo>
                  <a:pt x="353" y="2196"/>
                  <a:pt x="353" y="2195"/>
                  <a:pt x="353" y="2195"/>
                </a:cubicBezTo>
                <a:cubicBezTo>
                  <a:pt x="353" y="2195"/>
                  <a:pt x="353" y="2195"/>
                  <a:pt x="354" y="2195"/>
                </a:cubicBezTo>
                <a:cubicBezTo>
                  <a:pt x="355" y="2195"/>
                  <a:pt x="354" y="2194"/>
                  <a:pt x="355" y="2193"/>
                </a:cubicBezTo>
                <a:cubicBezTo>
                  <a:pt x="355" y="2191"/>
                  <a:pt x="356" y="2190"/>
                  <a:pt x="357" y="2189"/>
                </a:cubicBezTo>
                <a:cubicBezTo>
                  <a:pt x="360" y="2183"/>
                  <a:pt x="361" y="2181"/>
                  <a:pt x="364" y="2177"/>
                </a:cubicBezTo>
                <a:cubicBezTo>
                  <a:pt x="366" y="2174"/>
                  <a:pt x="372" y="2162"/>
                  <a:pt x="375" y="2155"/>
                </a:cubicBezTo>
                <a:cubicBezTo>
                  <a:pt x="375" y="2153"/>
                  <a:pt x="377" y="2150"/>
                  <a:pt x="377" y="2148"/>
                </a:cubicBezTo>
                <a:cubicBezTo>
                  <a:pt x="376" y="2147"/>
                  <a:pt x="376" y="2146"/>
                  <a:pt x="377" y="2146"/>
                </a:cubicBezTo>
                <a:cubicBezTo>
                  <a:pt x="378" y="2146"/>
                  <a:pt x="378" y="2146"/>
                  <a:pt x="379" y="2146"/>
                </a:cubicBezTo>
                <a:cubicBezTo>
                  <a:pt x="379" y="2145"/>
                  <a:pt x="380" y="2144"/>
                  <a:pt x="380" y="2143"/>
                </a:cubicBezTo>
                <a:cubicBezTo>
                  <a:pt x="380" y="2142"/>
                  <a:pt x="382" y="2140"/>
                  <a:pt x="381" y="2139"/>
                </a:cubicBezTo>
                <a:cubicBezTo>
                  <a:pt x="381" y="2139"/>
                  <a:pt x="381" y="2139"/>
                  <a:pt x="381" y="2138"/>
                </a:cubicBezTo>
                <a:cubicBezTo>
                  <a:pt x="380" y="2138"/>
                  <a:pt x="381" y="2138"/>
                  <a:pt x="381" y="2138"/>
                </a:cubicBezTo>
                <a:cubicBezTo>
                  <a:pt x="381" y="2137"/>
                  <a:pt x="381" y="2136"/>
                  <a:pt x="382" y="2135"/>
                </a:cubicBezTo>
                <a:cubicBezTo>
                  <a:pt x="382" y="2135"/>
                  <a:pt x="382" y="2135"/>
                  <a:pt x="382" y="2136"/>
                </a:cubicBezTo>
                <a:cubicBezTo>
                  <a:pt x="382" y="2136"/>
                  <a:pt x="383" y="2136"/>
                  <a:pt x="383" y="2136"/>
                </a:cubicBezTo>
                <a:cubicBezTo>
                  <a:pt x="383" y="2136"/>
                  <a:pt x="384" y="2136"/>
                  <a:pt x="384" y="2136"/>
                </a:cubicBezTo>
                <a:cubicBezTo>
                  <a:pt x="384" y="2135"/>
                  <a:pt x="384" y="2135"/>
                  <a:pt x="384" y="2134"/>
                </a:cubicBezTo>
                <a:cubicBezTo>
                  <a:pt x="384" y="2133"/>
                  <a:pt x="384" y="2132"/>
                  <a:pt x="384" y="2131"/>
                </a:cubicBezTo>
                <a:cubicBezTo>
                  <a:pt x="384" y="2130"/>
                  <a:pt x="385" y="2129"/>
                  <a:pt x="385" y="2128"/>
                </a:cubicBezTo>
                <a:cubicBezTo>
                  <a:pt x="386" y="2127"/>
                  <a:pt x="386" y="2125"/>
                  <a:pt x="388" y="2125"/>
                </a:cubicBezTo>
                <a:cubicBezTo>
                  <a:pt x="389" y="2125"/>
                  <a:pt x="389" y="2126"/>
                  <a:pt x="389" y="2125"/>
                </a:cubicBezTo>
                <a:cubicBezTo>
                  <a:pt x="389" y="2124"/>
                  <a:pt x="389" y="2124"/>
                  <a:pt x="390" y="2123"/>
                </a:cubicBezTo>
                <a:cubicBezTo>
                  <a:pt x="391" y="2121"/>
                  <a:pt x="392" y="2120"/>
                  <a:pt x="393" y="2118"/>
                </a:cubicBezTo>
                <a:cubicBezTo>
                  <a:pt x="393" y="2116"/>
                  <a:pt x="395" y="2114"/>
                  <a:pt x="395" y="2112"/>
                </a:cubicBezTo>
                <a:cubicBezTo>
                  <a:pt x="395" y="2111"/>
                  <a:pt x="394" y="2111"/>
                  <a:pt x="394" y="2110"/>
                </a:cubicBezTo>
                <a:cubicBezTo>
                  <a:pt x="394" y="2109"/>
                  <a:pt x="395" y="2106"/>
                  <a:pt x="397" y="2106"/>
                </a:cubicBezTo>
                <a:cubicBezTo>
                  <a:pt x="397" y="2106"/>
                  <a:pt x="397" y="2106"/>
                  <a:pt x="397" y="2106"/>
                </a:cubicBezTo>
                <a:cubicBezTo>
                  <a:pt x="398" y="2106"/>
                  <a:pt x="399" y="2106"/>
                  <a:pt x="400" y="2105"/>
                </a:cubicBezTo>
                <a:cubicBezTo>
                  <a:pt x="400" y="2105"/>
                  <a:pt x="400" y="2105"/>
                  <a:pt x="400" y="2104"/>
                </a:cubicBezTo>
                <a:cubicBezTo>
                  <a:pt x="399" y="2104"/>
                  <a:pt x="399" y="2103"/>
                  <a:pt x="399" y="2103"/>
                </a:cubicBezTo>
                <a:cubicBezTo>
                  <a:pt x="400" y="2103"/>
                  <a:pt x="400" y="2103"/>
                  <a:pt x="401" y="2102"/>
                </a:cubicBezTo>
                <a:cubicBezTo>
                  <a:pt x="401" y="2102"/>
                  <a:pt x="401" y="2102"/>
                  <a:pt x="401" y="2102"/>
                </a:cubicBezTo>
                <a:cubicBezTo>
                  <a:pt x="404" y="2094"/>
                  <a:pt x="408" y="2087"/>
                  <a:pt x="412" y="2080"/>
                </a:cubicBezTo>
                <a:cubicBezTo>
                  <a:pt x="413" y="2079"/>
                  <a:pt x="414" y="2077"/>
                  <a:pt x="414" y="2076"/>
                </a:cubicBezTo>
                <a:cubicBezTo>
                  <a:pt x="415" y="2074"/>
                  <a:pt x="417" y="2071"/>
                  <a:pt x="418" y="2069"/>
                </a:cubicBezTo>
                <a:cubicBezTo>
                  <a:pt x="419" y="2067"/>
                  <a:pt x="421" y="2064"/>
                  <a:pt x="422" y="2062"/>
                </a:cubicBezTo>
                <a:cubicBezTo>
                  <a:pt x="423" y="2061"/>
                  <a:pt x="424" y="2059"/>
                  <a:pt x="425" y="2058"/>
                </a:cubicBezTo>
                <a:cubicBezTo>
                  <a:pt x="425" y="2057"/>
                  <a:pt x="427" y="2056"/>
                  <a:pt x="427" y="2055"/>
                </a:cubicBezTo>
                <a:cubicBezTo>
                  <a:pt x="427" y="2053"/>
                  <a:pt x="427" y="2052"/>
                  <a:pt x="427" y="2050"/>
                </a:cubicBezTo>
                <a:cubicBezTo>
                  <a:pt x="428" y="2048"/>
                  <a:pt x="429" y="2046"/>
                  <a:pt x="430" y="2044"/>
                </a:cubicBezTo>
                <a:cubicBezTo>
                  <a:pt x="431" y="2041"/>
                  <a:pt x="433" y="2038"/>
                  <a:pt x="434" y="2035"/>
                </a:cubicBezTo>
                <a:cubicBezTo>
                  <a:pt x="435" y="2033"/>
                  <a:pt x="437" y="2030"/>
                  <a:pt x="438" y="2027"/>
                </a:cubicBezTo>
                <a:cubicBezTo>
                  <a:pt x="438" y="2027"/>
                  <a:pt x="437" y="2026"/>
                  <a:pt x="437" y="2026"/>
                </a:cubicBezTo>
                <a:cubicBezTo>
                  <a:pt x="437" y="2025"/>
                  <a:pt x="438" y="2025"/>
                  <a:pt x="438" y="2024"/>
                </a:cubicBezTo>
                <a:cubicBezTo>
                  <a:pt x="439" y="2025"/>
                  <a:pt x="440" y="2021"/>
                  <a:pt x="440" y="2020"/>
                </a:cubicBezTo>
                <a:cubicBezTo>
                  <a:pt x="441" y="2019"/>
                  <a:pt x="442" y="2018"/>
                  <a:pt x="442" y="2017"/>
                </a:cubicBezTo>
                <a:cubicBezTo>
                  <a:pt x="442" y="2016"/>
                  <a:pt x="442" y="2015"/>
                  <a:pt x="442" y="2015"/>
                </a:cubicBezTo>
                <a:cubicBezTo>
                  <a:pt x="442" y="2015"/>
                  <a:pt x="443" y="2015"/>
                  <a:pt x="444" y="2015"/>
                </a:cubicBezTo>
                <a:cubicBezTo>
                  <a:pt x="444" y="2015"/>
                  <a:pt x="444" y="2014"/>
                  <a:pt x="444" y="2014"/>
                </a:cubicBezTo>
                <a:cubicBezTo>
                  <a:pt x="445" y="2013"/>
                  <a:pt x="445" y="2011"/>
                  <a:pt x="446" y="2010"/>
                </a:cubicBezTo>
                <a:cubicBezTo>
                  <a:pt x="447" y="2010"/>
                  <a:pt x="449" y="2011"/>
                  <a:pt x="449" y="2009"/>
                </a:cubicBezTo>
                <a:cubicBezTo>
                  <a:pt x="449" y="2008"/>
                  <a:pt x="449" y="2008"/>
                  <a:pt x="448" y="2007"/>
                </a:cubicBezTo>
                <a:cubicBezTo>
                  <a:pt x="447" y="2006"/>
                  <a:pt x="449" y="2004"/>
                  <a:pt x="449" y="2003"/>
                </a:cubicBezTo>
                <a:cubicBezTo>
                  <a:pt x="450" y="2000"/>
                  <a:pt x="452" y="1998"/>
                  <a:pt x="453" y="1996"/>
                </a:cubicBezTo>
                <a:cubicBezTo>
                  <a:pt x="455" y="1992"/>
                  <a:pt x="457" y="1987"/>
                  <a:pt x="459" y="1983"/>
                </a:cubicBezTo>
                <a:cubicBezTo>
                  <a:pt x="465" y="1970"/>
                  <a:pt x="471" y="1958"/>
                  <a:pt x="473" y="1956"/>
                </a:cubicBezTo>
                <a:cubicBezTo>
                  <a:pt x="474" y="1953"/>
                  <a:pt x="478" y="1943"/>
                  <a:pt x="483" y="1933"/>
                </a:cubicBezTo>
                <a:cubicBezTo>
                  <a:pt x="488" y="1923"/>
                  <a:pt x="495" y="1907"/>
                  <a:pt x="500" y="1897"/>
                </a:cubicBezTo>
                <a:cubicBezTo>
                  <a:pt x="505" y="1887"/>
                  <a:pt x="518" y="1861"/>
                  <a:pt x="528" y="1840"/>
                </a:cubicBezTo>
                <a:cubicBezTo>
                  <a:pt x="532" y="1833"/>
                  <a:pt x="535" y="1826"/>
                  <a:pt x="538" y="1819"/>
                </a:cubicBezTo>
                <a:cubicBezTo>
                  <a:pt x="540" y="1816"/>
                  <a:pt x="542" y="1812"/>
                  <a:pt x="543" y="1809"/>
                </a:cubicBezTo>
                <a:cubicBezTo>
                  <a:pt x="545" y="1806"/>
                  <a:pt x="547" y="1803"/>
                  <a:pt x="548" y="1799"/>
                </a:cubicBezTo>
                <a:cubicBezTo>
                  <a:pt x="548" y="1799"/>
                  <a:pt x="548" y="1799"/>
                  <a:pt x="548" y="1799"/>
                </a:cubicBezTo>
                <a:cubicBezTo>
                  <a:pt x="548" y="1797"/>
                  <a:pt x="549" y="1796"/>
                  <a:pt x="550" y="1795"/>
                </a:cubicBezTo>
                <a:cubicBezTo>
                  <a:pt x="550" y="1793"/>
                  <a:pt x="551" y="1792"/>
                  <a:pt x="552" y="1790"/>
                </a:cubicBezTo>
                <a:cubicBezTo>
                  <a:pt x="554" y="1786"/>
                  <a:pt x="555" y="1783"/>
                  <a:pt x="557" y="1779"/>
                </a:cubicBezTo>
                <a:cubicBezTo>
                  <a:pt x="559" y="1776"/>
                  <a:pt x="560" y="1773"/>
                  <a:pt x="561" y="1770"/>
                </a:cubicBezTo>
                <a:cubicBezTo>
                  <a:pt x="562" y="1768"/>
                  <a:pt x="563" y="1767"/>
                  <a:pt x="564" y="1765"/>
                </a:cubicBezTo>
                <a:cubicBezTo>
                  <a:pt x="564" y="1764"/>
                  <a:pt x="565" y="1762"/>
                  <a:pt x="565" y="1761"/>
                </a:cubicBezTo>
                <a:cubicBezTo>
                  <a:pt x="566" y="1761"/>
                  <a:pt x="566" y="1760"/>
                  <a:pt x="567" y="1760"/>
                </a:cubicBezTo>
                <a:cubicBezTo>
                  <a:pt x="567" y="1759"/>
                  <a:pt x="567" y="1758"/>
                  <a:pt x="568" y="1757"/>
                </a:cubicBezTo>
                <a:cubicBezTo>
                  <a:pt x="568" y="1756"/>
                  <a:pt x="569" y="1754"/>
                  <a:pt x="569" y="1753"/>
                </a:cubicBezTo>
                <a:cubicBezTo>
                  <a:pt x="571" y="1749"/>
                  <a:pt x="576" y="1740"/>
                  <a:pt x="579" y="1732"/>
                </a:cubicBezTo>
                <a:cubicBezTo>
                  <a:pt x="581" y="1730"/>
                  <a:pt x="582" y="1728"/>
                  <a:pt x="583" y="1725"/>
                </a:cubicBezTo>
                <a:cubicBezTo>
                  <a:pt x="584" y="1723"/>
                  <a:pt x="585" y="1721"/>
                  <a:pt x="586" y="1719"/>
                </a:cubicBezTo>
                <a:cubicBezTo>
                  <a:pt x="586" y="1719"/>
                  <a:pt x="586" y="1719"/>
                  <a:pt x="586" y="1719"/>
                </a:cubicBezTo>
                <a:cubicBezTo>
                  <a:pt x="586" y="1719"/>
                  <a:pt x="587" y="1719"/>
                  <a:pt x="587" y="1719"/>
                </a:cubicBezTo>
                <a:cubicBezTo>
                  <a:pt x="587" y="1719"/>
                  <a:pt x="588" y="1719"/>
                  <a:pt x="588" y="1718"/>
                </a:cubicBezTo>
                <a:cubicBezTo>
                  <a:pt x="589" y="1718"/>
                  <a:pt x="589" y="1717"/>
                  <a:pt x="589" y="1716"/>
                </a:cubicBezTo>
                <a:cubicBezTo>
                  <a:pt x="589" y="1715"/>
                  <a:pt x="590" y="1714"/>
                  <a:pt x="590" y="1712"/>
                </a:cubicBezTo>
                <a:cubicBezTo>
                  <a:pt x="591" y="1712"/>
                  <a:pt x="591" y="1711"/>
                  <a:pt x="591" y="1710"/>
                </a:cubicBezTo>
                <a:cubicBezTo>
                  <a:pt x="591" y="1710"/>
                  <a:pt x="591" y="1710"/>
                  <a:pt x="591" y="1709"/>
                </a:cubicBezTo>
                <a:cubicBezTo>
                  <a:pt x="591" y="1709"/>
                  <a:pt x="592" y="1709"/>
                  <a:pt x="592" y="1708"/>
                </a:cubicBezTo>
                <a:cubicBezTo>
                  <a:pt x="592" y="1708"/>
                  <a:pt x="592" y="1708"/>
                  <a:pt x="592" y="1708"/>
                </a:cubicBezTo>
                <a:cubicBezTo>
                  <a:pt x="591" y="1707"/>
                  <a:pt x="592" y="1705"/>
                  <a:pt x="593" y="1704"/>
                </a:cubicBezTo>
                <a:cubicBezTo>
                  <a:pt x="594" y="1703"/>
                  <a:pt x="595" y="1702"/>
                  <a:pt x="595" y="1700"/>
                </a:cubicBezTo>
                <a:cubicBezTo>
                  <a:pt x="596" y="1700"/>
                  <a:pt x="597" y="1697"/>
                  <a:pt x="597" y="1697"/>
                </a:cubicBezTo>
                <a:cubicBezTo>
                  <a:pt x="598" y="1695"/>
                  <a:pt x="598" y="1693"/>
                  <a:pt x="599" y="1692"/>
                </a:cubicBezTo>
                <a:cubicBezTo>
                  <a:pt x="600" y="1690"/>
                  <a:pt x="601" y="1688"/>
                  <a:pt x="602" y="1686"/>
                </a:cubicBezTo>
                <a:cubicBezTo>
                  <a:pt x="602" y="1685"/>
                  <a:pt x="603" y="1683"/>
                  <a:pt x="604" y="1683"/>
                </a:cubicBezTo>
                <a:cubicBezTo>
                  <a:pt x="604" y="1683"/>
                  <a:pt x="605" y="1683"/>
                  <a:pt x="605" y="1683"/>
                </a:cubicBezTo>
                <a:cubicBezTo>
                  <a:pt x="606" y="1682"/>
                  <a:pt x="606" y="1682"/>
                  <a:pt x="606" y="1681"/>
                </a:cubicBezTo>
                <a:cubicBezTo>
                  <a:pt x="606" y="1681"/>
                  <a:pt x="606" y="1680"/>
                  <a:pt x="606" y="1680"/>
                </a:cubicBezTo>
                <a:cubicBezTo>
                  <a:pt x="606" y="1678"/>
                  <a:pt x="607" y="1676"/>
                  <a:pt x="607" y="1674"/>
                </a:cubicBez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3" name="Subtitle 2">
            <a:extLst>
              <a:ext uri="{FF2B5EF4-FFF2-40B4-BE49-F238E27FC236}">
                <a16:creationId xmlns:a16="http://schemas.microsoft.com/office/drawing/2014/main" id="{01A9196B-05EB-E2C1-7E72-D8811229D8D2}"/>
              </a:ext>
            </a:extLst>
          </p:cNvPr>
          <p:cNvSpPr>
            <a:spLocks noGrp="1"/>
          </p:cNvSpPr>
          <p:nvPr>
            <p:ph type="subTitle" idx="1"/>
          </p:nvPr>
        </p:nvSpPr>
        <p:spPr>
          <a:xfrm>
            <a:off x="442914" y="4217374"/>
            <a:ext cx="5537199" cy="235898"/>
          </a:xfrm>
        </p:spPr>
        <p:txBody>
          <a:bodyPr wrap="square">
            <a:spAutoFit/>
          </a:bodyPr>
          <a:lstStyle>
            <a:lvl1pPr marL="0" indent="0" algn="l">
              <a:buNone/>
              <a:defRPr sz="15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10" name="Title 9">
            <a:extLst>
              <a:ext uri="{FF2B5EF4-FFF2-40B4-BE49-F238E27FC236}">
                <a16:creationId xmlns:a16="http://schemas.microsoft.com/office/drawing/2014/main" id="{61AC5D26-4661-1187-F6D3-B7AC649531E9}"/>
              </a:ext>
            </a:extLst>
          </p:cNvPr>
          <p:cNvSpPr>
            <a:spLocks noGrp="1"/>
          </p:cNvSpPr>
          <p:nvPr>
            <p:ph type="title" hasCustomPrompt="1"/>
          </p:nvPr>
        </p:nvSpPr>
        <p:spPr>
          <a:xfrm>
            <a:off x="442914" y="3145139"/>
            <a:ext cx="5538786" cy="567848"/>
          </a:xfrm>
        </p:spPr>
        <p:txBody>
          <a:bodyPr wrap="square" anchor="b" anchorCtr="0">
            <a:spAutoFit/>
          </a:bodyPr>
          <a:lstStyle>
            <a:lvl1pPr>
              <a:lnSpc>
                <a:spcPct val="90000"/>
              </a:lnSpc>
              <a:defRPr sz="4000" spc="-100" baseline="0">
                <a:solidFill>
                  <a:schemeClr val="tx1"/>
                </a:solidFill>
              </a:defRPr>
            </a:lvl1pPr>
          </a:lstStyle>
          <a:p>
            <a:r>
              <a:rPr lang="en-US"/>
              <a:t>Click to add title</a:t>
            </a:r>
            <a:endParaRPr lang="en-GB"/>
          </a:p>
        </p:txBody>
      </p:sp>
      <p:sp>
        <p:nvSpPr>
          <p:cNvPr id="35" name="Picture Placeholder 34">
            <a:extLst>
              <a:ext uri="{FF2B5EF4-FFF2-40B4-BE49-F238E27FC236}">
                <a16:creationId xmlns:a16="http://schemas.microsoft.com/office/drawing/2014/main" id="{CED56BC5-AA9A-B7BD-B894-8C188FB05DFC}"/>
              </a:ext>
            </a:extLst>
          </p:cNvPr>
          <p:cNvSpPr>
            <a:spLocks noGrp="1" noChangeAspect="1"/>
          </p:cNvSpPr>
          <p:nvPr>
            <p:ph type="pic" sz="quarter" idx="10"/>
          </p:nvPr>
        </p:nvSpPr>
        <p:spPr>
          <a:xfrm>
            <a:off x="6924701" y="-96012"/>
            <a:ext cx="5322184" cy="7018365"/>
          </a:xfrm>
          <a:custGeom>
            <a:avLst/>
            <a:gdLst>
              <a:gd name="connsiteX0" fmla="*/ 1979909 w 2898914"/>
              <a:gd name="connsiteY0" fmla="*/ 0 h 2905611"/>
              <a:gd name="connsiteX1" fmla="*/ 2669401 w 2898914"/>
              <a:gd name="connsiteY1" fmla="*/ 430461 h 2905611"/>
              <a:gd name="connsiteX2" fmla="*/ 2898914 w 2898914"/>
              <a:gd name="connsiteY2" fmla="*/ 1413283 h 2905611"/>
              <a:gd name="connsiteX3" fmla="*/ 2669401 w 2898914"/>
              <a:gd name="connsiteY3" fmla="*/ 2415152 h 2905611"/>
              <a:gd name="connsiteX4" fmla="*/ 1979909 w 2898914"/>
              <a:gd name="connsiteY4" fmla="*/ 2905611 h 2905611"/>
              <a:gd name="connsiteX5" fmla="*/ 918053 w 2898914"/>
              <a:gd name="connsiteY5" fmla="*/ 2837042 h 2905611"/>
              <a:gd name="connsiteX6" fmla="*/ 383792 w 2898914"/>
              <a:gd name="connsiteY6" fmla="*/ 2600860 h 2905611"/>
              <a:gd name="connsiteX7" fmla="*/ 0 w 2898914"/>
              <a:gd name="connsiteY7" fmla="*/ 1833268 h 2905611"/>
              <a:gd name="connsiteX8" fmla="*/ 0 w 2898914"/>
              <a:gd name="connsiteY8" fmla="*/ 1063772 h 2905611"/>
              <a:gd name="connsiteX9" fmla="*/ 624733 w 2898914"/>
              <a:gd name="connsiteY9" fmla="*/ 130472 h 2905611"/>
              <a:gd name="connsiteX0" fmla="*/ 1979909 w 2898914"/>
              <a:gd name="connsiteY0" fmla="*/ 0 h 2905611"/>
              <a:gd name="connsiteX1" fmla="*/ 2669401 w 2898914"/>
              <a:gd name="connsiteY1" fmla="*/ 430461 h 2905611"/>
              <a:gd name="connsiteX2" fmla="*/ 2898914 w 2898914"/>
              <a:gd name="connsiteY2" fmla="*/ 1413283 h 2905611"/>
              <a:gd name="connsiteX3" fmla="*/ 2669401 w 2898914"/>
              <a:gd name="connsiteY3" fmla="*/ 2415152 h 2905611"/>
              <a:gd name="connsiteX4" fmla="*/ 1979909 w 2898914"/>
              <a:gd name="connsiteY4" fmla="*/ 2905611 h 2905611"/>
              <a:gd name="connsiteX5" fmla="*/ 918053 w 2898914"/>
              <a:gd name="connsiteY5" fmla="*/ 2837042 h 2905611"/>
              <a:gd name="connsiteX6" fmla="*/ 383792 w 2898914"/>
              <a:gd name="connsiteY6" fmla="*/ 2600860 h 2905611"/>
              <a:gd name="connsiteX7" fmla="*/ 0 w 2898914"/>
              <a:gd name="connsiteY7" fmla="*/ 1833268 h 2905611"/>
              <a:gd name="connsiteX8" fmla="*/ 70734 w 2898914"/>
              <a:gd name="connsiteY8" fmla="*/ 1021331 h 2905611"/>
              <a:gd name="connsiteX9" fmla="*/ 624733 w 2898914"/>
              <a:gd name="connsiteY9" fmla="*/ 130472 h 2905611"/>
              <a:gd name="connsiteX10" fmla="*/ 1979909 w 2898914"/>
              <a:gd name="connsiteY10" fmla="*/ 0 h 2905611"/>
              <a:gd name="connsiteX0" fmla="*/ 1979909 w 2898914"/>
              <a:gd name="connsiteY0" fmla="*/ 0 h 2905611"/>
              <a:gd name="connsiteX1" fmla="*/ 2669401 w 2898914"/>
              <a:gd name="connsiteY1" fmla="*/ 430461 h 2905611"/>
              <a:gd name="connsiteX2" fmla="*/ 2898914 w 2898914"/>
              <a:gd name="connsiteY2" fmla="*/ 1413283 h 2905611"/>
              <a:gd name="connsiteX3" fmla="*/ 2669401 w 2898914"/>
              <a:gd name="connsiteY3" fmla="*/ 2415152 h 2905611"/>
              <a:gd name="connsiteX4" fmla="*/ 1979909 w 2898914"/>
              <a:gd name="connsiteY4" fmla="*/ 2905611 h 2905611"/>
              <a:gd name="connsiteX5" fmla="*/ 918053 w 2898914"/>
              <a:gd name="connsiteY5" fmla="*/ 2837042 h 2905611"/>
              <a:gd name="connsiteX6" fmla="*/ 383792 w 2898914"/>
              <a:gd name="connsiteY6" fmla="*/ 2600860 h 2905611"/>
              <a:gd name="connsiteX7" fmla="*/ 0 w 2898914"/>
              <a:gd name="connsiteY7" fmla="*/ 1833268 h 2905611"/>
              <a:gd name="connsiteX8" fmla="*/ 51871 w 2898914"/>
              <a:gd name="connsiteY8" fmla="*/ 776119 h 2905611"/>
              <a:gd name="connsiteX9" fmla="*/ 624733 w 2898914"/>
              <a:gd name="connsiteY9" fmla="*/ 130472 h 2905611"/>
              <a:gd name="connsiteX10" fmla="*/ 1979909 w 2898914"/>
              <a:gd name="connsiteY10" fmla="*/ 0 h 2905611"/>
              <a:gd name="connsiteX0" fmla="*/ 2022350 w 2941355"/>
              <a:gd name="connsiteY0" fmla="*/ 0 h 2905611"/>
              <a:gd name="connsiteX1" fmla="*/ 2711842 w 2941355"/>
              <a:gd name="connsiteY1" fmla="*/ 430461 h 2905611"/>
              <a:gd name="connsiteX2" fmla="*/ 2941355 w 2941355"/>
              <a:gd name="connsiteY2" fmla="*/ 1413283 h 2905611"/>
              <a:gd name="connsiteX3" fmla="*/ 2711842 w 2941355"/>
              <a:gd name="connsiteY3" fmla="*/ 2415152 h 2905611"/>
              <a:gd name="connsiteX4" fmla="*/ 2022350 w 2941355"/>
              <a:gd name="connsiteY4" fmla="*/ 2905611 h 2905611"/>
              <a:gd name="connsiteX5" fmla="*/ 960494 w 2941355"/>
              <a:gd name="connsiteY5" fmla="*/ 2837042 h 2905611"/>
              <a:gd name="connsiteX6" fmla="*/ 426233 w 2941355"/>
              <a:gd name="connsiteY6" fmla="*/ 2600860 h 2905611"/>
              <a:gd name="connsiteX7" fmla="*/ 0 w 2941355"/>
              <a:gd name="connsiteY7" fmla="*/ 1762534 h 2905611"/>
              <a:gd name="connsiteX8" fmla="*/ 94312 w 2941355"/>
              <a:gd name="connsiteY8" fmla="*/ 776119 h 2905611"/>
              <a:gd name="connsiteX9" fmla="*/ 667174 w 2941355"/>
              <a:gd name="connsiteY9" fmla="*/ 130472 h 2905611"/>
              <a:gd name="connsiteX10" fmla="*/ 2022350 w 2941355"/>
              <a:gd name="connsiteY10" fmla="*/ 0 h 2905611"/>
              <a:gd name="connsiteX0" fmla="*/ 2022350 w 2941355"/>
              <a:gd name="connsiteY0" fmla="*/ 0 h 2905611"/>
              <a:gd name="connsiteX1" fmla="*/ 2711842 w 2941355"/>
              <a:gd name="connsiteY1" fmla="*/ 430461 h 2905611"/>
              <a:gd name="connsiteX2" fmla="*/ 2941355 w 2941355"/>
              <a:gd name="connsiteY2" fmla="*/ 1413283 h 2905611"/>
              <a:gd name="connsiteX3" fmla="*/ 2711842 w 2941355"/>
              <a:gd name="connsiteY3" fmla="*/ 2415152 h 2905611"/>
              <a:gd name="connsiteX4" fmla="*/ 2022350 w 2941355"/>
              <a:gd name="connsiteY4" fmla="*/ 2905611 h 2905611"/>
              <a:gd name="connsiteX5" fmla="*/ 960494 w 2941355"/>
              <a:gd name="connsiteY5" fmla="*/ 2837042 h 2905611"/>
              <a:gd name="connsiteX6" fmla="*/ 346067 w 2941355"/>
              <a:gd name="connsiteY6" fmla="*/ 2412235 h 2905611"/>
              <a:gd name="connsiteX7" fmla="*/ 0 w 2941355"/>
              <a:gd name="connsiteY7" fmla="*/ 1762534 h 2905611"/>
              <a:gd name="connsiteX8" fmla="*/ 94312 w 2941355"/>
              <a:gd name="connsiteY8" fmla="*/ 776119 h 2905611"/>
              <a:gd name="connsiteX9" fmla="*/ 667174 w 2941355"/>
              <a:gd name="connsiteY9" fmla="*/ 130472 h 2905611"/>
              <a:gd name="connsiteX10" fmla="*/ 2022350 w 2941355"/>
              <a:gd name="connsiteY10" fmla="*/ 0 h 2905611"/>
              <a:gd name="connsiteX0" fmla="*/ 2022350 w 2941355"/>
              <a:gd name="connsiteY0" fmla="*/ 0 h 2905611"/>
              <a:gd name="connsiteX1" fmla="*/ 2711842 w 2941355"/>
              <a:gd name="connsiteY1" fmla="*/ 430461 h 2905611"/>
              <a:gd name="connsiteX2" fmla="*/ 2941355 w 2941355"/>
              <a:gd name="connsiteY2" fmla="*/ 1413283 h 2905611"/>
              <a:gd name="connsiteX3" fmla="*/ 2711842 w 2941355"/>
              <a:gd name="connsiteY3" fmla="*/ 2415152 h 2905611"/>
              <a:gd name="connsiteX4" fmla="*/ 2022350 w 2941355"/>
              <a:gd name="connsiteY4" fmla="*/ 2905611 h 2905611"/>
              <a:gd name="connsiteX5" fmla="*/ 955778 w 2941355"/>
              <a:gd name="connsiteY5" fmla="*/ 2596546 h 2905611"/>
              <a:gd name="connsiteX6" fmla="*/ 346067 w 2941355"/>
              <a:gd name="connsiteY6" fmla="*/ 2412235 h 2905611"/>
              <a:gd name="connsiteX7" fmla="*/ 0 w 2941355"/>
              <a:gd name="connsiteY7" fmla="*/ 1762534 h 2905611"/>
              <a:gd name="connsiteX8" fmla="*/ 94312 w 2941355"/>
              <a:gd name="connsiteY8" fmla="*/ 776119 h 2905611"/>
              <a:gd name="connsiteX9" fmla="*/ 667174 w 2941355"/>
              <a:gd name="connsiteY9" fmla="*/ 130472 h 2905611"/>
              <a:gd name="connsiteX10" fmla="*/ 2022350 w 2941355"/>
              <a:gd name="connsiteY10" fmla="*/ 0 h 2905611"/>
              <a:gd name="connsiteX0" fmla="*/ 2022350 w 2941355"/>
              <a:gd name="connsiteY0" fmla="*/ 0 h 2905611"/>
              <a:gd name="connsiteX1" fmla="*/ 2711842 w 2941355"/>
              <a:gd name="connsiteY1" fmla="*/ 430461 h 2905611"/>
              <a:gd name="connsiteX2" fmla="*/ 2941355 w 2941355"/>
              <a:gd name="connsiteY2" fmla="*/ 1413283 h 2905611"/>
              <a:gd name="connsiteX3" fmla="*/ 2711842 w 2941355"/>
              <a:gd name="connsiteY3" fmla="*/ 2415152 h 2905611"/>
              <a:gd name="connsiteX4" fmla="*/ 2022350 w 2941355"/>
              <a:gd name="connsiteY4" fmla="*/ 2905611 h 2905611"/>
              <a:gd name="connsiteX5" fmla="*/ 979356 w 2941355"/>
              <a:gd name="connsiteY5" fmla="*/ 2695574 h 2905611"/>
              <a:gd name="connsiteX6" fmla="*/ 346067 w 2941355"/>
              <a:gd name="connsiteY6" fmla="*/ 2412235 h 2905611"/>
              <a:gd name="connsiteX7" fmla="*/ 0 w 2941355"/>
              <a:gd name="connsiteY7" fmla="*/ 1762534 h 2905611"/>
              <a:gd name="connsiteX8" fmla="*/ 94312 w 2941355"/>
              <a:gd name="connsiteY8" fmla="*/ 776119 h 2905611"/>
              <a:gd name="connsiteX9" fmla="*/ 667174 w 2941355"/>
              <a:gd name="connsiteY9" fmla="*/ 130472 h 2905611"/>
              <a:gd name="connsiteX10" fmla="*/ 2022350 w 2941355"/>
              <a:gd name="connsiteY10" fmla="*/ 0 h 2905611"/>
              <a:gd name="connsiteX0" fmla="*/ 2022350 w 2941355"/>
              <a:gd name="connsiteY0" fmla="*/ 0 h 2695574"/>
              <a:gd name="connsiteX1" fmla="*/ 2711842 w 2941355"/>
              <a:gd name="connsiteY1" fmla="*/ 430461 h 2695574"/>
              <a:gd name="connsiteX2" fmla="*/ 2941355 w 2941355"/>
              <a:gd name="connsiteY2" fmla="*/ 1413283 h 2695574"/>
              <a:gd name="connsiteX3" fmla="*/ 2711842 w 2941355"/>
              <a:gd name="connsiteY3" fmla="*/ 2415152 h 2695574"/>
              <a:gd name="connsiteX4" fmla="*/ 1508348 w 2941355"/>
              <a:gd name="connsiteY4" fmla="*/ 2424618 h 2695574"/>
              <a:gd name="connsiteX5" fmla="*/ 979356 w 2941355"/>
              <a:gd name="connsiteY5" fmla="*/ 2695574 h 2695574"/>
              <a:gd name="connsiteX6" fmla="*/ 346067 w 2941355"/>
              <a:gd name="connsiteY6" fmla="*/ 2412235 h 2695574"/>
              <a:gd name="connsiteX7" fmla="*/ 0 w 2941355"/>
              <a:gd name="connsiteY7" fmla="*/ 1762534 h 2695574"/>
              <a:gd name="connsiteX8" fmla="*/ 94312 w 2941355"/>
              <a:gd name="connsiteY8" fmla="*/ 776119 h 2695574"/>
              <a:gd name="connsiteX9" fmla="*/ 667174 w 2941355"/>
              <a:gd name="connsiteY9" fmla="*/ 130472 h 2695574"/>
              <a:gd name="connsiteX10" fmla="*/ 2022350 w 2941355"/>
              <a:gd name="connsiteY10" fmla="*/ 0 h 2695574"/>
              <a:gd name="connsiteX0" fmla="*/ 2022350 w 2941355"/>
              <a:gd name="connsiteY0" fmla="*/ 0 h 2731133"/>
              <a:gd name="connsiteX1" fmla="*/ 2711842 w 2941355"/>
              <a:gd name="connsiteY1" fmla="*/ 430461 h 2731133"/>
              <a:gd name="connsiteX2" fmla="*/ 2941355 w 2941355"/>
              <a:gd name="connsiteY2" fmla="*/ 1413283 h 2731133"/>
              <a:gd name="connsiteX3" fmla="*/ 2711842 w 2941355"/>
              <a:gd name="connsiteY3" fmla="*/ 2415152 h 2731133"/>
              <a:gd name="connsiteX4" fmla="*/ 1956332 w 2941355"/>
              <a:gd name="connsiteY4" fmla="*/ 2731133 h 2731133"/>
              <a:gd name="connsiteX5" fmla="*/ 979356 w 2941355"/>
              <a:gd name="connsiteY5" fmla="*/ 2695574 h 2731133"/>
              <a:gd name="connsiteX6" fmla="*/ 346067 w 2941355"/>
              <a:gd name="connsiteY6" fmla="*/ 2412235 h 2731133"/>
              <a:gd name="connsiteX7" fmla="*/ 0 w 2941355"/>
              <a:gd name="connsiteY7" fmla="*/ 1762534 h 2731133"/>
              <a:gd name="connsiteX8" fmla="*/ 94312 w 2941355"/>
              <a:gd name="connsiteY8" fmla="*/ 776119 h 2731133"/>
              <a:gd name="connsiteX9" fmla="*/ 667174 w 2941355"/>
              <a:gd name="connsiteY9" fmla="*/ 130472 h 2731133"/>
              <a:gd name="connsiteX10" fmla="*/ 2022350 w 2941355"/>
              <a:gd name="connsiteY10" fmla="*/ 0 h 2731133"/>
              <a:gd name="connsiteX0" fmla="*/ 2022350 w 2941355"/>
              <a:gd name="connsiteY0" fmla="*/ 0 h 2731133"/>
              <a:gd name="connsiteX1" fmla="*/ 2711842 w 2941355"/>
              <a:gd name="connsiteY1" fmla="*/ 430461 h 2731133"/>
              <a:gd name="connsiteX2" fmla="*/ 2941355 w 2941355"/>
              <a:gd name="connsiteY2" fmla="*/ 1413283 h 2731133"/>
              <a:gd name="connsiteX3" fmla="*/ 2626961 w 2941355"/>
              <a:gd name="connsiteY3" fmla="*/ 2226528 h 2731133"/>
              <a:gd name="connsiteX4" fmla="*/ 1956332 w 2941355"/>
              <a:gd name="connsiteY4" fmla="*/ 2731133 h 2731133"/>
              <a:gd name="connsiteX5" fmla="*/ 979356 w 2941355"/>
              <a:gd name="connsiteY5" fmla="*/ 2695574 h 2731133"/>
              <a:gd name="connsiteX6" fmla="*/ 346067 w 2941355"/>
              <a:gd name="connsiteY6" fmla="*/ 2412235 h 2731133"/>
              <a:gd name="connsiteX7" fmla="*/ 0 w 2941355"/>
              <a:gd name="connsiteY7" fmla="*/ 1762534 h 2731133"/>
              <a:gd name="connsiteX8" fmla="*/ 94312 w 2941355"/>
              <a:gd name="connsiteY8" fmla="*/ 776119 h 2731133"/>
              <a:gd name="connsiteX9" fmla="*/ 667174 w 2941355"/>
              <a:gd name="connsiteY9" fmla="*/ 130472 h 2731133"/>
              <a:gd name="connsiteX10" fmla="*/ 2022350 w 2941355"/>
              <a:gd name="connsiteY10" fmla="*/ 0 h 2731133"/>
              <a:gd name="connsiteX0" fmla="*/ 2022350 w 2941355"/>
              <a:gd name="connsiteY0" fmla="*/ 0 h 2731133"/>
              <a:gd name="connsiteX1" fmla="*/ 2711842 w 2941355"/>
              <a:gd name="connsiteY1" fmla="*/ 430461 h 2731133"/>
              <a:gd name="connsiteX2" fmla="*/ 2941355 w 2941355"/>
              <a:gd name="connsiteY2" fmla="*/ 1413283 h 2731133"/>
              <a:gd name="connsiteX3" fmla="*/ 1956332 w 2941355"/>
              <a:gd name="connsiteY3" fmla="*/ 2731133 h 2731133"/>
              <a:gd name="connsiteX4" fmla="*/ 979356 w 2941355"/>
              <a:gd name="connsiteY4" fmla="*/ 2695574 h 2731133"/>
              <a:gd name="connsiteX5" fmla="*/ 346067 w 2941355"/>
              <a:gd name="connsiteY5" fmla="*/ 2412235 h 2731133"/>
              <a:gd name="connsiteX6" fmla="*/ 0 w 2941355"/>
              <a:gd name="connsiteY6" fmla="*/ 1762534 h 2731133"/>
              <a:gd name="connsiteX7" fmla="*/ 94312 w 2941355"/>
              <a:gd name="connsiteY7" fmla="*/ 776119 h 2731133"/>
              <a:gd name="connsiteX8" fmla="*/ 667174 w 2941355"/>
              <a:gd name="connsiteY8" fmla="*/ 130472 h 2731133"/>
              <a:gd name="connsiteX9" fmla="*/ 2022350 w 2941355"/>
              <a:gd name="connsiteY9" fmla="*/ 0 h 2731133"/>
              <a:gd name="connsiteX0" fmla="*/ 2022350 w 2711842"/>
              <a:gd name="connsiteY0" fmla="*/ 0 h 2731133"/>
              <a:gd name="connsiteX1" fmla="*/ 2711842 w 2711842"/>
              <a:gd name="connsiteY1" fmla="*/ 430461 h 2731133"/>
              <a:gd name="connsiteX2" fmla="*/ 1956332 w 2711842"/>
              <a:gd name="connsiteY2" fmla="*/ 2731133 h 2731133"/>
              <a:gd name="connsiteX3" fmla="*/ 979356 w 2711842"/>
              <a:gd name="connsiteY3" fmla="*/ 2695574 h 2731133"/>
              <a:gd name="connsiteX4" fmla="*/ 346067 w 2711842"/>
              <a:gd name="connsiteY4" fmla="*/ 2412235 h 2731133"/>
              <a:gd name="connsiteX5" fmla="*/ 0 w 2711842"/>
              <a:gd name="connsiteY5" fmla="*/ 1762534 h 2731133"/>
              <a:gd name="connsiteX6" fmla="*/ 94312 w 2711842"/>
              <a:gd name="connsiteY6" fmla="*/ 776119 h 2731133"/>
              <a:gd name="connsiteX7" fmla="*/ 667174 w 2711842"/>
              <a:gd name="connsiteY7" fmla="*/ 130472 h 2731133"/>
              <a:gd name="connsiteX8" fmla="*/ 2022350 w 2711842"/>
              <a:gd name="connsiteY8" fmla="*/ 0 h 2731133"/>
              <a:gd name="connsiteX0" fmla="*/ 2022350 w 2022350"/>
              <a:gd name="connsiteY0" fmla="*/ 0 h 2731133"/>
              <a:gd name="connsiteX1" fmla="*/ 1956332 w 2022350"/>
              <a:gd name="connsiteY1" fmla="*/ 2731133 h 2731133"/>
              <a:gd name="connsiteX2" fmla="*/ 979356 w 2022350"/>
              <a:gd name="connsiteY2" fmla="*/ 2695574 h 2731133"/>
              <a:gd name="connsiteX3" fmla="*/ 346067 w 2022350"/>
              <a:gd name="connsiteY3" fmla="*/ 2412235 h 2731133"/>
              <a:gd name="connsiteX4" fmla="*/ 0 w 2022350"/>
              <a:gd name="connsiteY4" fmla="*/ 1762534 h 2731133"/>
              <a:gd name="connsiteX5" fmla="*/ 94312 w 2022350"/>
              <a:gd name="connsiteY5" fmla="*/ 776119 h 2731133"/>
              <a:gd name="connsiteX6" fmla="*/ 667174 w 2022350"/>
              <a:gd name="connsiteY6" fmla="*/ 130472 h 2731133"/>
              <a:gd name="connsiteX7" fmla="*/ 2022350 w 2022350"/>
              <a:gd name="connsiteY7" fmla="*/ 0 h 2731133"/>
              <a:gd name="connsiteX0" fmla="*/ 1517779 w 1956332"/>
              <a:gd name="connsiteY0" fmla="*/ 322227 h 2600661"/>
              <a:gd name="connsiteX1" fmla="*/ 1956332 w 1956332"/>
              <a:gd name="connsiteY1" fmla="*/ 2600661 h 2600661"/>
              <a:gd name="connsiteX2" fmla="*/ 979356 w 1956332"/>
              <a:gd name="connsiteY2" fmla="*/ 2565102 h 2600661"/>
              <a:gd name="connsiteX3" fmla="*/ 346067 w 1956332"/>
              <a:gd name="connsiteY3" fmla="*/ 2281763 h 2600661"/>
              <a:gd name="connsiteX4" fmla="*/ 0 w 1956332"/>
              <a:gd name="connsiteY4" fmla="*/ 1632062 h 2600661"/>
              <a:gd name="connsiteX5" fmla="*/ 94312 w 1956332"/>
              <a:gd name="connsiteY5" fmla="*/ 645647 h 2600661"/>
              <a:gd name="connsiteX6" fmla="*/ 667174 w 1956332"/>
              <a:gd name="connsiteY6" fmla="*/ 0 h 2600661"/>
              <a:gd name="connsiteX7" fmla="*/ 1517779 w 1956332"/>
              <a:gd name="connsiteY7" fmla="*/ 322227 h 2600661"/>
              <a:gd name="connsiteX0" fmla="*/ 1970478 w 1970478"/>
              <a:gd name="connsiteY0" fmla="*/ 20428 h 2600661"/>
              <a:gd name="connsiteX1" fmla="*/ 1956332 w 1970478"/>
              <a:gd name="connsiteY1" fmla="*/ 2600661 h 2600661"/>
              <a:gd name="connsiteX2" fmla="*/ 979356 w 1970478"/>
              <a:gd name="connsiteY2" fmla="*/ 2565102 h 2600661"/>
              <a:gd name="connsiteX3" fmla="*/ 346067 w 1970478"/>
              <a:gd name="connsiteY3" fmla="*/ 2281763 h 2600661"/>
              <a:gd name="connsiteX4" fmla="*/ 0 w 1970478"/>
              <a:gd name="connsiteY4" fmla="*/ 1632062 h 2600661"/>
              <a:gd name="connsiteX5" fmla="*/ 94312 w 1970478"/>
              <a:gd name="connsiteY5" fmla="*/ 645647 h 2600661"/>
              <a:gd name="connsiteX6" fmla="*/ 667174 w 1970478"/>
              <a:gd name="connsiteY6" fmla="*/ 0 h 2600661"/>
              <a:gd name="connsiteX7" fmla="*/ 1970478 w 1970478"/>
              <a:gd name="connsiteY7" fmla="*/ 20428 h 2600661"/>
              <a:gd name="connsiteX0" fmla="*/ 1970478 w 1970478"/>
              <a:gd name="connsiteY0" fmla="*/ 20428 h 2565102"/>
              <a:gd name="connsiteX1" fmla="*/ 1909176 w 1970478"/>
              <a:gd name="connsiteY1" fmla="*/ 2374311 h 2565102"/>
              <a:gd name="connsiteX2" fmla="*/ 979356 w 1970478"/>
              <a:gd name="connsiteY2" fmla="*/ 2565102 h 2565102"/>
              <a:gd name="connsiteX3" fmla="*/ 346067 w 1970478"/>
              <a:gd name="connsiteY3" fmla="*/ 2281763 h 2565102"/>
              <a:gd name="connsiteX4" fmla="*/ 0 w 1970478"/>
              <a:gd name="connsiteY4" fmla="*/ 1632062 h 2565102"/>
              <a:gd name="connsiteX5" fmla="*/ 94312 w 1970478"/>
              <a:gd name="connsiteY5" fmla="*/ 645647 h 2565102"/>
              <a:gd name="connsiteX6" fmla="*/ 667174 w 1970478"/>
              <a:gd name="connsiteY6" fmla="*/ 0 h 2565102"/>
              <a:gd name="connsiteX7" fmla="*/ 1970478 w 1970478"/>
              <a:gd name="connsiteY7" fmla="*/ 20428 h 2565102"/>
              <a:gd name="connsiteX0" fmla="*/ 1970478 w 1976171"/>
              <a:gd name="connsiteY0" fmla="*/ 20428 h 2605376"/>
              <a:gd name="connsiteX1" fmla="*/ 1975195 w 1976171"/>
              <a:gd name="connsiteY1" fmla="*/ 2605376 h 2605376"/>
              <a:gd name="connsiteX2" fmla="*/ 979356 w 1976171"/>
              <a:gd name="connsiteY2" fmla="*/ 2565102 h 2605376"/>
              <a:gd name="connsiteX3" fmla="*/ 346067 w 1976171"/>
              <a:gd name="connsiteY3" fmla="*/ 2281763 h 2605376"/>
              <a:gd name="connsiteX4" fmla="*/ 0 w 1976171"/>
              <a:gd name="connsiteY4" fmla="*/ 1632062 h 2605376"/>
              <a:gd name="connsiteX5" fmla="*/ 94312 w 1976171"/>
              <a:gd name="connsiteY5" fmla="*/ 645647 h 2605376"/>
              <a:gd name="connsiteX6" fmla="*/ 667174 w 1976171"/>
              <a:gd name="connsiteY6" fmla="*/ 0 h 2605376"/>
              <a:gd name="connsiteX7" fmla="*/ 1970478 w 1976171"/>
              <a:gd name="connsiteY7" fmla="*/ 20428 h 2605376"/>
              <a:gd name="connsiteX0" fmla="*/ 1970478 w 1976171"/>
              <a:gd name="connsiteY0" fmla="*/ 20428 h 2612258"/>
              <a:gd name="connsiteX1" fmla="*/ 1975195 w 1976171"/>
              <a:gd name="connsiteY1" fmla="*/ 2605376 h 2612258"/>
              <a:gd name="connsiteX2" fmla="*/ 1026512 w 1976171"/>
              <a:gd name="connsiteY2" fmla="*/ 2612258 h 2612258"/>
              <a:gd name="connsiteX3" fmla="*/ 346067 w 1976171"/>
              <a:gd name="connsiteY3" fmla="*/ 2281763 h 2612258"/>
              <a:gd name="connsiteX4" fmla="*/ 0 w 1976171"/>
              <a:gd name="connsiteY4" fmla="*/ 1632062 h 2612258"/>
              <a:gd name="connsiteX5" fmla="*/ 94312 w 1976171"/>
              <a:gd name="connsiteY5" fmla="*/ 645647 h 2612258"/>
              <a:gd name="connsiteX6" fmla="*/ 667174 w 1976171"/>
              <a:gd name="connsiteY6" fmla="*/ 0 h 2612258"/>
              <a:gd name="connsiteX7" fmla="*/ 1970478 w 1976171"/>
              <a:gd name="connsiteY7" fmla="*/ 20428 h 2612258"/>
              <a:gd name="connsiteX0" fmla="*/ 1970478 w 1976171"/>
              <a:gd name="connsiteY0" fmla="*/ 6281 h 2598111"/>
              <a:gd name="connsiteX1" fmla="*/ 1975195 w 1976171"/>
              <a:gd name="connsiteY1" fmla="*/ 2591229 h 2598111"/>
              <a:gd name="connsiteX2" fmla="*/ 1026512 w 1976171"/>
              <a:gd name="connsiteY2" fmla="*/ 2598111 h 2598111"/>
              <a:gd name="connsiteX3" fmla="*/ 346067 w 1976171"/>
              <a:gd name="connsiteY3" fmla="*/ 2267616 h 2598111"/>
              <a:gd name="connsiteX4" fmla="*/ 0 w 1976171"/>
              <a:gd name="connsiteY4" fmla="*/ 1617915 h 2598111"/>
              <a:gd name="connsiteX5" fmla="*/ 94312 w 1976171"/>
              <a:gd name="connsiteY5" fmla="*/ 631500 h 2598111"/>
              <a:gd name="connsiteX6" fmla="*/ 478550 w 1976171"/>
              <a:gd name="connsiteY6" fmla="*/ 0 h 2598111"/>
              <a:gd name="connsiteX7" fmla="*/ 1970478 w 1976171"/>
              <a:gd name="connsiteY7" fmla="*/ 6281 h 2598111"/>
              <a:gd name="connsiteX0" fmla="*/ 1970478 w 1976171"/>
              <a:gd name="connsiteY0" fmla="*/ 0 h 2605977"/>
              <a:gd name="connsiteX1" fmla="*/ 1975195 w 1976171"/>
              <a:gd name="connsiteY1" fmla="*/ 2599095 h 2605977"/>
              <a:gd name="connsiteX2" fmla="*/ 1026512 w 1976171"/>
              <a:gd name="connsiteY2" fmla="*/ 2605977 h 2605977"/>
              <a:gd name="connsiteX3" fmla="*/ 346067 w 1976171"/>
              <a:gd name="connsiteY3" fmla="*/ 2275482 h 2605977"/>
              <a:gd name="connsiteX4" fmla="*/ 0 w 1976171"/>
              <a:gd name="connsiteY4" fmla="*/ 1625781 h 2605977"/>
              <a:gd name="connsiteX5" fmla="*/ 94312 w 1976171"/>
              <a:gd name="connsiteY5" fmla="*/ 639366 h 2605977"/>
              <a:gd name="connsiteX6" fmla="*/ 478550 w 1976171"/>
              <a:gd name="connsiteY6" fmla="*/ 7866 h 2605977"/>
              <a:gd name="connsiteX7" fmla="*/ 1970478 w 1976171"/>
              <a:gd name="connsiteY7" fmla="*/ 0 h 2605977"/>
              <a:gd name="connsiteX0" fmla="*/ 1970478 w 1976171"/>
              <a:gd name="connsiteY0" fmla="*/ 0 h 2605977"/>
              <a:gd name="connsiteX1" fmla="*/ 1975195 w 1976171"/>
              <a:gd name="connsiteY1" fmla="*/ 2599095 h 2605977"/>
              <a:gd name="connsiteX2" fmla="*/ 837888 w 1976171"/>
              <a:gd name="connsiteY2" fmla="*/ 2605977 h 2605977"/>
              <a:gd name="connsiteX3" fmla="*/ 346067 w 1976171"/>
              <a:gd name="connsiteY3" fmla="*/ 2275482 h 2605977"/>
              <a:gd name="connsiteX4" fmla="*/ 0 w 1976171"/>
              <a:gd name="connsiteY4" fmla="*/ 1625781 h 2605977"/>
              <a:gd name="connsiteX5" fmla="*/ 94312 w 1976171"/>
              <a:gd name="connsiteY5" fmla="*/ 639366 h 2605977"/>
              <a:gd name="connsiteX6" fmla="*/ 478550 w 1976171"/>
              <a:gd name="connsiteY6" fmla="*/ 7866 h 2605977"/>
              <a:gd name="connsiteX7" fmla="*/ 1970478 w 1976171"/>
              <a:gd name="connsiteY7" fmla="*/ 0 h 2605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76171" h="2605977">
                <a:moveTo>
                  <a:pt x="1970478" y="0"/>
                </a:moveTo>
                <a:cubicBezTo>
                  <a:pt x="1965763" y="860078"/>
                  <a:pt x="1979910" y="1739017"/>
                  <a:pt x="1975195" y="2599095"/>
                </a:cubicBezTo>
                <a:lnTo>
                  <a:pt x="837888" y="2605977"/>
                </a:lnTo>
                <a:lnTo>
                  <a:pt x="346067" y="2275482"/>
                </a:lnTo>
                <a:lnTo>
                  <a:pt x="0" y="1625781"/>
                </a:lnTo>
                <a:lnTo>
                  <a:pt x="94312" y="639366"/>
                </a:lnTo>
                <a:lnTo>
                  <a:pt x="478550" y="7866"/>
                </a:lnTo>
                <a:lnTo>
                  <a:pt x="1970478" y="0"/>
                </a:lnTo>
                <a:close/>
              </a:path>
            </a:pathLst>
          </a:custGeom>
          <a:solidFill>
            <a:schemeClr val="bg1">
              <a:lumMod val="95000"/>
            </a:schemeClr>
          </a:solidFill>
        </p:spPr>
        <p:txBody>
          <a:bodyPr wrap="square" anchor="ctr" anchorCtr="1">
            <a:noAutofit/>
          </a:bodyPr>
          <a:lstStyle>
            <a:lvl1pPr>
              <a:defRPr b="0"/>
            </a:lvl1pPr>
          </a:lstStyle>
          <a:p>
            <a:r>
              <a:rPr lang="en-GB"/>
              <a:t>Click icon to add picture</a:t>
            </a:r>
          </a:p>
        </p:txBody>
      </p:sp>
      <p:sp>
        <p:nvSpPr>
          <p:cNvPr id="2" name="Freeform 22">
            <a:extLst>
              <a:ext uri="{FF2B5EF4-FFF2-40B4-BE49-F238E27FC236}">
                <a16:creationId xmlns:a16="http://schemas.microsoft.com/office/drawing/2014/main" id="{30E97FEB-DD82-37E3-C48C-EA87FB4F26A1}"/>
              </a:ext>
            </a:extLst>
          </p:cNvPr>
          <p:cNvSpPr>
            <a:spLocks noChangeAspect="1" noEditPoints="1"/>
          </p:cNvSpPr>
          <p:nvPr userDrawn="1"/>
        </p:nvSpPr>
        <p:spPr bwMode="auto">
          <a:xfrm>
            <a:off x="457200" y="442800"/>
            <a:ext cx="964800" cy="914400"/>
          </a:xfrm>
          <a:custGeom>
            <a:avLst/>
            <a:gdLst>
              <a:gd name="T0" fmla="*/ 791 w 1013"/>
              <a:gd name="T1" fmla="*/ 656 h 959"/>
              <a:gd name="T2" fmla="*/ 872 w 1013"/>
              <a:gd name="T3" fmla="*/ 922 h 959"/>
              <a:gd name="T4" fmla="*/ 791 w 1013"/>
              <a:gd name="T5" fmla="*/ 656 h 959"/>
              <a:gd name="T6" fmla="*/ 345 w 1013"/>
              <a:gd name="T7" fmla="*/ 262 h 959"/>
              <a:gd name="T8" fmla="*/ 435 w 1013"/>
              <a:gd name="T9" fmla="*/ 232 h 959"/>
              <a:gd name="T10" fmla="*/ 207 w 1013"/>
              <a:gd name="T11" fmla="*/ 73 h 959"/>
              <a:gd name="T12" fmla="*/ 345 w 1013"/>
              <a:gd name="T13" fmla="*/ 262 h 959"/>
              <a:gd name="T14" fmla="*/ 240 w 1013"/>
              <a:gd name="T15" fmla="*/ 583 h 959"/>
              <a:gd name="T16" fmla="*/ 159 w 1013"/>
              <a:gd name="T17" fmla="*/ 849 h 959"/>
              <a:gd name="T18" fmla="*/ 240 w 1013"/>
              <a:gd name="T19" fmla="*/ 583 h 959"/>
              <a:gd name="T20" fmla="*/ 495 w 1013"/>
              <a:gd name="T21" fmla="*/ 725 h 959"/>
              <a:gd name="T22" fmla="*/ 495 w 1013"/>
              <a:gd name="T23" fmla="*/ 959 h 959"/>
              <a:gd name="T24" fmla="*/ 586 w 1013"/>
              <a:gd name="T25" fmla="*/ 695 h 959"/>
              <a:gd name="T26" fmla="*/ 495 w 1013"/>
              <a:gd name="T27" fmla="*/ 725 h 959"/>
              <a:gd name="T28" fmla="*/ 207 w 1013"/>
              <a:gd name="T29" fmla="*/ 884 h 959"/>
              <a:gd name="T30" fmla="*/ 435 w 1013"/>
              <a:gd name="T31" fmla="*/ 725 h 959"/>
              <a:gd name="T32" fmla="*/ 207 w 1013"/>
              <a:gd name="T33" fmla="*/ 884 h 959"/>
              <a:gd name="T34" fmla="*/ 709 w 1013"/>
              <a:gd name="T35" fmla="*/ 526 h 959"/>
              <a:gd name="T36" fmla="*/ 931 w 1013"/>
              <a:gd name="T37" fmla="*/ 598 h 959"/>
              <a:gd name="T38" fmla="*/ 709 w 1013"/>
              <a:gd name="T39" fmla="*/ 431 h 959"/>
              <a:gd name="T40" fmla="*/ 709 w 1013"/>
              <a:gd name="T41" fmla="*/ 526 h 959"/>
              <a:gd name="T42" fmla="*/ 222 w 1013"/>
              <a:gd name="T43" fmla="*/ 431 h 959"/>
              <a:gd name="T44" fmla="*/ 0 w 1013"/>
              <a:gd name="T45" fmla="*/ 598 h 959"/>
              <a:gd name="T46" fmla="*/ 222 w 1013"/>
              <a:gd name="T47" fmla="*/ 431 h 959"/>
              <a:gd name="T48" fmla="*/ 690 w 1013"/>
              <a:gd name="T49" fmla="*/ 374 h 959"/>
              <a:gd name="T50" fmla="*/ 913 w 1013"/>
              <a:gd name="T51" fmla="*/ 302 h 959"/>
              <a:gd name="T52" fmla="*/ 634 w 1013"/>
              <a:gd name="T53" fmla="*/ 297 h 959"/>
              <a:gd name="T54" fmla="*/ 690 w 1013"/>
              <a:gd name="T55" fmla="*/ 374 h 959"/>
              <a:gd name="T56" fmla="*/ 296 w 1013"/>
              <a:gd name="T57" fmla="*/ 297 h 959"/>
              <a:gd name="T58" fmla="*/ 18 w 1013"/>
              <a:gd name="T59" fmla="*/ 302 h 959"/>
              <a:gd name="T60" fmla="*/ 296 w 1013"/>
              <a:gd name="T61" fmla="*/ 297 h 959"/>
              <a:gd name="T62" fmla="*/ 586 w 1013"/>
              <a:gd name="T63" fmla="*/ 262 h 959"/>
              <a:gd name="T64" fmla="*/ 495 w 1013"/>
              <a:gd name="T65" fmla="*/ 232 h 959"/>
              <a:gd name="T66" fmla="*/ 723 w 1013"/>
              <a:gd name="T67" fmla="*/ 73 h 9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13" h="959">
                <a:moveTo>
                  <a:pt x="791" y="656"/>
                </a:moveTo>
                <a:lnTo>
                  <a:pt x="791" y="656"/>
                </a:lnTo>
                <a:lnTo>
                  <a:pt x="735" y="733"/>
                </a:lnTo>
                <a:lnTo>
                  <a:pt x="872" y="922"/>
                </a:lnTo>
                <a:lnTo>
                  <a:pt x="1013" y="729"/>
                </a:lnTo>
                <a:lnTo>
                  <a:pt x="791" y="656"/>
                </a:lnTo>
                <a:lnTo>
                  <a:pt x="791" y="656"/>
                </a:lnTo>
                <a:close/>
                <a:moveTo>
                  <a:pt x="345" y="262"/>
                </a:moveTo>
                <a:lnTo>
                  <a:pt x="345" y="262"/>
                </a:lnTo>
                <a:lnTo>
                  <a:pt x="435" y="232"/>
                </a:lnTo>
                <a:lnTo>
                  <a:pt x="435" y="0"/>
                </a:lnTo>
                <a:lnTo>
                  <a:pt x="207" y="73"/>
                </a:lnTo>
                <a:lnTo>
                  <a:pt x="345" y="262"/>
                </a:lnTo>
                <a:lnTo>
                  <a:pt x="345" y="262"/>
                </a:lnTo>
                <a:close/>
                <a:moveTo>
                  <a:pt x="240" y="583"/>
                </a:moveTo>
                <a:lnTo>
                  <a:pt x="240" y="583"/>
                </a:lnTo>
                <a:lnTo>
                  <a:pt x="18" y="655"/>
                </a:lnTo>
                <a:lnTo>
                  <a:pt x="159" y="849"/>
                </a:lnTo>
                <a:lnTo>
                  <a:pt x="296" y="660"/>
                </a:lnTo>
                <a:lnTo>
                  <a:pt x="240" y="583"/>
                </a:lnTo>
                <a:lnTo>
                  <a:pt x="240" y="583"/>
                </a:lnTo>
                <a:close/>
                <a:moveTo>
                  <a:pt x="495" y="725"/>
                </a:moveTo>
                <a:lnTo>
                  <a:pt x="495" y="725"/>
                </a:lnTo>
                <a:lnTo>
                  <a:pt x="495" y="959"/>
                </a:lnTo>
                <a:lnTo>
                  <a:pt x="723" y="884"/>
                </a:lnTo>
                <a:lnTo>
                  <a:pt x="586" y="695"/>
                </a:lnTo>
                <a:lnTo>
                  <a:pt x="495" y="725"/>
                </a:lnTo>
                <a:lnTo>
                  <a:pt x="495" y="725"/>
                </a:lnTo>
                <a:close/>
                <a:moveTo>
                  <a:pt x="207" y="884"/>
                </a:moveTo>
                <a:lnTo>
                  <a:pt x="207" y="884"/>
                </a:lnTo>
                <a:lnTo>
                  <a:pt x="435" y="959"/>
                </a:lnTo>
                <a:lnTo>
                  <a:pt x="435" y="725"/>
                </a:lnTo>
                <a:lnTo>
                  <a:pt x="345" y="695"/>
                </a:lnTo>
                <a:lnTo>
                  <a:pt x="207" y="884"/>
                </a:lnTo>
                <a:lnTo>
                  <a:pt x="207" y="884"/>
                </a:lnTo>
                <a:close/>
                <a:moveTo>
                  <a:pt x="709" y="526"/>
                </a:moveTo>
                <a:lnTo>
                  <a:pt x="709" y="526"/>
                </a:lnTo>
                <a:lnTo>
                  <a:pt x="931" y="598"/>
                </a:lnTo>
                <a:lnTo>
                  <a:pt x="931" y="359"/>
                </a:lnTo>
                <a:lnTo>
                  <a:pt x="709" y="431"/>
                </a:lnTo>
                <a:lnTo>
                  <a:pt x="709" y="526"/>
                </a:lnTo>
                <a:lnTo>
                  <a:pt x="709" y="526"/>
                </a:lnTo>
                <a:close/>
                <a:moveTo>
                  <a:pt x="222" y="431"/>
                </a:moveTo>
                <a:lnTo>
                  <a:pt x="222" y="431"/>
                </a:lnTo>
                <a:lnTo>
                  <a:pt x="0" y="359"/>
                </a:lnTo>
                <a:lnTo>
                  <a:pt x="0" y="598"/>
                </a:lnTo>
                <a:lnTo>
                  <a:pt x="222" y="526"/>
                </a:lnTo>
                <a:lnTo>
                  <a:pt x="222" y="431"/>
                </a:lnTo>
                <a:lnTo>
                  <a:pt x="222" y="431"/>
                </a:lnTo>
                <a:close/>
                <a:moveTo>
                  <a:pt x="690" y="374"/>
                </a:moveTo>
                <a:lnTo>
                  <a:pt x="690" y="374"/>
                </a:lnTo>
                <a:lnTo>
                  <a:pt x="913" y="302"/>
                </a:lnTo>
                <a:lnTo>
                  <a:pt x="772" y="108"/>
                </a:lnTo>
                <a:lnTo>
                  <a:pt x="634" y="297"/>
                </a:lnTo>
                <a:lnTo>
                  <a:pt x="690" y="374"/>
                </a:lnTo>
                <a:lnTo>
                  <a:pt x="690" y="374"/>
                </a:lnTo>
                <a:close/>
                <a:moveTo>
                  <a:pt x="296" y="297"/>
                </a:moveTo>
                <a:lnTo>
                  <a:pt x="296" y="297"/>
                </a:lnTo>
                <a:lnTo>
                  <a:pt x="159" y="108"/>
                </a:lnTo>
                <a:lnTo>
                  <a:pt x="18" y="302"/>
                </a:lnTo>
                <a:lnTo>
                  <a:pt x="240" y="374"/>
                </a:lnTo>
                <a:lnTo>
                  <a:pt x="296" y="297"/>
                </a:lnTo>
                <a:lnTo>
                  <a:pt x="296" y="297"/>
                </a:lnTo>
                <a:close/>
                <a:moveTo>
                  <a:pt x="586" y="262"/>
                </a:moveTo>
                <a:lnTo>
                  <a:pt x="586" y="262"/>
                </a:lnTo>
                <a:lnTo>
                  <a:pt x="495" y="232"/>
                </a:lnTo>
                <a:lnTo>
                  <a:pt x="495" y="0"/>
                </a:lnTo>
                <a:lnTo>
                  <a:pt x="723" y="73"/>
                </a:lnTo>
                <a:lnTo>
                  <a:pt x="586" y="262"/>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pic>
        <p:nvPicPr>
          <p:cNvPr id="4" name="Picture 3" descr="A logo on a black background&#10;&#10;AI-generated content may be incorrect.">
            <a:extLst>
              <a:ext uri="{FF2B5EF4-FFF2-40B4-BE49-F238E27FC236}">
                <a16:creationId xmlns:a16="http://schemas.microsoft.com/office/drawing/2014/main" id="{E0A18BFC-FAA4-880C-8351-ADDFBF8D586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47991" y="5434641"/>
            <a:ext cx="5628173" cy="1330780"/>
          </a:xfrm>
          <a:prstGeom prst="rect">
            <a:avLst/>
          </a:prstGeom>
        </p:spPr>
      </p:pic>
    </p:spTree>
    <p:extLst>
      <p:ext uri="{BB962C8B-B14F-4D97-AF65-F5344CB8AC3E}">
        <p14:creationId xmlns:p14="http://schemas.microsoft.com/office/powerpoint/2010/main" val="156328347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GB"/>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p:cNvSpPr>
            <a:spLocks noGrp="1"/>
          </p:cNvSpPr>
          <p:nvPr>
            <p:ph type="dt" sz="half" idx="10"/>
          </p:nvPr>
        </p:nvSpPr>
        <p:spPr/>
        <p:txBody>
          <a:bodyPr/>
          <a:lstStyle/>
          <a:p>
            <a:fld id="{846CE7D5-CF57-46EF-B807-FDD0502418D4}" type="datetimeFigureOut">
              <a:rPr lang="en-GB" smtClean="0"/>
              <a:t>30/03/202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330EA680-D336-4FF7-8B7A-9848BB0A1C32}" type="slidenum">
              <a:rPr lang="en-GB" smtClean="0"/>
              <a:t>‹#›</a:t>
            </a:fld>
            <a:endParaRPr lang="en-GB"/>
          </a:p>
        </p:txBody>
      </p:sp>
    </p:spTree>
    <p:extLst>
      <p:ext uri="{BB962C8B-B14F-4D97-AF65-F5344CB8AC3E}">
        <p14:creationId xmlns:p14="http://schemas.microsoft.com/office/powerpoint/2010/main" val="297880858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Cover Slide ">
    <p:bg>
      <p:bgRef idx="1001">
        <a:schemeClr val="bg2"/>
      </p:bgRef>
    </p:bg>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A6E8D7FA-A28C-4DB0-BCD6-B3873209CD4F}"/>
              </a:ext>
            </a:extLst>
          </p:cNvPr>
          <p:cNvGrpSpPr/>
          <p:nvPr/>
        </p:nvGrpSpPr>
        <p:grpSpPr>
          <a:xfrm>
            <a:off x="5560013" y="-168255"/>
            <a:ext cx="7910396" cy="7757873"/>
            <a:chOff x="5758796" y="-58925"/>
            <a:chExt cx="7910396" cy="7757873"/>
          </a:xfrm>
        </p:grpSpPr>
        <p:sp>
          <p:nvSpPr>
            <p:cNvPr id="7" name="Graphic 4">
              <a:extLst>
                <a:ext uri="{FF2B5EF4-FFF2-40B4-BE49-F238E27FC236}">
                  <a16:creationId xmlns:a16="http://schemas.microsoft.com/office/drawing/2014/main" id="{B9167257-1687-42A0-A560-868D8FE8607F}"/>
                </a:ext>
              </a:extLst>
            </p:cNvPr>
            <p:cNvSpPr/>
            <p:nvPr/>
          </p:nvSpPr>
          <p:spPr>
            <a:xfrm rot="4319383">
              <a:off x="6305590" y="335345"/>
              <a:ext cx="7455928" cy="7271277"/>
            </a:xfrm>
            <a:custGeom>
              <a:avLst/>
              <a:gdLst>
                <a:gd name="connsiteX0" fmla="*/ 3006252 w 5586068"/>
                <a:gd name="connsiteY0" fmla="*/ 9676 h 5024960"/>
                <a:gd name="connsiteX1" fmla="*/ 307567 w 5586068"/>
                <a:gd name="connsiteY1" fmla="*/ 1425942 h 5024960"/>
                <a:gd name="connsiteX2" fmla="*/ 425211 w 5586068"/>
                <a:gd name="connsiteY2" fmla="*/ 3954481 h 5024960"/>
                <a:gd name="connsiteX3" fmla="*/ 1808745 w 5586068"/>
                <a:gd name="connsiteY3" fmla="*/ 4859985 h 5024960"/>
                <a:gd name="connsiteX4" fmla="*/ 3475857 w 5586068"/>
                <a:gd name="connsiteY4" fmla="*/ 5016195 h 5024960"/>
                <a:gd name="connsiteX5" fmla="*/ 5026621 w 5586068"/>
                <a:gd name="connsiteY5" fmla="*/ 4521636 h 5024960"/>
                <a:gd name="connsiteX6" fmla="*/ 5580812 w 5586068"/>
                <a:gd name="connsiteY6" fmla="*/ 3073608 h 5024960"/>
                <a:gd name="connsiteX7" fmla="*/ 5006527 w 5586068"/>
                <a:gd name="connsiteY7" fmla="*/ 1075603 h 5024960"/>
                <a:gd name="connsiteX8" fmla="*/ 2990048 w 5586068"/>
                <a:gd name="connsiteY8" fmla="*/ 51807 h 5024960"/>
                <a:gd name="connsiteX0" fmla="*/ 3006252 w 5586068"/>
                <a:gd name="connsiteY0" fmla="*/ 9676 h 5024960"/>
                <a:gd name="connsiteX1" fmla="*/ 307567 w 5586068"/>
                <a:gd name="connsiteY1" fmla="*/ 1425942 h 5024960"/>
                <a:gd name="connsiteX2" fmla="*/ 425211 w 5586068"/>
                <a:gd name="connsiteY2" fmla="*/ 3954481 h 5024960"/>
                <a:gd name="connsiteX3" fmla="*/ 1808745 w 5586068"/>
                <a:gd name="connsiteY3" fmla="*/ 4859985 h 5024960"/>
                <a:gd name="connsiteX4" fmla="*/ 3475857 w 5586068"/>
                <a:gd name="connsiteY4" fmla="*/ 5016195 h 5024960"/>
                <a:gd name="connsiteX5" fmla="*/ 5026621 w 5586068"/>
                <a:gd name="connsiteY5" fmla="*/ 4521636 h 5024960"/>
                <a:gd name="connsiteX6" fmla="*/ 5580812 w 5586068"/>
                <a:gd name="connsiteY6" fmla="*/ 3073608 h 5024960"/>
                <a:gd name="connsiteX7" fmla="*/ 5006527 w 5586068"/>
                <a:gd name="connsiteY7" fmla="*/ 1075603 h 5024960"/>
                <a:gd name="connsiteX8" fmla="*/ 3017397 w 5586068"/>
                <a:gd name="connsiteY8" fmla="*/ 4322 h 5024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86068" h="5024960">
                  <a:moveTo>
                    <a:pt x="3006252" y="9676"/>
                  </a:moveTo>
                  <a:cubicBezTo>
                    <a:pt x="1945186" y="-82690"/>
                    <a:pt x="830322" y="493540"/>
                    <a:pt x="307567" y="1425942"/>
                  </a:cubicBezTo>
                  <a:cubicBezTo>
                    <a:pt x="-128981" y="2204403"/>
                    <a:pt x="-110507" y="3240514"/>
                    <a:pt x="425211" y="3954481"/>
                  </a:cubicBezTo>
                  <a:cubicBezTo>
                    <a:pt x="761615" y="4403020"/>
                    <a:pt x="1270434" y="4702478"/>
                    <a:pt x="1808745" y="4859985"/>
                  </a:cubicBezTo>
                  <a:cubicBezTo>
                    <a:pt x="2347056" y="5017492"/>
                    <a:pt x="2915832" y="5041798"/>
                    <a:pt x="3475857" y="5016195"/>
                  </a:cubicBezTo>
                  <a:cubicBezTo>
                    <a:pt x="4029724" y="4990916"/>
                    <a:pt x="4621510" y="4900171"/>
                    <a:pt x="5026621" y="4521636"/>
                  </a:cubicBezTo>
                  <a:cubicBezTo>
                    <a:pt x="5413906" y="4159953"/>
                    <a:pt x="5552940" y="3602845"/>
                    <a:pt x="5580812" y="3073608"/>
                  </a:cubicBezTo>
                  <a:cubicBezTo>
                    <a:pt x="5617110" y="2377791"/>
                    <a:pt x="5469650" y="1618127"/>
                    <a:pt x="5006527" y="1075603"/>
                  </a:cubicBezTo>
                  <a:cubicBezTo>
                    <a:pt x="4504189" y="487058"/>
                    <a:pt x="3748865" y="171228"/>
                    <a:pt x="3017397" y="4322"/>
                  </a:cubicBezTo>
                </a:path>
              </a:pathLst>
            </a:custGeom>
            <a:solidFill>
              <a:srgbClr val="FFFFFF">
                <a:alpha val="7059"/>
              </a:srgbClr>
            </a:solidFill>
            <a:ln w="32396" cap="flat">
              <a:noFill/>
              <a:prstDash val="solid"/>
              <a:miter/>
            </a:ln>
          </p:spPr>
          <p:txBody>
            <a:bodyPr rtlCol="0" anchor="ctr"/>
            <a:lstStyle/>
            <a:p>
              <a:endParaRPr lang="en-US"/>
            </a:p>
          </p:txBody>
        </p:sp>
        <p:sp>
          <p:nvSpPr>
            <p:cNvPr id="8" name="Graphic 2">
              <a:extLst>
                <a:ext uri="{FF2B5EF4-FFF2-40B4-BE49-F238E27FC236}">
                  <a16:creationId xmlns:a16="http://schemas.microsoft.com/office/drawing/2014/main" id="{CA4F78D1-6883-4A5A-9AB7-6AEA19128E4D}"/>
                </a:ext>
              </a:extLst>
            </p:cNvPr>
            <p:cNvSpPr/>
            <p:nvPr/>
          </p:nvSpPr>
          <p:spPr>
            <a:xfrm rot="15014318" flipV="1">
              <a:off x="5793614" y="-93743"/>
              <a:ext cx="7194510" cy="7264145"/>
            </a:xfrm>
            <a:custGeom>
              <a:avLst/>
              <a:gdLst>
                <a:gd name="connsiteX0" fmla="*/ 3006252 w 5586068"/>
                <a:gd name="connsiteY0" fmla="*/ 9676 h 5024960"/>
                <a:gd name="connsiteX1" fmla="*/ 307567 w 5586068"/>
                <a:gd name="connsiteY1" fmla="*/ 1425942 h 5024960"/>
                <a:gd name="connsiteX2" fmla="*/ 425211 w 5586068"/>
                <a:gd name="connsiteY2" fmla="*/ 3954481 h 5024960"/>
                <a:gd name="connsiteX3" fmla="*/ 1808745 w 5586068"/>
                <a:gd name="connsiteY3" fmla="*/ 4859985 h 5024960"/>
                <a:gd name="connsiteX4" fmla="*/ 3475857 w 5586068"/>
                <a:gd name="connsiteY4" fmla="*/ 5016195 h 5024960"/>
                <a:gd name="connsiteX5" fmla="*/ 5026621 w 5586068"/>
                <a:gd name="connsiteY5" fmla="*/ 4521636 h 5024960"/>
                <a:gd name="connsiteX6" fmla="*/ 5580812 w 5586068"/>
                <a:gd name="connsiteY6" fmla="*/ 3073608 h 5024960"/>
                <a:gd name="connsiteX7" fmla="*/ 5006527 w 5586068"/>
                <a:gd name="connsiteY7" fmla="*/ 1075603 h 5024960"/>
                <a:gd name="connsiteX8" fmla="*/ 2990048 w 5586068"/>
                <a:gd name="connsiteY8" fmla="*/ 51807 h 5024960"/>
                <a:gd name="connsiteX0" fmla="*/ 3006252 w 5586068"/>
                <a:gd name="connsiteY0" fmla="*/ 9676 h 5024960"/>
                <a:gd name="connsiteX1" fmla="*/ 307567 w 5586068"/>
                <a:gd name="connsiteY1" fmla="*/ 1425942 h 5024960"/>
                <a:gd name="connsiteX2" fmla="*/ 425211 w 5586068"/>
                <a:gd name="connsiteY2" fmla="*/ 3954481 h 5024960"/>
                <a:gd name="connsiteX3" fmla="*/ 1808745 w 5586068"/>
                <a:gd name="connsiteY3" fmla="*/ 4859985 h 5024960"/>
                <a:gd name="connsiteX4" fmla="*/ 3475857 w 5586068"/>
                <a:gd name="connsiteY4" fmla="*/ 5016195 h 5024960"/>
                <a:gd name="connsiteX5" fmla="*/ 5026621 w 5586068"/>
                <a:gd name="connsiteY5" fmla="*/ 4521636 h 5024960"/>
                <a:gd name="connsiteX6" fmla="*/ 5580812 w 5586068"/>
                <a:gd name="connsiteY6" fmla="*/ 3073608 h 5024960"/>
                <a:gd name="connsiteX7" fmla="*/ 5006527 w 5586068"/>
                <a:gd name="connsiteY7" fmla="*/ 1075603 h 5024960"/>
                <a:gd name="connsiteX8" fmla="*/ 3019034 w 5586068"/>
                <a:gd name="connsiteY8" fmla="*/ 54474 h 5024960"/>
                <a:gd name="connsiteX0" fmla="*/ 3006252 w 5586068"/>
                <a:gd name="connsiteY0" fmla="*/ 9676 h 5024960"/>
                <a:gd name="connsiteX1" fmla="*/ 307567 w 5586068"/>
                <a:gd name="connsiteY1" fmla="*/ 1425942 h 5024960"/>
                <a:gd name="connsiteX2" fmla="*/ 425211 w 5586068"/>
                <a:gd name="connsiteY2" fmla="*/ 3954481 h 5024960"/>
                <a:gd name="connsiteX3" fmla="*/ 1808745 w 5586068"/>
                <a:gd name="connsiteY3" fmla="*/ 4859985 h 5024960"/>
                <a:gd name="connsiteX4" fmla="*/ 3475857 w 5586068"/>
                <a:gd name="connsiteY4" fmla="*/ 5016195 h 5024960"/>
                <a:gd name="connsiteX5" fmla="*/ 5026621 w 5586068"/>
                <a:gd name="connsiteY5" fmla="*/ 4521636 h 5024960"/>
                <a:gd name="connsiteX6" fmla="*/ 5580812 w 5586068"/>
                <a:gd name="connsiteY6" fmla="*/ 3073608 h 5024960"/>
                <a:gd name="connsiteX7" fmla="*/ 5006527 w 5586068"/>
                <a:gd name="connsiteY7" fmla="*/ 1075603 h 5024960"/>
                <a:gd name="connsiteX8" fmla="*/ 3022491 w 5586068"/>
                <a:gd name="connsiteY8" fmla="*/ 32125 h 5024960"/>
                <a:gd name="connsiteX0" fmla="*/ 3006252 w 5586068"/>
                <a:gd name="connsiteY0" fmla="*/ 9676 h 5024960"/>
                <a:gd name="connsiteX1" fmla="*/ 307567 w 5586068"/>
                <a:gd name="connsiteY1" fmla="*/ 1425942 h 5024960"/>
                <a:gd name="connsiteX2" fmla="*/ 425211 w 5586068"/>
                <a:gd name="connsiteY2" fmla="*/ 3954481 h 5024960"/>
                <a:gd name="connsiteX3" fmla="*/ 1808745 w 5586068"/>
                <a:gd name="connsiteY3" fmla="*/ 4859985 h 5024960"/>
                <a:gd name="connsiteX4" fmla="*/ 3475857 w 5586068"/>
                <a:gd name="connsiteY4" fmla="*/ 5016195 h 5024960"/>
                <a:gd name="connsiteX5" fmla="*/ 5026621 w 5586068"/>
                <a:gd name="connsiteY5" fmla="*/ 4521636 h 5024960"/>
                <a:gd name="connsiteX6" fmla="*/ 5580812 w 5586068"/>
                <a:gd name="connsiteY6" fmla="*/ 3073608 h 5024960"/>
                <a:gd name="connsiteX7" fmla="*/ 5006527 w 5586068"/>
                <a:gd name="connsiteY7" fmla="*/ 1075603 h 5024960"/>
                <a:gd name="connsiteX8" fmla="*/ 3083922 w 5586068"/>
                <a:gd name="connsiteY8" fmla="*/ 15110 h 5024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86068" h="5024960">
                  <a:moveTo>
                    <a:pt x="3006252" y="9676"/>
                  </a:moveTo>
                  <a:cubicBezTo>
                    <a:pt x="1945186" y="-82690"/>
                    <a:pt x="830322" y="493540"/>
                    <a:pt x="307567" y="1425942"/>
                  </a:cubicBezTo>
                  <a:cubicBezTo>
                    <a:pt x="-128981" y="2204403"/>
                    <a:pt x="-110507" y="3240514"/>
                    <a:pt x="425211" y="3954481"/>
                  </a:cubicBezTo>
                  <a:cubicBezTo>
                    <a:pt x="761615" y="4403020"/>
                    <a:pt x="1270434" y="4702478"/>
                    <a:pt x="1808745" y="4859985"/>
                  </a:cubicBezTo>
                  <a:cubicBezTo>
                    <a:pt x="2347056" y="5017492"/>
                    <a:pt x="2915832" y="5041798"/>
                    <a:pt x="3475857" y="5016195"/>
                  </a:cubicBezTo>
                  <a:cubicBezTo>
                    <a:pt x="4029724" y="4990916"/>
                    <a:pt x="4621510" y="4900171"/>
                    <a:pt x="5026621" y="4521636"/>
                  </a:cubicBezTo>
                  <a:cubicBezTo>
                    <a:pt x="5413906" y="4159953"/>
                    <a:pt x="5552940" y="3602845"/>
                    <a:pt x="5580812" y="3073608"/>
                  </a:cubicBezTo>
                  <a:cubicBezTo>
                    <a:pt x="5617110" y="2377791"/>
                    <a:pt x="5469650" y="1618127"/>
                    <a:pt x="5006527" y="1075603"/>
                  </a:cubicBezTo>
                  <a:cubicBezTo>
                    <a:pt x="4504189" y="487058"/>
                    <a:pt x="3815390" y="182016"/>
                    <a:pt x="3083922" y="15110"/>
                  </a:cubicBezTo>
                </a:path>
              </a:pathLst>
            </a:custGeom>
            <a:solidFill>
              <a:srgbClr val="FFFFFF">
                <a:alpha val="5882"/>
              </a:srgbClr>
            </a:solidFill>
            <a:ln w="32396" cap="flat">
              <a:noFill/>
              <a:prstDash val="solid"/>
              <a:miter/>
            </a:ln>
          </p:spPr>
          <p:txBody>
            <a:bodyPr rtlCol="0" anchor="ctr"/>
            <a:lstStyle/>
            <a:p>
              <a:endParaRPr lang="en-US"/>
            </a:p>
          </p:txBody>
        </p:sp>
      </p:grpSp>
      <p:pic>
        <p:nvPicPr>
          <p:cNvPr id="9" name="Picture 8" descr="Text&#10;&#10;Description automatically generated">
            <a:extLst>
              <a:ext uri="{FF2B5EF4-FFF2-40B4-BE49-F238E27FC236}">
                <a16:creationId xmlns:a16="http://schemas.microsoft.com/office/drawing/2014/main" id="{4C510D50-9CC4-40D3-A000-28F22E8BAD4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35477" y="596236"/>
            <a:ext cx="2351676" cy="779308"/>
          </a:xfrm>
          <a:prstGeom prst="rect">
            <a:avLst/>
          </a:prstGeom>
        </p:spPr>
      </p:pic>
      <p:sp>
        <p:nvSpPr>
          <p:cNvPr id="3" name="Subtitle 2">
            <a:extLst>
              <a:ext uri="{FF2B5EF4-FFF2-40B4-BE49-F238E27FC236}">
                <a16:creationId xmlns:a16="http://schemas.microsoft.com/office/drawing/2014/main" id="{C9FE86D3-2E66-4025-B944-4D2849DE0842}"/>
              </a:ext>
            </a:extLst>
          </p:cNvPr>
          <p:cNvSpPr>
            <a:spLocks noGrp="1"/>
          </p:cNvSpPr>
          <p:nvPr>
            <p:ph type="subTitle" idx="1" hasCustomPrompt="1"/>
          </p:nvPr>
        </p:nvSpPr>
        <p:spPr>
          <a:xfrm>
            <a:off x="524520" y="5919145"/>
            <a:ext cx="10933353" cy="687139"/>
          </a:xfrm>
          <a:prstGeom prst="rect">
            <a:avLst/>
          </a:prstGeom>
        </p:spPr>
        <p:txBody>
          <a:bodyPr>
            <a:normAutofit/>
          </a:bodyPr>
          <a:lstStyle>
            <a:lvl1pPr marL="0" indent="0" algn="l">
              <a:lnSpc>
                <a:spcPts val="2000"/>
              </a:lnSpc>
              <a:spcBef>
                <a:spcPts val="0"/>
              </a:spcBef>
              <a:buNone/>
              <a:defRPr sz="1600">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If needed, add who this deck was prepared for and the date</a:t>
            </a:r>
          </a:p>
        </p:txBody>
      </p:sp>
      <p:sp>
        <p:nvSpPr>
          <p:cNvPr id="2" name="Title 1">
            <a:extLst>
              <a:ext uri="{FF2B5EF4-FFF2-40B4-BE49-F238E27FC236}">
                <a16:creationId xmlns:a16="http://schemas.microsoft.com/office/drawing/2014/main" id="{26D48251-1190-41A2-95FF-730440743AF8}"/>
              </a:ext>
            </a:extLst>
          </p:cNvPr>
          <p:cNvSpPr>
            <a:spLocks noGrp="1"/>
          </p:cNvSpPr>
          <p:nvPr>
            <p:ph type="ctrTitle" hasCustomPrompt="1"/>
          </p:nvPr>
        </p:nvSpPr>
        <p:spPr>
          <a:xfrm>
            <a:off x="511027" y="2115130"/>
            <a:ext cx="11077999" cy="1869054"/>
          </a:xfrm>
          <a:prstGeom prst="rect">
            <a:avLst/>
          </a:prstGeom>
        </p:spPr>
        <p:txBody>
          <a:bodyPr anchor="t">
            <a:noAutofit/>
          </a:bodyPr>
          <a:lstStyle>
            <a:lvl1pPr algn="l">
              <a:lnSpc>
                <a:spcPct val="100000"/>
              </a:lnSpc>
              <a:defRPr sz="6600">
                <a:latin typeface="Roboto Medium" panose="02000000000000000000" pitchFamily="2" charset="0"/>
                <a:ea typeface="Roboto Medium" panose="02000000000000000000" pitchFamily="2" charset="0"/>
              </a:defRPr>
            </a:lvl1pPr>
          </a:lstStyle>
          <a:p>
            <a:r>
              <a:rPr lang="en-US"/>
              <a:t>Click here to add the title of this deck</a:t>
            </a:r>
          </a:p>
        </p:txBody>
      </p:sp>
      <p:sp>
        <p:nvSpPr>
          <p:cNvPr id="17" name="Text Placeholder 16">
            <a:extLst>
              <a:ext uri="{FF2B5EF4-FFF2-40B4-BE49-F238E27FC236}">
                <a16:creationId xmlns:a16="http://schemas.microsoft.com/office/drawing/2014/main" id="{4F985FE0-B1DA-4EDC-AA7B-3D8FA4F652AB}"/>
              </a:ext>
            </a:extLst>
          </p:cNvPr>
          <p:cNvSpPr>
            <a:spLocks noGrp="1"/>
          </p:cNvSpPr>
          <p:nvPr>
            <p:ph type="body" sz="quarter" idx="10" hasCustomPrompt="1"/>
          </p:nvPr>
        </p:nvSpPr>
        <p:spPr>
          <a:xfrm>
            <a:off x="543560" y="4131720"/>
            <a:ext cx="11045465" cy="914400"/>
          </a:xfrm>
          <a:prstGeom prst="rect">
            <a:avLst/>
          </a:prstGeom>
        </p:spPr>
        <p:txBody>
          <a:bodyPr anchor="t">
            <a:normAutofit/>
          </a:bodyPr>
          <a:lstStyle>
            <a:lvl1pPr marL="0" indent="0">
              <a:lnSpc>
                <a:spcPct val="100000"/>
              </a:lnSpc>
              <a:spcBef>
                <a:spcPts val="0"/>
              </a:spcBef>
              <a:buNone/>
              <a:defRPr sz="3600"/>
            </a:lvl1pPr>
          </a:lstStyle>
          <a:p>
            <a:pPr lvl="0"/>
            <a:r>
              <a:rPr lang="en-US"/>
              <a:t>Click here to add a subtitle, if needed</a:t>
            </a:r>
          </a:p>
        </p:txBody>
      </p:sp>
      <p:sp>
        <p:nvSpPr>
          <p:cNvPr id="6" name="Rectangle 5">
            <a:extLst>
              <a:ext uri="{FF2B5EF4-FFF2-40B4-BE49-F238E27FC236}">
                <a16:creationId xmlns:a16="http://schemas.microsoft.com/office/drawing/2014/main" id="{44A52A5F-731D-4F65-A598-D8805ED8EB25}"/>
              </a:ext>
            </a:extLst>
          </p:cNvPr>
          <p:cNvSpPr/>
          <p:nvPr/>
        </p:nvSpPr>
        <p:spPr>
          <a:xfrm>
            <a:off x="11667480" y="6183984"/>
            <a:ext cx="216817" cy="593888"/>
          </a:xfrm>
          <a:prstGeom prst="rect">
            <a:avLst/>
          </a:prstGeom>
          <a:solidFill>
            <a:srgbClr val="12A6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2DEB23CF-DC6F-48CB-9FD9-C50EE85AAFF2}"/>
              </a:ext>
            </a:extLst>
          </p:cNvPr>
          <p:cNvSpPr/>
          <p:nvPr/>
        </p:nvSpPr>
        <p:spPr>
          <a:xfrm>
            <a:off x="635477" y="1375544"/>
            <a:ext cx="985933" cy="13274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178112197"/>
      </p:ext>
    </p:extLst>
  </p:cSld>
  <p:clrMapOvr>
    <a:overrideClrMapping bg1="dk1" tx1="lt1" bg2="dk2" tx2="lt2" accent1="accent1" accent2="accent2" accent3="accent3" accent4="accent4" accent5="accent5" accent6="accent6" hlink="hlink" folHlink="folHlink"/>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Content Slide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977079-4B79-43A7-9543-254D39BCC1A4}"/>
              </a:ext>
            </a:extLst>
          </p:cNvPr>
          <p:cNvSpPr>
            <a:spLocks noGrp="1"/>
          </p:cNvSpPr>
          <p:nvPr>
            <p:ph type="title" hasCustomPrompt="1"/>
          </p:nvPr>
        </p:nvSpPr>
        <p:spPr>
          <a:xfrm>
            <a:off x="510212" y="576197"/>
            <a:ext cx="11042834" cy="1114491"/>
          </a:xfrm>
          <a:prstGeom prst="rect">
            <a:avLst/>
          </a:prstGeom>
        </p:spPr>
        <p:txBody>
          <a:bodyPr anchor="t">
            <a:normAutofit/>
          </a:bodyPr>
          <a:lstStyle>
            <a:lvl1pPr>
              <a:defRPr sz="4000">
                <a:latin typeface="Roboto Medium" panose="02000000000000000000" pitchFamily="2" charset="0"/>
                <a:ea typeface="Roboto Medium" panose="02000000000000000000" pitchFamily="2" charset="0"/>
              </a:defRPr>
            </a:lvl1pPr>
          </a:lstStyle>
          <a:p>
            <a:r>
              <a:rPr lang="en-US"/>
              <a:t>Click to add title text</a:t>
            </a:r>
          </a:p>
        </p:txBody>
      </p:sp>
      <p:sp>
        <p:nvSpPr>
          <p:cNvPr id="3" name="Content Placeholder 2">
            <a:extLst>
              <a:ext uri="{FF2B5EF4-FFF2-40B4-BE49-F238E27FC236}">
                <a16:creationId xmlns:a16="http://schemas.microsoft.com/office/drawing/2014/main" id="{70CBF40B-E060-4101-B90B-C3FC27EFD79A}"/>
              </a:ext>
            </a:extLst>
          </p:cNvPr>
          <p:cNvSpPr>
            <a:spLocks noGrp="1"/>
          </p:cNvSpPr>
          <p:nvPr>
            <p:ph idx="1" hasCustomPrompt="1"/>
          </p:nvPr>
        </p:nvSpPr>
        <p:spPr>
          <a:xfrm>
            <a:off x="510212" y="1825625"/>
            <a:ext cx="11042834" cy="4351338"/>
          </a:xfrm>
          <a:prstGeom prst="rect">
            <a:avLst/>
          </a:prstGeom>
        </p:spPr>
        <p:txBody>
          <a:bodyPr/>
          <a:lstStyle>
            <a:lvl1pPr marL="0" indent="0">
              <a:buNone/>
              <a:defRPr sz="2200"/>
            </a:lvl1pPr>
            <a:lvl2pPr>
              <a:defRPr sz="2000"/>
            </a:lvl2pPr>
            <a:lvl3pPr>
              <a:defRPr sz="2000"/>
            </a:lvl3pPr>
            <a:lvl4pPr>
              <a:defRPr sz="2000"/>
            </a:lvl4pPr>
          </a:lstStyle>
          <a:p>
            <a:pPr lvl="0"/>
            <a:r>
              <a:rPr lang="en-US"/>
              <a:t>Click to add body text</a:t>
            </a:r>
          </a:p>
          <a:p>
            <a:pPr lvl="1"/>
            <a:r>
              <a:rPr lang="en-US"/>
              <a:t>Bullet one</a:t>
            </a:r>
          </a:p>
          <a:p>
            <a:pPr lvl="2"/>
            <a:r>
              <a:rPr lang="en-US"/>
              <a:t>Bullet two</a:t>
            </a:r>
          </a:p>
          <a:p>
            <a:pPr lvl="3"/>
            <a:r>
              <a:rPr lang="en-US"/>
              <a:t>Bullet three</a:t>
            </a:r>
          </a:p>
        </p:txBody>
      </p:sp>
      <p:cxnSp>
        <p:nvCxnSpPr>
          <p:cNvPr id="8" name="Straight Connector 7">
            <a:extLst>
              <a:ext uri="{FF2B5EF4-FFF2-40B4-BE49-F238E27FC236}">
                <a16:creationId xmlns:a16="http://schemas.microsoft.com/office/drawing/2014/main" id="{D781F1D4-687D-4034-80F0-FE49D5B27C26}"/>
              </a:ext>
            </a:extLst>
          </p:cNvPr>
          <p:cNvCxnSpPr>
            <a:cxnSpLocks/>
          </p:cNvCxnSpPr>
          <p:nvPr/>
        </p:nvCxnSpPr>
        <p:spPr>
          <a:xfrm>
            <a:off x="638954" y="1411105"/>
            <a:ext cx="979200" cy="0"/>
          </a:xfrm>
          <a:prstGeom prst="line">
            <a:avLst/>
          </a:prstGeom>
          <a:ln>
            <a:solidFill>
              <a:srgbClr val="6BC5DB"/>
            </a:solidFill>
          </a:ln>
        </p:spPr>
        <p:style>
          <a:lnRef idx="1">
            <a:schemeClr val="accent1"/>
          </a:lnRef>
          <a:fillRef idx="0">
            <a:schemeClr val="accent1"/>
          </a:fillRef>
          <a:effectRef idx="0">
            <a:schemeClr val="accent1"/>
          </a:effectRef>
          <a:fontRef idx="minor">
            <a:schemeClr val="tx1"/>
          </a:fontRef>
        </p:style>
      </p:cxnSp>
      <p:pic>
        <p:nvPicPr>
          <p:cNvPr id="9" name="Picture 8" descr="IHI_Symbol.png">
            <a:extLst>
              <a:ext uri="{FF2B5EF4-FFF2-40B4-BE49-F238E27FC236}">
                <a16:creationId xmlns:a16="http://schemas.microsoft.com/office/drawing/2014/main" id="{B33FAD84-A598-4520-9000-AA436D9500EC}"/>
              </a:ext>
            </a:extLst>
          </p:cNvPr>
          <p:cNvPicPr>
            <a:picLocks noChangeAspect="1"/>
          </p:cNvPicPr>
          <p:nvPr/>
        </p:nvPicPr>
        <p:blipFill>
          <a:blip r:embed="rId2" cstate="print"/>
          <a:stretch>
            <a:fillRect/>
          </a:stretch>
        </p:blipFill>
        <p:spPr>
          <a:xfrm>
            <a:off x="11584510" y="6253880"/>
            <a:ext cx="387846" cy="382809"/>
          </a:xfrm>
          <a:prstGeom prst="rect">
            <a:avLst/>
          </a:prstGeom>
          <a:noFill/>
          <a:ln>
            <a:noFill/>
          </a:ln>
        </p:spPr>
      </p:pic>
    </p:spTree>
    <p:extLst>
      <p:ext uri="{BB962C8B-B14F-4D97-AF65-F5344CB8AC3E}">
        <p14:creationId xmlns:p14="http://schemas.microsoft.com/office/powerpoint/2010/main" val="223397319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Content Slide White with Cita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977079-4B79-43A7-9543-254D39BCC1A4}"/>
              </a:ext>
            </a:extLst>
          </p:cNvPr>
          <p:cNvSpPr>
            <a:spLocks noGrp="1"/>
          </p:cNvSpPr>
          <p:nvPr>
            <p:ph type="title" hasCustomPrompt="1"/>
          </p:nvPr>
        </p:nvSpPr>
        <p:spPr>
          <a:xfrm>
            <a:off x="510212" y="576197"/>
            <a:ext cx="11042834" cy="1114491"/>
          </a:xfrm>
          <a:prstGeom prst="rect">
            <a:avLst/>
          </a:prstGeom>
        </p:spPr>
        <p:txBody>
          <a:bodyPr anchor="t">
            <a:normAutofit/>
          </a:bodyPr>
          <a:lstStyle>
            <a:lvl1pPr>
              <a:defRPr sz="4000">
                <a:latin typeface="Roboto Medium" panose="02000000000000000000" pitchFamily="2" charset="0"/>
                <a:ea typeface="Roboto Medium" panose="02000000000000000000" pitchFamily="2" charset="0"/>
              </a:defRPr>
            </a:lvl1pPr>
          </a:lstStyle>
          <a:p>
            <a:r>
              <a:rPr lang="en-US"/>
              <a:t>Click to add title text</a:t>
            </a:r>
          </a:p>
        </p:txBody>
      </p:sp>
      <p:sp>
        <p:nvSpPr>
          <p:cNvPr id="3" name="Content Placeholder 2">
            <a:extLst>
              <a:ext uri="{FF2B5EF4-FFF2-40B4-BE49-F238E27FC236}">
                <a16:creationId xmlns:a16="http://schemas.microsoft.com/office/drawing/2014/main" id="{70CBF40B-E060-4101-B90B-C3FC27EFD79A}"/>
              </a:ext>
            </a:extLst>
          </p:cNvPr>
          <p:cNvSpPr>
            <a:spLocks noGrp="1"/>
          </p:cNvSpPr>
          <p:nvPr>
            <p:ph idx="1" hasCustomPrompt="1"/>
          </p:nvPr>
        </p:nvSpPr>
        <p:spPr>
          <a:xfrm>
            <a:off x="510212" y="1825625"/>
            <a:ext cx="11042834" cy="4351338"/>
          </a:xfrm>
          <a:prstGeom prst="rect">
            <a:avLst/>
          </a:prstGeom>
        </p:spPr>
        <p:txBody>
          <a:bodyPr/>
          <a:lstStyle>
            <a:lvl1pPr marL="0" indent="0">
              <a:buNone/>
              <a:defRPr sz="2200"/>
            </a:lvl1pPr>
            <a:lvl2pPr>
              <a:defRPr sz="2000"/>
            </a:lvl2pPr>
            <a:lvl3pPr>
              <a:defRPr sz="2000"/>
            </a:lvl3pPr>
            <a:lvl4pPr>
              <a:defRPr sz="2000"/>
            </a:lvl4pPr>
          </a:lstStyle>
          <a:p>
            <a:pPr lvl="0"/>
            <a:r>
              <a:rPr lang="en-US"/>
              <a:t>Click to add body text</a:t>
            </a:r>
          </a:p>
          <a:p>
            <a:pPr lvl="1"/>
            <a:r>
              <a:rPr lang="en-US"/>
              <a:t>Bullet one</a:t>
            </a:r>
          </a:p>
          <a:p>
            <a:pPr lvl="2"/>
            <a:r>
              <a:rPr lang="en-US"/>
              <a:t>Bullet two</a:t>
            </a:r>
          </a:p>
          <a:p>
            <a:pPr lvl="3"/>
            <a:r>
              <a:rPr lang="en-US"/>
              <a:t>Bullet three</a:t>
            </a:r>
          </a:p>
        </p:txBody>
      </p:sp>
      <p:cxnSp>
        <p:nvCxnSpPr>
          <p:cNvPr id="8" name="Straight Connector 7">
            <a:extLst>
              <a:ext uri="{FF2B5EF4-FFF2-40B4-BE49-F238E27FC236}">
                <a16:creationId xmlns:a16="http://schemas.microsoft.com/office/drawing/2014/main" id="{D781F1D4-687D-4034-80F0-FE49D5B27C26}"/>
              </a:ext>
            </a:extLst>
          </p:cNvPr>
          <p:cNvCxnSpPr>
            <a:cxnSpLocks/>
          </p:cNvCxnSpPr>
          <p:nvPr/>
        </p:nvCxnSpPr>
        <p:spPr>
          <a:xfrm>
            <a:off x="638954" y="1411105"/>
            <a:ext cx="979200" cy="0"/>
          </a:xfrm>
          <a:prstGeom prst="line">
            <a:avLst/>
          </a:prstGeom>
          <a:ln>
            <a:solidFill>
              <a:srgbClr val="6BC5DB"/>
            </a:solidFill>
          </a:ln>
        </p:spPr>
        <p:style>
          <a:lnRef idx="1">
            <a:schemeClr val="accent1"/>
          </a:lnRef>
          <a:fillRef idx="0">
            <a:schemeClr val="accent1"/>
          </a:fillRef>
          <a:effectRef idx="0">
            <a:schemeClr val="accent1"/>
          </a:effectRef>
          <a:fontRef idx="minor">
            <a:schemeClr val="tx1"/>
          </a:fontRef>
        </p:style>
      </p:cxnSp>
      <p:pic>
        <p:nvPicPr>
          <p:cNvPr id="9" name="Picture 8" descr="IHI_Symbol.png">
            <a:extLst>
              <a:ext uri="{FF2B5EF4-FFF2-40B4-BE49-F238E27FC236}">
                <a16:creationId xmlns:a16="http://schemas.microsoft.com/office/drawing/2014/main" id="{B33FAD84-A598-4520-9000-AA436D9500EC}"/>
              </a:ext>
            </a:extLst>
          </p:cNvPr>
          <p:cNvPicPr>
            <a:picLocks noChangeAspect="1"/>
          </p:cNvPicPr>
          <p:nvPr/>
        </p:nvPicPr>
        <p:blipFill>
          <a:blip r:embed="rId2" cstate="print"/>
          <a:stretch>
            <a:fillRect/>
          </a:stretch>
        </p:blipFill>
        <p:spPr>
          <a:xfrm>
            <a:off x="11584510" y="6253880"/>
            <a:ext cx="387846" cy="382809"/>
          </a:xfrm>
          <a:prstGeom prst="rect">
            <a:avLst/>
          </a:prstGeom>
          <a:noFill/>
          <a:ln>
            <a:noFill/>
          </a:ln>
        </p:spPr>
      </p:pic>
      <p:sp>
        <p:nvSpPr>
          <p:cNvPr id="16" name="Content Placeholder 15">
            <a:extLst>
              <a:ext uri="{FF2B5EF4-FFF2-40B4-BE49-F238E27FC236}">
                <a16:creationId xmlns:a16="http://schemas.microsoft.com/office/drawing/2014/main" id="{A01ED5CC-ECEB-487B-9A55-7825115324D0}"/>
              </a:ext>
            </a:extLst>
          </p:cNvPr>
          <p:cNvSpPr>
            <a:spLocks noGrp="1"/>
          </p:cNvSpPr>
          <p:nvPr>
            <p:ph sz="quarter" idx="10" hasCustomPrompt="1"/>
          </p:nvPr>
        </p:nvSpPr>
        <p:spPr>
          <a:xfrm>
            <a:off x="509588" y="6253163"/>
            <a:ext cx="10687050" cy="303212"/>
          </a:xfrm>
          <a:prstGeom prst="rect">
            <a:avLst/>
          </a:prstGeom>
        </p:spPr>
        <p:txBody>
          <a:bodyPr/>
          <a:lstStyle>
            <a:lvl1pPr marL="0" indent="0">
              <a:buNone/>
              <a:defRPr sz="800"/>
            </a:lvl1pPr>
            <a:lvl2pPr marL="457200" indent="0">
              <a:buNone/>
              <a:defRPr sz="800"/>
            </a:lvl2pPr>
            <a:lvl3pPr marL="914400" indent="0">
              <a:buNone/>
              <a:defRPr/>
            </a:lvl3pPr>
            <a:lvl4pPr marL="1371600" indent="0">
              <a:buNone/>
              <a:defRPr/>
            </a:lvl4pPr>
            <a:lvl5pPr marL="1828800" indent="0">
              <a:buNone/>
              <a:defRPr/>
            </a:lvl5pPr>
          </a:lstStyle>
          <a:p>
            <a:pPr lvl="0"/>
            <a:r>
              <a:rPr lang="en-US"/>
              <a:t>Click to cite work</a:t>
            </a:r>
          </a:p>
          <a:p>
            <a:pPr lvl="1"/>
            <a:endParaRPr lang="en-US"/>
          </a:p>
        </p:txBody>
      </p:sp>
    </p:spTree>
    <p:extLst>
      <p:ext uri="{BB962C8B-B14F-4D97-AF65-F5344CB8AC3E}">
        <p14:creationId xmlns:p14="http://schemas.microsoft.com/office/powerpoint/2010/main" val="40428415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Content Slide Blue">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164EB36-4562-4AF6-85A0-E217B81EC456}"/>
              </a:ext>
            </a:extLst>
          </p:cNvPr>
          <p:cNvSpPr/>
          <p:nvPr/>
        </p:nvSpPr>
        <p:spPr>
          <a:xfrm>
            <a:off x="11553045" y="6248400"/>
            <a:ext cx="461062" cy="49176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descr="Text&#10;&#10;Description automatically generated">
            <a:extLst>
              <a:ext uri="{FF2B5EF4-FFF2-40B4-BE49-F238E27FC236}">
                <a16:creationId xmlns:a16="http://schemas.microsoft.com/office/drawing/2014/main" id="{38159BFC-1491-4938-AE76-B906E2948680}"/>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r="66589"/>
          <a:stretch/>
        </p:blipFill>
        <p:spPr>
          <a:xfrm>
            <a:off x="11587683" y="6248400"/>
            <a:ext cx="426424" cy="422952"/>
          </a:xfrm>
          <a:prstGeom prst="rect">
            <a:avLst/>
          </a:prstGeom>
        </p:spPr>
      </p:pic>
      <p:sp>
        <p:nvSpPr>
          <p:cNvPr id="2" name="Title 1">
            <a:extLst>
              <a:ext uri="{FF2B5EF4-FFF2-40B4-BE49-F238E27FC236}">
                <a16:creationId xmlns:a16="http://schemas.microsoft.com/office/drawing/2014/main" id="{67977079-4B79-43A7-9543-254D39BCC1A4}"/>
              </a:ext>
            </a:extLst>
          </p:cNvPr>
          <p:cNvSpPr>
            <a:spLocks noGrp="1"/>
          </p:cNvSpPr>
          <p:nvPr>
            <p:ph type="title" hasCustomPrompt="1"/>
          </p:nvPr>
        </p:nvSpPr>
        <p:spPr>
          <a:xfrm>
            <a:off x="510212" y="576197"/>
            <a:ext cx="11042833" cy="1114491"/>
          </a:xfrm>
          <a:prstGeom prst="rect">
            <a:avLst/>
          </a:prstGeom>
        </p:spPr>
        <p:txBody>
          <a:bodyPr anchor="t">
            <a:normAutofit/>
          </a:bodyPr>
          <a:lstStyle>
            <a:lvl1pPr>
              <a:defRPr sz="4000">
                <a:latin typeface="Roboto Medium" panose="02000000000000000000" pitchFamily="2" charset="0"/>
                <a:ea typeface="Roboto Medium" panose="02000000000000000000" pitchFamily="2" charset="0"/>
              </a:defRPr>
            </a:lvl1pPr>
          </a:lstStyle>
          <a:p>
            <a:r>
              <a:rPr lang="en-US"/>
              <a:t>Click to add title text</a:t>
            </a:r>
          </a:p>
        </p:txBody>
      </p:sp>
      <p:sp>
        <p:nvSpPr>
          <p:cNvPr id="3" name="Content Placeholder 2">
            <a:extLst>
              <a:ext uri="{FF2B5EF4-FFF2-40B4-BE49-F238E27FC236}">
                <a16:creationId xmlns:a16="http://schemas.microsoft.com/office/drawing/2014/main" id="{70CBF40B-E060-4101-B90B-C3FC27EFD79A}"/>
              </a:ext>
            </a:extLst>
          </p:cNvPr>
          <p:cNvSpPr>
            <a:spLocks noGrp="1"/>
          </p:cNvSpPr>
          <p:nvPr>
            <p:ph idx="1" hasCustomPrompt="1"/>
          </p:nvPr>
        </p:nvSpPr>
        <p:spPr>
          <a:xfrm>
            <a:off x="510213" y="1825625"/>
            <a:ext cx="11042832" cy="4351338"/>
          </a:xfrm>
          <a:prstGeom prst="rect">
            <a:avLst/>
          </a:prstGeom>
        </p:spPr>
        <p:txBody>
          <a:bodyPr/>
          <a:lstStyle>
            <a:lvl1pPr marL="0" indent="0">
              <a:buNone/>
              <a:defRPr sz="2200"/>
            </a:lvl1pPr>
            <a:lvl2pPr>
              <a:defRPr sz="2000"/>
            </a:lvl2pPr>
            <a:lvl3pPr>
              <a:defRPr sz="2000"/>
            </a:lvl3pPr>
            <a:lvl4pPr>
              <a:defRPr sz="2000"/>
            </a:lvl4pPr>
          </a:lstStyle>
          <a:p>
            <a:pPr lvl="0"/>
            <a:r>
              <a:rPr lang="en-US"/>
              <a:t>Click to add body text</a:t>
            </a:r>
          </a:p>
          <a:p>
            <a:pPr lvl="1"/>
            <a:r>
              <a:rPr lang="en-US"/>
              <a:t>Bullet one</a:t>
            </a:r>
          </a:p>
          <a:p>
            <a:pPr lvl="2"/>
            <a:r>
              <a:rPr lang="en-US"/>
              <a:t>Bullet two</a:t>
            </a:r>
          </a:p>
          <a:p>
            <a:pPr lvl="3"/>
            <a:r>
              <a:rPr lang="en-US"/>
              <a:t>Bullet three</a:t>
            </a:r>
          </a:p>
        </p:txBody>
      </p:sp>
      <p:cxnSp>
        <p:nvCxnSpPr>
          <p:cNvPr id="9" name="Straight Connector 8">
            <a:extLst>
              <a:ext uri="{FF2B5EF4-FFF2-40B4-BE49-F238E27FC236}">
                <a16:creationId xmlns:a16="http://schemas.microsoft.com/office/drawing/2014/main" id="{E7413227-81FE-4DD3-B206-6D36FF2AC5E1}"/>
              </a:ext>
            </a:extLst>
          </p:cNvPr>
          <p:cNvCxnSpPr>
            <a:cxnSpLocks/>
          </p:cNvCxnSpPr>
          <p:nvPr/>
        </p:nvCxnSpPr>
        <p:spPr>
          <a:xfrm>
            <a:off x="638954" y="1411105"/>
            <a:ext cx="979200" cy="0"/>
          </a:xfrm>
          <a:prstGeom prst="line">
            <a:avLst/>
          </a:prstGeom>
          <a:ln>
            <a:solidFill>
              <a:srgbClr val="6BC5DB"/>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5505330"/>
      </p:ext>
    </p:extLst>
  </p:cSld>
  <p:clrMapOvr>
    <a:overrideClrMapping bg1="dk1" tx1="lt1" bg2="dk2" tx2="lt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Content Slide Blue - Citation">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164EB36-4562-4AF6-85A0-E217B81EC456}"/>
              </a:ext>
            </a:extLst>
          </p:cNvPr>
          <p:cNvSpPr/>
          <p:nvPr/>
        </p:nvSpPr>
        <p:spPr>
          <a:xfrm>
            <a:off x="11553045" y="6248400"/>
            <a:ext cx="461062" cy="49176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descr="Text&#10;&#10;Description automatically generated">
            <a:extLst>
              <a:ext uri="{FF2B5EF4-FFF2-40B4-BE49-F238E27FC236}">
                <a16:creationId xmlns:a16="http://schemas.microsoft.com/office/drawing/2014/main" id="{38159BFC-1491-4938-AE76-B906E2948680}"/>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r="66589"/>
          <a:stretch/>
        </p:blipFill>
        <p:spPr>
          <a:xfrm>
            <a:off x="11587683" y="6248400"/>
            <a:ext cx="426424" cy="422952"/>
          </a:xfrm>
          <a:prstGeom prst="rect">
            <a:avLst/>
          </a:prstGeom>
        </p:spPr>
      </p:pic>
      <p:sp>
        <p:nvSpPr>
          <p:cNvPr id="2" name="Title 1">
            <a:extLst>
              <a:ext uri="{FF2B5EF4-FFF2-40B4-BE49-F238E27FC236}">
                <a16:creationId xmlns:a16="http://schemas.microsoft.com/office/drawing/2014/main" id="{67977079-4B79-43A7-9543-254D39BCC1A4}"/>
              </a:ext>
            </a:extLst>
          </p:cNvPr>
          <p:cNvSpPr>
            <a:spLocks noGrp="1"/>
          </p:cNvSpPr>
          <p:nvPr>
            <p:ph type="title" hasCustomPrompt="1"/>
          </p:nvPr>
        </p:nvSpPr>
        <p:spPr>
          <a:xfrm>
            <a:off x="510212" y="576197"/>
            <a:ext cx="11042833" cy="1114491"/>
          </a:xfrm>
          <a:prstGeom prst="rect">
            <a:avLst/>
          </a:prstGeom>
        </p:spPr>
        <p:txBody>
          <a:bodyPr anchor="t">
            <a:normAutofit/>
          </a:bodyPr>
          <a:lstStyle>
            <a:lvl1pPr>
              <a:defRPr sz="4000">
                <a:latin typeface="Roboto Medium" panose="02000000000000000000" pitchFamily="2" charset="0"/>
                <a:ea typeface="Roboto Medium" panose="02000000000000000000" pitchFamily="2" charset="0"/>
              </a:defRPr>
            </a:lvl1pPr>
          </a:lstStyle>
          <a:p>
            <a:r>
              <a:rPr lang="en-US"/>
              <a:t>Click to add title text</a:t>
            </a:r>
          </a:p>
        </p:txBody>
      </p:sp>
      <p:sp>
        <p:nvSpPr>
          <p:cNvPr id="3" name="Content Placeholder 2">
            <a:extLst>
              <a:ext uri="{FF2B5EF4-FFF2-40B4-BE49-F238E27FC236}">
                <a16:creationId xmlns:a16="http://schemas.microsoft.com/office/drawing/2014/main" id="{70CBF40B-E060-4101-B90B-C3FC27EFD79A}"/>
              </a:ext>
            </a:extLst>
          </p:cNvPr>
          <p:cNvSpPr>
            <a:spLocks noGrp="1"/>
          </p:cNvSpPr>
          <p:nvPr>
            <p:ph idx="1" hasCustomPrompt="1"/>
          </p:nvPr>
        </p:nvSpPr>
        <p:spPr>
          <a:xfrm>
            <a:off x="510213" y="1825625"/>
            <a:ext cx="11042832" cy="4351338"/>
          </a:xfrm>
          <a:prstGeom prst="rect">
            <a:avLst/>
          </a:prstGeom>
        </p:spPr>
        <p:txBody>
          <a:bodyPr/>
          <a:lstStyle>
            <a:lvl1pPr marL="0" indent="0">
              <a:buNone/>
              <a:defRPr sz="2200"/>
            </a:lvl1pPr>
            <a:lvl2pPr>
              <a:defRPr sz="2000"/>
            </a:lvl2pPr>
            <a:lvl3pPr>
              <a:defRPr sz="2000"/>
            </a:lvl3pPr>
            <a:lvl4pPr>
              <a:defRPr sz="2000"/>
            </a:lvl4pPr>
          </a:lstStyle>
          <a:p>
            <a:pPr lvl="0"/>
            <a:r>
              <a:rPr lang="en-US"/>
              <a:t>Click to add body text</a:t>
            </a:r>
          </a:p>
          <a:p>
            <a:pPr lvl="1"/>
            <a:r>
              <a:rPr lang="en-US"/>
              <a:t>Bullet one</a:t>
            </a:r>
          </a:p>
          <a:p>
            <a:pPr lvl="2"/>
            <a:r>
              <a:rPr lang="en-US"/>
              <a:t>Bullet two</a:t>
            </a:r>
          </a:p>
          <a:p>
            <a:pPr lvl="3"/>
            <a:r>
              <a:rPr lang="en-US"/>
              <a:t>Bullet three</a:t>
            </a:r>
          </a:p>
        </p:txBody>
      </p:sp>
      <p:cxnSp>
        <p:nvCxnSpPr>
          <p:cNvPr id="9" name="Straight Connector 8">
            <a:extLst>
              <a:ext uri="{FF2B5EF4-FFF2-40B4-BE49-F238E27FC236}">
                <a16:creationId xmlns:a16="http://schemas.microsoft.com/office/drawing/2014/main" id="{E7413227-81FE-4DD3-B206-6D36FF2AC5E1}"/>
              </a:ext>
            </a:extLst>
          </p:cNvPr>
          <p:cNvCxnSpPr>
            <a:cxnSpLocks/>
          </p:cNvCxnSpPr>
          <p:nvPr/>
        </p:nvCxnSpPr>
        <p:spPr>
          <a:xfrm>
            <a:off x="638954" y="1411105"/>
            <a:ext cx="979200" cy="0"/>
          </a:xfrm>
          <a:prstGeom prst="line">
            <a:avLst/>
          </a:prstGeom>
          <a:ln>
            <a:solidFill>
              <a:srgbClr val="6BC5DB"/>
            </a:solidFill>
          </a:ln>
        </p:spPr>
        <p:style>
          <a:lnRef idx="1">
            <a:schemeClr val="accent1"/>
          </a:lnRef>
          <a:fillRef idx="0">
            <a:schemeClr val="accent1"/>
          </a:fillRef>
          <a:effectRef idx="0">
            <a:schemeClr val="accent1"/>
          </a:effectRef>
          <a:fontRef idx="minor">
            <a:schemeClr val="tx1"/>
          </a:fontRef>
        </p:style>
      </p:cxnSp>
      <p:sp>
        <p:nvSpPr>
          <p:cNvPr id="10" name="Content Placeholder 15">
            <a:extLst>
              <a:ext uri="{FF2B5EF4-FFF2-40B4-BE49-F238E27FC236}">
                <a16:creationId xmlns:a16="http://schemas.microsoft.com/office/drawing/2014/main" id="{9408FF26-EB11-40CE-A7D7-A2A3B0EBCCC0}"/>
              </a:ext>
            </a:extLst>
          </p:cNvPr>
          <p:cNvSpPr>
            <a:spLocks noGrp="1"/>
          </p:cNvSpPr>
          <p:nvPr>
            <p:ph sz="quarter" idx="10" hasCustomPrompt="1"/>
          </p:nvPr>
        </p:nvSpPr>
        <p:spPr>
          <a:xfrm>
            <a:off x="509588" y="6253163"/>
            <a:ext cx="10687050" cy="303212"/>
          </a:xfrm>
          <a:prstGeom prst="rect">
            <a:avLst/>
          </a:prstGeom>
        </p:spPr>
        <p:txBody>
          <a:bodyPr/>
          <a:lstStyle>
            <a:lvl1pPr marL="0" indent="0">
              <a:buNone/>
              <a:defRPr sz="800"/>
            </a:lvl1pPr>
            <a:lvl2pPr marL="457200" indent="0">
              <a:buNone/>
              <a:defRPr sz="800"/>
            </a:lvl2pPr>
            <a:lvl3pPr marL="914400" indent="0">
              <a:buNone/>
              <a:defRPr/>
            </a:lvl3pPr>
            <a:lvl4pPr marL="1371600" indent="0">
              <a:buNone/>
              <a:defRPr/>
            </a:lvl4pPr>
            <a:lvl5pPr marL="1828800" indent="0">
              <a:buNone/>
              <a:defRPr/>
            </a:lvl5pPr>
          </a:lstStyle>
          <a:p>
            <a:pPr lvl="0"/>
            <a:r>
              <a:rPr lang="en-US"/>
              <a:t>Click to cite work</a:t>
            </a:r>
          </a:p>
          <a:p>
            <a:pPr lvl="1"/>
            <a:endParaRPr lang="en-US"/>
          </a:p>
        </p:txBody>
      </p:sp>
    </p:spTree>
    <p:extLst>
      <p:ext uri="{BB962C8B-B14F-4D97-AF65-F5344CB8AC3E}">
        <p14:creationId xmlns:p14="http://schemas.microsoft.com/office/powerpoint/2010/main" val="3289741633"/>
      </p:ext>
    </p:extLst>
  </p:cSld>
  <p:clrMapOvr>
    <a:overrideClrMapping bg1="dk1" tx1="lt1" bg2="dk2" tx2="lt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Divider Slide">
    <p:bg>
      <p:bgRef idx="1001">
        <a:schemeClr val="bg2"/>
      </p:bgRef>
    </p:bg>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5F4D7A97-3AD7-4FB7-A38D-6DDA5B98B77F}"/>
              </a:ext>
            </a:extLst>
          </p:cNvPr>
          <p:cNvGrpSpPr/>
          <p:nvPr/>
        </p:nvGrpSpPr>
        <p:grpSpPr>
          <a:xfrm>
            <a:off x="-555386" y="-193716"/>
            <a:ext cx="7779279" cy="7483160"/>
            <a:chOff x="5889913" y="215788"/>
            <a:chExt cx="7779279" cy="7483160"/>
          </a:xfrm>
        </p:grpSpPr>
        <p:sp>
          <p:nvSpPr>
            <p:cNvPr id="7" name="Graphic 4">
              <a:extLst>
                <a:ext uri="{FF2B5EF4-FFF2-40B4-BE49-F238E27FC236}">
                  <a16:creationId xmlns:a16="http://schemas.microsoft.com/office/drawing/2014/main" id="{B9D66465-A03A-42E0-8D6B-2C449DC52F65}"/>
                </a:ext>
              </a:extLst>
            </p:cNvPr>
            <p:cNvSpPr/>
            <p:nvPr/>
          </p:nvSpPr>
          <p:spPr>
            <a:xfrm rot="4319383">
              <a:off x="6305590" y="335345"/>
              <a:ext cx="7455928" cy="7271277"/>
            </a:xfrm>
            <a:custGeom>
              <a:avLst/>
              <a:gdLst>
                <a:gd name="connsiteX0" fmla="*/ 3006252 w 5586068"/>
                <a:gd name="connsiteY0" fmla="*/ 9676 h 5024960"/>
                <a:gd name="connsiteX1" fmla="*/ 307567 w 5586068"/>
                <a:gd name="connsiteY1" fmla="*/ 1425942 h 5024960"/>
                <a:gd name="connsiteX2" fmla="*/ 425211 w 5586068"/>
                <a:gd name="connsiteY2" fmla="*/ 3954481 h 5024960"/>
                <a:gd name="connsiteX3" fmla="*/ 1808745 w 5586068"/>
                <a:gd name="connsiteY3" fmla="*/ 4859985 h 5024960"/>
                <a:gd name="connsiteX4" fmla="*/ 3475857 w 5586068"/>
                <a:gd name="connsiteY4" fmla="*/ 5016195 h 5024960"/>
                <a:gd name="connsiteX5" fmla="*/ 5026621 w 5586068"/>
                <a:gd name="connsiteY5" fmla="*/ 4521636 h 5024960"/>
                <a:gd name="connsiteX6" fmla="*/ 5580812 w 5586068"/>
                <a:gd name="connsiteY6" fmla="*/ 3073608 h 5024960"/>
                <a:gd name="connsiteX7" fmla="*/ 5006527 w 5586068"/>
                <a:gd name="connsiteY7" fmla="*/ 1075603 h 5024960"/>
                <a:gd name="connsiteX8" fmla="*/ 2990048 w 5586068"/>
                <a:gd name="connsiteY8" fmla="*/ 51807 h 5024960"/>
                <a:gd name="connsiteX0" fmla="*/ 3006252 w 5586068"/>
                <a:gd name="connsiteY0" fmla="*/ 9676 h 5024960"/>
                <a:gd name="connsiteX1" fmla="*/ 307567 w 5586068"/>
                <a:gd name="connsiteY1" fmla="*/ 1425942 h 5024960"/>
                <a:gd name="connsiteX2" fmla="*/ 425211 w 5586068"/>
                <a:gd name="connsiteY2" fmla="*/ 3954481 h 5024960"/>
                <a:gd name="connsiteX3" fmla="*/ 1808745 w 5586068"/>
                <a:gd name="connsiteY3" fmla="*/ 4859985 h 5024960"/>
                <a:gd name="connsiteX4" fmla="*/ 3475857 w 5586068"/>
                <a:gd name="connsiteY4" fmla="*/ 5016195 h 5024960"/>
                <a:gd name="connsiteX5" fmla="*/ 5026621 w 5586068"/>
                <a:gd name="connsiteY5" fmla="*/ 4521636 h 5024960"/>
                <a:gd name="connsiteX6" fmla="*/ 5580812 w 5586068"/>
                <a:gd name="connsiteY6" fmla="*/ 3073608 h 5024960"/>
                <a:gd name="connsiteX7" fmla="*/ 5006527 w 5586068"/>
                <a:gd name="connsiteY7" fmla="*/ 1075603 h 5024960"/>
                <a:gd name="connsiteX8" fmla="*/ 3017397 w 5586068"/>
                <a:gd name="connsiteY8" fmla="*/ 4322 h 5024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86068" h="5024960">
                  <a:moveTo>
                    <a:pt x="3006252" y="9676"/>
                  </a:moveTo>
                  <a:cubicBezTo>
                    <a:pt x="1945186" y="-82690"/>
                    <a:pt x="830322" y="493540"/>
                    <a:pt x="307567" y="1425942"/>
                  </a:cubicBezTo>
                  <a:cubicBezTo>
                    <a:pt x="-128981" y="2204403"/>
                    <a:pt x="-110507" y="3240514"/>
                    <a:pt x="425211" y="3954481"/>
                  </a:cubicBezTo>
                  <a:cubicBezTo>
                    <a:pt x="761615" y="4403020"/>
                    <a:pt x="1270434" y="4702478"/>
                    <a:pt x="1808745" y="4859985"/>
                  </a:cubicBezTo>
                  <a:cubicBezTo>
                    <a:pt x="2347056" y="5017492"/>
                    <a:pt x="2915832" y="5041798"/>
                    <a:pt x="3475857" y="5016195"/>
                  </a:cubicBezTo>
                  <a:cubicBezTo>
                    <a:pt x="4029724" y="4990916"/>
                    <a:pt x="4621510" y="4900171"/>
                    <a:pt x="5026621" y="4521636"/>
                  </a:cubicBezTo>
                  <a:cubicBezTo>
                    <a:pt x="5413906" y="4159953"/>
                    <a:pt x="5552940" y="3602845"/>
                    <a:pt x="5580812" y="3073608"/>
                  </a:cubicBezTo>
                  <a:cubicBezTo>
                    <a:pt x="5617110" y="2377791"/>
                    <a:pt x="5469650" y="1618127"/>
                    <a:pt x="5006527" y="1075603"/>
                  </a:cubicBezTo>
                  <a:cubicBezTo>
                    <a:pt x="4504189" y="487058"/>
                    <a:pt x="3748865" y="171228"/>
                    <a:pt x="3017397" y="4322"/>
                  </a:cubicBezTo>
                </a:path>
              </a:pathLst>
            </a:custGeom>
            <a:solidFill>
              <a:srgbClr val="FFFFFF">
                <a:alpha val="7059"/>
              </a:srgbClr>
            </a:solidFill>
            <a:ln w="32396" cap="flat">
              <a:noFill/>
              <a:prstDash val="solid"/>
              <a:miter/>
            </a:ln>
          </p:spPr>
          <p:txBody>
            <a:bodyPr rtlCol="0" anchor="ctr"/>
            <a:lstStyle/>
            <a:p>
              <a:endParaRPr lang="en-US"/>
            </a:p>
          </p:txBody>
        </p:sp>
        <p:sp>
          <p:nvSpPr>
            <p:cNvPr id="8" name="Graphic 2">
              <a:extLst>
                <a:ext uri="{FF2B5EF4-FFF2-40B4-BE49-F238E27FC236}">
                  <a16:creationId xmlns:a16="http://schemas.microsoft.com/office/drawing/2014/main" id="{A9FD98F5-B761-43BF-95AD-B2E7083FBE2F}"/>
                </a:ext>
              </a:extLst>
            </p:cNvPr>
            <p:cNvSpPr/>
            <p:nvPr/>
          </p:nvSpPr>
          <p:spPr>
            <a:xfrm rot="15014318" flipV="1">
              <a:off x="5924731" y="180970"/>
              <a:ext cx="7194510" cy="7264145"/>
            </a:xfrm>
            <a:custGeom>
              <a:avLst/>
              <a:gdLst>
                <a:gd name="connsiteX0" fmla="*/ 3006252 w 5586068"/>
                <a:gd name="connsiteY0" fmla="*/ 9676 h 5024960"/>
                <a:gd name="connsiteX1" fmla="*/ 307567 w 5586068"/>
                <a:gd name="connsiteY1" fmla="*/ 1425942 h 5024960"/>
                <a:gd name="connsiteX2" fmla="*/ 425211 w 5586068"/>
                <a:gd name="connsiteY2" fmla="*/ 3954481 h 5024960"/>
                <a:gd name="connsiteX3" fmla="*/ 1808745 w 5586068"/>
                <a:gd name="connsiteY3" fmla="*/ 4859985 h 5024960"/>
                <a:gd name="connsiteX4" fmla="*/ 3475857 w 5586068"/>
                <a:gd name="connsiteY4" fmla="*/ 5016195 h 5024960"/>
                <a:gd name="connsiteX5" fmla="*/ 5026621 w 5586068"/>
                <a:gd name="connsiteY5" fmla="*/ 4521636 h 5024960"/>
                <a:gd name="connsiteX6" fmla="*/ 5580812 w 5586068"/>
                <a:gd name="connsiteY6" fmla="*/ 3073608 h 5024960"/>
                <a:gd name="connsiteX7" fmla="*/ 5006527 w 5586068"/>
                <a:gd name="connsiteY7" fmla="*/ 1075603 h 5024960"/>
                <a:gd name="connsiteX8" fmla="*/ 2990048 w 5586068"/>
                <a:gd name="connsiteY8" fmla="*/ 51807 h 5024960"/>
                <a:gd name="connsiteX0" fmla="*/ 3006252 w 5586068"/>
                <a:gd name="connsiteY0" fmla="*/ 9676 h 5024960"/>
                <a:gd name="connsiteX1" fmla="*/ 307567 w 5586068"/>
                <a:gd name="connsiteY1" fmla="*/ 1425942 h 5024960"/>
                <a:gd name="connsiteX2" fmla="*/ 425211 w 5586068"/>
                <a:gd name="connsiteY2" fmla="*/ 3954481 h 5024960"/>
                <a:gd name="connsiteX3" fmla="*/ 1808745 w 5586068"/>
                <a:gd name="connsiteY3" fmla="*/ 4859985 h 5024960"/>
                <a:gd name="connsiteX4" fmla="*/ 3475857 w 5586068"/>
                <a:gd name="connsiteY4" fmla="*/ 5016195 h 5024960"/>
                <a:gd name="connsiteX5" fmla="*/ 5026621 w 5586068"/>
                <a:gd name="connsiteY5" fmla="*/ 4521636 h 5024960"/>
                <a:gd name="connsiteX6" fmla="*/ 5580812 w 5586068"/>
                <a:gd name="connsiteY6" fmla="*/ 3073608 h 5024960"/>
                <a:gd name="connsiteX7" fmla="*/ 5006527 w 5586068"/>
                <a:gd name="connsiteY7" fmla="*/ 1075603 h 5024960"/>
                <a:gd name="connsiteX8" fmla="*/ 3019034 w 5586068"/>
                <a:gd name="connsiteY8" fmla="*/ 54474 h 5024960"/>
                <a:gd name="connsiteX0" fmla="*/ 3006252 w 5586068"/>
                <a:gd name="connsiteY0" fmla="*/ 9676 h 5024960"/>
                <a:gd name="connsiteX1" fmla="*/ 307567 w 5586068"/>
                <a:gd name="connsiteY1" fmla="*/ 1425942 h 5024960"/>
                <a:gd name="connsiteX2" fmla="*/ 425211 w 5586068"/>
                <a:gd name="connsiteY2" fmla="*/ 3954481 h 5024960"/>
                <a:gd name="connsiteX3" fmla="*/ 1808745 w 5586068"/>
                <a:gd name="connsiteY3" fmla="*/ 4859985 h 5024960"/>
                <a:gd name="connsiteX4" fmla="*/ 3475857 w 5586068"/>
                <a:gd name="connsiteY4" fmla="*/ 5016195 h 5024960"/>
                <a:gd name="connsiteX5" fmla="*/ 5026621 w 5586068"/>
                <a:gd name="connsiteY5" fmla="*/ 4521636 h 5024960"/>
                <a:gd name="connsiteX6" fmla="*/ 5580812 w 5586068"/>
                <a:gd name="connsiteY6" fmla="*/ 3073608 h 5024960"/>
                <a:gd name="connsiteX7" fmla="*/ 5006527 w 5586068"/>
                <a:gd name="connsiteY7" fmla="*/ 1075603 h 5024960"/>
                <a:gd name="connsiteX8" fmla="*/ 3022491 w 5586068"/>
                <a:gd name="connsiteY8" fmla="*/ 32125 h 5024960"/>
                <a:gd name="connsiteX0" fmla="*/ 3006252 w 5586068"/>
                <a:gd name="connsiteY0" fmla="*/ 9676 h 5024960"/>
                <a:gd name="connsiteX1" fmla="*/ 307567 w 5586068"/>
                <a:gd name="connsiteY1" fmla="*/ 1425942 h 5024960"/>
                <a:gd name="connsiteX2" fmla="*/ 425211 w 5586068"/>
                <a:gd name="connsiteY2" fmla="*/ 3954481 h 5024960"/>
                <a:gd name="connsiteX3" fmla="*/ 1808745 w 5586068"/>
                <a:gd name="connsiteY3" fmla="*/ 4859985 h 5024960"/>
                <a:gd name="connsiteX4" fmla="*/ 3475857 w 5586068"/>
                <a:gd name="connsiteY4" fmla="*/ 5016195 h 5024960"/>
                <a:gd name="connsiteX5" fmla="*/ 5026621 w 5586068"/>
                <a:gd name="connsiteY5" fmla="*/ 4521636 h 5024960"/>
                <a:gd name="connsiteX6" fmla="*/ 5580812 w 5586068"/>
                <a:gd name="connsiteY6" fmla="*/ 3073608 h 5024960"/>
                <a:gd name="connsiteX7" fmla="*/ 5006527 w 5586068"/>
                <a:gd name="connsiteY7" fmla="*/ 1075603 h 5024960"/>
                <a:gd name="connsiteX8" fmla="*/ 3083922 w 5586068"/>
                <a:gd name="connsiteY8" fmla="*/ 15110 h 5024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86068" h="5024960">
                  <a:moveTo>
                    <a:pt x="3006252" y="9676"/>
                  </a:moveTo>
                  <a:cubicBezTo>
                    <a:pt x="1945186" y="-82690"/>
                    <a:pt x="830322" y="493540"/>
                    <a:pt x="307567" y="1425942"/>
                  </a:cubicBezTo>
                  <a:cubicBezTo>
                    <a:pt x="-128981" y="2204403"/>
                    <a:pt x="-110507" y="3240514"/>
                    <a:pt x="425211" y="3954481"/>
                  </a:cubicBezTo>
                  <a:cubicBezTo>
                    <a:pt x="761615" y="4403020"/>
                    <a:pt x="1270434" y="4702478"/>
                    <a:pt x="1808745" y="4859985"/>
                  </a:cubicBezTo>
                  <a:cubicBezTo>
                    <a:pt x="2347056" y="5017492"/>
                    <a:pt x="2915832" y="5041798"/>
                    <a:pt x="3475857" y="5016195"/>
                  </a:cubicBezTo>
                  <a:cubicBezTo>
                    <a:pt x="4029724" y="4990916"/>
                    <a:pt x="4621510" y="4900171"/>
                    <a:pt x="5026621" y="4521636"/>
                  </a:cubicBezTo>
                  <a:cubicBezTo>
                    <a:pt x="5413906" y="4159953"/>
                    <a:pt x="5552940" y="3602845"/>
                    <a:pt x="5580812" y="3073608"/>
                  </a:cubicBezTo>
                  <a:cubicBezTo>
                    <a:pt x="5617110" y="2377791"/>
                    <a:pt x="5469650" y="1618127"/>
                    <a:pt x="5006527" y="1075603"/>
                  </a:cubicBezTo>
                  <a:cubicBezTo>
                    <a:pt x="4504189" y="487058"/>
                    <a:pt x="3815390" y="182016"/>
                    <a:pt x="3083922" y="15110"/>
                  </a:cubicBezTo>
                </a:path>
              </a:pathLst>
            </a:custGeom>
            <a:solidFill>
              <a:srgbClr val="FFFFFF">
                <a:alpha val="5882"/>
              </a:srgbClr>
            </a:solidFill>
            <a:ln w="32396" cap="flat">
              <a:noFill/>
              <a:prstDash val="solid"/>
              <a:miter/>
            </a:ln>
          </p:spPr>
          <p:txBody>
            <a:bodyPr rtlCol="0" anchor="ctr"/>
            <a:lstStyle/>
            <a:p>
              <a:endParaRPr lang="en-US"/>
            </a:p>
          </p:txBody>
        </p:sp>
      </p:grpSp>
      <p:sp>
        <p:nvSpPr>
          <p:cNvPr id="10" name="Rectangle 9">
            <a:extLst>
              <a:ext uri="{FF2B5EF4-FFF2-40B4-BE49-F238E27FC236}">
                <a16:creationId xmlns:a16="http://schemas.microsoft.com/office/drawing/2014/main" id="{6D12AC64-C855-4FB0-8AEF-51FC8045BB99}"/>
              </a:ext>
            </a:extLst>
          </p:cNvPr>
          <p:cNvSpPr/>
          <p:nvPr/>
        </p:nvSpPr>
        <p:spPr>
          <a:xfrm>
            <a:off x="11553045" y="6248400"/>
            <a:ext cx="461062" cy="49176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descr="Text&#10;&#10;Description automatically generated">
            <a:extLst>
              <a:ext uri="{FF2B5EF4-FFF2-40B4-BE49-F238E27FC236}">
                <a16:creationId xmlns:a16="http://schemas.microsoft.com/office/drawing/2014/main" id="{0EEF8AAF-A01D-4B2A-90DE-0F773DF5746D}"/>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r="66589"/>
          <a:stretch/>
        </p:blipFill>
        <p:spPr>
          <a:xfrm>
            <a:off x="11587683" y="6248400"/>
            <a:ext cx="426424" cy="422952"/>
          </a:xfrm>
          <a:prstGeom prst="rect">
            <a:avLst/>
          </a:prstGeom>
        </p:spPr>
      </p:pic>
      <p:sp>
        <p:nvSpPr>
          <p:cNvPr id="2" name="Rectangle 1">
            <a:extLst>
              <a:ext uri="{FF2B5EF4-FFF2-40B4-BE49-F238E27FC236}">
                <a16:creationId xmlns:a16="http://schemas.microsoft.com/office/drawing/2014/main" id="{153EF59F-3A44-4618-AEB8-7FEE7FE111CD}"/>
              </a:ext>
            </a:extLst>
          </p:cNvPr>
          <p:cNvSpPr/>
          <p:nvPr/>
        </p:nvSpPr>
        <p:spPr>
          <a:xfrm>
            <a:off x="577970" y="1362974"/>
            <a:ext cx="1104181" cy="146649"/>
          </a:xfrm>
          <a:prstGeom prst="rect">
            <a:avLst/>
          </a:prstGeom>
          <a:solidFill>
            <a:srgbClr val="20AB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itle 1">
            <a:extLst>
              <a:ext uri="{FF2B5EF4-FFF2-40B4-BE49-F238E27FC236}">
                <a16:creationId xmlns:a16="http://schemas.microsoft.com/office/drawing/2014/main" id="{1F7B5001-CBA7-4BFC-B3F4-B836E90AB4CF}"/>
              </a:ext>
            </a:extLst>
          </p:cNvPr>
          <p:cNvSpPr>
            <a:spLocks noGrp="1"/>
          </p:cNvSpPr>
          <p:nvPr>
            <p:ph type="ctrTitle" hasCustomPrompt="1"/>
          </p:nvPr>
        </p:nvSpPr>
        <p:spPr>
          <a:xfrm>
            <a:off x="465078" y="825489"/>
            <a:ext cx="11003022" cy="6032511"/>
          </a:xfrm>
          <a:prstGeom prst="rect">
            <a:avLst/>
          </a:prstGeom>
        </p:spPr>
        <p:txBody>
          <a:bodyPr anchor="t">
            <a:noAutofit/>
          </a:bodyPr>
          <a:lstStyle>
            <a:lvl1pPr algn="l">
              <a:lnSpc>
                <a:spcPct val="100000"/>
              </a:lnSpc>
              <a:defRPr sz="6600">
                <a:latin typeface="Roboto Medium" panose="02000000000000000000" pitchFamily="2" charset="0"/>
                <a:ea typeface="Roboto Medium" panose="02000000000000000000" pitchFamily="2" charset="0"/>
              </a:defRPr>
            </a:lvl1pPr>
          </a:lstStyle>
          <a:p>
            <a:r>
              <a:rPr lang="en-US"/>
              <a:t>Click to add divider text</a:t>
            </a:r>
          </a:p>
        </p:txBody>
      </p:sp>
    </p:spTree>
    <p:extLst>
      <p:ext uri="{BB962C8B-B14F-4D97-AF65-F5344CB8AC3E}">
        <p14:creationId xmlns:p14="http://schemas.microsoft.com/office/powerpoint/2010/main" val="1240945045"/>
      </p:ext>
    </p:extLst>
  </p:cSld>
  <p:clrMapOvr>
    <a:overrideClrMapping bg1="dk1" tx1="lt1" bg2="dk2" tx2="lt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Content Slide 2 Column ">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F4A526B-A985-4CCD-92D4-1B3147A5E614}"/>
              </a:ext>
            </a:extLst>
          </p:cNvPr>
          <p:cNvSpPr>
            <a:spLocks noGrp="1"/>
          </p:cNvSpPr>
          <p:nvPr>
            <p:ph sz="half" idx="1" hasCustomPrompt="1"/>
          </p:nvPr>
        </p:nvSpPr>
        <p:spPr>
          <a:xfrm>
            <a:off x="530091" y="1825625"/>
            <a:ext cx="5394960" cy="4351338"/>
          </a:xfrm>
          <a:prstGeom prst="rect">
            <a:avLst/>
          </a:prstGeom>
        </p:spPr>
        <p:txBody>
          <a:bodyPr/>
          <a:lstStyle>
            <a:lvl1pPr marL="0" indent="0">
              <a:buFontTx/>
              <a:buNone/>
              <a:defRPr sz="2200"/>
            </a:lvl1pPr>
            <a:lvl2pPr marL="742950" indent="-285750">
              <a:buFont typeface="Arial" panose="020B0604020202020204" pitchFamily="34" charset="0"/>
              <a:buChar char="•"/>
              <a:defRPr sz="2000"/>
            </a:lvl2pPr>
            <a:lvl3pPr>
              <a:defRPr sz="2000"/>
            </a:lvl3pPr>
            <a:lvl4pPr>
              <a:defRPr sz="2000"/>
            </a:lvl4pPr>
          </a:lstStyle>
          <a:p>
            <a:pPr lvl="0"/>
            <a:r>
              <a:rPr lang="en-US"/>
              <a:t>Click to add body text</a:t>
            </a:r>
          </a:p>
          <a:p>
            <a:pPr lvl="1"/>
            <a:r>
              <a:rPr lang="en-US"/>
              <a:t>Bullet one</a:t>
            </a:r>
          </a:p>
          <a:p>
            <a:pPr lvl="2"/>
            <a:r>
              <a:rPr lang="en-US"/>
              <a:t>Bullet two</a:t>
            </a:r>
          </a:p>
          <a:p>
            <a:pPr lvl="3"/>
            <a:r>
              <a:rPr lang="en-US"/>
              <a:t>Bullet three</a:t>
            </a:r>
          </a:p>
        </p:txBody>
      </p:sp>
      <p:sp>
        <p:nvSpPr>
          <p:cNvPr id="4" name="Content Placeholder 3">
            <a:extLst>
              <a:ext uri="{FF2B5EF4-FFF2-40B4-BE49-F238E27FC236}">
                <a16:creationId xmlns:a16="http://schemas.microsoft.com/office/drawing/2014/main" id="{FD4EF040-8ADA-41C0-A841-CC9BBF56B254}"/>
              </a:ext>
            </a:extLst>
          </p:cNvPr>
          <p:cNvSpPr>
            <a:spLocks noGrp="1"/>
          </p:cNvSpPr>
          <p:nvPr>
            <p:ph sz="half" idx="2" hasCustomPrompt="1"/>
          </p:nvPr>
        </p:nvSpPr>
        <p:spPr>
          <a:xfrm>
            <a:off x="6172200" y="1825625"/>
            <a:ext cx="5394960" cy="4351338"/>
          </a:xfrm>
          <a:prstGeom prst="rect">
            <a:avLst/>
          </a:prstGeom>
        </p:spPr>
        <p:txBody>
          <a:bodyPr/>
          <a:lstStyle>
            <a:lvl1pPr marL="0" indent="0">
              <a:buFontTx/>
              <a:buNone/>
              <a:defRPr sz="2200"/>
            </a:lvl1pPr>
            <a:lvl2pPr>
              <a:defRPr sz="2000"/>
            </a:lvl2pPr>
            <a:lvl3pPr>
              <a:defRPr sz="2000"/>
            </a:lvl3pPr>
            <a:lvl4pPr>
              <a:defRPr sz="2000"/>
            </a:lvl4pPr>
          </a:lstStyle>
          <a:p>
            <a:pPr lvl="0"/>
            <a:r>
              <a:rPr lang="en-US"/>
              <a:t>Click to add body text</a:t>
            </a:r>
          </a:p>
          <a:p>
            <a:pPr lvl="1"/>
            <a:r>
              <a:rPr lang="en-US"/>
              <a:t>Bullet one</a:t>
            </a:r>
          </a:p>
          <a:p>
            <a:pPr lvl="2"/>
            <a:r>
              <a:rPr lang="en-US"/>
              <a:t>Bullet two</a:t>
            </a:r>
          </a:p>
          <a:p>
            <a:pPr lvl="3"/>
            <a:r>
              <a:rPr lang="en-US"/>
              <a:t>Bullet three</a:t>
            </a:r>
          </a:p>
        </p:txBody>
      </p:sp>
      <p:pic>
        <p:nvPicPr>
          <p:cNvPr id="9" name="Picture 8" descr="IHI_Symbol.png">
            <a:extLst>
              <a:ext uri="{FF2B5EF4-FFF2-40B4-BE49-F238E27FC236}">
                <a16:creationId xmlns:a16="http://schemas.microsoft.com/office/drawing/2014/main" id="{18408532-34C0-43F8-B52E-0148FA30C39C}"/>
              </a:ext>
            </a:extLst>
          </p:cNvPr>
          <p:cNvPicPr>
            <a:picLocks noChangeAspect="1"/>
          </p:cNvPicPr>
          <p:nvPr/>
        </p:nvPicPr>
        <p:blipFill>
          <a:blip r:embed="rId2" cstate="print"/>
          <a:stretch>
            <a:fillRect/>
          </a:stretch>
        </p:blipFill>
        <p:spPr>
          <a:xfrm>
            <a:off x="11584510" y="6263405"/>
            <a:ext cx="387846" cy="382809"/>
          </a:xfrm>
          <a:prstGeom prst="rect">
            <a:avLst/>
          </a:prstGeom>
          <a:noFill/>
          <a:ln>
            <a:noFill/>
          </a:ln>
        </p:spPr>
      </p:pic>
      <p:sp>
        <p:nvSpPr>
          <p:cNvPr id="10" name="Title 1">
            <a:extLst>
              <a:ext uri="{FF2B5EF4-FFF2-40B4-BE49-F238E27FC236}">
                <a16:creationId xmlns:a16="http://schemas.microsoft.com/office/drawing/2014/main" id="{0D4EA97D-1A84-4550-B0E3-D59573BA416F}"/>
              </a:ext>
            </a:extLst>
          </p:cNvPr>
          <p:cNvSpPr>
            <a:spLocks noGrp="1"/>
          </p:cNvSpPr>
          <p:nvPr>
            <p:ph type="title" hasCustomPrompt="1"/>
          </p:nvPr>
        </p:nvSpPr>
        <p:spPr>
          <a:xfrm>
            <a:off x="510212" y="576197"/>
            <a:ext cx="11042834" cy="1114491"/>
          </a:xfrm>
          <a:prstGeom prst="rect">
            <a:avLst/>
          </a:prstGeom>
        </p:spPr>
        <p:txBody>
          <a:bodyPr anchor="t">
            <a:normAutofit/>
          </a:bodyPr>
          <a:lstStyle>
            <a:lvl1pPr>
              <a:defRPr sz="4000">
                <a:latin typeface="Roboto Medium" panose="02000000000000000000" pitchFamily="2" charset="0"/>
                <a:ea typeface="Roboto Medium" panose="02000000000000000000" pitchFamily="2" charset="0"/>
              </a:defRPr>
            </a:lvl1pPr>
          </a:lstStyle>
          <a:p>
            <a:r>
              <a:rPr lang="en-US"/>
              <a:t>Click to add title text</a:t>
            </a:r>
          </a:p>
        </p:txBody>
      </p:sp>
      <p:cxnSp>
        <p:nvCxnSpPr>
          <p:cNvPr id="11" name="Straight Connector 10">
            <a:extLst>
              <a:ext uri="{FF2B5EF4-FFF2-40B4-BE49-F238E27FC236}">
                <a16:creationId xmlns:a16="http://schemas.microsoft.com/office/drawing/2014/main" id="{1B1FCE93-83D7-40C5-AB30-2677007C29EE}"/>
              </a:ext>
            </a:extLst>
          </p:cNvPr>
          <p:cNvCxnSpPr>
            <a:cxnSpLocks/>
          </p:cNvCxnSpPr>
          <p:nvPr/>
        </p:nvCxnSpPr>
        <p:spPr>
          <a:xfrm>
            <a:off x="638954" y="1411105"/>
            <a:ext cx="979200" cy="0"/>
          </a:xfrm>
          <a:prstGeom prst="line">
            <a:avLst/>
          </a:prstGeom>
          <a:ln>
            <a:solidFill>
              <a:srgbClr val="6BC5DB"/>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7553793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TxTwoObj" preserve="1">
  <p:cSld name="Content Slide 2 Column with Titl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D0BD3D-79C7-4142-95B6-49B33BD430FF}"/>
              </a:ext>
            </a:extLst>
          </p:cNvPr>
          <p:cNvSpPr>
            <a:spLocks noGrp="1"/>
          </p:cNvSpPr>
          <p:nvPr>
            <p:ph type="title" hasCustomPrompt="1"/>
          </p:nvPr>
        </p:nvSpPr>
        <p:spPr>
          <a:xfrm>
            <a:off x="511799" y="566530"/>
            <a:ext cx="11045421" cy="1034707"/>
          </a:xfrm>
          <a:prstGeom prst="rect">
            <a:avLst/>
          </a:prstGeom>
        </p:spPr>
        <p:txBody>
          <a:bodyPr anchor="t">
            <a:normAutofit/>
          </a:bodyPr>
          <a:lstStyle>
            <a:lvl1pPr>
              <a:defRPr sz="4000">
                <a:latin typeface="Roboto Medium" panose="02000000000000000000" pitchFamily="2" charset="0"/>
                <a:ea typeface="Roboto Medium" panose="02000000000000000000" pitchFamily="2" charset="0"/>
              </a:defRPr>
            </a:lvl1pPr>
          </a:lstStyle>
          <a:p>
            <a:r>
              <a:rPr lang="en-US"/>
              <a:t>Click to add title text</a:t>
            </a:r>
          </a:p>
        </p:txBody>
      </p:sp>
      <p:sp>
        <p:nvSpPr>
          <p:cNvPr id="3" name="Text Placeholder 2">
            <a:extLst>
              <a:ext uri="{FF2B5EF4-FFF2-40B4-BE49-F238E27FC236}">
                <a16:creationId xmlns:a16="http://schemas.microsoft.com/office/drawing/2014/main" id="{2310619A-389A-46DD-BACC-0B2D9DFCA4AC}"/>
              </a:ext>
            </a:extLst>
          </p:cNvPr>
          <p:cNvSpPr>
            <a:spLocks noGrp="1"/>
          </p:cNvSpPr>
          <p:nvPr>
            <p:ph type="body" idx="1" hasCustomPrompt="1"/>
          </p:nvPr>
        </p:nvSpPr>
        <p:spPr>
          <a:xfrm>
            <a:off x="521738" y="1611590"/>
            <a:ext cx="5394960" cy="823912"/>
          </a:xfrm>
          <a:prstGeom prst="rect">
            <a:avLst/>
          </a:prstGeom>
        </p:spPr>
        <p:txBody>
          <a:bodyPr anchor="t">
            <a:normAutofit/>
          </a:bodyPr>
          <a:lstStyle>
            <a:lvl1pPr marL="0" indent="0">
              <a:spcBef>
                <a:spcPts val="0"/>
              </a:spcBef>
              <a:buNone/>
              <a:defRPr sz="2400" b="0">
                <a:solidFill>
                  <a:schemeClr val="tx2"/>
                </a:solidFill>
                <a:latin typeface="Roboto Medium" panose="02000000000000000000" pitchFamily="2" charset="0"/>
                <a:ea typeface="Roboto Medium" panose="02000000000000000000"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add subhead text</a:t>
            </a:r>
          </a:p>
        </p:txBody>
      </p:sp>
      <p:sp>
        <p:nvSpPr>
          <p:cNvPr id="4" name="Content Placeholder 3">
            <a:extLst>
              <a:ext uri="{FF2B5EF4-FFF2-40B4-BE49-F238E27FC236}">
                <a16:creationId xmlns:a16="http://schemas.microsoft.com/office/drawing/2014/main" id="{58A70215-FF52-4AB8-8870-52B6D7D781CA}"/>
              </a:ext>
            </a:extLst>
          </p:cNvPr>
          <p:cNvSpPr>
            <a:spLocks noGrp="1"/>
          </p:cNvSpPr>
          <p:nvPr>
            <p:ph sz="half" idx="2" hasCustomPrompt="1"/>
          </p:nvPr>
        </p:nvSpPr>
        <p:spPr>
          <a:xfrm>
            <a:off x="521738" y="2465319"/>
            <a:ext cx="5394960" cy="3704466"/>
          </a:xfrm>
          <a:prstGeom prst="rect">
            <a:avLst/>
          </a:prstGeom>
        </p:spPr>
        <p:txBody>
          <a:bodyPr/>
          <a:lstStyle>
            <a:lvl1pPr marL="0" indent="0">
              <a:buNone/>
              <a:defRPr sz="2000"/>
            </a:lvl1pPr>
            <a:lvl2pPr>
              <a:defRPr sz="1800"/>
            </a:lvl2pPr>
            <a:lvl3pPr>
              <a:defRPr sz="1800"/>
            </a:lvl3pPr>
          </a:lstStyle>
          <a:p>
            <a:pPr lvl="0"/>
            <a:r>
              <a:rPr lang="en-US"/>
              <a:t>Click to add body text</a:t>
            </a:r>
          </a:p>
          <a:p>
            <a:pPr lvl="1"/>
            <a:r>
              <a:rPr lang="en-US"/>
              <a:t>Bullet one</a:t>
            </a:r>
          </a:p>
          <a:p>
            <a:pPr lvl="2"/>
            <a:r>
              <a:rPr lang="en-US"/>
              <a:t>Bullet two</a:t>
            </a:r>
          </a:p>
        </p:txBody>
      </p:sp>
      <p:sp>
        <p:nvSpPr>
          <p:cNvPr id="5" name="Text Placeholder 4">
            <a:extLst>
              <a:ext uri="{FF2B5EF4-FFF2-40B4-BE49-F238E27FC236}">
                <a16:creationId xmlns:a16="http://schemas.microsoft.com/office/drawing/2014/main" id="{605BAC4D-F06E-4E72-A399-4C275DC47754}"/>
              </a:ext>
            </a:extLst>
          </p:cNvPr>
          <p:cNvSpPr>
            <a:spLocks noGrp="1"/>
          </p:cNvSpPr>
          <p:nvPr>
            <p:ph type="body" sz="quarter" idx="3" hasCustomPrompt="1"/>
          </p:nvPr>
        </p:nvSpPr>
        <p:spPr>
          <a:xfrm>
            <a:off x="6172200" y="1611590"/>
            <a:ext cx="5394960" cy="823912"/>
          </a:xfrm>
          <a:prstGeom prst="rect">
            <a:avLst/>
          </a:prstGeom>
        </p:spPr>
        <p:txBody>
          <a:bodyPr anchor="t">
            <a:normAutofit/>
          </a:bodyPr>
          <a:lstStyle>
            <a:lvl1pPr marL="0" indent="0">
              <a:spcBef>
                <a:spcPts val="0"/>
              </a:spcBef>
              <a:buNone/>
              <a:defRPr sz="2400" b="0">
                <a:solidFill>
                  <a:schemeClr val="tx2"/>
                </a:solidFill>
                <a:latin typeface="Roboto Medium" panose="02000000000000000000" pitchFamily="2" charset="0"/>
                <a:ea typeface="Roboto Medium" panose="02000000000000000000"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add subhead text</a:t>
            </a:r>
          </a:p>
        </p:txBody>
      </p:sp>
      <p:sp>
        <p:nvSpPr>
          <p:cNvPr id="6" name="Content Placeholder 5">
            <a:extLst>
              <a:ext uri="{FF2B5EF4-FFF2-40B4-BE49-F238E27FC236}">
                <a16:creationId xmlns:a16="http://schemas.microsoft.com/office/drawing/2014/main" id="{537336A3-48E9-43E3-8C43-3B0661407677}"/>
              </a:ext>
            </a:extLst>
          </p:cNvPr>
          <p:cNvSpPr>
            <a:spLocks noGrp="1"/>
          </p:cNvSpPr>
          <p:nvPr>
            <p:ph sz="quarter" idx="4" hasCustomPrompt="1"/>
          </p:nvPr>
        </p:nvSpPr>
        <p:spPr>
          <a:xfrm>
            <a:off x="6172200" y="2485197"/>
            <a:ext cx="5394960" cy="3684588"/>
          </a:xfrm>
          <a:prstGeom prst="rect">
            <a:avLst/>
          </a:prstGeom>
        </p:spPr>
        <p:txBody>
          <a:bodyPr/>
          <a:lstStyle>
            <a:lvl1pPr marL="0" indent="0">
              <a:buNone/>
              <a:defRPr sz="2000"/>
            </a:lvl1pPr>
            <a:lvl2pPr>
              <a:defRPr sz="1800"/>
            </a:lvl2pPr>
            <a:lvl3pPr>
              <a:defRPr sz="1800"/>
            </a:lvl3pPr>
          </a:lstStyle>
          <a:p>
            <a:pPr lvl="0"/>
            <a:r>
              <a:rPr lang="en-US"/>
              <a:t>Click to add body text</a:t>
            </a:r>
          </a:p>
          <a:p>
            <a:pPr lvl="1"/>
            <a:r>
              <a:rPr lang="en-US"/>
              <a:t>Bullet one</a:t>
            </a:r>
          </a:p>
          <a:p>
            <a:pPr lvl="2"/>
            <a:r>
              <a:rPr lang="en-US"/>
              <a:t>Bullet two</a:t>
            </a:r>
          </a:p>
          <a:p>
            <a:pPr lvl="0"/>
            <a:endParaRPr lang="en-US"/>
          </a:p>
        </p:txBody>
      </p:sp>
      <p:pic>
        <p:nvPicPr>
          <p:cNvPr id="11" name="Picture 10" descr="IHI_Symbol.png">
            <a:extLst>
              <a:ext uri="{FF2B5EF4-FFF2-40B4-BE49-F238E27FC236}">
                <a16:creationId xmlns:a16="http://schemas.microsoft.com/office/drawing/2014/main" id="{96036BD6-01CC-4A0A-A11D-B3958DD0A45C}"/>
              </a:ext>
            </a:extLst>
          </p:cNvPr>
          <p:cNvPicPr>
            <a:picLocks noChangeAspect="1"/>
          </p:cNvPicPr>
          <p:nvPr/>
        </p:nvPicPr>
        <p:blipFill>
          <a:blip r:embed="rId2" cstate="print"/>
          <a:stretch>
            <a:fillRect/>
          </a:stretch>
        </p:blipFill>
        <p:spPr>
          <a:xfrm>
            <a:off x="11564632" y="6253880"/>
            <a:ext cx="387846" cy="382809"/>
          </a:xfrm>
          <a:prstGeom prst="rect">
            <a:avLst/>
          </a:prstGeom>
          <a:noFill/>
          <a:ln>
            <a:noFill/>
          </a:ln>
        </p:spPr>
      </p:pic>
      <p:cxnSp>
        <p:nvCxnSpPr>
          <p:cNvPr id="13" name="Straight Connector 12">
            <a:extLst>
              <a:ext uri="{FF2B5EF4-FFF2-40B4-BE49-F238E27FC236}">
                <a16:creationId xmlns:a16="http://schemas.microsoft.com/office/drawing/2014/main" id="{87B46992-E9BA-4B3D-9567-BFBDFAD5846F}"/>
              </a:ext>
            </a:extLst>
          </p:cNvPr>
          <p:cNvCxnSpPr>
            <a:cxnSpLocks/>
          </p:cNvCxnSpPr>
          <p:nvPr/>
        </p:nvCxnSpPr>
        <p:spPr>
          <a:xfrm>
            <a:off x="638954" y="1411105"/>
            <a:ext cx="979200" cy="0"/>
          </a:xfrm>
          <a:prstGeom prst="line">
            <a:avLst/>
          </a:prstGeom>
          <a:ln>
            <a:solidFill>
              <a:srgbClr val="6BC5DB"/>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8746441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Content with Title and Small Graphi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D0BD3D-79C7-4142-95B6-49B33BD430FF}"/>
              </a:ext>
            </a:extLst>
          </p:cNvPr>
          <p:cNvSpPr>
            <a:spLocks noGrp="1"/>
          </p:cNvSpPr>
          <p:nvPr>
            <p:ph type="title" hasCustomPrompt="1"/>
          </p:nvPr>
        </p:nvSpPr>
        <p:spPr>
          <a:xfrm>
            <a:off x="496957" y="596348"/>
            <a:ext cx="11086006" cy="1007448"/>
          </a:xfrm>
          <a:prstGeom prst="rect">
            <a:avLst/>
          </a:prstGeom>
        </p:spPr>
        <p:txBody>
          <a:bodyPr anchor="t">
            <a:normAutofit/>
          </a:bodyPr>
          <a:lstStyle>
            <a:lvl1pPr>
              <a:defRPr sz="4000">
                <a:latin typeface="Roboto Medium" panose="02000000000000000000" pitchFamily="2" charset="0"/>
                <a:ea typeface="Roboto Medium" panose="02000000000000000000" pitchFamily="2" charset="0"/>
              </a:defRPr>
            </a:lvl1pPr>
          </a:lstStyle>
          <a:p>
            <a:r>
              <a:rPr lang="en-US"/>
              <a:t>Click to add title text</a:t>
            </a:r>
          </a:p>
        </p:txBody>
      </p:sp>
      <p:sp>
        <p:nvSpPr>
          <p:cNvPr id="3" name="Text Placeholder 2">
            <a:extLst>
              <a:ext uri="{FF2B5EF4-FFF2-40B4-BE49-F238E27FC236}">
                <a16:creationId xmlns:a16="http://schemas.microsoft.com/office/drawing/2014/main" id="{2310619A-389A-46DD-BACC-0B2D9DFCA4AC}"/>
              </a:ext>
            </a:extLst>
          </p:cNvPr>
          <p:cNvSpPr>
            <a:spLocks noGrp="1"/>
          </p:cNvSpPr>
          <p:nvPr>
            <p:ph type="body" idx="1" hasCustomPrompt="1"/>
          </p:nvPr>
        </p:nvSpPr>
        <p:spPr>
          <a:xfrm>
            <a:off x="492669" y="1621529"/>
            <a:ext cx="5394960" cy="732094"/>
          </a:xfrm>
          <a:prstGeom prst="rect">
            <a:avLst/>
          </a:prstGeom>
        </p:spPr>
        <p:txBody>
          <a:bodyPr anchor="t">
            <a:normAutofit/>
          </a:bodyPr>
          <a:lstStyle>
            <a:lvl1pPr marL="0" indent="0">
              <a:buNone/>
              <a:defRPr sz="2400" b="0">
                <a:solidFill>
                  <a:schemeClr val="tx2"/>
                </a:solidFill>
                <a:latin typeface="Roboto Medium" panose="02000000000000000000" pitchFamily="2" charset="0"/>
                <a:ea typeface="Roboto Medium" panose="02000000000000000000"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add subhead text</a:t>
            </a:r>
          </a:p>
        </p:txBody>
      </p:sp>
      <p:sp>
        <p:nvSpPr>
          <p:cNvPr id="4" name="Content Placeholder 3">
            <a:extLst>
              <a:ext uri="{FF2B5EF4-FFF2-40B4-BE49-F238E27FC236}">
                <a16:creationId xmlns:a16="http://schemas.microsoft.com/office/drawing/2014/main" id="{58A70215-FF52-4AB8-8870-52B6D7D781CA}"/>
              </a:ext>
            </a:extLst>
          </p:cNvPr>
          <p:cNvSpPr>
            <a:spLocks noGrp="1"/>
          </p:cNvSpPr>
          <p:nvPr>
            <p:ph sz="half" idx="2" hasCustomPrompt="1"/>
          </p:nvPr>
        </p:nvSpPr>
        <p:spPr>
          <a:xfrm>
            <a:off x="482730" y="2413262"/>
            <a:ext cx="5394960" cy="3776401"/>
          </a:xfrm>
          <a:prstGeom prst="rect">
            <a:avLst/>
          </a:prstGeom>
        </p:spPr>
        <p:txBody>
          <a:bodyPr/>
          <a:lstStyle>
            <a:lvl1pPr marL="0" indent="0">
              <a:buFontTx/>
              <a:buNone/>
              <a:defRPr sz="2000"/>
            </a:lvl1pPr>
            <a:lvl2pPr>
              <a:defRPr sz="1800"/>
            </a:lvl2pPr>
            <a:lvl3pPr>
              <a:defRPr sz="1800"/>
            </a:lvl3pPr>
            <a:lvl4pPr>
              <a:defRPr sz="1400"/>
            </a:lvl4pPr>
          </a:lstStyle>
          <a:p>
            <a:pPr lvl="0"/>
            <a:r>
              <a:rPr lang="en-US"/>
              <a:t>Click to add body text</a:t>
            </a:r>
          </a:p>
          <a:p>
            <a:pPr lvl="1"/>
            <a:r>
              <a:rPr lang="en-US"/>
              <a:t>Bullet one</a:t>
            </a:r>
          </a:p>
          <a:p>
            <a:pPr lvl="2"/>
            <a:r>
              <a:rPr lang="en-US"/>
              <a:t>Bullet two</a:t>
            </a:r>
          </a:p>
        </p:txBody>
      </p:sp>
      <p:pic>
        <p:nvPicPr>
          <p:cNvPr id="11" name="Picture 10" descr="IHI_Symbol.png">
            <a:extLst>
              <a:ext uri="{FF2B5EF4-FFF2-40B4-BE49-F238E27FC236}">
                <a16:creationId xmlns:a16="http://schemas.microsoft.com/office/drawing/2014/main" id="{96036BD6-01CC-4A0A-A11D-B3958DD0A45C}"/>
              </a:ext>
            </a:extLst>
          </p:cNvPr>
          <p:cNvPicPr>
            <a:picLocks noChangeAspect="1"/>
          </p:cNvPicPr>
          <p:nvPr/>
        </p:nvPicPr>
        <p:blipFill>
          <a:blip r:embed="rId2" cstate="print"/>
          <a:stretch>
            <a:fillRect/>
          </a:stretch>
        </p:blipFill>
        <p:spPr>
          <a:xfrm>
            <a:off x="11564632" y="6253880"/>
            <a:ext cx="387846" cy="382809"/>
          </a:xfrm>
          <a:prstGeom prst="rect">
            <a:avLst/>
          </a:prstGeom>
          <a:noFill/>
          <a:ln>
            <a:noFill/>
          </a:ln>
        </p:spPr>
      </p:pic>
      <p:sp>
        <p:nvSpPr>
          <p:cNvPr id="12" name="Picture Placeholder 4">
            <a:extLst>
              <a:ext uri="{FF2B5EF4-FFF2-40B4-BE49-F238E27FC236}">
                <a16:creationId xmlns:a16="http://schemas.microsoft.com/office/drawing/2014/main" id="{7C36FCF6-B43B-4E4B-89F2-EAE731355989}"/>
              </a:ext>
            </a:extLst>
          </p:cNvPr>
          <p:cNvSpPr>
            <a:spLocks noGrp="1"/>
          </p:cNvSpPr>
          <p:nvPr>
            <p:ph type="pic" sz="quarter" idx="11"/>
          </p:nvPr>
        </p:nvSpPr>
        <p:spPr>
          <a:xfrm>
            <a:off x="6188003" y="1621530"/>
            <a:ext cx="5394960" cy="4554984"/>
          </a:xfrm>
          <a:prstGeom prst="rect">
            <a:avLst/>
          </a:prstGeom>
        </p:spPr>
        <p:txBody>
          <a:bodyPr/>
          <a:lstStyle>
            <a:lvl1pPr marL="0" indent="0" algn="ctr">
              <a:buNone/>
              <a:defRPr/>
            </a:lvl1pPr>
          </a:lstStyle>
          <a:p>
            <a:r>
              <a:rPr lang="en-US"/>
              <a:t>Click icon to add picture</a:t>
            </a:r>
          </a:p>
        </p:txBody>
      </p:sp>
      <p:cxnSp>
        <p:nvCxnSpPr>
          <p:cNvPr id="13" name="Straight Connector 12">
            <a:extLst>
              <a:ext uri="{FF2B5EF4-FFF2-40B4-BE49-F238E27FC236}">
                <a16:creationId xmlns:a16="http://schemas.microsoft.com/office/drawing/2014/main" id="{FB1DD61B-C158-4EED-A964-89AB6D63C76E}"/>
              </a:ext>
            </a:extLst>
          </p:cNvPr>
          <p:cNvCxnSpPr>
            <a:cxnSpLocks/>
          </p:cNvCxnSpPr>
          <p:nvPr/>
        </p:nvCxnSpPr>
        <p:spPr>
          <a:xfrm>
            <a:off x="638954" y="1411105"/>
            <a:ext cx="979200" cy="0"/>
          </a:xfrm>
          <a:prstGeom prst="line">
            <a:avLst/>
          </a:prstGeom>
          <a:ln>
            <a:solidFill>
              <a:srgbClr val="6BC5DB"/>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1833909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vB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01A9196B-05EB-E2C1-7E72-D8811229D8D2}"/>
              </a:ext>
            </a:extLst>
          </p:cNvPr>
          <p:cNvSpPr>
            <a:spLocks noGrp="1"/>
          </p:cNvSpPr>
          <p:nvPr>
            <p:ph type="subTitle" idx="1"/>
          </p:nvPr>
        </p:nvSpPr>
        <p:spPr>
          <a:xfrm>
            <a:off x="442914" y="4217374"/>
            <a:ext cx="5537199" cy="235898"/>
          </a:xfrm>
        </p:spPr>
        <p:txBody>
          <a:bodyPr wrap="square">
            <a:spAutoFit/>
          </a:bodyPr>
          <a:lstStyle>
            <a:lvl1pPr marL="0" indent="0" algn="l">
              <a:buNone/>
              <a:defRPr sz="15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10" name="Title 9">
            <a:extLst>
              <a:ext uri="{FF2B5EF4-FFF2-40B4-BE49-F238E27FC236}">
                <a16:creationId xmlns:a16="http://schemas.microsoft.com/office/drawing/2014/main" id="{61AC5D26-4661-1187-F6D3-B7AC649531E9}"/>
              </a:ext>
            </a:extLst>
          </p:cNvPr>
          <p:cNvSpPr>
            <a:spLocks noGrp="1"/>
          </p:cNvSpPr>
          <p:nvPr>
            <p:ph type="title" hasCustomPrompt="1"/>
          </p:nvPr>
        </p:nvSpPr>
        <p:spPr>
          <a:xfrm>
            <a:off x="442914" y="3145139"/>
            <a:ext cx="5537199" cy="567848"/>
          </a:xfrm>
        </p:spPr>
        <p:txBody>
          <a:bodyPr wrap="square" anchor="b" anchorCtr="0">
            <a:spAutoFit/>
          </a:bodyPr>
          <a:lstStyle>
            <a:lvl1pPr>
              <a:lnSpc>
                <a:spcPct val="90000"/>
              </a:lnSpc>
              <a:defRPr sz="4000" spc="-100" baseline="0">
                <a:solidFill>
                  <a:schemeClr val="tx1"/>
                </a:solidFill>
              </a:defRPr>
            </a:lvl1pPr>
          </a:lstStyle>
          <a:p>
            <a:r>
              <a:rPr lang="en-US"/>
              <a:t>Click to add title</a:t>
            </a:r>
            <a:endParaRPr lang="en-GB"/>
          </a:p>
        </p:txBody>
      </p:sp>
      <p:sp>
        <p:nvSpPr>
          <p:cNvPr id="35" name="Picture Placeholder 34">
            <a:extLst>
              <a:ext uri="{FF2B5EF4-FFF2-40B4-BE49-F238E27FC236}">
                <a16:creationId xmlns:a16="http://schemas.microsoft.com/office/drawing/2014/main" id="{CED56BC5-AA9A-B7BD-B894-8C188FB05DFC}"/>
              </a:ext>
            </a:extLst>
          </p:cNvPr>
          <p:cNvSpPr>
            <a:spLocks noGrp="1" noChangeAspect="1"/>
          </p:cNvSpPr>
          <p:nvPr>
            <p:ph type="pic" sz="quarter" idx="10"/>
          </p:nvPr>
        </p:nvSpPr>
        <p:spPr>
          <a:xfrm>
            <a:off x="6617948" y="1066077"/>
            <a:ext cx="2898914" cy="2905611"/>
          </a:xfrm>
          <a:custGeom>
            <a:avLst/>
            <a:gdLst>
              <a:gd name="connsiteX0" fmla="*/ 1979909 w 2898914"/>
              <a:gd name="connsiteY0" fmla="*/ 0 h 2905611"/>
              <a:gd name="connsiteX1" fmla="*/ 2669401 w 2898914"/>
              <a:gd name="connsiteY1" fmla="*/ 430461 h 2905611"/>
              <a:gd name="connsiteX2" fmla="*/ 2898914 w 2898914"/>
              <a:gd name="connsiteY2" fmla="*/ 1413283 h 2905611"/>
              <a:gd name="connsiteX3" fmla="*/ 2669401 w 2898914"/>
              <a:gd name="connsiteY3" fmla="*/ 2415152 h 2905611"/>
              <a:gd name="connsiteX4" fmla="*/ 1979909 w 2898914"/>
              <a:gd name="connsiteY4" fmla="*/ 2905611 h 2905611"/>
              <a:gd name="connsiteX5" fmla="*/ 918053 w 2898914"/>
              <a:gd name="connsiteY5" fmla="*/ 2837042 h 2905611"/>
              <a:gd name="connsiteX6" fmla="*/ 383792 w 2898914"/>
              <a:gd name="connsiteY6" fmla="*/ 2600860 h 2905611"/>
              <a:gd name="connsiteX7" fmla="*/ 0 w 2898914"/>
              <a:gd name="connsiteY7" fmla="*/ 1833268 h 2905611"/>
              <a:gd name="connsiteX8" fmla="*/ 0 w 2898914"/>
              <a:gd name="connsiteY8" fmla="*/ 1063772 h 2905611"/>
              <a:gd name="connsiteX9" fmla="*/ 624733 w 2898914"/>
              <a:gd name="connsiteY9" fmla="*/ 130472 h 29056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98914" h="2905611">
                <a:moveTo>
                  <a:pt x="1979909" y="0"/>
                </a:moveTo>
                <a:lnTo>
                  <a:pt x="2669401" y="430461"/>
                </a:lnTo>
                <a:lnTo>
                  <a:pt x="2898914" y="1413283"/>
                </a:lnTo>
                <a:lnTo>
                  <a:pt x="2669401" y="2415152"/>
                </a:lnTo>
                <a:lnTo>
                  <a:pt x="1979909" y="2905611"/>
                </a:lnTo>
                <a:lnTo>
                  <a:pt x="918053" y="2837042"/>
                </a:lnTo>
                <a:lnTo>
                  <a:pt x="383792" y="2600860"/>
                </a:lnTo>
                <a:lnTo>
                  <a:pt x="0" y="1833268"/>
                </a:lnTo>
                <a:lnTo>
                  <a:pt x="0" y="1063772"/>
                </a:lnTo>
                <a:lnTo>
                  <a:pt x="624733" y="130472"/>
                </a:lnTo>
                <a:close/>
              </a:path>
            </a:pathLst>
          </a:custGeom>
          <a:solidFill>
            <a:schemeClr val="bg1">
              <a:lumMod val="95000"/>
            </a:schemeClr>
          </a:solidFill>
        </p:spPr>
        <p:txBody>
          <a:bodyPr wrap="square" anchor="ctr" anchorCtr="1">
            <a:noAutofit/>
          </a:bodyPr>
          <a:lstStyle>
            <a:lvl1pPr>
              <a:defRPr b="0"/>
            </a:lvl1pPr>
          </a:lstStyle>
          <a:p>
            <a:r>
              <a:rPr lang="en-GB"/>
              <a:t>Click icon to add picture</a:t>
            </a:r>
          </a:p>
        </p:txBody>
      </p:sp>
      <p:sp>
        <p:nvSpPr>
          <p:cNvPr id="36" name="Picture Placeholder 35">
            <a:extLst>
              <a:ext uri="{FF2B5EF4-FFF2-40B4-BE49-F238E27FC236}">
                <a16:creationId xmlns:a16="http://schemas.microsoft.com/office/drawing/2014/main" id="{4FA892A0-1A11-1B5D-8BEA-AC8857482791}"/>
              </a:ext>
            </a:extLst>
          </p:cNvPr>
          <p:cNvSpPr>
            <a:spLocks noGrp="1" noChangeAspect="1"/>
          </p:cNvSpPr>
          <p:nvPr>
            <p:ph type="pic" sz="quarter" idx="11"/>
          </p:nvPr>
        </p:nvSpPr>
        <p:spPr>
          <a:xfrm>
            <a:off x="9215983" y="3325622"/>
            <a:ext cx="3199793" cy="3191437"/>
          </a:xfrm>
          <a:custGeom>
            <a:avLst/>
            <a:gdLst>
              <a:gd name="connsiteX0" fmla="*/ 1639429 w 3199793"/>
              <a:gd name="connsiteY0" fmla="*/ 0 h 3191437"/>
              <a:gd name="connsiteX1" fmla="*/ 2751117 w 3199793"/>
              <a:gd name="connsiteY1" fmla="*/ 389641 h 3191437"/>
              <a:gd name="connsiteX2" fmla="*/ 3199793 w 3199793"/>
              <a:gd name="connsiteY2" fmla="*/ 1495689 h 3191437"/>
              <a:gd name="connsiteX3" fmla="*/ 2982599 w 3199793"/>
              <a:gd name="connsiteY3" fmla="*/ 2594114 h 3191437"/>
              <a:gd name="connsiteX4" fmla="*/ 1940452 w 3199793"/>
              <a:gd name="connsiteY4" fmla="*/ 3191437 h 3191437"/>
              <a:gd name="connsiteX5" fmla="*/ 565846 w 3199793"/>
              <a:gd name="connsiteY5" fmla="*/ 2984708 h 3191437"/>
              <a:gd name="connsiteX6" fmla="*/ 0 w 3199793"/>
              <a:gd name="connsiteY6" fmla="*/ 1993934 h 3191437"/>
              <a:gd name="connsiteX7" fmla="*/ 135270 w 3199793"/>
              <a:gd name="connsiteY7" fmla="*/ 1144154 h 3191437"/>
              <a:gd name="connsiteX8" fmla="*/ 453439 w 3199793"/>
              <a:gd name="connsiteY8" fmla="*/ 307712 h 3191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99793" h="3191437">
                <a:moveTo>
                  <a:pt x="1639429" y="0"/>
                </a:moveTo>
                <a:lnTo>
                  <a:pt x="2751117" y="389641"/>
                </a:lnTo>
                <a:lnTo>
                  <a:pt x="3199793" y="1495689"/>
                </a:lnTo>
                <a:lnTo>
                  <a:pt x="2982599" y="2594114"/>
                </a:lnTo>
                <a:lnTo>
                  <a:pt x="1940452" y="3191437"/>
                </a:lnTo>
                <a:lnTo>
                  <a:pt x="565846" y="2984708"/>
                </a:lnTo>
                <a:lnTo>
                  <a:pt x="0" y="1993934"/>
                </a:lnTo>
                <a:lnTo>
                  <a:pt x="135270" y="1144154"/>
                </a:lnTo>
                <a:lnTo>
                  <a:pt x="453439" y="307712"/>
                </a:lnTo>
                <a:close/>
              </a:path>
            </a:pathLst>
          </a:custGeom>
          <a:solidFill>
            <a:schemeClr val="bg1">
              <a:lumMod val="95000"/>
            </a:schemeClr>
          </a:solidFill>
        </p:spPr>
        <p:txBody>
          <a:bodyPr wrap="square" anchor="ctr" anchorCtr="1">
            <a:noAutofit/>
          </a:bodyPr>
          <a:lstStyle>
            <a:lvl1pPr>
              <a:defRPr b="0"/>
            </a:lvl1pPr>
          </a:lstStyle>
          <a:p>
            <a:r>
              <a:rPr lang="en-GB"/>
              <a:t>Click icon to add picture</a:t>
            </a:r>
          </a:p>
        </p:txBody>
      </p:sp>
      <p:sp>
        <p:nvSpPr>
          <p:cNvPr id="2" name="Freeform 22">
            <a:extLst>
              <a:ext uri="{FF2B5EF4-FFF2-40B4-BE49-F238E27FC236}">
                <a16:creationId xmlns:a16="http://schemas.microsoft.com/office/drawing/2014/main" id="{30E97FEB-DD82-37E3-C48C-EA87FB4F26A1}"/>
              </a:ext>
            </a:extLst>
          </p:cNvPr>
          <p:cNvSpPr>
            <a:spLocks noChangeAspect="1" noEditPoints="1"/>
          </p:cNvSpPr>
          <p:nvPr userDrawn="1"/>
        </p:nvSpPr>
        <p:spPr bwMode="auto">
          <a:xfrm>
            <a:off x="457200" y="442800"/>
            <a:ext cx="964800" cy="914400"/>
          </a:xfrm>
          <a:custGeom>
            <a:avLst/>
            <a:gdLst>
              <a:gd name="T0" fmla="*/ 791 w 1013"/>
              <a:gd name="T1" fmla="*/ 656 h 959"/>
              <a:gd name="T2" fmla="*/ 872 w 1013"/>
              <a:gd name="T3" fmla="*/ 922 h 959"/>
              <a:gd name="T4" fmla="*/ 791 w 1013"/>
              <a:gd name="T5" fmla="*/ 656 h 959"/>
              <a:gd name="T6" fmla="*/ 345 w 1013"/>
              <a:gd name="T7" fmla="*/ 262 h 959"/>
              <a:gd name="T8" fmla="*/ 435 w 1013"/>
              <a:gd name="T9" fmla="*/ 232 h 959"/>
              <a:gd name="T10" fmla="*/ 207 w 1013"/>
              <a:gd name="T11" fmla="*/ 73 h 959"/>
              <a:gd name="T12" fmla="*/ 345 w 1013"/>
              <a:gd name="T13" fmla="*/ 262 h 959"/>
              <a:gd name="T14" fmla="*/ 240 w 1013"/>
              <a:gd name="T15" fmla="*/ 583 h 959"/>
              <a:gd name="T16" fmla="*/ 159 w 1013"/>
              <a:gd name="T17" fmla="*/ 849 h 959"/>
              <a:gd name="T18" fmla="*/ 240 w 1013"/>
              <a:gd name="T19" fmla="*/ 583 h 959"/>
              <a:gd name="T20" fmla="*/ 495 w 1013"/>
              <a:gd name="T21" fmla="*/ 725 h 959"/>
              <a:gd name="T22" fmla="*/ 495 w 1013"/>
              <a:gd name="T23" fmla="*/ 959 h 959"/>
              <a:gd name="T24" fmla="*/ 586 w 1013"/>
              <a:gd name="T25" fmla="*/ 695 h 959"/>
              <a:gd name="T26" fmla="*/ 495 w 1013"/>
              <a:gd name="T27" fmla="*/ 725 h 959"/>
              <a:gd name="T28" fmla="*/ 207 w 1013"/>
              <a:gd name="T29" fmla="*/ 884 h 959"/>
              <a:gd name="T30" fmla="*/ 435 w 1013"/>
              <a:gd name="T31" fmla="*/ 725 h 959"/>
              <a:gd name="T32" fmla="*/ 207 w 1013"/>
              <a:gd name="T33" fmla="*/ 884 h 959"/>
              <a:gd name="T34" fmla="*/ 709 w 1013"/>
              <a:gd name="T35" fmla="*/ 526 h 959"/>
              <a:gd name="T36" fmla="*/ 931 w 1013"/>
              <a:gd name="T37" fmla="*/ 598 h 959"/>
              <a:gd name="T38" fmla="*/ 709 w 1013"/>
              <a:gd name="T39" fmla="*/ 431 h 959"/>
              <a:gd name="T40" fmla="*/ 709 w 1013"/>
              <a:gd name="T41" fmla="*/ 526 h 959"/>
              <a:gd name="T42" fmla="*/ 222 w 1013"/>
              <a:gd name="T43" fmla="*/ 431 h 959"/>
              <a:gd name="T44" fmla="*/ 0 w 1013"/>
              <a:gd name="T45" fmla="*/ 598 h 959"/>
              <a:gd name="T46" fmla="*/ 222 w 1013"/>
              <a:gd name="T47" fmla="*/ 431 h 959"/>
              <a:gd name="T48" fmla="*/ 690 w 1013"/>
              <a:gd name="T49" fmla="*/ 374 h 959"/>
              <a:gd name="T50" fmla="*/ 913 w 1013"/>
              <a:gd name="T51" fmla="*/ 302 h 959"/>
              <a:gd name="T52" fmla="*/ 634 w 1013"/>
              <a:gd name="T53" fmla="*/ 297 h 959"/>
              <a:gd name="T54" fmla="*/ 690 w 1013"/>
              <a:gd name="T55" fmla="*/ 374 h 959"/>
              <a:gd name="T56" fmla="*/ 296 w 1013"/>
              <a:gd name="T57" fmla="*/ 297 h 959"/>
              <a:gd name="T58" fmla="*/ 18 w 1013"/>
              <a:gd name="T59" fmla="*/ 302 h 959"/>
              <a:gd name="T60" fmla="*/ 296 w 1013"/>
              <a:gd name="T61" fmla="*/ 297 h 959"/>
              <a:gd name="T62" fmla="*/ 586 w 1013"/>
              <a:gd name="T63" fmla="*/ 262 h 959"/>
              <a:gd name="T64" fmla="*/ 495 w 1013"/>
              <a:gd name="T65" fmla="*/ 232 h 959"/>
              <a:gd name="T66" fmla="*/ 723 w 1013"/>
              <a:gd name="T67" fmla="*/ 73 h 9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13" h="959">
                <a:moveTo>
                  <a:pt x="791" y="656"/>
                </a:moveTo>
                <a:lnTo>
                  <a:pt x="791" y="656"/>
                </a:lnTo>
                <a:lnTo>
                  <a:pt x="735" y="733"/>
                </a:lnTo>
                <a:lnTo>
                  <a:pt x="872" y="922"/>
                </a:lnTo>
                <a:lnTo>
                  <a:pt x="1013" y="729"/>
                </a:lnTo>
                <a:lnTo>
                  <a:pt x="791" y="656"/>
                </a:lnTo>
                <a:lnTo>
                  <a:pt x="791" y="656"/>
                </a:lnTo>
                <a:close/>
                <a:moveTo>
                  <a:pt x="345" y="262"/>
                </a:moveTo>
                <a:lnTo>
                  <a:pt x="345" y="262"/>
                </a:lnTo>
                <a:lnTo>
                  <a:pt x="435" y="232"/>
                </a:lnTo>
                <a:lnTo>
                  <a:pt x="435" y="0"/>
                </a:lnTo>
                <a:lnTo>
                  <a:pt x="207" y="73"/>
                </a:lnTo>
                <a:lnTo>
                  <a:pt x="345" y="262"/>
                </a:lnTo>
                <a:lnTo>
                  <a:pt x="345" y="262"/>
                </a:lnTo>
                <a:close/>
                <a:moveTo>
                  <a:pt x="240" y="583"/>
                </a:moveTo>
                <a:lnTo>
                  <a:pt x="240" y="583"/>
                </a:lnTo>
                <a:lnTo>
                  <a:pt x="18" y="655"/>
                </a:lnTo>
                <a:lnTo>
                  <a:pt x="159" y="849"/>
                </a:lnTo>
                <a:lnTo>
                  <a:pt x="296" y="660"/>
                </a:lnTo>
                <a:lnTo>
                  <a:pt x="240" y="583"/>
                </a:lnTo>
                <a:lnTo>
                  <a:pt x="240" y="583"/>
                </a:lnTo>
                <a:close/>
                <a:moveTo>
                  <a:pt x="495" y="725"/>
                </a:moveTo>
                <a:lnTo>
                  <a:pt x="495" y="725"/>
                </a:lnTo>
                <a:lnTo>
                  <a:pt x="495" y="959"/>
                </a:lnTo>
                <a:lnTo>
                  <a:pt x="723" y="884"/>
                </a:lnTo>
                <a:lnTo>
                  <a:pt x="586" y="695"/>
                </a:lnTo>
                <a:lnTo>
                  <a:pt x="495" y="725"/>
                </a:lnTo>
                <a:lnTo>
                  <a:pt x="495" y="725"/>
                </a:lnTo>
                <a:close/>
                <a:moveTo>
                  <a:pt x="207" y="884"/>
                </a:moveTo>
                <a:lnTo>
                  <a:pt x="207" y="884"/>
                </a:lnTo>
                <a:lnTo>
                  <a:pt x="435" y="959"/>
                </a:lnTo>
                <a:lnTo>
                  <a:pt x="435" y="725"/>
                </a:lnTo>
                <a:lnTo>
                  <a:pt x="345" y="695"/>
                </a:lnTo>
                <a:lnTo>
                  <a:pt x="207" y="884"/>
                </a:lnTo>
                <a:lnTo>
                  <a:pt x="207" y="884"/>
                </a:lnTo>
                <a:close/>
                <a:moveTo>
                  <a:pt x="709" y="526"/>
                </a:moveTo>
                <a:lnTo>
                  <a:pt x="709" y="526"/>
                </a:lnTo>
                <a:lnTo>
                  <a:pt x="931" y="598"/>
                </a:lnTo>
                <a:lnTo>
                  <a:pt x="931" y="359"/>
                </a:lnTo>
                <a:lnTo>
                  <a:pt x="709" y="431"/>
                </a:lnTo>
                <a:lnTo>
                  <a:pt x="709" y="526"/>
                </a:lnTo>
                <a:lnTo>
                  <a:pt x="709" y="526"/>
                </a:lnTo>
                <a:close/>
                <a:moveTo>
                  <a:pt x="222" y="431"/>
                </a:moveTo>
                <a:lnTo>
                  <a:pt x="222" y="431"/>
                </a:lnTo>
                <a:lnTo>
                  <a:pt x="0" y="359"/>
                </a:lnTo>
                <a:lnTo>
                  <a:pt x="0" y="598"/>
                </a:lnTo>
                <a:lnTo>
                  <a:pt x="222" y="526"/>
                </a:lnTo>
                <a:lnTo>
                  <a:pt x="222" y="431"/>
                </a:lnTo>
                <a:lnTo>
                  <a:pt x="222" y="431"/>
                </a:lnTo>
                <a:close/>
                <a:moveTo>
                  <a:pt x="690" y="374"/>
                </a:moveTo>
                <a:lnTo>
                  <a:pt x="690" y="374"/>
                </a:lnTo>
                <a:lnTo>
                  <a:pt x="913" y="302"/>
                </a:lnTo>
                <a:lnTo>
                  <a:pt x="772" y="108"/>
                </a:lnTo>
                <a:lnTo>
                  <a:pt x="634" y="297"/>
                </a:lnTo>
                <a:lnTo>
                  <a:pt x="690" y="374"/>
                </a:lnTo>
                <a:lnTo>
                  <a:pt x="690" y="374"/>
                </a:lnTo>
                <a:close/>
                <a:moveTo>
                  <a:pt x="296" y="297"/>
                </a:moveTo>
                <a:lnTo>
                  <a:pt x="296" y="297"/>
                </a:lnTo>
                <a:lnTo>
                  <a:pt x="159" y="108"/>
                </a:lnTo>
                <a:lnTo>
                  <a:pt x="18" y="302"/>
                </a:lnTo>
                <a:lnTo>
                  <a:pt x="240" y="374"/>
                </a:lnTo>
                <a:lnTo>
                  <a:pt x="296" y="297"/>
                </a:lnTo>
                <a:lnTo>
                  <a:pt x="296" y="297"/>
                </a:lnTo>
                <a:close/>
                <a:moveTo>
                  <a:pt x="586" y="262"/>
                </a:moveTo>
                <a:lnTo>
                  <a:pt x="586" y="262"/>
                </a:lnTo>
                <a:lnTo>
                  <a:pt x="495" y="232"/>
                </a:lnTo>
                <a:lnTo>
                  <a:pt x="495" y="0"/>
                </a:lnTo>
                <a:lnTo>
                  <a:pt x="723" y="73"/>
                </a:lnTo>
                <a:lnTo>
                  <a:pt x="586" y="262"/>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pic>
        <p:nvPicPr>
          <p:cNvPr id="4" name="Picture 3" descr="A logo on a black background&#10;&#10;AI-generated content may be incorrect.">
            <a:extLst>
              <a:ext uri="{FF2B5EF4-FFF2-40B4-BE49-F238E27FC236}">
                <a16:creationId xmlns:a16="http://schemas.microsoft.com/office/drawing/2014/main" id="{846F30A7-14BA-A40B-EA92-D2B37041A97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47991" y="5434641"/>
            <a:ext cx="5628173" cy="1330780"/>
          </a:xfrm>
          <a:prstGeom prst="rect">
            <a:avLst/>
          </a:prstGeom>
        </p:spPr>
      </p:pic>
    </p:spTree>
    <p:extLst>
      <p:ext uri="{BB962C8B-B14F-4D97-AF65-F5344CB8AC3E}">
        <p14:creationId xmlns:p14="http://schemas.microsoft.com/office/powerpoint/2010/main" val="155599638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Content Blue with Title and Small Graphic">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D0BD3D-79C7-4142-95B6-49B33BD430FF}"/>
              </a:ext>
            </a:extLst>
          </p:cNvPr>
          <p:cNvSpPr>
            <a:spLocks noGrp="1"/>
          </p:cNvSpPr>
          <p:nvPr>
            <p:ph type="title" hasCustomPrompt="1"/>
          </p:nvPr>
        </p:nvSpPr>
        <p:spPr>
          <a:xfrm>
            <a:off x="516834" y="606287"/>
            <a:ext cx="11036211" cy="1014828"/>
          </a:xfrm>
          <a:prstGeom prst="rect">
            <a:avLst/>
          </a:prstGeom>
        </p:spPr>
        <p:txBody>
          <a:bodyPr>
            <a:normAutofit/>
          </a:bodyPr>
          <a:lstStyle>
            <a:lvl1pPr>
              <a:defRPr sz="4000">
                <a:latin typeface="Roboto Medium" panose="02000000000000000000" pitchFamily="2" charset="0"/>
                <a:ea typeface="Roboto Medium" panose="02000000000000000000" pitchFamily="2" charset="0"/>
              </a:defRPr>
            </a:lvl1pPr>
          </a:lstStyle>
          <a:p>
            <a:r>
              <a:rPr lang="en-US"/>
              <a:t>Click to add title text</a:t>
            </a:r>
          </a:p>
        </p:txBody>
      </p:sp>
      <p:sp>
        <p:nvSpPr>
          <p:cNvPr id="3" name="Text Placeholder 2">
            <a:extLst>
              <a:ext uri="{FF2B5EF4-FFF2-40B4-BE49-F238E27FC236}">
                <a16:creationId xmlns:a16="http://schemas.microsoft.com/office/drawing/2014/main" id="{2310619A-389A-46DD-BACC-0B2D9DFCA4AC}"/>
              </a:ext>
            </a:extLst>
          </p:cNvPr>
          <p:cNvSpPr>
            <a:spLocks noGrp="1"/>
          </p:cNvSpPr>
          <p:nvPr>
            <p:ph type="body" idx="1" hasCustomPrompt="1"/>
          </p:nvPr>
        </p:nvSpPr>
        <p:spPr>
          <a:xfrm>
            <a:off x="516836" y="1681163"/>
            <a:ext cx="5394960" cy="732099"/>
          </a:xfrm>
          <a:prstGeom prst="rect">
            <a:avLst/>
          </a:prstGeom>
        </p:spPr>
        <p:txBody>
          <a:bodyPr anchor="t">
            <a:normAutofit/>
          </a:bodyPr>
          <a:lstStyle>
            <a:lvl1pPr marL="0" indent="0">
              <a:buNone/>
              <a:defRPr sz="2800" b="0">
                <a:solidFill>
                  <a:schemeClr val="tx2"/>
                </a:solidFill>
                <a:latin typeface="Roboto Medium" panose="02000000000000000000" pitchFamily="2" charset="0"/>
                <a:ea typeface="Roboto Medium" panose="02000000000000000000"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add subhead text</a:t>
            </a:r>
          </a:p>
        </p:txBody>
      </p:sp>
      <p:sp>
        <p:nvSpPr>
          <p:cNvPr id="4" name="Content Placeholder 3">
            <a:extLst>
              <a:ext uri="{FF2B5EF4-FFF2-40B4-BE49-F238E27FC236}">
                <a16:creationId xmlns:a16="http://schemas.microsoft.com/office/drawing/2014/main" id="{58A70215-FF52-4AB8-8870-52B6D7D781CA}"/>
              </a:ext>
            </a:extLst>
          </p:cNvPr>
          <p:cNvSpPr>
            <a:spLocks noGrp="1"/>
          </p:cNvSpPr>
          <p:nvPr>
            <p:ph sz="half" idx="2" hasCustomPrompt="1"/>
          </p:nvPr>
        </p:nvSpPr>
        <p:spPr>
          <a:xfrm>
            <a:off x="516836" y="2413262"/>
            <a:ext cx="5394960" cy="3776401"/>
          </a:xfrm>
          <a:prstGeom prst="rect">
            <a:avLst/>
          </a:prstGeom>
        </p:spPr>
        <p:txBody>
          <a:bodyPr/>
          <a:lstStyle>
            <a:lvl1pPr marL="0" indent="0">
              <a:buFontTx/>
              <a:buNone/>
              <a:defRPr sz="2000"/>
            </a:lvl1pPr>
            <a:lvl2pPr>
              <a:defRPr sz="1800"/>
            </a:lvl2pPr>
            <a:lvl3pPr>
              <a:defRPr sz="1800"/>
            </a:lvl3pPr>
            <a:lvl4pPr>
              <a:defRPr sz="1400"/>
            </a:lvl4pPr>
          </a:lstStyle>
          <a:p>
            <a:pPr lvl="0"/>
            <a:r>
              <a:rPr lang="en-US"/>
              <a:t>Click to add body text</a:t>
            </a:r>
          </a:p>
          <a:p>
            <a:pPr lvl="1"/>
            <a:r>
              <a:rPr lang="en-US"/>
              <a:t>Bullet one</a:t>
            </a:r>
          </a:p>
          <a:p>
            <a:pPr lvl="2"/>
            <a:r>
              <a:rPr lang="en-US"/>
              <a:t>Bullet two</a:t>
            </a:r>
          </a:p>
        </p:txBody>
      </p:sp>
      <p:sp>
        <p:nvSpPr>
          <p:cNvPr id="12" name="Picture Placeholder 4">
            <a:extLst>
              <a:ext uri="{FF2B5EF4-FFF2-40B4-BE49-F238E27FC236}">
                <a16:creationId xmlns:a16="http://schemas.microsoft.com/office/drawing/2014/main" id="{7C36FCF6-B43B-4E4B-89F2-EAE731355989}"/>
              </a:ext>
            </a:extLst>
          </p:cNvPr>
          <p:cNvSpPr>
            <a:spLocks noGrp="1"/>
          </p:cNvSpPr>
          <p:nvPr>
            <p:ph type="pic" sz="quarter" idx="11"/>
          </p:nvPr>
        </p:nvSpPr>
        <p:spPr>
          <a:xfrm>
            <a:off x="6148247" y="1684228"/>
            <a:ext cx="5394960" cy="4492285"/>
          </a:xfrm>
          <a:prstGeom prst="rect">
            <a:avLst/>
          </a:prstGeom>
        </p:spPr>
        <p:txBody>
          <a:bodyPr/>
          <a:lstStyle>
            <a:lvl1pPr marL="0" indent="0" algn="ctr">
              <a:buNone/>
              <a:defRPr/>
            </a:lvl1pPr>
          </a:lstStyle>
          <a:p>
            <a:r>
              <a:rPr lang="en-US"/>
              <a:t>Click icon to add picture</a:t>
            </a:r>
          </a:p>
        </p:txBody>
      </p:sp>
      <p:cxnSp>
        <p:nvCxnSpPr>
          <p:cNvPr id="11" name="Straight Connector 10">
            <a:extLst>
              <a:ext uri="{FF2B5EF4-FFF2-40B4-BE49-F238E27FC236}">
                <a16:creationId xmlns:a16="http://schemas.microsoft.com/office/drawing/2014/main" id="{12F90B46-CE52-416E-8E27-50DAF17C80F3}"/>
              </a:ext>
            </a:extLst>
          </p:cNvPr>
          <p:cNvCxnSpPr>
            <a:cxnSpLocks/>
          </p:cNvCxnSpPr>
          <p:nvPr/>
        </p:nvCxnSpPr>
        <p:spPr>
          <a:xfrm>
            <a:off x="638954" y="1411105"/>
            <a:ext cx="979200" cy="0"/>
          </a:xfrm>
          <a:prstGeom prst="line">
            <a:avLst/>
          </a:prstGeom>
          <a:ln>
            <a:solidFill>
              <a:srgbClr val="6BC5DB"/>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2999E69F-ED30-447E-BBC4-048375C1A042}"/>
              </a:ext>
            </a:extLst>
          </p:cNvPr>
          <p:cNvSpPr/>
          <p:nvPr/>
        </p:nvSpPr>
        <p:spPr>
          <a:xfrm>
            <a:off x="11553045" y="6248400"/>
            <a:ext cx="461062" cy="49176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descr="Text&#10;&#10;Description automatically generated">
            <a:extLst>
              <a:ext uri="{FF2B5EF4-FFF2-40B4-BE49-F238E27FC236}">
                <a16:creationId xmlns:a16="http://schemas.microsoft.com/office/drawing/2014/main" id="{E8A606D0-CB18-4E76-BDBB-E1F88EE793B3}"/>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r="66589"/>
          <a:stretch/>
        </p:blipFill>
        <p:spPr>
          <a:xfrm>
            <a:off x="11587683" y="6248400"/>
            <a:ext cx="426424" cy="422952"/>
          </a:xfrm>
          <a:prstGeom prst="rect">
            <a:avLst/>
          </a:prstGeom>
        </p:spPr>
      </p:pic>
    </p:spTree>
    <p:extLst>
      <p:ext uri="{BB962C8B-B14F-4D97-AF65-F5344CB8AC3E}">
        <p14:creationId xmlns:p14="http://schemas.microsoft.com/office/powerpoint/2010/main" val="2374341939"/>
      </p:ext>
    </p:extLst>
  </p:cSld>
  <p:clrMapOvr>
    <a:overrideClrMapping bg1="dk1" tx1="lt1" bg2="dk2" tx2="lt2" accent1="accent1" accent2="accent2" accent3="accent3" accent4="accent4" accent5="accent5" accent6="accent6" hlink="hlink" folHlink="folHlink"/>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Tx" preserve="1">
  <p:cSld name="Content with Small Graphic">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98F2EE5-971F-493C-AF2A-58A8D5B49C61}"/>
              </a:ext>
            </a:extLst>
          </p:cNvPr>
          <p:cNvSpPr>
            <a:spLocks noGrp="1"/>
          </p:cNvSpPr>
          <p:nvPr>
            <p:ph idx="1" hasCustomPrompt="1"/>
          </p:nvPr>
        </p:nvSpPr>
        <p:spPr>
          <a:xfrm>
            <a:off x="5183188" y="417444"/>
            <a:ext cx="6361566" cy="5754756"/>
          </a:xfrm>
          <a:prstGeom prst="rect">
            <a:avLst/>
          </a:prstGeom>
        </p:spPr>
        <p:txBody>
          <a:bodyPr/>
          <a:lstStyle>
            <a:lvl1pPr marL="0" indent="0">
              <a:spcBef>
                <a:spcPts val="0"/>
              </a:spcBef>
              <a:buFont typeface="Arial" panose="020B0604020202020204" pitchFamily="34" charset="0"/>
              <a:buNone/>
              <a:defRPr sz="2800"/>
            </a:lvl1pPr>
            <a:lvl2pPr>
              <a:defRPr sz="2000"/>
            </a:lvl2pPr>
            <a:lvl3pPr>
              <a:defRPr sz="2000"/>
            </a:lvl3pPr>
            <a:lvl4pPr>
              <a:defRPr sz="2000"/>
            </a:lvl4pPr>
            <a:lvl5pPr>
              <a:defRPr sz="2000"/>
            </a:lvl5pPr>
            <a:lvl6pPr>
              <a:defRPr sz="2000"/>
            </a:lvl6pPr>
            <a:lvl7pPr>
              <a:defRPr sz="2000"/>
            </a:lvl7pPr>
            <a:lvl8pPr>
              <a:defRPr sz="2000"/>
            </a:lvl8pPr>
            <a:lvl9pPr>
              <a:defRPr sz="2000"/>
            </a:lvl9pPr>
          </a:lstStyle>
          <a:p>
            <a:pPr lvl="0"/>
            <a:r>
              <a:rPr lang="en-US"/>
              <a:t>Click to add text</a:t>
            </a:r>
          </a:p>
          <a:p>
            <a:pPr lvl="1"/>
            <a:r>
              <a:rPr lang="en-US"/>
              <a:t>Bullet one</a:t>
            </a:r>
          </a:p>
          <a:p>
            <a:pPr lvl="2"/>
            <a:r>
              <a:rPr lang="en-US"/>
              <a:t>Bullet two</a:t>
            </a:r>
          </a:p>
          <a:p>
            <a:pPr lvl="3"/>
            <a:r>
              <a:rPr lang="en-US"/>
              <a:t>Bullet three </a:t>
            </a:r>
          </a:p>
        </p:txBody>
      </p:sp>
      <p:sp>
        <p:nvSpPr>
          <p:cNvPr id="4" name="Text Placeholder 3">
            <a:extLst>
              <a:ext uri="{FF2B5EF4-FFF2-40B4-BE49-F238E27FC236}">
                <a16:creationId xmlns:a16="http://schemas.microsoft.com/office/drawing/2014/main" id="{6824036F-9B4D-4ED3-ABE0-5C594C3C96ED}"/>
              </a:ext>
            </a:extLst>
          </p:cNvPr>
          <p:cNvSpPr>
            <a:spLocks noGrp="1"/>
          </p:cNvSpPr>
          <p:nvPr>
            <p:ph type="body" sz="half" idx="2" hasCustomPrompt="1"/>
          </p:nvPr>
        </p:nvSpPr>
        <p:spPr>
          <a:xfrm>
            <a:off x="506896" y="1828801"/>
            <a:ext cx="4265129" cy="4343398"/>
          </a:xfrm>
          <a:prstGeom prst="rect">
            <a:avLst/>
          </a:prstGeo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body text</a:t>
            </a:r>
          </a:p>
        </p:txBody>
      </p:sp>
      <p:pic>
        <p:nvPicPr>
          <p:cNvPr id="8" name="Picture 7" descr="IHI_Symbol.png">
            <a:extLst>
              <a:ext uri="{FF2B5EF4-FFF2-40B4-BE49-F238E27FC236}">
                <a16:creationId xmlns:a16="http://schemas.microsoft.com/office/drawing/2014/main" id="{F1CB33CF-7E69-4F33-9354-C57FBE156BAF}"/>
              </a:ext>
            </a:extLst>
          </p:cNvPr>
          <p:cNvPicPr>
            <a:picLocks noChangeAspect="1"/>
          </p:cNvPicPr>
          <p:nvPr/>
        </p:nvPicPr>
        <p:blipFill>
          <a:blip r:embed="rId2" cstate="print"/>
          <a:stretch>
            <a:fillRect/>
          </a:stretch>
        </p:blipFill>
        <p:spPr>
          <a:xfrm>
            <a:off x="11584510" y="6253880"/>
            <a:ext cx="387846" cy="382809"/>
          </a:xfrm>
          <a:prstGeom prst="rect">
            <a:avLst/>
          </a:prstGeom>
          <a:noFill/>
          <a:ln>
            <a:noFill/>
          </a:ln>
        </p:spPr>
      </p:pic>
      <p:sp>
        <p:nvSpPr>
          <p:cNvPr id="6" name="Rectangle 5">
            <a:extLst>
              <a:ext uri="{FF2B5EF4-FFF2-40B4-BE49-F238E27FC236}">
                <a16:creationId xmlns:a16="http://schemas.microsoft.com/office/drawing/2014/main" id="{55166AFE-3792-4CD4-89D3-BBB14F0210D9}"/>
              </a:ext>
            </a:extLst>
          </p:cNvPr>
          <p:cNvSpPr/>
          <p:nvPr/>
        </p:nvSpPr>
        <p:spPr>
          <a:xfrm>
            <a:off x="621102" y="1380226"/>
            <a:ext cx="1061049" cy="7763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057B6014-A4A7-436D-838F-809C0B3E4B28}"/>
              </a:ext>
            </a:extLst>
          </p:cNvPr>
          <p:cNvSpPr>
            <a:spLocks noGrp="1"/>
          </p:cNvSpPr>
          <p:nvPr>
            <p:ph type="title" hasCustomPrompt="1"/>
          </p:nvPr>
        </p:nvSpPr>
        <p:spPr>
          <a:xfrm>
            <a:off x="506896" y="606287"/>
            <a:ext cx="4265129" cy="1152939"/>
          </a:xfrm>
          <a:prstGeom prst="rect">
            <a:avLst/>
          </a:prstGeom>
        </p:spPr>
        <p:txBody>
          <a:bodyPr anchor="t"/>
          <a:lstStyle>
            <a:lvl1pPr>
              <a:defRPr sz="3200"/>
            </a:lvl1pPr>
          </a:lstStyle>
          <a:p>
            <a:r>
              <a:rPr lang="en-US"/>
              <a:t>Click to add title text</a:t>
            </a:r>
          </a:p>
        </p:txBody>
      </p:sp>
    </p:spTree>
    <p:extLst>
      <p:ext uri="{BB962C8B-B14F-4D97-AF65-F5344CB8AC3E}">
        <p14:creationId xmlns:p14="http://schemas.microsoft.com/office/powerpoint/2010/main" val="130085586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picTx" preserve="1">
  <p:cSld name="Content with Large Graphic">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3C60288F-7E9F-4C31-B8CB-5DE40743DFE1}"/>
              </a:ext>
            </a:extLst>
          </p:cNvPr>
          <p:cNvSpPr>
            <a:spLocks noGrp="1"/>
          </p:cNvSpPr>
          <p:nvPr>
            <p:ph type="pic" idx="1"/>
          </p:nvPr>
        </p:nvSpPr>
        <p:spPr>
          <a:xfrm>
            <a:off x="5183188" y="0"/>
            <a:ext cx="7008812" cy="6857999"/>
          </a:xfrm>
          <a:prstGeom prst="rect">
            <a:avLst/>
          </a:prstGeom>
        </p:spPr>
        <p:txBody>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D98F0C99-A466-4997-9A4B-93FEE604C66F}"/>
              </a:ext>
            </a:extLst>
          </p:cNvPr>
          <p:cNvSpPr>
            <a:spLocks noGrp="1"/>
          </p:cNvSpPr>
          <p:nvPr>
            <p:ph type="body" sz="half" idx="2" hasCustomPrompt="1"/>
          </p:nvPr>
        </p:nvSpPr>
        <p:spPr>
          <a:xfrm>
            <a:off x="516836" y="1848678"/>
            <a:ext cx="4255189" cy="3920920"/>
          </a:xfrm>
          <a:prstGeom prst="rect">
            <a:avLst/>
          </a:prstGeo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body text</a:t>
            </a:r>
          </a:p>
        </p:txBody>
      </p:sp>
      <p:sp>
        <p:nvSpPr>
          <p:cNvPr id="5" name="Rectangle 4">
            <a:extLst>
              <a:ext uri="{FF2B5EF4-FFF2-40B4-BE49-F238E27FC236}">
                <a16:creationId xmlns:a16="http://schemas.microsoft.com/office/drawing/2014/main" id="{5D95C1AE-A442-45C3-B1BB-88813B3C65AF}"/>
              </a:ext>
            </a:extLst>
          </p:cNvPr>
          <p:cNvSpPr/>
          <p:nvPr/>
        </p:nvSpPr>
        <p:spPr>
          <a:xfrm>
            <a:off x="621102" y="1380226"/>
            <a:ext cx="1061049" cy="7763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B19798B-7DEF-441D-9B30-E9DBE5A00C5D}"/>
              </a:ext>
            </a:extLst>
          </p:cNvPr>
          <p:cNvSpPr>
            <a:spLocks noGrp="1"/>
          </p:cNvSpPr>
          <p:nvPr>
            <p:ph type="title" hasCustomPrompt="1"/>
          </p:nvPr>
        </p:nvSpPr>
        <p:spPr>
          <a:xfrm>
            <a:off x="516836" y="626166"/>
            <a:ext cx="4255190" cy="1152938"/>
          </a:xfrm>
          <a:prstGeom prst="rect">
            <a:avLst/>
          </a:prstGeom>
        </p:spPr>
        <p:txBody>
          <a:bodyPr anchor="t"/>
          <a:lstStyle>
            <a:lvl1pPr>
              <a:defRPr sz="3200"/>
            </a:lvl1pPr>
          </a:lstStyle>
          <a:p>
            <a:r>
              <a:rPr lang="en-US"/>
              <a:t>Click to add title text</a:t>
            </a:r>
          </a:p>
        </p:txBody>
      </p:sp>
    </p:spTree>
    <p:extLst>
      <p:ext uri="{BB962C8B-B14F-4D97-AF65-F5344CB8AC3E}">
        <p14:creationId xmlns:p14="http://schemas.microsoft.com/office/powerpoint/2010/main" val="65526196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picTx" preserve="1">
  <p:cSld name="Content Blue With Large Graphic">
    <p:bg>
      <p:bgRef idx="1001">
        <a:schemeClr val="bg2"/>
      </p:bgRef>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3C60288F-7E9F-4C31-B8CB-5DE40743DFE1}"/>
              </a:ext>
            </a:extLst>
          </p:cNvPr>
          <p:cNvSpPr>
            <a:spLocks noGrp="1"/>
          </p:cNvSpPr>
          <p:nvPr>
            <p:ph type="pic" idx="1"/>
          </p:nvPr>
        </p:nvSpPr>
        <p:spPr>
          <a:xfrm>
            <a:off x="5183188" y="0"/>
            <a:ext cx="7008812" cy="6857999"/>
          </a:xfrm>
          <a:prstGeom prst="rect">
            <a:avLst/>
          </a:prstGeom>
        </p:spPr>
        <p:txBody>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D98F0C99-A466-4997-9A4B-93FEE604C66F}"/>
              </a:ext>
            </a:extLst>
          </p:cNvPr>
          <p:cNvSpPr>
            <a:spLocks noGrp="1"/>
          </p:cNvSpPr>
          <p:nvPr>
            <p:ph type="body" sz="half" idx="2" hasCustomPrompt="1"/>
          </p:nvPr>
        </p:nvSpPr>
        <p:spPr>
          <a:xfrm>
            <a:off x="506896" y="2057400"/>
            <a:ext cx="4265129" cy="4114800"/>
          </a:xfrm>
          <a:prstGeom prst="rect">
            <a:avLst/>
          </a:prstGeom>
        </p:spPr>
        <p:txBody>
          <a:bodyPr>
            <a:normAutofit/>
          </a:bodyPr>
          <a:lstStyle>
            <a:lvl1pPr marL="0" indent="0">
              <a:buNone/>
              <a:defRPr sz="2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body text</a:t>
            </a:r>
          </a:p>
        </p:txBody>
      </p:sp>
      <p:sp>
        <p:nvSpPr>
          <p:cNvPr id="5" name="Rectangle 4">
            <a:extLst>
              <a:ext uri="{FF2B5EF4-FFF2-40B4-BE49-F238E27FC236}">
                <a16:creationId xmlns:a16="http://schemas.microsoft.com/office/drawing/2014/main" id="{236E2AED-88E4-400A-A990-182DBE388207}"/>
              </a:ext>
            </a:extLst>
          </p:cNvPr>
          <p:cNvSpPr/>
          <p:nvPr/>
        </p:nvSpPr>
        <p:spPr>
          <a:xfrm>
            <a:off x="603849" y="1380226"/>
            <a:ext cx="1035170" cy="7763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 name="Straight Connector 5">
            <a:extLst>
              <a:ext uri="{FF2B5EF4-FFF2-40B4-BE49-F238E27FC236}">
                <a16:creationId xmlns:a16="http://schemas.microsoft.com/office/drawing/2014/main" id="{A54B0A2B-4E8F-4FED-AD72-BD9214CF7468}"/>
              </a:ext>
            </a:extLst>
          </p:cNvPr>
          <p:cNvCxnSpPr>
            <a:cxnSpLocks/>
          </p:cNvCxnSpPr>
          <p:nvPr/>
        </p:nvCxnSpPr>
        <p:spPr>
          <a:xfrm>
            <a:off x="638954" y="1411105"/>
            <a:ext cx="979200" cy="0"/>
          </a:xfrm>
          <a:prstGeom prst="line">
            <a:avLst/>
          </a:prstGeom>
          <a:ln>
            <a:solidFill>
              <a:srgbClr val="6BC5DB"/>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CFB2C3C6-5B62-4B46-88BE-3FDCAD829E47}"/>
              </a:ext>
            </a:extLst>
          </p:cNvPr>
          <p:cNvSpPr/>
          <p:nvPr/>
        </p:nvSpPr>
        <p:spPr>
          <a:xfrm>
            <a:off x="11553045" y="6248400"/>
            <a:ext cx="461062" cy="49176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Text&#10;&#10;Description automatically generated">
            <a:extLst>
              <a:ext uri="{FF2B5EF4-FFF2-40B4-BE49-F238E27FC236}">
                <a16:creationId xmlns:a16="http://schemas.microsoft.com/office/drawing/2014/main" id="{834A72C1-4448-4224-A003-6DBFE5E4136D}"/>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r="66589"/>
          <a:stretch/>
        </p:blipFill>
        <p:spPr>
          <a:xfrm>
            <a:off x="11587683" y="6248400"/>
            <a:ext cx="426424" cy="422952"/>
          </a:xfrm>
          <a:prstGeom prst="rect">
            <a:avLst/>
          </a:prstGeom>
        </p:spPr>
      </p:pic>
      <p:sp>
        <p:nvSpPr>
          <p:cNvPr id="9" name="Rectangle 8">
            <a:extLst>
              <a:ext uri="{FF2B5EF4-FFF2-40B4-BE49-F238E27FC236}">
                <a16:creationId xmlns:a16="http://schemas.microsoft.com/office/drawing/2014/main" id="{F7242916-C931-43F1-906F-9A99A9DB45C6}"/>
              </a:ext>
            </a:extLst>
          </p:cNvPr>
          <p:cNvSpPr/>
          <p:nvPr/>
        </p:nvSpPr>
        <p:spPr>
          <a:xfrm>
            <a:off x="541732" y="1380226"/>
            <a:ext cx="1132123" cy="7763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B19798B-7DEF-441D-9B30-E9DBE5A00C5D}"/>
              </a:ext>
            </a:extLst>
          </p:cNvPr>
          <p:cNvSpPr>
            <a:spLocks noGrp="1"/>
          </p:cNvSpPr>
          <p:nvPr>
            <p:ph type="title" hasCustomPrompt="1"/>
          </p:nvPr>
        </p:nvSpPr>
        <p:spPr>
          <a:xfrm>
            <a:off x="506896" y="596348"/>
            <a:ext cx="4265129" cy="1461052"/>
          </a:xfrm>
          <a:prstGeom prst="rect">
            <a:avLst/>
          </a:prstGeom>
        </p:spPr>
        <p:txBody>
          <a:bodyPr anchor="t"/>
          <a:lstStyle>
            <a:lvl1pPr>
              <a:defRPr sz="3200"/>
            </a:lvl1pPr>
          </a:lstStyle>
          <a:p>
            <a:r>
              <a:rPr lang="en-US"/>
              <a:t>Click to add title text</a:t>
            </a:r>
          </a:p>
        </p:txBody>
      </p:sp>
    </p:spTree>
    <p:extLst>
      <p:ext uri="{BB962C8B-B14F-4D97-AF65-F5344CB8AC3E}">
        <p14:creationId xmlns:p14="http://schemas.microsoft.com/office/powerpoint/2010/main" val="709297029"/>
      </p:ext>
    </p:extLst>
  </p:cSld>
  <p:clrMapOvr>
    <a:overrideClrMapping bg1="dk1" tx1="lt1" bg2="dk2" tx2="lt2" accent1="accent1" accent2="accent2" accent3="accent3" accent4="accent4" accent5="accent5" accent6="accent6" hlink="hlink" folHlink="folHlink"/>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pic>
        <p:nvPicPr>
          <p:cNvPr id="7" name="Picture 6" descr="IHI_Symbol.png">
            <a:extLst>
              <a:ext uri="{FF2B5EF4-FFF2-40B4-BE49-F238E27FC236}">
                <a16:creationId xmlns:a16="http://schemas.microsoft.com/office/drawing/2014/main" id="{279EB0E5-E2C4-4711-9023-A925A64D8753}"/>
              </a:ext>
            </a:extLst>
          </p:cNvPr>
          <p:cNvPicPr>
            <a:picLocks noChangeAspect="1"/>
          </p:cNvPicPr>
          <p:nvPr/>
        </p:nvPicPr>
        <p:blipFill>
          <a:blip r:embed="rId2" cstate="print"/>
          <a:stretch>
            <a:fillRect/>
          </a:stretch>
        </p:blipFill>
        <p:spPr>
          <a:xfrm>
            <a:off x="11584510" y="6253880"/>
            <a:ext cx="387846" cy="382809"/>
          </a:xfrm>
          <a:prstGeom prst="rect">
            <a:avLst/>
          </a:prstGeom>
          <a:noFill/>
          <a:ln>
            <a:noFill/>
          </a:ln>
        </p:spPr>
      </p:pic>
      <p:sp>
        <p:nvSpPr>
          <p:cNvPr id="8" name="Title 1">
            <a:extLst>
              <a:ext uri="{FF2B5EF4-FFF2-40B4-BE49-F238E27FC236}">
                <a16:creationId xmlns:a16="http://schemas.microsoft.com/office/drawing/2014/main" id="{4C492B17-3198-487E-93BE-A3156EA8012D}"/>
              </a:ext>
            </a:extLst>
          </p:cNvPr>
          <p:cNvSpPr>
            <a:spLocks noGrp="1"/>
          </p:cNvSpPr>
          <p:nvPr>
            <p:ph type="title" hasCustomPrompt="1"/>
          </p:nvPr>
        </p:nvSpPr>
        <p:spPr>
          <a:xfrm>
            <a:off x="487017" y="586136"/>
            <a:ext cx="11066029" cy="1114491"/>
          </a:xfrm>
          <a:prstGeom prst="rect">
            <a:avLst/>
          </a:prstGeom>
        </p:spPr>
        <p:txBody>
          <a:bodyPr anchor="t">
            <a:normAutofit/>
          </a:bodyPr>
          <a:lstStyle>
            <a:lvl1pPr>
              <a:defRPr sz="4000">
                <a:latin typeface="Roboto Medium" panose="02000000000000000000" pitchFamily="2" charset="0"/>
                <a:ea typeface="Roboto Medium" panose="02000000000000000000" pitchFamily="2" charset="0"/>
              </a:defRPr>
            </a:lvl1pPr>
          </a:lstStyle>
          <a:p>
            <a:r>
              <a:rPr lang="en-US"/>
              <a:t>Click to add title text</a:t>
            </a:r>
          </a:p>
        </p:txBody>
      </p:sp>
      <p:cxnSp>
        <p:nvCxnSpPr>
          <p:cNvPr id="9" name="Straight Connector 8">
            <a:extLst>
              <a:ext uri="{FF2B5EF4-FFF2-40B4-BE49-F238E27FC236}">
                <a16:creationId xmlns:a16="http://schemas.microsoft.com/office/drawing/2014/main" id="{5929F877-F91B-49F5-9736-D6663912CAF5}"/>
              </a:ext>
            </a:extLst>
          </p:cNvPr>
          <p:cNvCxnSpPr>
            <a:cxnSpLocks/>
          </p:cNvCxnSpPr>
          <p:nvPr/>
        </p:nvCxnSpPr>
        <p:spPr>
          <a:xfrm>
            <a:off x="638954" y="1411105"/>
            <a:ext cx="979200" cy="0"/>
          </a:xfrm>
          <a:prstGeom prst="line">
            <a:avLst/>
          </a:prstGeom>
          <a:ln>
            <a:solidFill>
              <a:srgbClr val="6BC5DB"/>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235090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5" name="Picture 4" descr="IHI_Symbol.png">
            <a:extLst>
              <a:ext uri="{FF2B5EF4-FFF2-40B4-BE49-F238E27FC236}">
                <a16:creationId xmlns:a16="http://schemas.microsoft.com/office/drawing/2014/main" id="{42969113-291E-4387-8CAA-17FCDB7C0F3F}"/>
              </a:ext>
            </a:extLst>
          </p:cNvPr>
          <p:cNvPicPr>
            <a:picLocks noChangeAspect="1"/>
          </p:cNvPicPr>
          <p:nvPr/>
        </p:nvPicPr>
        <p:blipFill>
          <a:blip r:embed="rId2" cstate="print"/>
          <a:stretch>
            <a:fillRect/>
          </a:stretch>
        </p:blipFill>
        <p:spPr>
          <a:xfrm>
            <a:off x="11584510" y="6253880"/>
            <a:ext cx="387846" cy="382809"/>
          </a:xfrm>
          <a:prstGeom prst="rect">
            <a:avLst/>
          </a:prstGeom>
          <a:noFill/>
          <a:ln>
            <a:noFill/>
          </a:ln>
        </p:spPr>
      </p:pic>
      <p:sp>
        <p:nvSpPr>
          <p:cNvPr id="2" name="Rectangle 1">
            <a:extLst>
              <a:ext uri="{FF2B5EF4-FFF2-40B4-BE49-F238E27FC236}">
                <a16:creationId xmlns:a16="http://schemas.microsoft.com/office/drawing/2014/main" id="{A1C42D2D-730F-43B8-9373-2039FA6C8492}"/>
              </a:ext>
            </a:extLst>
          </p:cNvPr>
          <p:cNvSpPr/>
          <p:nvPr/>
        </p:nvSpPr>
        <p:spPr>
          <a:xfrm>
            <a:off x="619125" y="1266825"/>
            <a:ext cx="1209675" cy="1714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74057588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reserve="1">
  <p:cSld name="Blank-Blue">
    <p:bg>
      <p:bgRef idx="1001">
        <a:schemeClr val="bg2"/>
      </p:bgRef>
    </p:bg>
    <p:spTree>
      <p:nvGrpSpPr>
        <p:cNvPr id="1" name=""/>
        <p:cNvGrpSpPr/>
        <p:nvPr/>
      </p:nvGrpSpPr>
      <p:grpSpPr>
        <a:xfrm>
          <a:off x="0" y="0"/>
          <a:ext cx="0" cy="0"/>
          <a:chOff x="0" y="0"/>
          <a:chExt cx="0" cy="0"/>
        </a:xfrm>
      </p:grpSpPr>
      <p:pic>
        <p:nvPicPr>
          <p:cNvPr id="5" name="Picture 4" descr="IHI_Symbol.png">
            <a:extLst>
              <a:ext uri="{FF2B5EF4-FFF2-40B4-BE49-F238E27FC236}">
                <a16:creationId xmlns:a16="http://schemas.microsoft.com/office/drawing/2014/main" id="{42969113-291E-4387-8CAA-17FCDB7C0F3F}"/>
              </a:ext>
            </a:extLst>
          </p:cNvPr>
          <p:cNvPicPr>
            <a:picLocks noChangeAspect="1"/>
          </p:cNvPicPr>
          <p:nvPr/>
        </p:nvPicPr>
        <p:blipFill>
          <a:blip r:embed="rId2" cstate="print"/>
          <a:stretch>
            <a:fillRect/>
          </a:stretch>
        </p:blipFill>
        <p:spPr>
          <a:xfrm>
            <a:off x="11584510" y="6253880"/>
            <a:ext cx="387846" cy="382809"/>
          </a:xfrm>
          <a:prstGeom prst="rect">
            <a:avLst/>
          </a:prstGeom>
          <a:noFill/>
          <a:ln>
            <a:noFill/>
          </a:ln>
        </p:spPr>
      </p:pic>
      <p:sp>
        <p:nvSpPr>
          <p:cNvPr id="3" name="Rectangle 2">
            <a:extLst>
              <a:ext uri="{FF2B5EF4-FFF2-40B4-BE49-F238E27FC236}">
                <a16:creationId xmlns:a16="http://schemas.microsoft.com/office/drawing/2014/main" id="{93634B0E-1F0F-4FBE-86D9-594916AA709C}"/>
              </a:ext>
            </a:extLst>
          </p:cNvPr>
          <p:cNvSpPr/>
          <p:nvPr/>
        </p:nvSpPr>
        <p:spPr>
          <a:xfrm>
            <a:off x="11553045" y="6248400"/>
            <a:ext cx="461062" cy="49176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descr="Text&#10;&#10;Description automatically generated">
            <a:extLst>
              <a:ext uri="{FF2B5EF4-FFF2-40B4-BE49-F238E27FC236}">
                <a16:creationId xmlns:a16="http://schemas.microsoft.com/office/drawing/2014/main" id="{7ADA2DB8-7EED-4446-9946-289365D0B71D}"/>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r="66589"/>
          <a:stretch/>
        </p:blipFill>
        <p:spPr>
          <a:xfrm>
            <a:off x="11587683" y="6248400"/>
            <a:ext cx="426424" cy="422952"/>
          </a:xfrm>
          <a:prstGeom prst="rect">
            <a:avLst/>
          </a:prstGeom>
        </p:spPr>
      </p:pic>
      <p:sp>
        <p:nvSpPr>
          <p:cNvPr id="2" name="Rectangle 1">
            <a:extLst>
              <a:ext uri="{FF2B5EF4-FFF2-40B4-BE49-F238E27FC236}">
                <a16:creationId xmlns:a16="http://schemas.microsoft.com/office/drawing/2014/main" id="{1C1D9E03-CB34-46C0-905D-6B02BA526CFD}"/>
              </a:ext>
            </a:extLst>
          </p:cNvPr>
          <p:cNvSpPr/>
          <p:nvPr/>
        </p:nvSpPr>
        <p:spPr>
          <a:xfrm>
            <a:off x="571500" y="1371600"/>
            <a:ext cx="1171575" cy="180975"/>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697112900"/>
      </p:ext>
    </p:extLst>
  </p:cSld>
  <p:clrMapOvr>
    <a:overrideClrMapping bg1="dk1" tx1="lt1" bg2="dk2" tx2="lt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20717519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D9F8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tx1"/>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chemeClr val="tx1"/>
              </a:solidFill>
              <a:effectLst/>
              <a:uLnTx/>
              <a:uFillTx/>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7918704" cy="731520"/>
          </a:xfrm>
        </p:spPr>
        <p:txBody>
          <a:body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1043405"/>
            <a:ext cx="7918704"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pic>
        <p:nvPicPr>
          <p:cNvPr id="11" name="Picture 10" descr="IHI_Symbol.png">
            <a:extLst>
              <a:ext uri="{FF2B5EF4-FFF2-40B4-BE49-F238E27FC236}">
                <a16:creationId xmlns:a16="http://schemas.microsoft.com/office/drawing/2014/main" id="{3B984B97-A46B-4596-8258-0D95D9B232A2}"/>
              </a:ext>
            </a:extLst>
          </p:cNvPr>
          <p:cNvPicPr>
            <a:picLocks noChangeAspect="1"/>
          </p:cNvPicPr>
          <p:nvPr userDrawn="1"/>
        </p:nvPicPr>
        <p:blipFill>
          <a:blip r:embed="rId12" cstate="print"/>
          <a:stretch>
            <a:fillRect/>
          </a:stretch>
        </p:blipFill>
        <p:spPr>
          <a:xfrm>
            <a:off x="10850713" y="6236208"/>
            <a:ext cx="387846" cy="382809"/>
          </a:xfrm>
          <a:prstGeom prst="rect">
            <a:avLst/>
          </a:prstGeom>
          <a:noFill/>
          <a:ln>
            <a:noFill/>
          </a:ln>
        </p:spPr>
      </p:pic>
    </p:spTree>
    <p:extLst>
      <p:ext uri="{BB962C8B-B14F-4D97-AF65-F5344CB8AC3E}">
        <p14:creationId xmlns:p14="http://schemas.microsoft.com/office/powerpoint/2010/main" val="300077352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cSld name="Subtitle - white">
    <p:bg>
      <p:bgRef idx="1001">
        <a:schemeClr val="bg1"/>
      </p:bgRef>
    </p:bg>
    <p:spTree>
      <p:nvGrpSpPr>
        <p:cNvPr id="1" name=""/>
        <p:cNvGrpSpPr/>
        <p:nvPr/>
      </p:nvGrpSpPr>
      <p:grpSpPr>
        <a:xfrm>
          <a:off x="0" y="0"/>
          <a:ext cx="0" cy="0"/>
          <a:chOff x="0" y="0"/>
          <a:chExt cx="0" cy="0"/>
        </a:xfrm>
      </p:grpSpPr>
      <p:pic>
        <p:nvPicPr>
          <p:cNvPr id="5" name="Picture 4" descr="IHI_Symbol.png"/>
          <p:cNvPicPr>
            <a:picLocks noChangeAspect="1"/>
          </p:cNvPicPr>
          <p:nvPr/>
        </p:nvPicPr>
        <p:blipFill>
          <a:blip r:embed="rId2" cstate="print"/>
          <a:stretch>
            <a:fillRect/>
          </a:stretch>
        </p:blipFill>
        <p:spPr>
          <a:xfrm>
            <a:off x="11106833" y="6224159"/>
            <a:ext cx="475569" cy="469393"/>
          </a:xfrm>
          <a:prstGeom prst="rect">
            <a:avLst/>
          </a:prstGeom>
          <a:noFill/>
          <a:ln>
            <a:noFill/>
          </a:ln>
        </p:spPr>
      </p:pic>
      <p:sp>
        <p:nvSpPr>
          <p:cNvPr id="6" name="Title 1"/>
          <p:cNvSpPr>
            <a:spLocks noGrp="1"/>
          </p:cNvSpPr>
          <p:nvPr>
            <p:ph type="ctrTitle"/>
          </p:nvPr>
        </p:nvSpPr>
        <p:spPr>
          <a:xfrm>
            <a:off x="1828800" y="2549679"/>
            <a:ext cx="8026400" cy="1421928"/>
          </a:xfrm>
          <a:noFill/>
          <a:ln>
            <a:noFill/>
          </a:ln>
        </p:spPr>
        <p:txBody>
          <a:bodyPr wrap="square" anchor="b" anchorCtr="0">
            <a:spAutoFit/>
          </a:bodyPr>
          <a:lstStyle>
            <a:lvl1pPr algn="l">
              <a:lnSpc>
                <a:spcPct val="80000"/>
              </a:lnSpc>
              <a:defRPr sz="5400">
                <a:solidFill>
                  <a:srgbClr val="455660"/>
                </a:solidFill>
              </a:defRPr>
            </a:lvl1pPr>
          </a:lstStyle>
          <a:p>
            <a:r>
              <a:rPr lang="en-US"/>
              <a:t>Click to edit Master title style</a:t>
            </a:r>
          </a:p>
        </p:txBody>
      </p:sp>
      <p:sp>
        <p:nvSpPr>
          <p:cNvPr id="7" name="Subtitle 2"/>
          <p:cNvSpPr>
            <a:spLocks noGrp="1"/>
          </p:cNvSpPr>
          <p:nvPr>
            <p:ph type="subTitle" idx="1"/>
          </p:nvPr>
        </p:nvSpPr>
        <p:spPr>
          <a:xfrm>
            <a:off x="1828800" y="3952558"/>
            <a:ext cx="8026400" cy="369332"/>
          </a:xfrm>
          <a:noFill/>
          <a:ln>
            <a:noFill/>
          </a:ln>
        </p:spPr>
        <p:txBody>
          <a:bodyPr>
            <a:spAutoFit/>
          </a:bodyPr>
          <a:lstStyle>
            <a:lvl1pPr marL="0" indent="0" algn="l">
              <a:lnSpc>
                <a:spcPct val="100000"/>
              </a:lnSpc>
              <a:spcBef>
                <a:spcPts val="0"/>
              </a:spcBef>
              <a:buNone/>
              <a:defRPr sz="1800" i="1">
                <a:solidFill>
                  <a:srgbClr val="455660"/>
                </a:solidFill>
                <a:latin typeface="Georgia" panose="02040502050405020303" pitchFamily="18" charset="0"/>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3239787644"/>
      </p:ext>
    </p:extLst>
  </p:cSld>
  <p:clrMapOvr>
    <a:overrideClrMapping bg1="lt1" tx1="dk1" bg2="lt2" tx2="dk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cSld name="Graphic - white">
    <p:bg>
      <p:bgRef idx="1001">
        <a:schemeClr val="bg1"/>
      </p:bgRef>
    </p:bg>
    <p:spTree>
      <p:nvGrpSpPr>
        <p:cNvPr id="1" name=""/>
        <p:cNvGrpSpPr/>
        <p:nvPr/>
      </p:nvGrpSpPr>
      <p:grpSpPr>
        <a:xfrm>
          <a:off x="0" y="0"/>
          <a:ext cx="0" cy="0"/>
          <a:chOff x="0" y="0"/>
          <a:chExt cx="0" cy="0"/>
        </a:xfrm>
      </p:grpSpPr>
      <p:pic>
        <p:nvPicPr>
          <p:cNvPr id="3" name="Picture 2" descr="IHI_Symbol.png"/>
          <p:cNvPicPr>
            <a:picLocks noChangeAspect="1"/>
          </p:cNvPicPr>
          <p:nvPr/>
        </p:nvPicPr>
        <p:blipFill>
          <a:blip r:embed="rId2" cstate="print"/>
          <a:stretch>
            <a:fillRect/>
          </a:stretch>
        </p:blipFill>
        <p:spPr>
          <a:xfrm>
            <a:off x="11106833" y="6224159"/>
            <a:ext cx="475569" cy="469393"/>
          </a:xfrm>
          <a:prstGeom prst="rect">
            <a:avLst/>
          </a:prstGeom>
          <a:noFill/>
          <a:ln>
            <a:noFill/>
          </a:ln>
        </p:spPr>
      </p:pic>
    </p:spTree>
    <p:extLst>
      <p:ext uri="{BB962C8B-B14F-4D97-AF65-F5344CB8AC3E}">
        <p14:creationId xmlns:p14="http://schemas.microsoft.com/office/powerpoint/2010/main" val="561672498"/>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vB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01A9196B-05EB-E2C1-7E72-D8811229D8D2}"/>
              </a:ext>
            </a:extLst>
          </p:cNvPr>
          <p:cNvSpPr>
            <a:spLocks noGrp="1"/>
          </p:cNvSpPr>
          <p:nvPr>
            <p:ph type="subTitle" idx="1"/>
          </p:nvPr>
        </p:nvSpPr>
        <p:spPr>
          <a:xfrm>
            <a:off x="442914" y="4217374"/>
            <a:ext cx="5537199" cy="235898"/>
          </a:xfrm>
        </p:spPr>
        <p:txBody>
          <a:bodyPr wrap="square">
            <a:spAutoFit/>
          </a:bodyPr>
          <a:lstStyle>
            <a:lvl1pPr marL="0" indent="0" algn="l">
              <a:buNone/>
              <a:defRPr sz="15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10" name="Title 9">
            <a:extLst>
              <a:ext uri="{FF2B5EF4-FFF2-40B4-BE49-F238E27FC236}">
                <a16:creationId xmlns:a16="http://schemas.microsoft.com/office/drawing/2014/main" id="{61AC5D26-4661-1187-F6D3-B7AC649531E9}"/>
              </a:ext>
            </a:extLst>
          </p:cNvPr>
          <p:cNvSpPr>
            <a:spLocks noGrp="1"/>
          </p:cNvSpPr>
          <p:nvPr>
            <p:ph type="title" hasCustomPrompt="1"/>
          </p:nvPr>
        </p:nvSpPr>
        <p:spPr>
          <a:xfrm>
            <a:off x="442914" y="3145139"/>
            <a:ext cx="7456486" cy="567848"/>
          </a:xfrm>
        </p:spPr>
        <p:txBody>
          <a:bodyPr wrap="square" anchor="b" anchorCtr="0">
            <a:spAutoFit/>
          </a:bodyPr>
          <a:lstStyle>
            <a:lvl1pPr>
              <a:lnSpc>
                <a:spcPct val="90000"/>
              </a:lnSpc>
              <a:defRPr sz="4000" spc="-100" baseline="0">
                <a:solidFill>
                  <a:schemeClr val="tx1"/>
                </a:solidFill>
              </a:defRPr>
            </a:lvl1pPr>
          </a:lstStyle>
          <a:p>
            <a:r>
              <a:rPr lang="en-US"/>
              <a:t>Click to add title</a:t>
            </a:r>
            <a:endParaRPr lang="en-GB"/>
          </a:p>
        </p:txBody>
      </p:sp>
      <p:sp>
        <p:nvSpPr>
          <p:cNvPr id="35" name="Picture Placeholder 34">
            <a:extLst>
              <a:ext uri="{FF2B5EF4-FFF2-40B4-BE49-F238E27FC236}">
                <a16:creationId xmlns:a16="http://schemas.microsoft.com/office/drawing/2014/main" id="{CED56BC5-AA9A-B7BD-B894-8C188FB05DFC}"/>
              </a:ext>
            </a:extLst>
          </p:cNvPr>
          <p:cNvSpPr>
            <a:spLocks noGrp="1" noChangeAspect="1"/>
          </p:cNvSpPr>
          <p:nvPr>
            <p:ph type="pic" sz="quarter" idx="10"/>
          </p:nvPr>
        </p:nvSpPr>
        <p:spPr>
          <a:xfrm>
            <a:off x="8949600" y="1306800"/>
            <a:ext cx="2898914" cy="2905611"/>
          </a:xfrm>
          <a:custGeom>
            <a:avLst/>
            <a:gdLst>
              <a:gd name="connsiteX0" fmla="*/ 1979909 w 2898914"/>
              <a:gd name="connsiteY0" fmla="*/ 0 h 2905611"/>
              <a:gd name="connsiteX1" fmla="*/ 2669401 w 2898914"/>
              <a:gd name="connsiteY1" fmla="*/ 430461 h 2905611"/>
              <a:gd name="connsiteX2" fmla="*/ 2898914 w 2898914"/>
              <a:gd name="connsiteY2" fmla="*/ 1413283 h 2905611"/>
              <a:gd name="connsiteX3" fmla="*/ 2669401 w 2898914"/>
              <a:gd name="connsiteY3" fmla="*/ 2415152 h 2905611"/>
              <a:gd name="connsiteX4" fmla="*/ 1979909 w 2898914"/>
              <a:gd name="connsiteY4" fmla="*/ 2905611 h 2905611"/>
              <a:gd name="connsiteX5" fmla="*/ 918053 w 2898914"/>
              <a:gd name="connsiteY5" fmla="*/ 2837042 h 2905611"/>
              <a:gd name="connsiteX6" fmla="*/ 383792 w 2898914"/>
              <a:gd name="connsiteY6" fmla="*/ 2600860 h 2905611"/>
              <a:gd name="connsiteX7" fmla="*/ 0 w 2898914"/>
              <a:gd name="connsiteY7" fmla="*/ 1833268 h 2905611"/>
              <a:gd name="connsiteX8" fmla="*/ 0 w 2898914"/>
              <a:gd name="connsiteY8" fmla="*/ 1063772 h 2905611"/>
              <a:gd name="connsiteX9" fmla="*/ 624733 w 2898914"/>
              <a:gd name="connsiteY9" fmla="*/ 130472 h 29056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98914" h="2905611">
                <a:moveTo>
                  <a:pt x="1979909" y="0"/>
                </a:moveTo>
                <a:lnTo>
                  <a:pt x="2669401" y="430461"/>
                </a:lnTo>
                <a:lnTo>
                  <a:pt x="2898914" y="1413283"/>
                </a:lnTo>
                <a:lnTo>
                  <a:pt x="2669401" y="2415152"/>
                </a:lnTo>
                <a:lnTo>
                  <a:pt x="1979909" y="2905611"/>
                </a:lnTo>
                <a:lnTo>
                  <a:pt x="918053" y="2837042"/>
                </a:lnTo>
                <a:lnTo>
                  <a:pt x="383792" y="2600860"/>
                </a:lnTo>
                <a:lnTo>
                  <a:pt x="0" y="1833268"/>
                </a:lnTo>
                <a:lnTo>
                  <a:pt x="0" y="1063772"/>
                </a:lnTo>
                <a:lnTo>
                  <a:pt x="624733" y="130472"/>
                </a:lnTo>
                <a:close/>
              </a:path>
            </a:pathLst>
          </a:custGeom>
          <a:solidFill>
            <a:schemeClr val="bg1">
              <a:lumMod val="95000"/>
            </a:schemeClr>
          </a:solidFill>
        </p:spPr>
        <p:txBody>
          <a:bodyPr wrap="square" anchor="ctr" anchorCtr="1">
            <a:noAutofit/>
          </a:bodyPr>
          <a:lstStyle>
            <a:lvl1pPr>
              <a:defRPr b="0"/>
            </a:lvl1pPr>
          </a:lstStyle>
          <a:p>
            <a:r>
              <a:rPr lang="en-GB"/>
              <a:t>Click icon to add picture</a:t>
            </a:r>
          </a:p>
        </p:txBody>
      </p:sp>
      <p:sp>
        <p:nvSpPr>
          <p:cNvPr id="36" name="Picture Placeholder 35">
            <a:extLst>
              <a:ext uri="{FF2B5EF4-FFF2-40B4-BE49-F238E27FC236}">
                <a16:creationId xmlns:a16="http://schemas.microsoft.com/office/drawing/2014/main" id="{4FA892A0-1A11-1B5D-8BEA-AC8857482791}"/>
              </a:ext>
            </a:extLst>
          </p:cNvPr>
          <p:cNvSpPr>
            <a:spLocks noGrp="1" noChangeAspect="1"/>
          </p:cNvSpPr>
          <p:nvPr>
            <p:ph type="pic" sz="quarter" idx="11"/>
          </p:nvPr>
        </p:nvSpPr>
        <p:spPr>
          <a:xfrm>
            <a:off x="6480000" y="3898800"/>
            <a:ext cx="3199793" cy="3191437"/>
          </a:xfrm>
          <a:custGeom>
            <a:avLst/>
            <a:gdLst>
              <a:gd name="connsiteX0" fmla="*/ 1639429 w 3199793"/>
              <a:gd name="connsiteY0" fmla="*/ 0 h 3191437"/>
              <a:gd name="connsiteX1" fmla="*/ 2751117 w 3199793"/>
              <a:gd name="connsiteY1" fmla="*/ 389641 h 3191437"/>
              <a:gd name="connsiteX2" fmla="*/ 3199793 w 3199793"/>
              <a:gd name="connsiteY2" fmla="*/ 1495689 h 3191437"/>
              <a:gd name="connsiteX3" fmla="*/ 2982599 w 3199793"/>
              <a:gd name="connsiteY3" fmla="*/ 2594114 h 3191437"/>
              <a:gd name="connsiteX4" fmla="*/ 1940452 w 3199793"/>
              <a:gd name="connsiteY4" fmla="*/ 3191437 h 3191437"/>
              <a:gd name="connsiteX5" fmla="*/ 565846 w 3199793"/>
              <a:gd name="connsiteY5" fmla="*/ 2984708 h 3191437"/>
              <a:gd name="connsiteX6" fmla="*/ 0 w 3199793"/>
              <a:gd name="connsiteY6" fmla="*/ 1993934 h 3191437"/>
              <a:gd name="connsiteX7" fmla="*/ 135270 w 3199793"/>
              <a:gd name="connsiteY7" fmla="*/ 1144154 h 3191437"/>
              <a:gd name="connsiteX8" fmla="*/ 453439 w 3199793"/>
              <a:gd name="connsiteY8" fmla="*/ 307712 h 3191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99793" h="3191437">
                <a:moveTo>
                  <a:pt x="1639429" y="0"/>
                </a:moveTo>
                <a:lnTo>
                  <a:pt x="2751117" y="389641"/>
                </a:lnTo>
                <a:lnTo>
                  <a:pt x="3199793" y="1495689"/>
                </a:lnTo>
                <a:lnTo>
                  <a:pt x="2982599" y="2594114"/>
                </a:lnTo>
                <a:lnTo>
                  <a:pt x="1940452" y="3191437"/>
                </a:lnTo>
                <a:lnTo>
                  <a:pt x="565846" y="2984708"/>
                </a:lnTo>
                <a:lnTo>
                  <a:pt x="0" y="1993934"/>
                </a:lnTo>
                <a:lnTo>
                  <a:pt x="135270" y="1144154"/>
                </a:lnTo>
                <a:lnTo>
                  <a:pt x="453439" y="307712"/>
                </a:lnTo>
                <a:close/>
              </a:path>
            </a:pathLst>
          </a:custGeom>
          <a:solidFill>
            <a:schemeClr val="bg1">
              <a:lumMod val="95000"/>
            </a:schemeClr>
          </a:solidFill>
        </p:spPr>
        <p:txBody>
          <a:bodyPr wrap="square" anchor="ctr" anchorCtr="1">
            <a:noAutofit/>
          </a:bodyPr>
          <a:lstStyle>
            <a:lvl1pPr>
              <a:defRPr b="0"/>
            </a:lvl1pPr>
          </a:lstStyle>
          <a:p>
            <a:r>
              <a:rPr lang="en-GB"/>
              <a:t>Click icon to add picture</a:t>
            </a:r>
          </a:p>
        </p:txBody>
      </p:sp>
      <p:sp>
        <p:nvSpPr>
          <p:cNvPr id="2" name="Freeform 22">
            <a:extLst>
              <a:ext uri="{FF2B5EF4-FFF2-40B4-BE49-F238E27FC236}">
                <a16:creationId xmlns:a16="http://schemas.microsoft.com/office/drawing/2014/main" id="{30E97FEB-DD82-37E3-C48C-EA87FB4F26A1}"/>
              </a:ext>
            </a:extLst>
          </p:cNvPr>
          <p:cNvSpPr>
            <a:spLocks noChangeAspect="1" noEditPoints="1"/>
          </p:cNvSpPr>
          <p:nvPr userDrawn="1"/>
        </p:nvSpPr>
        <p:spPr bwMode="auto">
          <a:xfrm>
            <a:off x="457200" y="442800"/>
            <a:ext cx="964800" cy="914400"/>
          </a:xfrm>
          <a:custGeom>
            <a:avLst/>
            <a:gdLst>
              <a:gd name="T0" fmla="*/ 791 w 1013"/>
              <a:gd name="T1" fmla="*/ 656 h 959"/>
              <a:gd name="T2" fmla="*/ 872 w 1013"/>
              <a:gd name="T3" fmla="*/ 922 h 959"/>
              <a:gd name="T4" fmla="*/ 791 w 1013"/>
              <a:gd name="T5" fmla="*/ 656 h 959"/>
              <a:gd name="T6" fmla="*/ 345 w 1013"/>
              <a:gd name="T7" fmla="*/ 262 h 959"/>
              <a:gd name="T8" fmla="*/ 435 w 1013"/>
              <a:gd name="T9" fmla="*/ 232 h 959"/>
              <a:gd name="T10" fmla="*/ 207 w 1013"/>
              <a:gd name="T11" fmla="*/ 73 h 959"/>
              <a:gd name="T12" fmla="*/ 345 w 1013"/>
              <a:gd name="T13" fmla="*/ 262 h 959"/>
              <a:gd name="T14" fmla="*/ 240 w 1013"/>
              <a:gd name="T15" fmla="*/ 583 h 959"/>
              <a:gd name="T16" fmla="*/ 159 w 1013"/>
              <a:gd name="T17" fmla="*/ 849 h 959"/>
              <a:gd name="T18" fmla="*/ 240 w 1013"/>
              <a:gd name="T19" fmla="*/ 583 h 959"/>
              <a:gd name="T20" fmla="*/ 495 w 1013"/>
              <a:gd name="T21" fmla="*/ 725 h 959"/>
              <a:gd name="T22" fmla="*/ 495 w 1013"/>
              <a:gd name="T23" fmla="*/ 959 h 959"/>
              <a:gd name="T24" fmla="*/ 586 w 1013"/>
              <a:gd name="T25" fmla="*/ 695 h 959"/>
              <a:gd name="T26" fmla="*/ 495 w 1013"/>
              <a:gd name="T27" fmla="*/ 725 h 959"/>
              <a:gd name="T28" fmla="*/ 207 w 1013"/>
              <a:gd name="T29" fmla="*/ 884 h 959"/>
              <a:gd name="T30" fmla="*/ 435 w 1013"/>
              <a:gd name="T31" fmla="*/ 725 h 959"/>
              <a:gd name="T32" fmla="*/ 207 w 1013"/>
              <a:gd name="T33" fmla="*/ 884 h 959"/>
              <a:gd name="T34" fmla="*/ 709 w 1013"/>
              <a:gd name="T35" fmla="*/ 526 h 959"/>
              <a:gd name="T36" fmla="*/ 931 w 1013"/>
              <a:gd name="T37" fmla="*/ 598 h 959"/>
              <a:gd name="T38" fmla="*/ 709 w 1013"/>
              <a:gd name="T39" fmla="*/ 431 h 959"/>
              <a:gd name="T40" fmla="*/ 709 w 1013"/>
              <a:gd name="T41" fmla="*/ 526 h 959"/>
              <a:gd name="T42" fmla="*/ 222 w 1013"/>
              <a:gd name="T43" fmla="*/ 431 h 959"/>
              <a:gd name="T44" fmla="*/ 0 w 1013"/>
              <a:gd name="T45" fmla="*/ 598 h 959"/>
              <a:gd name="T46" fmla="*/ 222 w 1013"/>
              <a:gd name="T47" fmla="*/ 431 h 959"/>
              <a:gd name="T48" fmla="*/ 690 w 1013"/>
              <a:gd name="T49" fmla="*/ 374 h 959"/>
              <a:gd name="T50" fmla="*/ 913 w 1013"/>
              <a:gd name="T51" fmla="*/ 302 h 959"/>
              <a:gd name="T52" fmla="*/ 634 w 1013"/>
              <a:gd name="T53" fmla="*/ 297 h 959"/>
              <a:gd name="T54" fmla="*/ 690 w 1013"/>
              <a:gd name="T55" fmla="*/ 374 h 959"/>
              <a:gd name="T56" fmla="*/ 296 w 1013"/>
              <a:gd name="T57" fmla="*/ 297 h 959"/>
              <a:gd name="T58" fmla="*/ 18 w 1013"/>
              <a:gd name="T59" fmla="*/ 302 h 959"/>
              <a:gd name="T60" fmla="*/ 296 w 1013"/>
              <a:gd name="T61" fmla="*/ 297 h 959"/>
              <a:gd name="T62" fmla="*/ 586 w 1013"/>
              <a:gd name="T63" fmla="*/ 262 h 959"/>
              <a:gd name="T64" fmla="*/ 495 w 1013"/>
              <a:gd name="T65" fmla="*/ 232 h 959"/>
              <a:gd name="T66" fmla="*/ 723 w 1013"/>
              <a:gd name="T67" fmla="*/ 73 h 9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13" h="959">
                <a:moveTo>
                  <a:pt x="791" y="656"/>
                </a:moveTo>
                <a:lnTo>
                  <a:pt x="791" y="656"/>
                </a:lnTo>
                <a:lnTo>
                  <a:pt x="735" y="733"/>
                </a:lnTo>
                <a:lnTo>
                  <a:pt x="872" y="922"/>
                </a:lnTo>
                <a:lnTo>
                  <a:pt x="1013" y="729"/>
                </a:lnTo>
                <a:lnTo>
                  <a:pt x="791" y="656"/>
                </a:lnTo>
                <a:lnTo>
                  <a:pt x="791" y="656"/>
                </a:lnTo>
                <a:close/>
                <a:moveTo>
                  <a:pt x="345" y="262"/>
                </a:moveTo>
                <a:lnTo>
                  <a:pt x="345" y="262"/>
                </a:lnTo>
                <a:lnTo>
                  <a:pt x="435" y="232"/>
                </a:lnTo>
                <a:lnTo>
                  <a:pt x="435" y="0"/>
                </a:lnTo>
                <a:lnTo>
                  <a:pt x="207" y="73"/>
                </a:lnTo>
                <a:lnTo>
                  <a:pt x="345" y="262"/>
                </a:lnTo>
                <a:lnTo>
                  <a:pt x="345" y="262"/>
                </a:lnTo>
                <a:close/>
                <a:moveTo>
                  <a:pt x="240" y="583"/>
                </a:moveTo>
                <a:lnTo>
                  <a:pt x="240" y="583"/>
                </a:lnTo>
                <a:lnTo>
                  <a:pt x="18" y="655"/>
                </a:lnTo>
                <a:lnTo>
                  <a:pt x="159" y="849"/>
                </a:lnTo>
                <a:lnTo>
                  <a:pt x="296" y="660"/>
                </a:lnTo>
                <a:lnTo>
                  <a:pt x="240" y="583"/>
                </a:lnTo>
                <a:lnTo>
                  <a:pt x="240" y="583"/>
                </a:lnTo>
                <a:close/>
                <a:moveTo>
                  <a:pt x="495" y="725"/>
                </a:moveTo>
                <a:lnTo>
                  <a:pt x="495" y="725"/>
                </a:lnTo>
                <a:lnTo>
                  <a:pt x="495" y="959"/>
                </a:lnTo>
                <a:lnTo>
                  <a:pt x="723" y="884"/>
                </a:lnTo>
                <a:lnTo>
                  <a:pt x="586" y="695"/>
                </a:lnTo>
                <a:lnTo>
                  <a:pt x="495" y="725"/>
                </a:lnTo>
                <a:lnTo>
                  <a:pt x="495" y="725"/>
                </a:lnTo>
                <a:close/>
                <a:moveTo>
                  <a:pt x="207" y="884"/>
                </a:moveTo>
                <a:lnTo>
                  <a:pt x="207" y="884"/>
                </a:lnTo>
                <a:lnTo>
                  <a:pt x="435" y="959"/>
                </a:lnTo>
                <a:lnTo>
                  <a:pt x="435" y="725"/>
                </a:lnTo>
                <a:lnTo>
                  <a:pt x="345" y="695"/>
                </a:lnTo>
                <a:lnTo>
                  <a:pt x="207" y="884"/>
                </a:lnTo>
                <a:lnTo>
                  <a:pt x="207" y="884"/>
                </a:lnTo>
                <a:close/>
                <a:moveTo>
                  <a:pt x="709" y="526"/>
                </a:moveTo>
                <a:lnTo>
                  <a:pt x="709" y="526"/>
                </a:lnTo>
                <a:lnTo>
                  <a:pt x="931" y="598"/>
                </a:lnTo>
                <a:lnTo>
                  <a:pt x="931" y="359"/>
                </a:lnTo>
                <a:lnTo>
                  <a:pt x="709" y="431"/>
                </a:lnTo>
                <a:lnTo>
                  <a:pt x="709" y="526"/>
                </a:lnTo>
                <a:lnTo>
                  <a:pt x="709" y="526"/>
                </a:lnTo>
                <a:close/>
                <a:moveTo>
                  <a:pt x="222" y="431"/>
                </a:moveTo>
                <a:lnTo>
                  <a:pt x="222" y="431"/>
                </a:lnTo>
                <a:lnTo>
                  <a:pt x="0" y="359"/>
                </a:lnTo>
                <a:lnTo>
                  <a:pt x="0" y="598"/>
                </a:lnTo>
                <a:lnTo>
                  <a:pt x="222" y="526"/>
                </a:lnTo>
                <a:lnTo>
                  <a:pt x="222" y="431"/>
                </a:lnTo>
                <a:lnTo>
                  <a:pt x="222" y="431"/>
                </a:lnTo>
                <a:close/>
                <a:moveTo>
                  <a:pt x="690" y="374"/>
                </a:moveTo>
                <a:lnTo>
                  <a:pt x="690" y="374"/>
                </a:lnTo>
                <a:lnTo>
                  <a:pt x="913" y="302"/>
                </a:lnTo>
                <a:lnTo>
                  <a:pt x="772" y="108"/>
                </a:lnTo>
                <a:lnTo>
                  <a:pt x="634" y="297"/>
                </a:lnTo>
                <a:lnTo>
                  <a:pt x="690" y="374"/>
                </a:lnTo>
                <a:lnTo>
                  <a:pt x="690" y="374"/>
                </a:lnTo>
                <a:close/>
                <a:moveTo>
                  <a:pt x="296" y="297"/>
                </a:moveTo>
                <a:lnTo>
                  <a:pt x="296" y="297"/>
                </a:lnTo>
                <a:lnTo>
                  <a:pt x="159" y="108"/>
                </a:lnTo>
                <a:lnTo>
                  <a:pt x="18" y="302"/>
                </a:lnTo>
                <a:lnTo>
                  <a:pt x="240" y="374"/>
                </a:lnTo>
                <a:lnTo>
                  <a:pt x="296" y="297"/>
                </a:lnTo>
                <a:lnTo>
                  <a:pt x="296" y="297"/>
                </a:lnTo>
                <a:close/>
                <a:moveTo>
                  <a:pt x="586" y="262"/>
                </a:moveTo>
                <a:lnTo>
                  <a:pt x="586" y="262"/>
                </a:lnTo>
                <a:lnTo>
                  <a:pt x="495" y="232"/>
                </a:lnTo>
                <a:lnTo>
                  <a:pt x="495" y="0"/>
                </a:lnTo>
                <a:lnTo>
                  <a:pt x="723" y="73"/>
                </a:lnTo>
                <a:lnTo>
                  <a:pt x="586" y="262"/>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pic>
        <p:nvPicPr>
          <p:cNvPr id="5" name="Picture 4" descr="A logo on a black background&#10;&#10;AI-generated content may be incorrect.">
            <a:extLst>
              <a:ext uri="{FF2B5EF4-FFF2-40B4-BE49-F238E27FC236}">
                <a16:creationId xmlns:a16="http://schemas.microsoft.com/office/drawing/2014/main" id="{E040DBA2-DCCB-2E4C-2B62-B28B9FD73E6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47991" y="5434641"/>
            <a:ext cx="5628173" cy="1330780"/>
          </a:xfrm>
          <a:prstGeom prst="rect">
            <a:avLst/>
          </a:prstGeom>
        </p:spPr>
      </p:pic>
    </p:spTree>
    <p:extLst>
      <p:ext uri="{BB962C8B-B14F-4D97-AF65-F5344CB8AC3E}">
        <p14:creationId xmlns:p14="http://schemas.microsoft.com/office/powerpoint/2010/main" val="413163457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15A1A9A-F62A-214A-A5A5-35C0300A3410}"/>
              </a:ext>
            </a:extLst>
          </p:cNvPr>
          <p:cNvPicPr>
            <a:picLocks noChangeAspect="1"/>
          </p:cNvPicPr>
          <p:nvPr userDrawn="1"/>
        </p:nvPicPr>
        <p:blipFill rotWithShape="1">
          <a:blip r:embed="rId2"/>
          <a:srcRect t="77254"/>
          <a:stretch/>
        </p:blipFill>
        <p:spPr>
          <a:xfrm>
            <a:off x="0" y="5313055"/>
            <a:ext cx="12192000" cy="1559449"/>
          </a:xfrm>
          <a:prstGeom prst="rect">
            <a:avLst/>
          </a:prstGeom>
        </p:spPr>
      </p:pic>
      <p:pic>
        <p:nvPicPr>
          <p:cNvPr id="11" name="Picture 10">
            <a:extLst>
              <a:ext uri="{FF2B5EF4-FFF2-40B4-BE49-F238E27FC236}">
                <a16:creationId xmlns:a16="http://schemas.microsoft.com/office/drawing/2014/main" id="{3E706B7B-1565-7948-A9FC-6D786E187B09}"/>
              </a:ext>
            </a:extLst>
          </p:cNvPr>
          <p:cNvPicPr>
            <a:picLocks noChangeAspect="1"/>
          </p:cNvPicPr>
          <p:nvPr userDrawn="1"/>
        </p:nvPicPr>
        <p:blipFill>
          <a:blip r:embed="rId3"/>
          <a:stretch>
            <a:fillRect/>
          </a:stretch>
        </p:blipFill>
        <p:spPr>
          <a:xfrm>
            <a:off x="15498" y="5945349"/>
            <a:ext cx="1983783" cy="690557"/>
          </a:xfrm>
          <a:prstGeom prst="rect">
            <a:avLst/>
          </a:prstGeom>
        </p:spPr>
      </p:pic>
    </p:spTree>
    <p:extLst>
      <p:ext uri="{BB962C8B-B14F-4D97-AF65-F5344CB8AC3E}">
        <p14:creationId xmlns:p14="http://schemas.microsoft.com/office/powerpoint/2010/main" val="196704409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6EDCCF-7338-4300-B7BD-2122714E262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675FFCA2-63AD-418B-8BA3-B7B2907F881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3A8F2CFA-C32A-464B-B1F1-A0BB3C5745AA}"/>
              </a:ext>
            </a:extLst>
          </p:cNvPr>
          <p:cNvSpPr>
            <a:spLocks noGrp="1"/>
          </p:cNvSpPr>
          <p:nvPr>
            <p:ph type="dt" sz="half" idx="10"/>
          </p:nvPr>
        </p:nvSpPr>
        <p:spPr/>
        <p:txBody>
          <a:bodyPr/>
          <a:lstStyle/>
          <a:p>
            <a:fld id="{AF445922-562A-4E51-A00C-7E4F292EB7AF}" type="datetimeFigureOut">
              <a:rPr lang="en-GB" smtClean="0"/>
              <a:t>30/03/2026</a:t>
            </a:fld>
            <a:endParaRPr lang="en-GB"/>
          </a:p>
        </p:txBody>
      </p:sp>
      <p:sp>
        <p:nvSpPr>
          <p:cNvPr id="5" name="Footer Placeholder 4">
            <a:extLst>
              <a:ext uri="{FF2B5EF4-FFF2-40B4-BE49-F238E27FC236}">
                <a16:creationId xmlns:a16="http://schemas.microsoft.com/office/drawing/2014/main" id="{3DF5D4DB-D551-4B63-A018-ABEBC81A5751}"/>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610A3068-0DD4-4CC9-9E54-9F3463296A95}"/>
              </a:ext>
            </a:extLst>
          </p:cNvPr>
          <p:cNvSpPr>
            <a:spLocks noGrp="1"/>
          </p:cNvSpPr>
          <p:nvPr>
            <p:ph type="sldNum" sz="quarter" idx="12"/>
          </p:nvPr>
        </p:nvSpPr>
        <p:spPr/>
        <p:txBody>
          <a:bodyPr/>
          <a:lstStyle/>
          <a:p>
            <a:fld id="{DA8D74DB-ACF9-4D44-B516-B20BC482378A}" type="slidenum">
              <a:rPr lang="en-GB" smtClean="0"/>
              <a:t>‹#›</a:t>
            </a:fld>
            <a:endParaRPr lang="en-GB"/>
          </a:p>
        </p:txBody>
      </p:sp>
    </p:spTree>
    <p:extLst>
      <p:ext uri="{BB962C8B-B14F-4D97-AF65-F5344CB8AC3E}">
        <p14:creationId xmlns:p14="http://schemas.microsoft.com/office/powerpoint/2010/main" val="296966935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1C10F2E-C04B-ED45-9189-C27D66529F68}"/>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C1CE323C-20F6-6144-AF65-D545112533CF}"/>
              </a:ext>
            </a:extLst>
          </p:cNvPr>
          <p:cNvSpPr>
            <a:spLocks noGrp="1"/>
          </p:cNvSpPr>
          <p:nvPr>
            <p:ph type="title"/>
          </p:nvPr>
        </p:nvSpPr>
        <p:spPr>
          <a:xfrm>
            <a:off x="763044" y="2193925"/>
            <a:ext cx="4936299" cy="1325563"/>
          </a:xfrm>
        </p:spPr>
        <p:txBody>
          <a:bodyPr/>
          <a:lstStyle>
            <a:lvl1pPr>
              <a:defRPr>
                <a:solidFill>
                  <a:srgbClr val="F6F6F6"/>
                </a:solidFill>
              </a:defRPr>
            </a:lvl1pPr>
          </a:lstStyle>
          <a:p>
            <a:r>
              <a:rPr lang="en-GB"/>
              <a:t>Click to edit Master title style</a:t>
            </a:r>
            <a:endParaRPr lang="en-US"/>
          </a:p>
        </p:txBody>
      </p:sp>
      <p:sp>
        <p:nvSpPr>
          <p:cNvPr id="3" name="Slide Number Placeholder 2">
            <a:extLst>
              <a:ext uri="{FF2B5EF4-FFF2-40B4-BE49-F238E27FC236}">
                <a16:creationId xmlns:a16="http://schemas.microsoft.com/office/drawing/2014/main" id="{DB7729A6-58C9-9949-997D-8861E8E77559}"/>
              </a:ext>
            </a:extLst>
          </p:cNvPr>
          <p:cNvSpPr>
            <a:spLocks noGrp="1"/>
          </p:cNvSpPr>
          <p:nvPr>
            <p:ph type="sldNum" sz="quarter" idx="10"/>
          </p:nvPr>
        </p:nvSpPr>
        <p:spPr/>
        <p:txBody>
          <a:bodyPr/>
          <a:lstStyle/>
          <a:p>
            <a:pPr algn="l"/>
            <a:fld id="{617D90F0-DA80-5145-B5BC-962393EBAEF1}" type="slidenum">
              <a:rPr lang="en-US" smtClean="0"/>
              <a:pPr algn="l"/>
              <a:t>‹#›</a:t>
            </a:fld>
            <a:endParaRPr lang="en-US"/>
          </a:p>
        </p:txBody>
      </p:sp>
      <p:pic>
        <p:nvPicPr>
          <p:cNvPr id="6" name="Picture 5">
            <a:extLst>
              <a:ext uri="{FF2B5EF4-FFF2-40B4-BE49-F238E27FC236}">
                <a16:creationId xmlns:a16="http://schemas.microsoft.com/office/drawing/2014/main" id="{D6E955C3-873F-844E-A711-C0B893482525}"/>
              </a:ext>
            </a:extLst>
          </p:cNvPr>
          <p:cNvPicPr>
            <a:picLocks noChangeAspect="1"/>
          </p:cNvPicPr>
          <p:nvPr userDrawn="1"/>
        </p:nvPicPr>
        <p:blipFill>
          <a:blip r:embed="rId3"/>
          <a:stretch>
            <a:fillRect/>
          </a:stretch>
        </p:blipFill>
        <p:spPr>
          <a:xfrm>
            <a:off x="6237960" y="4970387"/>
            <a:ext cx="3832965" cy="1334260"/>
          </a:xfrm>
          <a:prstGeom prst="rect">
            <a:avLst/>
          </a:prstGeom>
        </p:spPr>
      </p:pic>
    </p:spTree>
    <p:extLst>
      <p:ext uri="{BB962C8B-B14F-4D97-AF65-F5344CB8AC3E}">
        <p14:creationId xmlns:p14="http://schemas.microsoft.com/office/powerpoint/2010/main" val="200924206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6EDCCF-7338-4300-B7BD-2122714E262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675FFCA2-63AD-418B-8BA3-B7B2907F881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3A8F2CFA-C32A-464B-B1F1-A0BB3C5745AA}"/>
              </a:ext>
            </a:extLst>
          </p:cNvPr>
          <p:cNvSpPr>
            <a:spLocks noGrp="1"/>
          </p:cNvSpPr>
          <p:nvPr>
            <p:ph type="dt" sz="half" idx="10"/>
          </p:nvPr>
        </p:nvSpPr>
        <p:spPr/>
        <p:txBody>
          <a:bodyPr/>
          <a:lstStyle/>
          <a:p>
            <a:fld id="{AF445922-562A-4E51-A00C-7E4F292EB7AF}" type="datetimeFigureOut">
              <a:rPr lang="en-GB" smtClean="0"/>
              <a:t>30/03/2026</a:t>
            </a:fld>
            <a:endParaRPr lang="en-GB"/>
          </a:p>
        </p:txBody>
      </p:sp>
      <p:sp>
        <p:nvSpPr>
          <p:cNvPr id="5" name="Footer Placeholder 4">
            <a:extLst>
              <a:ext uri="{FF2B5EF4-FFF2-40B4-BE49-F238E27FC236}">
                <a16:creationId xmlns:a16="http://schemas.microsoft.com/office/drawing/2014/main" id="{3DF5D4DB-D551-4B63-A018-ABEBC81A5751}"/>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610A3068-0DD4-4CC9-9E54-9F3463296A95}"/>
              </a:ext>
            </a:extLst>
          </p:cNvPr>
          <p:cNvSpPr>
            <a:spLocks noGrp="1"/>
          </p:cNvSpPr>
          <p:nvPr>
            <p:ph type="sldNum" sz="quarter" idx="12"/>
          </p:nvPr>
        </p:nvSpPr>
        <p:spPr/>
        <p:txBody>
          <a:bodyPr/>
          <a:lstStyle/>
          <a:p>
            <a:fld id="{DA8D74DB-ACF9-4D44-B516-B20BC482378A}" type="slidenum">
              <a:rPr lang="en-GB" smtClean="0"/>
              <a:t>‹#›</a:t>
            </a:fld>
            <a:endParaRPr lang="en-GB"/>
          </a:p>
        </p:txBody>
      </p:sp>
    </p:spTree>
    <p:extLst>
      <p:ext uri="{BB962C8B-B14F-4D97-AF65-F5344CB8AC3E}">
        <p14:creationId xmlns:p14="http://schemas.microsoft.com/office/powerpoint/2010/main" val="282792684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C849E8-6B87-43AA-96A5-43F216A67B85}"/>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905652D3-C186-4D4F-8DC1-0C0B8029842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FA25DC7-3B8E-4EE2-A2D5-B343C87BF3BD}"/>
              </a:ext>
            </a:extLst>
          </p:cNvPr>
          <p:cNvSpPr>
            <a:spLocks noGrp="1"/>
          </p:cNvSpPr>
          <p:nvPr>
            <p:ph type="dt" sz="half" idx="10"/>
          </p:nvPr>
        </p:nvSpPr>
        <p:spPr/>
        <p:txBody>
          <a:bodyPr/>
          <a:lstStyle/>
          <a:p>
            <a:fld id="{AF445922-562A-4E51-A00C-7E4F292EB7AF}" type="datetimeFigureOut">
              <a:rPr lang="en-GB" smtClean="0"/>
              <a:t>30/03/2026</a:t>
            </a:fld>
            <a:endParaRPr lang="en-GB"/>
          </a:p>
        </p:txBody>
      </p:sp>
      <p:sp>
        <p:nvSpPr>
          <p:cNvPr id="5" name="Footer Placeholder 4">
            <a:extLst>
              <a:ext uri="{FF2B5EF4-FFF2-40B4-BE49-F238E27FC236}">
                <a16:creationId xmlns:a16="http://schemas.microsoft.com/office/drawing/2014/main" id="{FB7B7026-3E20-47AA-8C30-CE3E2E9F442E}"/>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772D7057-35BC-4CE8-9BA7-EF88F48D660A}"/>
              </a:ext>
            </a:extLst>
          </p:cNvPr>
          <p:cNvSpPr>
            <a:spLocks noGrp="1"/>
          </p:cNvSpPr>
          <p:nvPr>
            <p:ph type="sldNum" sz="quarter" idx="12"/>
          </p:nvPr>
        </p:nvSpPr>
        <p:spPr/>
        <p:txBody>
          <a:bodyPr/>
          <a:lstStyle/>
          <a:p>
            <a:fld id="{DA8D74DB-ACF9-4D44-B516-B20BC482378A}" type="slidenum">
              <a:rPr lang="en-GB" smtClean="0"/>
              <a:t>‹#›</a:t>
            </a:fld>
            <a:endParaRPr lang="en-GB"/>
          </a:p>
        </p:txBody>
      </p:sp>
    </p:spTree>
    <p:extLst>
      <p:ext uri="{BB962C8B-B14F-4D97-AF65-F5344CB8AC3E}">
        <p14:creationId xmlns:p14="http://schemas.microsoft.com/office/powerpoint/2010/main" val="245635507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48D519-DBE2-4CFB-AAB3-D34EEB850AC1}"/>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608D585B-9F45-4702-92B8-F1287881B27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C6278923-3607-48EA-906C-C5614B43D2E4}"/>
              </a:ext>
            </a:extLst>
          </p:cNvPr>
          <p:cNvSpPr>
            <a:spLocks noGrp="1"/>
          </p:cNvSpPr>
          <p:nvPr>
            <p:ph type="dt" sz="half" idx="10"/>
          </p:nvPr>
        </p:nvSpPr>
        <p:spPr/>
        <p:txBody>
          <a:bodyPr/>
          <a:lstStyle/>
          <a:p>
            <a:fld id="{AF445922-562A-4E51-A00C-7E4F292EB7AF}" type="datetimeFigureOut">
              <a:rPr lang="en-GB" smtClean="0"/>
              <a:t>30/03/2026</a:t>
            </a:fld>
            <a:endParaRPr lang="en-GB"/>
          </a:p>
        </p:txBody>
      </p:sp>
      <p:sp>
        <p:nvSpPr>
          <p:cNvPr id="5" name="Footer Placeholder 4">
            <a:extLst>
              <a:ext uri="{FF2B5EF4-FFF2-40B4-BE49-F238E27FC236}">
                <a16:creationId xmlns:a16="http://schemas.microsoft.com/office/drawing/2014/main" id="{4689837E-0D7B-45BF-B487-40F1AF17A5B8}"/>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7DDF0DC8-8238-4752-8C38-1D37EEAE6385}"/>
              </a:ext>
            </a:extLst>
          </p:cNvPr>
          <p:cNvSpPr>
            <a:spLocks noGrp="1"/>
          </p:cNvSpPr>
          <p:nvPr>
            <p:ph type="sldNum" sz="quarter" idx="12"/>
          </p:nvPr>
        </p:nvSpPr>
        <p:spPr/>
        <p:txBody>
          <a:bodyPr/>
          <a:lstStyle/>
          <a:p>
            <a:fld id="{DA8D74DB-ACF9-4D44-B516-B20BC482378A}" type="slidenum">
              <a:rPr lang="en-GB" smtClean="0"/>
              <a:t>‹#›</a:t>
            </a:fld>
            <a:endParaRPr lang="en-GB"/>
          </a:p>
        </p:txBody>
      </p:sp>
    </p:spTree>
    <p:extLst>
      <p:ext uri="{BB962C8B-B14F-4D97-AF65-F5344CB8AC3E}">
        <p14:creationId xmlns:p14="http://schemas.microsoft.com/office/powerpoint/2010/main" val="378863550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3199DF-6E44-40BB-AF85-A801E21C2102}"/>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01E58780-D3F5-4630-A873-16FB7819A14C}"/>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2DDAC791-099F-4493-8F65-8D36FF1FC6F6}"/>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7C34584F-4089-49C8-8E7A-1B2EE29AF288}"/>
              </a:ext>
            </a:extLst>
          </p:cNvPr>
          <p:cNvSpPr>
            <a:spLocks noGrp="1"/>
          </p:cNvSpPr>
          <p:nvPr>
            <p:ph type="dt" sz="half" idx="10"/>
          </p:nvPr>
        </p:nvSpPr>
        <p:spPr/>
        <p:txBody>
          <a:bodyPr/>
          <a:lstStyle/>
          <a:p>
            <a:fld id="{AF445922-562A-4E51-A00C-7E4F292EB7AF}" type="datetimeFigureOut">
              <a:rPr lang="en-GB" smtClean="0"/>
              <a:t>30/03/2026</a:t>
            </a:fld>
            <a:endParaRPr lang="en-GB"/>
          </a:p>
        </p:txBody>
      </p:sp>
      <p:sp>
        <p:nvSpPr>
          <p:cNvPr id="6" name="Footer Placeholder 5">
            <a:extLst>
              <a:ext uri="{FF2B5EF4-FFF2-40B4-BE49-F238E27FC236}">
                <a16:creationId xmlns:a16="http://schemas.microsoft.com/office/drawing/2014/main" id="{515E7FEF-69A5-446D-B7BE-D7B1FD295AE3}"/>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E19C0291-DAB2-4D3D-995C-BC52A247A900}"/>
              </a:ext>
            </a:extLst>
          </p:cNvPr>
          <p:cNvSpPr>
            <a:spLocks noGrp="1"/>
          </p:cNvSpPr>
          <p:nvPr>
            <p:ph type="sldNum" sz="quarter" idx="12"/>
          </p:nvPr>
        </p:nvSpPr>
        <p:spPr/>
        <p:txBody>
          <a:bodyPr/>
          <a:lstStyle/>
          <a:p>
            <a:fld id="{DA8D74DB-ACF9-4D44-B516-B20BC482378A}" type="slidenum">
              <a:rPr lang="en-GB" smtClean="0"/>
              <a:t>‹#›</a:t>
            </a:fld>
            <a:endParaRPr lang="en-GB"/>
          </a:p>
        </p:txBody>
      </p:sp>
    </p:spTree>
    <p:extLst>
      <p:ext uri="{BB962C8B-B14F-4D97-AF65-F5344CB8AC3E}">
        <p14:creationId xmlns:p14="http://schemas.microsoft.com/office/powerpoint/2010/main" val="168525746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16A48F-5733-4ACB-957D-49F6F17C01F8}"/>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1A8B3DCB-EDE1-4AEC-8D9F-7BDBDF7E3B9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9A963847-E1FD-415E-AE65-E11598D9035A}"/>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3F2037E4-067F-435C-AB78-79B483BB6B6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075D4DEF-AD2D-4F0E-9F6D-587A2D1C2C7A}"/>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D4776823-61A6-4C63-8EFB-6982C19EBB9E}"/>
              </a:ext>
            </a:extLst>
          </p:cNvPr>
          <p:cNvSpPr>
            <a:spLocks noGrp="1"/>
          </p:cNvSpPr>
          <p:nvPr>
            <p:ph type="dt" sz="half" idx="10"/>
          </p:nvPr>
        </p:nvSpPr>
        <p:spPr/>
        <p:txBody>
          <a:bodyPr/>
          <a:lstStyle/>
          <a:p>
            <a:fld id="{AF445922-562A-4E51-A00C-7E4F292EB7AF}" type="datetimeFigureOut">
              <a:rPr lang="en-GB" smtClean="0"/>
              <a:t>30/03/2026</a:t>
            </a:fld>
            <a:endParaRPr lang="en-GB"/>
          </a:p>
        </p:txBody>
      </p:sp>
      <p:sp>
        <p:nvSpPr>
          <p:cNvPr id="8" name="Footer Placeholder 7">
            <a:extLst>
              <a:ext uri="{FF2B5EF4-FFF2-40B4-BE49-F238E27FC236}">
                <a16:creationId xmlns:a16="http://schemas.microsoft.com/office/drawing/2014/main" id="{9F299305-19B8-43E8-B773-17175D986327}"/>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A89C8875-DD3E-4510-AF93-15AD88140D40}"/>
              </a:ext>
            </a:extLst>
          </p:cNvPr>
          <p:cNvSpPr>
            <a:spLocks noGrp="1"/>
          </p:cNvSpPr>
          <p:nvPr>
            <p:ph type="sldNum" sz="quarter" idx="12"/>
          </p:nvPr>
        </p:nvSpPr>
        <p:spPr/>
        <p:txBody>
          <a:bodyPr/>
          <a:lstStyle/>
          <a:p>
            <a:fld id="{DA8D74DB-ACF9-4D44-B516-B20BC482378A}" type="slidenum">
              <a:rPr lang="en-GB" smtClean="0"/>
              <a:t>‹#›</a:t>
            </a:fld>
            <a:endParaRPr lang="en-GB"/>
          </a:p>
        </p:txBody>
      </p:sp>
    </p:spTree>
    <p:extLst>
      <p:ext uri="{BB962C8B-B14F-4D97-AF65-F5344CB8AC3E}">
        <p14:creationId xmlns:p14="http://schemas.microsoft.com/office/powerpoint/2010/main" val="403515218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FD6266-6F46-4358-9942-A37B9D4BEAB9}"/>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8CB7FAC3-64BA-4605-9D21-64F7EF42EE19}"/>
              </a:ext>
            </a:extLst>
          </p:cNvPr>
          <p:cNvSpPr>
            <a:spLocks noGrp="1"/>
          </p:cNvSpPr>
          <p:nvPr>
            <p:ph type="dt" sz="half" idx="10"/>
          </p:nvPr>
        </p:nvSpPr>
        <p:spPr/>
        <p:txBody>
          <a:bodyPr/>
          <a:lstStyle/>
          <a:p>
            <a:fld id="{AF445922-562A-4E51-A00C-7E4F292EB7AF}" type="datetimeFigureOut">
              <a:rPr lang="en-GB" smtClean="0"/>
              <a:t>30/03/2026</a:t>
            </a:fld>
            <a:endParaRPr lang="en-GB"/>
          </a:p>
        </p:txBody>
      </p:sp>
      <p:sp>
        <p:nvSpPr>
          <p:cNvPr id="4" name="Footer Placeholder 3">
            <a:extLst>
              <a:ext uri="{FF2B5EF4-FFF2-40B4-BE49-F238E27FC236}">
                <a16:creationId xmlns:a16="http://schemas.microsoft.com/office/drawing/2014/main" id="{DFE42C01-3F6A-42E3-8CEE-EA6E5E96EFCB}"/>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B8E73FC7-09F6-4509-8088-A526AF2180D9}"/>
              </a:ext>
            </a:extLst>
          </p:cNvPr>
          <p:cNvSpPr>
            <a:spLocks noGrp="1"/>
          </p:cNvSpPr>
          <p:nvPr>
            <p:ph type="sldNum" sz="quarter" idx="12"/>
          </p:nvPr>
        </p:nvSpPr>
        <p:spPr/>
        <p:txBody>
          <a:bodyPr/>
          <a:lstStyle/>
          <a:p>
            <a:fld id="{DA8D74DB-ACF9-4D44-B516-B20BC482378A}" type="slidenum">
              <a:rPr lang="en-GB" smtClean="0"/>
              <a:t>‹#›</a:t>
            </a:fld>
            <a:endParaRPr lang="en-GB"/>
          </a:p>
        </p:txBody>
      </p:sp>
    </p:spTree>
    <p:extLst>
      <p:ext uri="{BB962C8B-B14F-4D97-AF65-F5344CB8AC3E}">
        <p14:creationId xmlns:p14="http://schemas.microsoft.com/office/powerpoint/2010/main" val="246152005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308D4CB-EAF6-4A59-9222-E1B3F7E21E75}"/>
              </a:ext>
            </a:extLst>
          </p:cNvPr>
          <p:cNvSpPr>
            <a:spLocks noGrp="1"/>
          </p:cNvSpPr>
          <p:nvPr>
            <p:ph type="dt" sz="half" idx="10"/>
          </p:nvPr>
        </p:nvSpPr>
        <p:spPr/>
        <p:txBody>
          <a:bodyPr/>
          <a:lstStyle/>
          <a:p>
            <a:fld id="{AF445922-562A-4E51-A00C-7E4F292EB7AF}" type="datetimeFigureOut">
              <a:rPr lang="en-GB" smtClean="0"/>
              <a:t>30/03/2026</a:t>
            </a:fld>
            <a:endParaRPr lang="en-GB"/>
          </a:p>
        </p:txBody>
      </p:sp>
      <p:sp>
        <p:nvSpPr>
          <p:cNvPr id="3" name="Footer Placeholder 2">
            <a:extLst>
              <a:ext uri="{FF2B5EF4-FFF2-40B4-BE49-F238E27FC236}">
                <a16:creationId xmlns:a16="http://schemas.microsoft.com/office/drawing/2014/main" id="{6240EDCB-D9A9-4AC1-A153-5904C45C6B0D}"/>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06021DDE-5175-4166-BC52-2BE63694E2F4}"/>
              </a:ext>
            </a:extLst>
          </p:cNvPr>
          <p:cNvSpPr>
            <a:spLocks noGrp="1"/>
          </p:cNvSpPr>
          <p:nvPr>
            <p:ph type="sldNum" sz="quarter" idx="12"/>
          </p:nvPr>
        </p:nvSpPr>
        <p:spPr/>
        <p:txBody>
          <a:bodyPr/>
          <a:lstStyle/>
          <a:p>
            <a:fld id="{DA8D74DB-ACF9-4D44-B516-B20BC482378A}" type="slidenum">
              <a:rPr lang="en-GB" smtClean="0"/>
              <a:t>‹#›</a:t>
            </a:fld>
            <a:endParaRPr lang="en-GB"/>
          </a:p>
        </p:txBody>
      </p:sp>
    </p:spTree>
    <p:extLst>
      <p:ext uri="{BB962C8B-B14F-4D97-AF65-F5344CB8AC3E}">
        <p14:creationId xmlns:p14="http://schemas.microsoft.com/office/powerpoint/2010/main" val="303420462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vB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5" name="Freeform 8">
            <a:extLst>
              <a:ext uri="{FF2B5EF4-FFF2-40B4-BE49-F238E27FC236}">
                <a16:creationId xmlns:a16="http://schemas.microsoft.com/office/drawing/2014/main" id="{532B9038-B13C-E0B4-03A6-46D18D37D62C}"/>
              </a:ext>
            </a:extLst>
          </p:cNvPr>
          <p:cNvSpPr>
            <a:spLocks noChangeAspect="1"/>
          </p:cNvSpPr>
          <p:nvPr userDrawn="1"/>
        </p:nvSpPr>
        <p:spPr bwMode="auto">
          <a:xfrm rot="297759">
            <a:off x="8471436" y="309217"/>
            <a:ext cx="1989517" cy="2274765"/>
          </a:xfrm>
          <a:custGeom>
            <a:avLst/>
            <a:gdLst>
              <a:gd name="T0" fmla="*/ 885 w 2088"/>
              <a:gd name="T1" fmla="*/ 1051 h 2388"/>
              <a:gd name="T2" fmla="*/ 957 w 2088"/>
              <a:gd name="T3" fmla="*/ 1133 h 2388"/>
              <a:gd name="T4" fmla="*/ 1054 w 2088"/>
              <a:gd name="T5" fmla="*/ 1243 h 2388"/>
              <a:gd name="T6" fmla="*/ 1114 w 2088"/>
              <a:gd name="T7" fmla="*/ 1310 h 2388"/>
              <a:gd name="T8" fmla="*/ 1155 w 2088"/>
              <a:gd name="T9" fmla="*/ 1366 h 2388"/>
              <a:gd name="T10" fmla="*/ 1196 w 2088"/>
              <a:gd name="T11" fmla="*/ 1406 h 2388"/>
              <a:gd name="T12" fmla="*/ 1226 w 2088"/>
              <a:gd name="T13" fmla="*/ 1440 h 2388"/>
              <a:gd name="T14" fmla="*/ 1271 w 2088"/>
              <a:gd name="T15" fmla="*/ 1489 h 2388"/>
              <a:gd name="T16" fmla="*/ 1327 w 2088"/>
              <a:gd name="T17" fmla="*/ 1559 h 2388"/>
              <a:gd name="T18" fmla="*/ 1417 w 2088"/>
              <a:gd name="T19" fmla="*/ 1653 h 2388"/>
              <a:gd name="T20" fmla="*/ 1470 w 2088"/>
              <a:gd name="T21" fmla="*/ 1713 h 2388"/>
              <a:gd name="T22" fmla="*/ 1550 w 2088"/>
              <a:gd name="T23" fmla="*/ 1804 h 2388"/>
              <a:gd name="T24" fmla="*/ 1592 w 2088"/>
              <a:gd name="T25" fmla="*/ 1853 h 2388"/>
              <a:gd name="T26" fmla="*/ 1626 w 2088"/>
              <a:gd name="T27" fmla="*/ 1892 h 2388"/>
              <a:gd name="T28" fmla="*/ 1673 w 2088"/>
              <a:gd name="T29" fmla="*/ 1947 h 2388"/>
              <a:gd name="T30" fmla="*/ 1721 w 2088"/>
              <a:gd name="T31" fmla="*/ 2006 h 2388"/>
              <a:gd name="T32" fmla="*/ 1801 w 2088"/>
              <a:gd name="T33" fmla="*/ 2096 h 2388"/>
              <a:gd name="T34" fmla="*/ 1830 w 2088"/>
              <a:gd name="T35" fmla="*/ 2132 h 2388"/>
              <a:gd name="T36" fmla="*/ 1872 w 2088"/>
              <a:gd name="T37" fmla="*/ 2182 h 2388"/>
              <a:gd name="T38" fmla="*/ 1920 w 2088"/>
              <a:gd name="T39" fmla="*/ 2239 h 2388"/>
              <a:gd name="T40" fmla="*/ 1959 w 2088"/>
              <a:gd name="T41" fmla="*/ 2276 h 2388"/>
              <a:gd name="T42" fmla="*/ 1999 w 2088"/>
              <a:gd name="T43" fmla="*/ 2318 h 2388"/>
              <a:gd name="T44" fmla="*/ 2081 w 2088"/>
              <a:gd name="T45" fmla="*/ 2364 h 2388"/>
              <a:gd name="T46" fmla="*/ 1856 w 2088"/>
              <a:gd name="T47" fmla="*/ 2089 h 2388"/>
              <a:gd name="T48" fmla="*/ 1713 w 2088"/>
              <a:gd name="T49" fmla="*/ 1928 h 2388"/>
              <a:gd name="T50" fmla="*/ 1649 w 2088"/>
              <a:gd name="T51" fmla="*/ 1854 h 2388"/>
              <a:gd name="T52" fmla="*/ 1583 w 2088"/>
              <a:gd name="T53" fmla="*/ 1774 h 2388"/>
              <a:gd name="T54" fmla="*/ 1532 w 2088"/>
              <a:gd name="T55" fmla="*/ 1711 h 2388"/>
              <a:gd name="T56" fmla="*/ 1473 w 2088"/>
              <a:gd name="T57" fmla="*/ 1646 h 2388"/>
              <a:gd name="T58" fmla="*/ 1267 w 2088"/>
              <a:gd name="T59" fmla="*/ 1412 h 2388"/>
              <a:gd name="T60" fmla="*/ 1206 w 2088"/>
              <a:gd name="T61" fmla="*/ 1344 h 2388"/>
              <a:gd name="T62" fmla="*/ 1125 w 2088"/>
              <a:gd name="T63" fmla="*/ 1251 h 2388"/>
              <a:gd name="T64" fmla="*/ 1057 w 2088"/>
              <a:gd name="T65" fmla="*/ 1178 h 2388"/>
              <a:gd name="T66" fmla="*/ 1009 w 2088"/>
              <a:gd name="T67" fmla="*/ 1118 h 2388"/>
              <a:gd name="T68" fmla="*/ 983 w 2088"/>
              <a:gd name="T69" fmla="*/ 1089 h 2388"/>
              <a:gd name="T70" fmla="*/ 943 w 2088"/>
              <a:gd name="T71" fmla="*/ 1042 h 2388"/>
              <a:gd name="T72" fmla="*/ 893 w 2088"/>
              <a:gd name="T73" fmla="*/ 984 h 2388"/>
              <a:gd name="T74" fmla="*/ 858 w 2088"/>
              <a:gd name="T75" fmla="*/ 944 h 2388"/>
              <a:gd name="T76" fmla="*/ 805 w 2088"/>
              <a:gd name="T77" fmla="*/ 885 h 2388"/>
              <a:gd name="T78" fmla="*/ 755 w 2088"/>
              <a:gd name="T79" fmla="*/ 827 h 2388"/>
              <a:gd name="T80" fmla="*/ 669 w 2088"/>
              <a:gd name="T81" fmla="*/ 736 h 2388"/>
              <a:gd name="T82" fmla="*/ 582 w 2088"/>
              <a:gd name="T83" fmla="*/ 639 h 2388"/>
              <a:gd name="T84" fmla="*/ 512 w 2088"/>
              <a:gd name="T85" fmla="*/ 557 h 2388"/>
              <a:gd name="T86" fmla="*/ 472 w 2088"/>
              <a:gd name="T87" fmla="*/ 508 h 2388"/>
              <a:gd name="T88" fmla="*/ 435 w 2088"/>
              <a:gd name="T89" fmla="*/ 465 h 2388"/>
              <a:gd name="T90" fmla="*/ 399 w 2088"/>
              <a:gd name="T91" fmla="*/ 421 h 2388"/>
              <a:gd name="T92" fmla="*/ 332 w 2088"/>
              <a:gd name="T93" fmla="*/ 345 h 2388"/>
              <a:gd name="T94" fmla="*/ 286 w 2088"/>
              <a:gd name="T95" fmla="*/ 291 h 2388"/>
              <a:gd name="T96" fmla="*/ 267 w 2088"/>
              <a:gd name="T97" fmla="*/ 265 h 2388"/>
              <a:gd name="T98" fmla="*/ 231 w 2088"/>
              <a:gd name="T99" fmla="*/ 228 h 2388"/>
              <a:gd name="T100" fmla="*/ 189 w 2088"/>
              <a:gd name="T101" fmla="*/ 177 h 2388"/>
              <a:gd name="T102" fmla="*/ 150 w 2088"/>
              <a:gd name="T103" fmla="*/ 133 h 2388"/>
              <a:gd name="T104" fmla="*/ 117 w 2088"/>
              <a:gd name="T105" fmla="*/ 102 h 2388"/>
              <a:gd name="T106" fmla="*/ 74 w 2088"/>
              <a:gd name="T107" fmla="*/ 50 h 2388"/>
              <a:gd name="T108" fmla="*/ 225 w 2088"/>
              <a:gd name="T109" fmla="*/ 295 h 2388"/>
              <a:gd name="T110" fmla="*/ 363 w 2088"/>
              <a:gd name="T111" fmla="*/ 453 h 2388"/>
              <a:gd name="T112" fmla="*/ 428 w 2088"/>
              <a:gd name="T113" fmla="*/ 526 h 2388"/>
              <a:gd name="T114" fmla="*/ 505 w 2088"/>
              <a:gd name="T115" fmla="*/ 613 h 2388"/>
              <a:gd name="T116" fmla="*/ 554 w 2088"/>
              <a:gd name="T117" fmla="*/ 675 h 2388"/>
              <a:gd name="T118" fmla="*/ 722 w 2088"/>
              <a:gd name="T119" fmla="*/ 866 h 2388"/>
              <a:gd name="T120" fmla="*/ 818 w 2088"/>
              <a:gd name="T121" fmla="*/ 976 h 2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088" h="2388">
                <a:moveTo>
                  <a:pt x="843" y="1003"/>
                </a:moveTo>
                <a:lnTo>
                  <a:pt x="843" y="1003"/>
                </a:lnTo>
                <a:cubicBezTo>
                  <a:pt x="843" y="1004"/>
                  <a:pt x="844" y="1004"/>
                  <a:pt x="845" y="1005"/>
                </a:cubicBezTo>
                <a:cubicBezTo>
                  <a:pt x="846" y="1007"/>
                  <a:pt x="847" y="1009"/>
                  <a:pt x="848" y="1012"/>
                </a:cubicBezTo>
                <a:cubicBezTo>
                  <a:pt x="849" y="1013"/>
                  <a:pt x="849" y="1014"/>
                  <a:pt x="850" y="1015"/>
                </a:cubicBezTo>
                <a:cubicBezTo>
                  <a:pt x="850" y="1016"/>
                  <a:pt x="851" y="1017"/>
                  <a:pt x="851" y="1018"/>
                </a:cubicBezTo>
                <a:cubicBezTo>
                  <a:pt x="852" y="1018"/>
                  <a:pt x="853" y="1018"/>
                  <a:pt x="854" y="1019"/>
                </a:cubicBezTo>
                <a:cubicBezTo>
                  <a:pt x="855" y="1019"/>
                  <a:pt x="856" y="1019"/>
                  <a:pt x="856" y="1020"/>
                </a:cubicBezTo>
                <a:cubicBezTo>
                  <a:pt x="857" y="1021"/>
                  <a:pt x="856" y="1022"/>
                  <a:pt x="856" y="1023"/>
                </a:cubicBezTo>
                <a:cubicBezTo>
                  <a:pt x="857" y="1024"/>
                  <a:pt x="858" y="1024"/>
                  <a:pt x="859" y="1024"/>
                </a:cubicBezTo>
                <a:cubicBezTo>
                  <a:pt x="859" y="1025"/>
                  <a:pt x="859" y="1025"/>
                  <a:pt x="859" y="1025"/>
                </a:cubicBezTo>
                <a:cubicBezTo>
                  <a:pt x="859" y="1026"/>
                  <a:pt x="859" y="1026"/>
                  <a:pt x="859" y="1027"/>
                </a:cubicBezTo>
                <a:cubicBezTo>
                  <a:pt x="859" y="1027"/>
                  <a:pt x="859" y="1027"/>
                  <a:pt x="859" y="1028"/>
                </a:cubicBezTo>
                <a:cubicBezTo>
                  <a:pt x="859" y="1028"/>
                  <a:pt x="859" y="1028"/>
                  <a:pt x="859" y="1028"/>
                </a:cubicBezTo>
                <a:cubicBezTo>
                  <a:pt x="860" y="1028"/>
                  <a:pt x="860" y="1029"/>
                  <a:pt x="860" y="1029"/>
                </a:cubicBezTo>
                <a:cubicBezTo>
                  <a:pt x="861" y="1030"/>
                  <a:pt x="862" y="1030"/>
                  <a:pt x="863" y="1031"/>
                </a:cubicBezTo>
                <a:cubicBezTo>
                  <a:pt x="863" y="1032"/>
                  <a:pt x="864" y="1033"/>
                  <a:pt x="865" y="1034"/>
                </a:cubicBezTo>
                <a:cubicBezTo>
                  <a:pt x="867" y="1035"/>
                  <a:pt x="869" y="1038"/>
                  <a:pt x="871" y="1039"/>
                </a:cubicBezTo>
                <a:cubicBezTo>
                  <a:pt x="872" y="1040"/>
                  <a:pt x="872" y="1038"/>
                  <a:pt x="873" y="1038"/>
                </a:cubicBezTo>
                <a:cubicBezTo>
                  <a:pt x="873" y="1037"/>
                  <a:pt x="874" y="1038"/>
                  <a:pt x="874" y="1038"/>
                </a:cubicBezTo>
                <a:cubicBezTo>
                  <a:pt x="874" y="1038"/>
                  <a:pt x="874" y="1039"/>
                  <a:pt x="875" y="1040"/>
                </a:cubicBezTo>
                <a:cubicBezTo>
                  <a:pt x="875" y="1040"/>
                  <a:pt x="876" y="1041"/>
                  <a:pt x="876" y="1041"/>
                </a:cubicBezTo>
                <a:cubicBezTo>
                  <a:pt x="878" y="1043"/>
                  <a:pt x="879" y="1045"/>
                  <a:pt x="880" y="1046"/>
                </a:cubicBezTo>
                <a:cubicBezTo>
                  <a:pt x="881" y="1047"/>
                  <a:pt x="882" y="1052"/>
                  <a:pt x="885" y="1051"/>
                </a:cubicBezTo>
                <a:cubicBezTo>
                  <a:pt x="885" y="1051"/>
                  <a:pt x="885" y="1051"/>
                  <a:pt x="885" y="1051"/>
                </a:cubicBezTo>
                <a:cubicBezTo>
                  <a:pt x="886" y="1050"/>
                  <a:pt x="887" y="1053"/>
                  <a:pt x="888" y="1053"/>
                </a:cubicBezTo>
                <a:cubicBezTo>
                  <a:pt x="893" y="1061"/>
                  <a:pt x="897" y="1066"/>
                  <a:pt x="904" y="1074"/>
                </a:cubicBezTo>
                <a:cubicBezTo>
                  <a:pt x="905" y="1076"/>
                  <a:pt x="908" y="1077"/>
                  <a:pt x="909" y="1079"/>
                </a:cubicBezTo>
                <a:cubicBezTo>
                  <a:pt x="909" y="1080"/>
                  <a:pt x="909" y="1080"/>
                  <a:pt x="909" y="1081"/>
                </a:cubicBezTo>
                <a:cubicBezTo>
                  <a:pt x="909" y="1082"/>
                  <a:pt x="910" y="1083"/>
                  <a:pt x="910" y="1084"/>
                </a:cubicBezTo>
                <a:cubicBezTo>
                  <a:pt x="911" y="1085"/>
                  <a:pt x="913" y="1086"/>
                  <a:pt x="913" y="1087"/>
                </a:cubicBezTo>
                <a:cubicBezTo>
                  <a:pt x="914" y="1088"/>
                  <a:pt x="913" y="1089"/>
                  <a:pt x="914" y="1090"/>
                </a:cubicBezTo>
                <a:cubicBezTo>
                  <a:pt x="914" y="1091"/>
                  <a:pt x="916" y="1091"/>
                  <a:pt x="917" y="1091"/>
                </a:cubicBezTo>
                <a:cubicBezTo>
                  <a:pt x="919" y="1091"/>
                  <a:pt x="919" y="1091"/>
                  <a:pt x="920" y="1093"/>
                </a:cubicBezTo>
                <a:cubicBezTo>
                  <a:pt x="921" y="1094"/>
                  <a:pt x="923" y="1095"/>
                  <a:pt x="924" y="1097"/>
                </a:cubicBezTo>
                <a:cubicBezTo>
                  <a:pt x="928" y="1100"/>
                  <a:pt x="931" y="1104"/>
                  <a:pt x="932" y="1105"/>
                </a:cubicBezTo>
                <a:cubicBezTo>
                  <a:pt x="932" y="1106"/>
                  <a:pt x="933" y="1106"/>
                  <a:pt x="933" y="1107"/>
                </a:cubicBezTo>
                <a:cubicBezTo>
                  <a:pt x="934" y="1108"/>
                  <a:pt x="933" y="1109"/>
                  <a:pt x="933" y="1109"/>
                </a:cubicBezTo>
                <a:cubicBezTo>
                  <a:pt x="933" y="1110"/>
                  <a:pt x="934" y="1111"/>
                  <a:pt x="934" y="1112"/>
                </a:cubicBezTo>
                <a:cubicBezTo>
                  <a:pt x="935" y="1113"/>
                  <a:pt x="936" y="1114"/>
                  <a:pt x="937" y="1116"/>
                </a:cubicBezTo>
                <a:cubicBezTo>
                  <a:pt x="937" y="1116"/>
                  <a:pt x="937" y="1116"/>
                  <a:pt x="938" y="1116"/>
                </a:cubicBezTo>
                <a:cubicBezTo>
                  <a:pt x="938" y="1117"/>
                  <a:pt x="939" y="1117"/>
                  <a:pt x="939" y="1117"/>
                </a:cubicBezTo>
                <a:cubicBezTo>
                  <a:pt x="942" y="1117"/>
                  <a:pt x="945" y="1120"/>
                  <a:pt x="946" y="1122"/>
                </a:cubicBezTo>
                <a:cubicBezTo>
                  <a:pt x="946" y="1124"/>
                  <a:pt x="948" y="1126"/>
                  <a:pt x="949" y="1127"/>
                </a:cubicBezTo>
                <a:cubicBezTo>
                  <a:pt x="949" y="1128"/>
                  <a:pt x="950" y="1128"/>
                  <a:pt x="951" y="1128"/>
                </a:cubicBezTo>
                <a:cubicBezTo>
                  <a:pt x="951" y="1128"/>
                  <a:pt x="951" y="1128"/>
                  <a:pt x="952" y="1128"/>
                </a:cubicBezTo>
                <a:cubicBezTo>
                  <a:pt x="953" y="1128"/>
                  <a:pt x="954" y="1129"/>
                  <a:pt x="955" y="1130"/>
                </a:cubicBezTo>
                <a:cubicBezTo>
                  <a:pt x="956" y="1131"/>
                  <a:pt x="956" y="1132"/>
                  <a:pt x="957" y="1133"/>
                </a:cubicBezTo>
                <a:cubicBezTo>
                  <a:pt x="958" y="1135"/>
                  <a:pt x="959" y="1136"/>
                  <a:pt x="960" y="1137"/>
                </a:cubicBezTo>
                <a:cubicBezTo>
                  <a:pt x="962" y="1139"/>
                  <a:pt x="963" y="1140"/>
                  <a:pt x="965" y="1142"/>
                </a:cubicBezTo>
                <a:cubicBezTo>
                  <a:pt x="970" y="1146"/>
                  <a:pt x="975" y="1152"/>
                  <a:pt x="976" y="1153"/>
                </a:cubicBezTo>
                <a:cubicBezTo>
                  <a:pt x="977" y="1154"/>
                  <a:pt x="979" y="1156"/>
                  <a:pt x="980" y="1157"/>
                </a:cubicBezTo>
                <a:cubicBezTo>
                  <a:pt x="980" y="1157"/>
                  <a:pt x="981" y="1157"/>
                  <a:pt x="981" y="1157"/>
                </a:cubicBezTo>
                <a:cubicBezTo>
                  <a:pt x="982" y="1158"/>
                  <a:pt x="982" y="1160"/>
                  <a:pt x="983" y="1161"/>
                </a:cubicBezTo>
                <a:cubicBezTo>
                  <a:pt x="983" y="1162"/>
                  <a:pt x="984" y="1163"/>
                  <a:pt x="985" y="1164"/>
                </a:cubicBezTo>
                <a:cubicBezTo>
                  <a:pt x="988" y="1167"/>
                  <a:pt x="990" y="1170"/>
                  <a:pt x="993" y="1172"/>
                </a:cubicBezTo>
                <a:cubicBezTo>
                  <a:pt x="995" y="1175"/>
                  <a:pt x="997" y="1177"/>
                  <a:pt x="999" y="1179"/>
                </a:cubicBezTo>
                <a:cubicBezTo>
                  <a:pt x="1000" y="1181"/>
                  <a:pt x="1002" y="1185"/>
                  <a:pt x="1004" y="1186"/>
                </a:cubicBezTo>
                <a:cubicBezTo>
                  <a:pt x="1005" y="1186"/>
                  <a:pt x="1005" y="1186"/>
                  <a:pt x="1006" y="1186"/>
                </a:cubicBezTo>
                <a:cubicBezTo>
                  <a:pt x="1006" y="1186"/>
                  <a:pt x="1006" y="1187"/>
                  <a:pt x="1006" y="1187"/>
                </a:cubicBezTo>
                <a:cubicBezTo>
                  <a:pt x="1007" y="1188"/>
                  <a:pt x="1007" y="1188"/>
                  <a:pt x="1008" y="1190"/>
                </a:cubicBezTo>
                <a:cubicBezTo>
                  <a:pt x="1008" y="1191"/>
                  <a:pt x="1009" y="1192"/>
                  <a:pt x="1009" y="1193"/>
                </a:cubicBezTo>
                <a:cubicBezTo>
                  <a:pt x="1011" y="1195"/>
                  <a:pt x="1013" y="1196"/>
                  <a:pt x="1014" y="1198"/>
                </a:cubicBezTo>
                <a:cubicBezTo>
                  <a:pt x="1016" y="1199"/>
                  <a:pt x="1017" y="1201"/>
                  <a:pt x="1019" y="1202"/>
                </a:cubicBezTo>
                <a:cubicBezTo>
                  <a:pt x="1019" y="1203"/>
                  <a:pt x="1020" y="1203"/>
                  <a:pt x="1020" y="1204"/>
                </a:cubicBezTo>
                <a:cubicBezTo>
                  <a:pt x="1021" y="1204"/>
                  <a:pt x="1022" y="1204"/>
                  <a:pt x="1023" y="1204"/>
                </a:cubicBezTo>
                <a:cubicBezTo>
                  <a:pt x="1024" y="1204"/>
                  <a:pt x="1024" y="1205"/>
                  <a:pt x="1024" y="1205"/>
                </a:cubicBezTo>
                <a:cubicBezTo>
                  <a:pt x="1027" y="1208"/>
                  <a:pt x="1029" y="1210"/>
                  <a:pt x="1031" y="1213"/>
                </a:cubicBezTo>
                <a:cubicBezTo>
                  <a:pt x="1034" y="1215"/>
                  <a:pt x="1035" y="1218"/>
                  <a:pt x="1037" y="1220"/>
                </a:cubicBezTo>
                <a:cubicBezTo>
                  <a:pt x="1039" y="1223"/>
                  <a:pt x="1042" y="1226"/>
                  <a:pt x="1044" y="1228"/>
                </a:cubicBezTo>
                <a:cubicBezTo>
                  <a:pt x="1046" y="1231"/>
                  <a:pt x="1046" y="1234"/>
                  <a:pt x="1048" y="1237"/>
                </a:cubicBezTo>
                <a:cubicBezTo>
                  <a:pt x="1050" y="1239"/>
                  <a:pt x="1052" y="1241"/>
                  <a:pt x="1054" y="1243"/>
                </a:cubicBezTo>
                <a:cubicBezTo>
                  <a:pt x="1055" y="1244"/>
                  <a:pt x="1056" y="1245"/>
                  <a:pt x="1057" y="1246"/>
                </a:cubicBezTo>
                <a:cubicBezTo>
                  <a:pt x="1058" y="1247"/>
                  <a:pt x="1059" y="1248"/>
                  <a:pt x="1060" y="1249"/>
                </a:cubicBezTo>
                <a:cubicBezTo>
                  <a:pt x="1060" y="1249"/>
                  <a:pt x="1060" y="1250"/>
                  <a:pt x="1060" y="1250"/>
                </a:cubicBezTo>
                <a:cubicBezTo>
                  <a:pt x="1061" y="1252"/>
                  <a:pt x="1063" y="1254"/>
                  <a:pt x="1064" y="1256"/>
                </a:cubicBezTo>
                <a:cubicBezTo>
                  <a:pt x="1066" y="1258"/>
                  <a:pt x="1068" y="1261"/>
                  <a:pt x="1069" y="1263"/>
                </a:cubicBezTo>
                <a:cubicBezTo>
                  <a:pt x="1070" y="1264"/>
                  <a:pt x="1072" y="1266"/>
                  <a:pt x="1073" y="1267"/>
                </a:cubicBezTo>
                <a:cubicBezTo>
                  <a:pt x="1075" y="1268"/>
                  <a:pt x="1076" y="1268"/>
                  <a:pt x="1077" y="1269"/>
                </a:cubicBezTo>
                <a:cubicBezTo>
                  <a:pt x="1077" y="1270"/>
                  <a:pt x="1077" y="1270"/>
                  <a:pt x="1078" y="1270"/>
                </a:cubicBezTo>
                <a:cubicBezTo>
                  <a:pt x="1078" y="1271"/>
                  <a:pt x="1078" y="1271"/>
                  <a:pt x="1079" y="1272"/>
                </a:cubicBezTo>
                <a:cubicBezTo>
                  <a:pt x="1080" y="1273"/>
                  <a:pt x="1081" y="1274"/>
                  <a:pt x="1083" y="1275"/>
                </a:cubicBezTo>
                <a:cubicBezTo>
                  <a:pt x="1083" y="1275"/>
                  <a:pt x="1083" y="1275"/>
                  <a:pt x="1084" y="1275"/>
                </a:cubicBezTo>
                <a:cubicBezTo>
                  <a:pt x="1084" y="1276"/>
                  <a:pt x="1084" y="1276"/>
                  <a:pt x="1085" y="1276"/>
                </a:cubicBezTo>
                <a:cubicBezTo>
                  <a:pt x="1086" y="1278"/>
                  <a:pt x="1088" y="1279"/>
                  <a:pt x="1088" y="1281"/>
                </a:cubicBezTo>
                <a:cubicBezTo>
                  <a:pt x="1089" y="1283"/>
                  <a:pt x="1091" y="1285"/>
                  <a:pt x="1092" y="1287"/>
                </a:cubicBezTo>
                <a:cubicBezTo>
                  <a:pt x="1093" y="1289"/>
                  <a:pt x="1094" y="1292"/>
                  <a:pt x="1096" y="1294"/>
                </a:cubicBezTo>
                <a:cubicBezTo>
                  <a:pt x="1097" y="1296"/>
                  <a:pt x="1099" y="1297"/>
                  <a:pt x="1100" y="1298"/>
                </a:cubicBezTo>
                <a:cubicBezTo>
                  <a:pt x="1101" y="1298"/>
                  <a:pt x="1101" y="1299"/>
                  <a:pt x="1101" y="1299"/>
                </a:cubicBezTo>
                <a:cubicBezTo>
                  <a:pt x="1101" y="1299"/>
                  <a:pt x="1101" y="1299"/>
                  <a:pt x="1101" y="1300"/>
                </a:cubicBezTo>
                <a:cubicBezTo>
                  <a:pt x="1101" y="1300"/>
                  <a:pt x="1102" y="1300"/>
                  <a:pt x="1102" y="1301"/>
                </a:cubicBezTo>
                <a:cubicBezTo>
                  <a:pt x="1103" y="1302"/>
                  <a:pt x="1104" y="1304"/>
                  <a:pt x="1105" y="1305"/>
                </a:cubicBezTo>
                <a:cubicBezTo>
                  <a:pt x="1105" y="1306"/>
                  <a:pt x="1106" y="1307"/>
                  <a:pt x="1107" y="1308"/>
                </a:cubicBezTo>
                <a:cubicBezTo>
                  <a:pt x="1107" y="1308"/>
                  <a:pt x="1108" y="1309"/>
                  <a:pt x="1109" y="1309"/>
                </a:cubicBezTo>
                <a:cubicBezTo>
                  <a:pt x="1110" y="1310"/>
                  <a:pt x="1109" y="1308"/>
                  <a:pt x="1110" y="1307"/>
                </a:cubicBezTo>
                <a:cubicBezTo>
                  <a:pt x="1112" y="1307"/>
                  <a:pt x="1113" y="1309"/>
                  <a:pt x="1114" y="1310"/>
                </a:cubicBezTo>
                <a:cubicBezTo>
                  <a:pt x="1115" y="1311"/>
                  <a:pt x="1116" y="1313"/>
                  <a:pt x="1117" y="1314"/>
                </a:cubicBezTo>
                <a:cubicBezTo>
                  <a:pt x="1118" y="1316"/>
                  <a:pt x="1120" y="1317"/>
                  <a:pt x="1121" y="1319"/>
                </a:cubicBezTo>
                <a:cubicBezTo>
                  <a:pt x="1122" y="1320"/>
                  <a:pt x="1123" y="1320"/>
                  <a:pt x="1122" y="1322"/>
                </a:cubicBezTo>
                <a:cubicBezTo>
                  <a:pt x="1121" y="1323"/>
                  <a:pt x="1121" y="1324"/>
                  <a:pt x="1122" y="1325"/>
                </a:cubicBezTo>
                <a:cubicBezTo>
                  <a:pt x="1122" y="1325"/>
                  <a:pt x="1122" y="1325"/>
                  <a:pt x="1122" y="1325"/>
                </a:cubicBezTo>
                <a:cubicBezTo>
                  <a:pt x="1123" y="1325"/>
                  <a:pt x="1123" y="1326"/>
                  <a:pt x="1123" y="1326"/>
                </a:cubicBezTo>
                <a:cubicBezTo>
                  <a:pt x="1123" y="1326"/>
                  <a:pt x="1123" y="1327"/>
                  <a:pt x="1123" y="1327"/>
                </a:cubicBezTo>
                <a:cubicBezTo>
                  <a:pt x="1124" y="1328"/>
                  <a:pt x="1124" y="1328"/>
                  <a:pt x="1125" y="1329"/>
                </a:cubicBezTo>
                <a:cubicBezTo>
                  <a:pt x="1125" y="1329"/>
                  <a:pt x="1125" y="1329"/>
                  <a:pt x="1125" y="1329"/>
                </a:cubicBezTo>
                <a:cubicBezTo>
                  <a:pt x="1126" y="1330"/>
                  <a:pt x="1126" y="1330"/>
                  <a:pt x="1126" y="1330"/>
                </a:cubicBezTo>
                <a:cubicBezTo>
                  <a:pt x="1126" y="1331"/>
                  <a:pt x="1127" y="1332"/>
                  <a:pt x="1128" y="1333"/>
                </a:cubicBezTo>
                <a:cubicBezTo>
                  <a:pt x="1129" y="1334"/>
                  <a:pt x="1131" y="1335"/>
                  <a:pt x="1132" y="1337"/>
                </a:cubicBezTo>
                <a:cubicBezTo>
                  <a:pt x="1133" y="1338"/>
                  <a:pt x="1134" y="1340"/>
                  <a:pt x="1135" y="1341"/>
                </a:cubicBezTo>
                <a:cubicBezTo>
                  <a:pt x="1135" y="1342"/>
                  <a:pt x="1136" y="1343"/>
                  <a:pt x="1136" y="1343"/>
                </a:cubicBezTo>
                <a:cubicBezTo>
                  <a:pt x="1137" y="1343"/>
                  <a:pt x="1137" y="1344"/>
                  <a:pt x="1138" y="1344"/>
                </a:cubicBezTo>
                <a:cubicBezTo>
                  <a:pt x="1139" y="1345"/>
                  <a:pt x="1141" y="1346"/>
                  <a:pt x="1142" y="1348"/>
                </a:cubicBezTo>
                <a:cubicBezTo>
                  <a:pt x="1143" y="1349"/>
                  <a:pt x="1144" y="1350"/>
                  <a:pt x="1146" y="1351"/>
                </a:cubicBezTo>
                <a:cubicBezTo>
                  <a:pt x="1147" y="1352"/>
                  <a:pt x="1149" y="1353"/>
                  <a:pt x="1150" y="1355"/>
                </a:cubicBezTo>
                <a:cubicBezTo>
                  <a:pt x="1151" y="1356"/>
                  <a:pt x="1152" y="1358"/>
                  <a:pt x="1153" y="1359"/>
                </a:cubicBezTo>
                <a:cubicBezTo>
                  <a:pt x="1153" y="1360"/>
                  <a:pt x="1154" y="1361"/>
                  <a:pt x="1154" y="1362"/>
                </a:cubicBezTo>
                <a:cubicBezTo>
                  <a:pt x="1155" y="1362"/>
                  <a:pt x="1156" y="1363"/>
                  <a:pt x="1157" y="1364"/>
                </a:cubicBezTo>
                <a:cubicBezTo>
                  <a:pt x="1156" y="1364"/>
                  <a:pt x="1156" y="1364"/>
                  <a:pt x="1156" y="1364"/>
                </a:cubicBezTo>
                <a:cubicBezTo>
                  <a:pt x="1156" y="1364"/>
                  <a:pt x="1155" y="1364"/>
                  <a:pt x="1155" y="1365"/>
                </a:cubicBezTo>
                <a:cubicBezTo>
                  <a:pt x="1155" y="1365"/>
                  <a:pt x="1155" y="1365"/>
                  <a:pt x="1155" y="1366"/>
                </a:cubicBezTo>
                <a:cubicBezTo>
                  <a:pt x="1155" y="1366"/>
                  <a:pt x="1156" y="1366"/>
                  <a:pt x="1156" y="1366"/>
                </a:cubicBezTo>
                <a:cubicBezTo>
                  <a:pt x="1156" y="1366"/>
                  <a:pt x="1157" y="1366"/>
                  <a:pt x="1157" y="1366"/>
                </a:cubicBezTo>
                <a:cubicBezTo>
                  <a:pt x="1157" y="1367"/>
                  <a:pt x="1157" y="1367"/>
                  <a:pt x="1158" y="1367"/>
                </a:cubicBezTo>
                <a:cubicBezTo>
                  <a:pt x="1158" y="1367"/>
                  <a:pt x="1158" y="1367"/>
                  <a:pt x="1158" y="1367"/>
                </a:cubicBezTo>
                <a:cubicBezTo>
                  <a:pt x="1157" y="1368"/>
                  <a:pt x="1158" y="1368"/>
                  <a:pt x="1158" y="1368"/>
                </a:cubicBezTo>
                <a:cubicBezTo>
                  <a:pt x="1158" y="1368"/>
                  <a:pt x="1158" y="1368"/>
                  <a:pt x="1158" y="1368"/>
                </a:cubicBezTo>
                <a:cubicBezTo>
                  <a:pt x="1159" y="1369"/>
                  <a:pt x="1160" y="1370"/>
                  <a:pt x="1160" y="1370"/>
                </a:cubicBezTo>
                <a:cubicBezTo>
                  <a:pt x="1161" y="1371"/>
                  <a:pt x="1162" y="1373"/>
                  <a:pt x="1163" y="1374"/>
                </a:cubicBezTo>
                <a:cubicBezTo>
                  <a:pt x="1165" y="1377"/>
                  <a:pt x="1167" y="1379"/>
                  <a:pt x="1170" y="1381"/>
                </a:cubicBezTo>
                <a:cubicBezTo>
                  <a:pt x="1171" y="1383"/>
                  <a:pt x="1173" y="1384"/>
                  <a:pt x="1174" y="1385"/>
                </a:cubicBezTo>
                <a:cubicBezTo>
                  <a:pt x="1175" y="1385"/>
                  <a:pt x="1175" y="1386"/>
                  <a:pt x="1176" y="1386"/>
                </a:cubicBezTo>
                <a:cubicBezTo>
                  <a:pt x="1177" y="1387"/>
                  <a:pt x="1177" y="1387"/>
                  <a:pt x="1178" y="1388"/>
                </a:cubicBezTo>
                <a:cubicBezTo>
                  <a:pt x="1178" y="1388"/>
                  <a:pt x="1178" y="1388"/>
                  <a:pt x="1178" y="1388"/>
                </a:cubicBezTo>
                <a:cubicBezTo>
                  <a:pt x="1178" y="1388"/>
                  <a:pt x="1178" y="1389"/>
                  <a:pt x="1178" y="1389"/>
                </a:cubicBezTo>
                <a:cubicBezTo>
                  <a:pt x="1178" y="1390"/>
                  <a:pt x="1178" y="1390"/>
                  <a:pt x="1179" y="1391"/>
                </a:cubicBezTo>
                <a:cubicBezTo>
                  <a:pt x="1179" y="1391"/>
                  <a:pt x="1179" y="1392"/>
                  <a:pt x="1179" y="1392"/>
                </a:cubicBezTo>
                <a:cubicBezTo>
                  <a:pt x="1180" y="1392"/>
                  <a:pt x="1180" y="1392"/>
                  <a:pt x="1181" y="1392"/>
                </a:cubicBezTo>
                <a:cubicBezTo>
                  <a:pt x="1182" y="1392"/>
                  <a:pt x="1182" y="1392"/>
                  <a:pt x="1183" y="1392"/>
                </a:cubicBezTo>
                <a:cubicBezTo>
                  <a:pt x="1184" y="1393"/>
                  <a:pt x="1184" y="1393"/>
                  <a:pt x="1185" y="1393"/>
                </a:cubicBezTo>
                <a:cubicBezTo>
                  <a:pt x="1185" y="1394"/>
                  <a:pt x="1185" y="1395"/>
                  <a:pt x="1186" y="1396"/>
                </a:cubicBezTo>
                <a:cubicBezTo>
                  <a:pt x="1187" y="1397"/>
                  <a:pt x="1187" y="1396"/>
                  <a:pt x="1188" y="1396"/>
                </a:cubicBezTo>
                <a:cubicBezTo>
                  <a:pt x="1189" y="1397"/>
                  <a:pt x="1190" y="1399"/>
                  <a:pt x="1191" y="1399"/>
                </a:cubicBezTo>
                <a:cubicBezTo>
                  <a:pt x="1192" y="1401"/>
                  <a:pt x="1193" y="1402"/>
                  <a:pt x="1194" y="1404"/>
                </a:cubicBezTo>
                <a:cubicBezTo>
                  <a:pt x="1195" y="1404"/>
                  <a:pt x="1195" y="1405"/>
                  <a:pt x="1196" y="1406"/>
                </a:cubicBezTo>
                <a:cubicBezTo>
                  <a:pt x="1196" y="1407"/>
                  <a:pt x="1195" y="1408"/>
                  <a:pt x="1196" y="1408"/>
                </a:cubicBezTo>
                <a:cubicBezTo>
                  <a:pt x="1196" y="1409"/>
                  <a:pt x="1197" y="1410"/>
                  <a:pt x="1197" y="1410"/>
                </a:cubicBezTo>
                <a:cubicBezTo>
                  <a:pt x="1198" y="1410"/>
                  <a:pt x="1198" y="1409"/>
                  <a:pt x="1198" y="1409"/>
                </a:cubicBezTo>
                <a:cubicBezTo>
                  <a:pt x="1199" y="1409"/>
                  <a:pt x="1199" y="1410"/>
                  <a:pt x="1199" y="1410"/>
                </a:cubicBezTo>
                <a:cubicBezTo>
                  <a:pt x="1198" y="1411"/>
                  <a:pt x="1198" y="1411"/>
                  <a:pt x="1198" y="1411"/>
                </a:cubicBezTo>
                <a:cubicBezTo>
                  <a:pt x="1198" y="1412"/>
                  <a:pt x="1199" y="1412"/>
                  <a:pt x="1199" y="1412"/>
                </a:cubicBezTo>
                <a:cubicBezTo>
                  <a:pt x="1200" y="1412"/>
                  <a:pt x="1201" y="1412"/>
                  <a:pt x="1201" y="1412"/>
                </a:cubicBezTo>
                <a:cubicBezTo>
                  <a:pt x="1202" y="1412"/>
                  <a:pt x="1202" y="1413"/>
                  <a:pt x="1203" y="1413"/>
                </a:cubicBezTo>
                <a:cubicBezTo>
                  <a:pt x="1203" y="1414"/>
                  <a:pt x="1203" y="1414"/>
                  <a:pt x="1203" y="1414"/>
                </a:cubicBezTo>
                <a:cubicBezTo>
                  <a:pt x="1203" y="1415"/>
                  <a:pt x="1204" y="1416"/>
                  <a:pt x="1204" y="1417"/>
                </a:cubicBezTo>
                <a:cubicBezTo>
                  <a:pt x="1204" y="1417"/>
                  <a:pt x="1203" y="1418"/>
                  <a:pt x="1204" y="1419"/>
                </a:cubicBezTo>
                <a:cubicBezTo>
                  <a:pt x="1204" y="1419"/>
                  <a:pt x="1205" y="1420"/>
                  <a:pt x="1205" y="1420"/>
                </a:cubicBezTo>
                <a:cubicBezTo>
                  <a:pt x="1205" y="1420"/>
                  <a:pt x="1206" y="1421"/>
                  <a:pt x="1206" y="1421"/>
                </a:cubicBezTo>
                <a:cubicBezTo>
                  <a:pt x="1206" y="1421"/>
                  <a:pt x="1207" y="1421"/>
                  <a:pt x="1208" y="1421"/>
                </a:cubicBezTo>
                <a:cubicBezTo>
                  <a:pt x="1208" y="1421"/>
                  <a:pt x="1208" y="1421"/>
                  <a:pt x="1208" y="1421"/>
                </a:cubicBezTo>
                <a:cubicBezTo>
                  <a:pt x="1208" y="1421"/>
                  <a:pt x="1209" y="1421"/>
                  <a:pt x="1209" y="1421"/>
                </a:cubicBezTo>
                <a:cubicBezTo>
                  <a:pt x="1209" y="1421"/>
                  <a:pt x="1210" y="1421"/>
                  <a:pt x="1210" y="1422"/>
                </a:cubicBezTo>
                <a:cubicBezTo>
                  <a:pt x="1210" y="1422"/>
                  <a:pt x="1211" y="1422"/>
                  <a:pt x="1211" y="1423"/>
                </a:cubicBezTo>
                <a:cubicBezTo>
                  <a:pt x="1212" y="1423"/>
                  <a:pt x="1212" y="1424"/>
                  <a:pt x="1213" y="1425"/>
                </a:cubicBezTo>
                <a:cubicBezTo>
                  <a:pt x="1214" y="1426"/>
                  <a:pt x="1215" y="1428"/>
                  <a:pt x="1216" y="1429"/>
                </a:cubicBezTo>
                <a:cubicBezTo>
                  <a:pt x="1217" y="1430"/>
                  <a:pt x="1219" y="1433"/>
                  <a:pt x="1219" y="1435"/>
                </a:cubicBezTo>
                <a:cubicBezTo>
                  <a:pt x="1218" y="1435"/>
                  <a:pt x="1219" y="1436"/>
                  <a:pt x="1220" y="1437"/>
                </a:cubicBezTo>
                <a:cubicBezTo>
                  <a:pt x="1221" y="1438"/>
                  <a:pt x="1221" y="1439"/>
                  <a:pt x="1222" y="1439"/>
                </a:cubicBezTo>
                <a:cubicBezTo>
                  <a:pt x="1223" y="1440"/>
                  <a:pt x="1225" y="1439"/>
                  <a:pt x="1226" y="1440"/>
                </a:cubicBezTo>
                <a:cubicBezTo>
                  <a:pt x="1227" y="1440"/>
                  <a:pt x="1227" y="1442"/>
                  <a:pt x="1228" y="1443"/>
                </a:cubicBezTo>
                <a:cubicBezTo>
                  <a:pt x="1228" y="1444"/>
                  <a:pt x="1229" y="1445"/>
                  <a:pt x="1229" y="1447"/>
                </a:cubicBezTo>
                <a:cubicBezTo>
                  <a:pt x="1229" y="1448"/>
                  <a:pt x="1229" y="1449"/>
                  <a:pt x="1231" y="1449"/>
                </a:cubicBezTo>
                <a:cubicBezTo>
                  <a:pt x="1231" y="1449"/>
                  <a:pt x="1231" y="1449"/>
                  <a:pt x="1232" y="1449"/>
                </a:cubicBezTo>
                <a:cubicBezTo>
                  <a:pt x="1232" y="1449"/>
                  <a:pt x="1233" y="1449"/>
                  <a:pt x="1234" y="1449"/>
                </a:cubicBezTo>
                <a:cubicBezTo>
                  <a:pt x="1234" y="1450"/>
                  <a:pt x="1235" y="1451"/>
                  <a:pt x="1235" y="1451"/>
                </a:cubicBezTo>
                <a:cubicBezTo>
                  <a:pt x="1236" y="1452"/>
                  <a:pt x="1238" y="1454"/>
                  <a:pt x="1239" y="1454"/>
                </a:cubicBezTo>
                <a:cubicBezTo>
                  <a:pt x="1239" y="1454"/>
                  <a:pt x="1239" y="1454"/>
                  <a:pt x="1240" y="1454"/>
                </a:cubicBezTo>
                <a:cubicBezTo>
                  <a:pt x="1240" y="1455"/>
                  <a:pt x="1240" y="1455"/>
                  <a:pt x="1241" y="1455"/>
                </a:cubicBezTo>
                <a:cubicBezTo>
                  <a:pt x="1241" y="1456"/>
                  <a:pt x="1241" y="1456"/>
                  <a:pt x="1241" y="1456"/>
                </a:cubicBezTo>
                <a:cubicBezTo>
                  <a:pt x="1241" y="1456"/>
                  <a:pt x="1242" y="1457"/>
                  <a:pt x="1242" y="1457"/>
                </a:cubicBezTo>
                <a:cubicBezTo>
                  <a:pt x="1242" y="1457"/>
                  <a:pt x="1242" y="1458"/>
                  <a:pt x="1242" y="1458"/>
                </a:cubicBezTo>
                <a:cubicBezTo>
                  <a:pt x="1242" y="1459"/>
                  <a:pt x="1243" y="1460"/>
                  <a:pt x="1244" y="1461"/>
                </a:cubicBezTo>
                <a:cubicBezTo>
                  <a:pt x="1245" y="1462"/>
                  <a:pt x="1246" y="1463"/>
                  <a:pt x="1247" y="1465"/>
                </a:cubicBezTo>
                <a:cubicBezTo>
                  <a:pt x="1248" y="1466"/>
                  <a:pt x="1249" y="1467"/>
                  <a:pt x="1250" y="1468"/>
                </a:cubicBezTo>
                <a:cubicBezTo>
                  <a:pt x="1251" y="1468"/>
                  <a:pt x="1252" y="1469"/>
                  <a:pt x="1252" y="1469"/>
                </a:cubicBezTo>
                <a:cubicBezTo>
                  <a:pt x="1253" y="1469"/>
                  <a:pt x="1253" y="1470"/>
                  <a:pt x="1254" y="1470"/>
                </a:cubicBezTo>
                <a:cubicBezTo>
                  <a:pt x="1254" y="1470"/>
                  <a:pt x="1255" y="1470"/>
                  <a:pt x="1255" y="1471"/>
                </a:cubicBezTo>
                <a:cubicBezTo>
                  <a:pt x="1255" y="1471"/>
                  <a:pt x="1255" y="1471"/>
                  <a:pt x="1255" y="1471"/>
                </a:cubicBezTo>
                <a:cubicBezTo>
                  <a:pt x="1255" y="1472"/>
                  <a:pt x="1256" y="1472"/>
                  <a:pt x="1256" y="1472"/>
                </a:cubicBezTo>
                <a:cubicBezTo>
                  <a:pt x="1256" y="1472"/>
                  <a:pt x="1256" y="1472"/>
                  <a:pt x="1256" y="1473"/>
                </a:cubicBezTo>
                <a:cubicBezTo>
                  <a:pt x="1256" y="1474"/>
                  <a:pt x="1258" y="1475"/>
                  <a:pt x="1259" y="1476"/>
                </a:cubicBezTo>
                <a:cubicBezTo>
                  <a:pt x="1260" y="1477"/>
                  <a:pt x="1262" y="1479"/>
                  <a:pt x="1263" y="1480"/>
                </a:cubicBezTo>
                <a:cubicBezTo>
                  <a:pt x="1266" y="1483"/>
                  <a:pt x="1269" y="1486"/>
                  <a:pt x="1271" y="1489"/>
                </a:cubicBezTo>
                <a:cubicBezTo>
                  <a:pt x="1273" y="1491"/>
                  <a:pt x="1274" y="1492"/>
                  <a:pt x="1274" y="1494"/>
                </a:cubicBezTo>
                <a:cubicBezTo>
                  <a:pt x="1275" y="1495"/>
                  <a:pt x="1275" y="1496"/>
                  <a:pt x="1275" y="1496"/>
                </a:cubicBezTo>
                <a:cubicBezTo>
                  <a:pt x="1276" y="1497"/>
                  <a:pt x="1277" y="1496"/>
                  <a:pt x="1277" y="1497"/>
                </a:cubicBezTo>
                <a:cubicBezTo>
                  <a:pt x="1278" y="1497"/>
                  <a:pt x="1279" y="1499"/>
                  <a:pt x="1280" y="1500"/>
                </a:cubicBezTo>
                <a:cubicBezTo>
                  <a:pt x="1281" y="1502"/>
                  <a:pt x="1283" y="1503"/>
                  <a:pt x="1285" y="1506"/>
                </a:cubicBezTo>
                <a:cubicBezTo>
                  <a:pt x="1285" y="1506"/>
                  <a:pt x="1284" y="1506"/>
                  <a:pt x="1284" y="1507"/>
                </a:cubicBezTo>
                <a:cubicBezTo>
                  <a:pt x="1285" y="1508"/>
                  <a:pt x="1285" y="1508"/>
                  <a:pt x="1286" y="1509"/>
                </a:cubicBezTo>
                <a:cubicBezTo>
                  <a:pt x="1287" y="1509"/>
                  <a:pt x="1287" y="1510"/>
                  <a:pt x="1288" y="1510"/>
                </a:cubicBezTo>
                <a:cubicBezTo>
                  <a:pt x="1288" y="1510"/>
                  <a:pt x="1288" y="1509"/>
                  <a:pt x="1289" y="1509"/>
                </a:cubicBezTo>
                <a:cubicBezTo>
                  <a:pt x="1290" y="1509"/>
                  <a:pt x="1289" y="1510"/>
                  <a:pt x="1289" y="1510"/>
                </a:cubicBezTo>
                <a:cubicBezTo>
                  <a:pt x="1290" y="1511"/>
                  <a:pt x="1291" y="1511"/>
                  <a:pt x="1291" y="1512"/>
                </a:cubicBezTo>
                <a:cubicBezTo>
                  <a:pt x="1292" y="1513"/>
                  <a:pt x="1291" y="1515"/>
                  <a:pt x="1292" y="1516"/>
                </a:cubicBezTo>
                <a:cubicBezTo>
                  <a:pt x="1293" y="1516"/>
                  <a:pt x="1294" y="1516"/>
                  <a:pt x="1294" y="1516"/>
                </a:cubicBezTo>
                <a:cubicBezTo>
                  <a:pt x="1295" y="1517"/>
                  <a:pt x="1295" y="1518"/>
                  <a:pt x="1295" y="1518"/>
                </a:cubicBezTo>
                <a:cubicBezTo>
                  <a:pt x="1296" y="1519"/>
                  <a:pt x="1297" y="1518"/>
                  <a:pt x="1297" y="1519"/>
                </a:cubicBezTo>
                <a:cubicBezTo>
                  <a:pt x="1298" y="1519"/>
                  <a:pt x="1298" y="1519"/>
                  <a:pt x="1298" y="1520"/>
                </a:cubicBezTo>
                <a:cubicBezTo>
                  <a:pt x="1298" y="1520"/>
                  <a:pt x="1298" y="1521"/>
                  <a:pt x="1299" y="1521"/>
                </a:cubicBezTo>
                <a:cubicBezTo>
                  <a:pt x="1300" y="1522"/>
                  <a:pt x="1301" y="1523"/>
                  <a:pt x="1302" y="1525"/>
                </a:cubicBezTo>
                <a:cubicBezTo>
                  <a:pt x="1313" y="1536"/>
                  <a:pt x="1318" y="1542"/>
                  <a:pt x="1318" y="1542"/>
                </a:cubicBezTo>
                <a:cubicBezTo>
                  <a:pt x="1319" y="1542"/>
                  <a:pt x="1324" y="1548"/>
                  <a:pt x="1325" y="1550"/>
                </a:cubicBezTo>
                <a:cubicBezTo>
                  <a:pt x="1326" y="1552"/>
                  <a:pt x="1326" y="1554"/>
                  <a:pt x="1327" y="1555"/>
                </a:cubicBezTo>
                <a:cubicBezTo>
                  <a:pt x="1328" y="1556"/>
                  <a:pt x="1329" y="1557"/>
                  <a:pt x="1329" y="1557"/>
                </a:cubicBezTo>
                <a:cubicBezTo>
                  <a:pt x="1329" y="1558"/>
                  <a:pt x="1328" y="1558"/>
                  <a:pt x="1327" y="1558"/>
                </a:cubicBezTo>
                <a:cubicBezTo>
                  <a:pt x="1327" y="1558"/>
                  <a:pt x="1327" y="1558"/>
                  <a:pt x="1327" y="1559"/>
                </a:cubicBezTo>
                <a:cubicBezTo>
                  <a:pt x="1327" y="1559"/>
                  <a:pt x="1328" y="1559"/>
                  <a:pt x="1328" y="1560"/>
                </a:cubicBezTo>
                <a:cubicBezTo>
                  <a:pt x="1329" y="1560"/>
                  <a:pt x="1330" y="1561"/>
                  <a:pt x="1331" y="1561"/>
                </a:cubicBezTo>
                <a:cubicBezTo>
                  <a:pt x="1332" y="1562"/>
                  <a:pt x="1333" y="1563"/>
                  <a:pt x="1334" y="1564"/>
                </a:cubicBezTo>
                <a:cubicBezTo>
                  <a:pt x="1334" y="1564"/>
                  <a:pt x="1335" y="1564"/>
                  <a:pt x="1335" y="1565"/>
                </a:cubicBezTo>
                <a:cubicBezTo>
                  <a:pt x="1335" y="1565"/>
                  <a:pt x="1335" y="1566"/>
                  <a:pt x="1334" y="1566"/>
                </a:cubicBezTo>
                <a:cubicBezTo>
                  <a:pt x="1334" y="1567"/>
                  <a:pt x="1334" y="1568"/>
                  <a:pt x="1335" y="1568"/>
                </a:cubicBezTo>
                <a:cubicBezTo>
                  <a:pt x="1335" y="1568"/>
                  <a:pt x="1335" y="1568"/>
                  <a:pt x="1336" y="1568"/>
                </a:cubicBezTo>
                <a:cubicBezTo>
                  <a:pt x="1338" y="1567"/>
                  <a:pt x="1341" y="1570"/>
                  <a:pt x="1342" y="1572"/>
                </a:cubicBezTo>
                <a:cubicBezTo>
                  <a:pt x="1345" y="1575"/>
                  <a:pt x="1349" y="1579"/>
                  <a:pt x="1350" y="1580"/>
                </a:cubicBezTo>
                <a:cubicBezTo>
                  <a:pt x="1352" y="1582"/>
                  <a:pt x="1353" y="1584"/>
                  <a:pt x="1356" y="1585"/>
                </a:cubicBezTo>
                <a:cubicBezTo>
                  <a:pt x="1357" y="1585"/>
                  <a:pt x="1358" y="1586"/>
                  <a:pt x="1358" y="1588"/>
                </a:cubicBezTo>
                <a:cubicBezTo>
                  <a:pt x="1359" y="1589"/>
                  <a:pt x="1359" y="1590"/>
                  <a:pt x="1360" y="1591"/>
                </a:cubicBezTo>
                <a:cubicBezTo>
                  <a:pt x="1361" y="1592"/>
                  <a:pt x="1361" y="1593"/>
                  <a:pt x="1362" y="1593"/>
                </a:cubicBezTo>
                <a:cubicBezTo>
                  <a:pt x="1365" y="1596"/>
                  <a:pt x="1368" y="1599"/>
                  <a:pt x="1370" y="1602"/>
                </a:cubicBezTo>
                <a:cubicBezTo>
                  <a:pt x="1373" y="1605"/>
                  <a:pt x="1376" y="1608"/>
                  <a:pt x="1379" y="1611"/>
                </a:cubicBezTo>
                <a:cubicBezTo>
                  <a:pt x="1389" y="1622"/>
                  <a:pt x="1399" y="1634"/>
                  <a:pt x="1402" y="1637"/>
                </a:cubicBezTo>
                <a:cubicBezTo>
                  <a:pt x="1403" y="1638"/>
                  <a:pt x="1404" y="1639"/>
                  <a:pt x="1405" y="1640"/>
                </a:cubicBezTo>
                <a:cubicBezTo>
                  <a:pt x="1406" y="1641"/>
                  <a:pt x="1406" y="1643"/>
                  <a:pt x="1408" y="1643"/>
                </a:cubicBezTo>
                <a:cubicBezTo>
                  <a:pt x="1408" y="1643"/>
                  <a:pt x="1408" y="1643"/>
                  <a:pt x="1407" y="1643"/>
                </a:cubicBezTo>
                <a:cubicBezTo>
                  <a:pt x="1407" y="1644"/>
                  <a:pt x="1407" y="1644"/>
                  <a:pt x="1408" y="1645"/>
                </a:cubicBezTo>
                <a:cubicBezTo>
                  <a:pt x="1408" y="1645"/>
                  <a:pt x="1409" y="1645"/>
                  <a:pt x="1409" y="1645"/>
                </a:cubicBezTo>
                <a:cubicBezTo>
                  <a:pt x="1409" y="1645"/>
                  <a:pt x="1410" y="1645"/>
                  <a:pt x="1410" y="1645"/>
                </a:cubicBezTo>
                <a:cubicBezTo>
                  <a:pt x="1412" y="1646"/>
                  <a:pt x="1413" y="1648"/>
                  <a:pt x="1414" y="1650"/>
                </a:cubicBezTo>
                <a:cubicBezTo>
                  <a:pt x="1415" y="1651"/>
                  <a:pt x="1416" y="1653"/>
                  <a:pt x="1417" y="1653"/>
                </a:cubicBezTo>
                <a:cubicBezTo>
                  <a:pt x="1417" y="1653"/>
                  <a:pt x="1417" y="1653"/>
                  <a:pt x="1417" y="1653"/>
                </a:cubicBezTo>
                <a:cubicBezTo>
                  <a:pt x="1418" y="1654"/>
                  <a:pt x="1418" y="1654"/>
                  <a:pt x="1419" y="1654"/>
                </a:cubicBezTo>
                <a:cubicBezTo>
                  <a:pt x="1419" y="1654"/>
                  <a:pt x="1419" y="1654"/>
                  <a:pt x="1420" y="1654"/>
                </a:cubicBezTo>
                <a:cubicBezTo>
                  <a:pt x="1420" y="1655"/>
                  <a:pt x="1421" y="1656"/>
                  <a:pt x="1420" y="1656"/>
                </a:cubicBezTo>
                <a:cubicBezTo>
                  <a:pt x="1420" y="1657"/>
                  <a:pt x="1419" y="1657"/>
                  <a:pt x="1419" y="1657"/>
                </a:cubicBezTo>
                <a:cubicBezTo>
                  <a:pt x="1419" y="1657"/>
                  <a:pt x="1419" y="1657"/>
                  <a:pt x="1419" y="1658"/>
                </a:cubicBezTo>
                <a:cubicBezTo>
                  <a:pt x="1419" y="1658"/>
                  <a:pt x="1420" y="1658"/>
                  <a:pt x="1420" y="1658"/>
                </a:cubicBezTo>
                <a:cubicBezTo>
                  <a:pt x="1421" y="1659"/>
                  <a:pt x="1423" y="1660"/>
                  <a:pt x="1424" y="1661"/>
                </a:cubicBezTo>
                <a:cubicBezTo>
                  <a:pt x="1425" y="1662"/>
                  <a:pt x="1427" y="1664"/>
                  <a:pt x="1428" y="1665"/>
                </a:cubicBezTo>
                <a:cubicBezTo>
                  <a:pt x="1428" y="1666"/>
                  <a:pt x="1428" y="1666"/>
                  <a:pt x="1428" y="1666"/>
                </a:cubicBezTo>
                <a:cubicBezTo>
                  <a:pt x="1428" y="1667"/>
                  <a:pt x="1428" y="1667"/>
                  <a:pt x="1429" y="1667"/>
                </a:cubicBezTo>
                <a:cubicBezTo>
                  <a:pt x="1429" y="1668"/>
                  <a:pt x="1430" y="1670"/>
                  <a:pt x="1431" y="1670"/>
                </a:cubicBezTo>
                <a:cubicBezTo>
                  <a:pt x="1432" y="1671"/>
                  <a:pt x="1436" y="1675"/>
                  <a:pt x="1439" y="1679"/>
                </a:cubicBezTo>
                <a:cubicBezTo>
                  <a:pt x="1440" y="1680"/>
                  <a:pt x="1442" y="1681"/>
                  <a:pt x="1443" y="1683"/>
                </a:cubicBezTo>
                <a:cubicBezTo>
                  <a:pt x="1443" y="1684"/>
                  <a:pt x="1444" y="1685"/>
                  <a:pt x="1445" y="1685"/>
                </a:cubicBezTo>
                <a:cubicBezTo>
                  <a:pt x="1445" y="1685"/>
                  <a:pt x="1446" y="1685"/>
                  <a:pt x="1447" y="1685"/>
                </a:cubicBezTo>
                <a:cubicBezTo>
                  <a:pt x="1447" y="1686"/>
                  <a:pt x="1448" y="1686"/>
                  <a:pt x="1448" y="1687"/>
                </a:cubicBezTo>
                <a:cubicBezTo>
                  <a:pt x="1448" y="1687"/>
                  <a:pt x="1448" y="1688"/>
                  <a:pt x="1448" y="1688"/>
                </a:cubicBezTo>
                <a:cubicBezTo>
                  <a:pt x="1448" y="1689"/>
                  <a:pt x="1448" y="1689"/>
                  <a:pt x="1449" y="1690"/>
                </a:cubicBezTo>
                <a:cubicBezTo>
                  <a:pt x="1450" y="1691"/>
                  <a:pt x="1451" y="1692"/>
                  <a:pt x="1452" y="1693"/>
                </a:cubicBezTo>
                <a:cubicBezTo>
                  <a:pt x="1454" y="1695"/>
                  <a:pt x="1456" y="1698"/>
                  <a:pt x="1458" y="1700"/>
                </a:cubicBezTo>
                <a:cubicBezTo>
                  <a:pt x="1460" y="1702"/>
                  <a:pt x="1462" y="1705"/>
                  <a:pt x="1464" y="1707"/>
                </a:cubicBezTo>
                <a:cubicBezTo>
                  <a:pt x="1465" y="1709"/>
                  <a:pt x="1467" y="1712"/>
                  <a:pt x="1469" y="1712"/>
                </a:cubicBezTo>
                <a:cubicBezTo>
                  <a:pt x="1469" y="1713"/>
                  <a:pt x="1470" y="1713"/>
                  <a:pt x="1470" y="1713"/>
                </a:cubicBezTo>
                <a:cubicBezTo>
                  <a:pt x="1470" y="1713"/>
                  <a:pt x="1470" y="1713"/>
                  <a:pt x="1471" y="1714"/>
                </a:cubicBezTo>
                <a:cubicBezTo>
                  <a:pt x="1471" y="1714"/>
                  <a:pt x="1471" y="1714"/>
                  <a:pt x="1472" y="1714"/>
                </a:cubicBezTo>
                <a:cubicBezTo>
                  <a:pt x="1472" y="1714"/>
                  <a:pt x="1472" y="1715"/>
                  <a:pt x="1472" y="1715"/>
                </a:cubicBezTo>
                <a:cubicBezTo>
                  <a:pt x="1474" y="1716"/>
                  <a:pt x="1475" y="1718"/>
                  <a:pt x="1477" y="1720"/>
                </a:cubicBezTo>
                <a:cubicBezTo>
                  <a:pt x="1478" y="1722"/>
                  <a:pt x="1479" y="1723"/>
                  <a:pt x="1480" y="1725"/>
                </a:cubicBezTo>
                <a:cubicBezTo>
                  <a:pt x="1483" y="1729"/>
                  <a:pt x="1487" y="1732"/>
                  <a:pt x="1490" y="1736"/>
                </a:cubicBezTo>
                <a:cubicBezTo>
                  <a:pt x="1496" y="1742"/>
                  <a:pt x="1501" y="1748"/>
                  <a:pt x="1507" y="1754"/>
                </a:cubicBezTo>
                <a:cubicBezTo>
                  <a:pt x="1507" y="1754"/>
                  <a:pt x="1507" y="1754"/>
                  <a:pt x="1507" y="1755"/>
                </a:cubicBezTo>
                <a:cubicBezTo>
                  <a:pt x="1507" y="1755"/>
                  <a:pt x="1507" y="1755"/>
                  <a:pt x="1507" y="1755"/>
                </a:cubicBezTo>
                <a:cubicBezTo>
                  <a:pt x="1507" y="1755"/>
                  <a:pt x="1507" y="1756"/>
                  <a:pt x="1507" y="1756"/>
                </a:cubicBezTo>
                <a:cubicBezTo>
                  <a:pt x="1508" y="1756"/>
                  <a:pt x="1509" y="1757"/>
                  <a:pt x="1509" y="1758"/>
                </a:cubicBezTo>
                <a:cubicBezTo>
                  <a:pt x="1510" y="1759"/>
                  <a:pt x="1510" y="1760"/>
                  <a:pt x="1511" y="1761"/>
                </a:cubicBezTo>
                <a:cubicBezTo>
                  <a:pt x="1511" y="1761"/>
                  <a:pt x="1511" y="1762"/>
                  <a:pt x="1512" y="1763"/>
                </a:cubicBezTo>
                <a:cubicBezTo>
                  <a:pt x="1512" y="1763"/>
                  <a:pt x="1513" y="1763"/>
                  <a:pt x="1514" y="1763"/>
                </a:cubicBezTo>
                <a:cubicBezTo>
                  <a:pt x="1515" y="1763"/>
                  <a:pt x="1515" y="1765"/>
                  <a:pt x="1516" y="1765"/>
                </a:cubicBezTo>
                <a:cubicBezTo>
                  <a:pt x="1517" y="1767"/>
                  <a:pt x="1520" y="1771"/>
                  <a:pt x="1522" y="1772"/>
                </a:cubicBezTo>
                <a:cubicBezTo>
                  <a:pt x="1525" y="1775"/>
                  <a:pt x="1532" y="1784"/>
                  <a:pt x="1536" y="1788"/>
                </a:cubicBezTo>
                <a:cubicBezTo>
                  <a:pt x="1537" y="1789"/>
                  <a:pt x="1539" y="1792"/>
                  <a:pt x="1541" y="1794"/>
                </a:cubicBezTo>
                <a:cubicBezTo>
                  <a:pt x="1542" y="1795"/>
                  <a:pt x="1543" y="1796"/>
                  <a:pt x="1544" y="1797"/>
                </a:cubicBezTo>
                <a:cubicBezTo>
                  <a:pt x="1543" y="1797"/>
                  <a:pt x="1543" y="1798"/>
                  <a:pt x="1543" y="1798"/>
                </a:cubicBezTo>
                <a:cubicBezTo>
                  <a:pt x="1543" y="1798"/>
                  <a:pt x="1544" y="1799"/>
                  <a:pt x="1544" y="1799"/>
                </a:cubicBezTo>
                <a:cubicBezTo>
                  <a:pt x="1544" y="1800"/>
                  <a:pt x="1545" y="1800"/>
                  <a:pt x="1545" y="1801"/>
                </a:cubicBezTo>
                <a:cubicBezTo>
                  <a:pt x="1545" y="1801"/>
                  <a:pt x="1546" y="1801"/>
                  <a:pt x="1546" y="1801"/>
                </a:cubicBezTo>
                <a:cubicBezTo>
                  <a:pt x="1547" y="1802"/>
                  <a:pt x="1549" y="1803"/>
                  <a:pt x="1550" y="1804"/>
                </a:cubicBezTo>
                <a:cubicBezTo>
                  <a:pt x="1550" y="1806"/>
                  <a:pt x="1550" y="1808"/>
                  <a:pt x="1550" y="1809"/>
                </a:cubicBezTo>
                <a:cubicBezTo>
                  <a:pt x="1549" y="1810"/>
                  <a:pt x="1550" y="1810"/>
                  <a:pt x="1551" y="1810"/>
                </a:cubicBezTo>
                <a:cubicBezTo>
                  <a:pt x="1552" y="1810"/>
                  <a:pt x="1553" y="1811"/>
                  <a:pt x="1554" y="1811"/>
                </a:cubicBezTo>
                <a:cubicBezTo>
                  <a:pt x="1554" y="1811"/>
                  <a:pt x="1554" y="1811"/>
                  <a:pt x="1554" y="1811"/>
                </a:cubicBezTo>
                <a:cubicBezTo>
                  <a:pt x="1555" y="1811"/>
                  <a:pt x="1555" y="1811"/>
                  <a:pt x="1555" y="1811"/>
                </a:cubicBezTo>
                <a:cubicBezTo>
                  <a:pt x="1555" y="1811"/>
                  <a:pt x="1555" y="1812"/>
                  <a:pt x="1556" y="1812"/>
                </a:cubicBezTo>
                <a:cubicBezTo>
                  <a:pt x="1557" y="1812"/>
                  <a:pt x="1558" y="1814"/>
                  <a:pt x="1559" y="1815"/>
                </a:cubicBezTo>
                <a:cubicBezTo>
                  <a:pt x="1560" y="1817"/>
                  <a:pt x="1562" y="1819"/>
                  <a:pt x="1564" y="1821"/>
                </a:cubicBezTo>
                <a:cubicBezTo>
                  <a:pt x="1567" y="1825"/>
                  <a:pt x="1570" y="1828"/>
                  <a:pt x="1573" y="1832"/>
                </a:cubicBezTo>
                <a:cubicBezTo>
                  <a:pt x="1573" y="1832"/>
                  <a:pt x="1574" y="1833"/>
                  <a:pt x="1574" y="1833"/>
                </a:cubicBezTo>
                <a:cubicBezTo>
                  <a:pt x="1575" y="1833"/>
                  <a:pt x="1575" y="1833"/>
                  <a:pt x="1575" y="1833"/>
                </a:cubicBezTo>
                <a:cubicBezTo>
                  <a:pt x="1575" y="1833"/>
                  <a:pt x="1575" y="1833"/>
                  <a:pt x="1576" y="1833"/>
                </a:cubicBezTo>
                <a:cubicBezTo>
                  <a:pt x="1576" y="1833"/>
                  <a:pt x="1576" y="1833"/>
                  <a:pt x="1576" y="1833"/>
                </a:cubicBezTo>
                <a:cubicBezTo>
                  <a:pt x="1576" y="1834"/>
                  <a:pt x="1578" y="1835"/>
                  <a:pt x="1578" y="1836"/>
                </a:cubicBezTo>
                <a:cubicBezTo>
                  <a:pt x="1578" y="1836"/>
                  <a:pt x="1579" y="1838"/>
                  <a:pt x="1580" y="1839"/>
                </a:cubicBezTo>
                <a:cubicBezTo>
                  <a:pt x="1580" y="1840"/>
                  <a:pt x="1581" y="1841"/>
                  <a:pt x="1582" y="1842"/>
                </a:cubicBezTo>
                <a:cubicBezTo>
                  <a:pt x="1582" y="1842"/>
                  <a:pt x="1582" y="1842"/>
                  <a:pt x="1582" y="1842"/>
                </a:cubicBezTo>
                <a:cubicBezTo>
                  <a:pt x="1582" y="1842"/>
                  <a:pt x="1582" y="1842"/>
                  <a:pt x="1583" y="1842"/>
                </a:cubicBezTo>
                <a:cubicBezTo>
                  <a:pt x="1583" y="1842"/>
                  <a:pt x="1584" y="1843"/>
                  <a:pt x="1584" y="1843"/>
                </a:cubicBezTo>
                <a:cubicBezTo>
                  <a:pt x="1584" y="1843"/>
                  <a:pt x="1584" y="1844"/>
                  <a:pt x="1584" y="1844"/>
                </a:cubicBezTo>
                <a:cubicBezTo>
                  <a:pt x="1584" y="1845"/>
                  <a:pt x="1585" y="1846"/>
                  <a:pt x="1586" y="1847"/>
                </a:cubicBezTo>
                <a:cubicBezTo>
                  <a:pt x="1587" y="1847"/>
                  <a:pt x="1587" y="1848"/>
                  <a:pt x="1588" y="1849"/>
                </a:cubicBezTo>
                <a:cubicBezTo>
                  <a:pt x="1588" y="1850"/>
                  <a:pt x="1587" y="1851"/>
                  <a:pt x="1588" y="1852"/>
                </a:cubicBezTo>
                <a:cubicBezTo>
                  <a:pt x="1589" y="1852"/>
                  <a:pt x="1592" y="1852"/>
                  <a:pt x="1592" y="1853"/>
                </a:cubicBezTo>
                <a:cubicBezTo>
                  <a:pt x="1592" y="1854"/>
                  <a:pt x="1592" y="1854"/>
                  <a:pt x="1591" y="1854"/>
                </a:cubicBezTo>
                <a:cubicBezTo>
                  <a:pt x="1591" y="1854"/>
                  <a:pt x="1591" y="1854"/>
                  <a:pt x="1591" y="1854"/>
                </a:cubicBezTo>
                <a:cubicBezTo>
                  <a:pt x="1591" y="1854"/>
                  <a:pt x="1591" y="1855"/>
                  <a:pt x="1591" y="1855"/>
                </a:cubicBezTo>
                <a:cubicBezTo>
                  <a:pt x="1591" y="1855"/>
                  <a:pt x="1592" y="1856"/>
                  <a:pt x="1592" y="1856"/>
                </a:cubicBezTo>
                <a:cubicBezTo>
                  <a:pt x="1593" y="1856"/>
                  <a:pt x="1593" y="1856"/>
                  <a:pt x="1593" y="1856"/>
                </a:cubicBezTo>
                <a:cubicBezTo>
                  <a:pt x="1595" y="1857"/>
                  <a:pt x="1597" y="1859"/>
                  <a:pt x="1599" y="1861"/>
                </a:cubicBezTo>
                <a:cubicBezTo>
                  <a:pt x="1600" y="1863"/>
                  <a:pt x="1602" y="1865"/>
                  <a:pt x="1603" y="1866"/>
                </a:cubicBezTo>
                <a:cubicBezTo>
                  <a:pt x="1604" y="1867"/>
                  <a:pt x="1604" y="1868"/>
                  <a:pt x="1605" y="1869"/>
                </a:cubicBezTo>
                <a:cubicBezTo>
                  <a:pt x="1606" y="1870"/>
                  <a:pt x="1605" y="1870"/>
                  <a:pt x="1605" y="1871"/>
                </a:cubicBezTo>
                <a:cubicBezTo>
                  <a:pt x="1605" y="1872"/>
                  <a:pt x="1605" y="1872"/>
                  <a:pt x="1604" y="1873"/>
                </a:cubicBezTo>
                <a:cubicBezTo>
                  <a:pt x="1604" y="1873"/>
                  <a:pt x="1604" y="1873"/>
                  <a:pt x="1605" y="1874"/>
                </a:cubicBezTo>
                <a:cubicBezTo>
                  <a:pt x="1605" y="1874"/>
                  <a:pt x="1606" y="1874"/>
                  <a:pt x="1606" y="1874"/>
                </a:cubicBezTo>
                <a:cubicBezTo>
                  <a:pt x="1607" y="1874"/>
                  <a:pt x="1607" y="1874"/>
                  <a:pt x="1608" y="1874"/>
                </a:cubicBezTo>
                <a:cubicBezTo>
                  <a:pt x="1609" y="1875"/>
                  <a:pt x="1610" y="1875"/>
                  <a:pt x="1611" y="1876"/>
                </a:cubicBezTo>
                <a:cubicBezTo>
                  <a:pt x="1612" y="1877"/>
                  <a:pt x="1612" y="1879"/>
                  <a:pt x="1613" y="1880"/>
                </a:cubicBezTo>
                <a:cubicBezTo>
                  <a:pt x="1615" y="1882"/>
                  <a:pt x="1616" y="1883"/>
                  <a:pt x="1618" y="1885"/>
                </a:cubicBezTo>
                <a:cubicBezTo>
                  <a:pt x="1618" y="1886"/>
                  <a:pt x="1619" y="1886"/>
                  <a:pt x="1620" y="1887"/>
                </a:cubicBezTo>
                <a:cubicBezTo>
                  <a:pt x="1620" y="1887"/>
                  <a:pt x="1621" y="1887"/>
                  <a:pt x="1621" y="1888"/>
                </a:cubicBezTo>
                <a:cubicBezTo>
                  <a:pt x="1621" y="1888"/>
                  <a:pt x="1621" y="1889"/>
                  <a:pt x="1621" y="1889"/>
                </a:cubicBezTo>
                <a:cubicBezTo>
                  <a:pt x="1621" y="1890"/>
                  <a:pt x="1621" y="1890"/>
                  <a:pt x="1621" y="1890"/>
                </a:cubicBezTo>
                <a:cubicBezTo>
                  <a:pt x="1621" y="1891"/>
                  <a:pt x="1621" y="1891"/>
                  <a:pt x="1621" y="1891"/>
                </a:cubicBezTo>
                <a:cubicBezTo>
                  <a:pt x="1622" y="1891"/>
                  <a:pt x="1622" y="1891"/>
                  <a:pt x="1622" y="1891"/>
                </a:cubicBezTo>
                <a:cubicBezTo>
                  <a:pt x="1622" y="1891"/>
                  <a:pt x="1623" y="1892"/>
                  <a:pt x="1624" y="1892"/>
                </a:cubicBezTo>
                <a:cubicBezTo>
                  <a:pt x="1625" y="1892"/>
                  <a:pt x="1625" y="1892"/>
                  <a:pt x="1626" y="1892"/>
                </a:cubicBezTo>
                <a:cubicBezTo>
                  <a:pt x="1627" y="1893"/>
                  <a:pt x="1627" y="1893"/>
                  <a:pt x="1627" y="1893"/>
                </a:cubicBezTo>
                <a:cubicBezTo>
                  <a:pt x="1629" y="1895"/>
                  <a:pt x="1631" y="1897"/>
                  <a:pt x="1633" y="1899"/>
                </a:cubicBezTo>
                <a:cubicBezTo>
                  <a:pt x="1634" y="1901"/>
                  <a:pt x="1634" y="1903"/>
                  <a:pt x="1634" y="1905"/>
                </a:cubicBezTo>
                <a:cubicBezTo>
                  <a:pt x="1634" y="1905"/>
                  <a:pt x="1634" y="1905"/>
                  <a:pt x="1634" y="1905"/>
                </a:cubicBezTo>
                <a:cubicBezTo>
                  <a:pt x="1635" y="1906"/>
                  <a:pt x="1636" y="1906"/>
                  <a:pt x="1637" y="1906"/>
                </a:cubicBezTo>
                <a:cubicBezTo>
                  <a:pt x="1637" y="1906"/>
                  <a:pt x="1637" y="1907"/>
                  <a:pt x="1638" y="1908"/>
                </a:cubicBezTo>
                <a:cubicBezTo>
                  <a:pt x="1638" y="1910"/>
                  <a:pt x="1640" y="1911"/>
                  <a:pt x="1642" y="1912"/>
                </a:cubicBezTo>
                <a:cubicBezTo>
                  <a:pt x="1643" y="1912"/>
                  <a:pt x="1644" y="1912"/>
                  <a:pt x="1644" y="1913"/>
                </a:cubicBezTo>
                <a:cubicBezTo>
                  <a:pt x="1646" y="1914"/>
                  <a:pt x="1647" y="1916"/>
                  <a:pt x="1648" y="1917"/>
                </a:cubicBezTo>
                <a:cubicBezTo>
                  <a:pt x="1648" y="1918"/>
                  <a:pt x="1648" y="1918"/>
                  <a:pt x="1649" y="1919"/>
                </a:cubicBezTo>
                <a:cubicBezTo>
                  <a:pt x="1650" y="1920"/>
                  <a:pt x="1651" y="1922"/>
                  <a:pt x="1652" y="1923"/>
                </a:cubicBezTo>
                <a:cubicBezTo>
                  <a:pt x="1653" y="1925"/>
                  <a:pt x="1654" y="1926"/>
                  <a:pt x="1655" y="1927"/>
                </a:cubicBezTo>
                <a:cubicBezTo>
                  <a:pt x="1655" y="1928"/>
                  <a:pt x="1655" y="1930"/>
                  <a:pt x="1656" y="1931"/>
                </a:cubicBezTo>
                <a:cubicBezTo>
                  <a:pt x="1656" y="1932"/>
                  <a:pt x="1656" y="1932"/>
                  <a:pt x="1656" y="1932"/>
                </a:cubicBezTo>
                <a:cubicBezTo>
                  <a:pt x="1656" y="1933"/>
                  <a:pt x="1656" y="1933"/>
                  <a:pt x="1657" y="1933"/>
                </a:cubicBezTo>
                <a:cubicBezTo>
                  <a:pt x="1657" y="1933"/>
                  <a:pt x="1657" y="1933"/>
                  <a:pt x="1657" y="1933"/>
                </a:cubicBezTo>
                <a:cubicBezTo>
                  <a:pt x="1657" y="1932"/>
                  <a:pt x="1657" y="1933"/>
                  <a:pt x="1657" y="1933"/>
                </a:cubicBezTo>
                <a:cubicBezTo>
                  <a:pt x="1658" y="1933"/>
                  <a:pt x="1657" y="1933"/>
                  <a:pt x="1657" y="1934"/>
                </a:cubicBezTo>
                <a:cubicBezTo>
                  <a:pt x="1658" y="1934"/>
                  <a:pt x="1658" y="1934"/>
                  <a:pt x="1659" y="1934"/>
                </a:cubicBezTo>
                <a:cubicBezTo>
                  <a:pt x="1659" y="1934"/>
                  <a:pt x="1659" y="1934"/>
                  <a:pt x="1659" y="1934"/>
                </a:cubicBezTo>
                <a:cubicBezTo>
                  <a:pt x="1659" y="1934"/>
                  <a:pt x="1659" y="1935"/>
                  <a:pt x="1659" y="1935"/>
                </a:cubicBezTo>
                <a:cubicBezTo>
                  <a:pt x="1659" y="1936"/>
                  <a:pt x="1660" y="1936"/>
                  <a:pt x="1661" y="1936"/>
                </a:cubicBezTo>
                <a:cubicBezTo>
                  <a:pt x="1664" y="1936"/>
                  <a:pt x="1667" y="1940"/>
                  <a:pt x="1669" y="1943"/>
                </a:cubicBezTo>
                <a:cubicBezTo>
                  <a:pt x="1670" y="1944"/>
                  <a:pt x="1672" y="1945"/>
                  <a:pt x="1673" y="1947"/>
                </a:cubicBezTo>
                <a:cubicBezTo>
                  <a:pt x="1673" y="1947"/>
                  <a:pt x="1673" y="1947"/>
                  <a:pt x="1673" y="1948"/>
                </a:cubicBezTo>
                <a:cubicBezTo>
                  <a:pt x="1673" y="1948"/>
                  <a:pt x="1673" y="1949"/>
                  <a:pt x="1673" y="1949"/>
                </a:cubicBezTo>
                <a:cubicBezTo>
                  <a:pt x="1673" y="1950"/>
                  <a:pt x="1673" y="1950"/>
                  <a:pt x="1673" y="1951"/>
                </a:cubicBezTo>
                <a:cubicBezTo>
                  <a:pt x="1673" y="1952"/>
                  <a:pt x="1674" y="1953"/>
                  <a:pt x="1675" y="1954"/>
                </a:cubicBezTo>
                <a:cubicBezTo>
                  <a:pt x="1675" y="1955"/>
                  <a:pt x="1676" y="1957"/>
                  <a:pt x="1678" y="1957"/>
                </a:cubicBezTo>
                <a:cubicBezTo>
                  <a:pt x="1678" y="1957"/>
                  <a:pt x="1679" y="1959"/>
                  <a:pt x="1680" y="1960"/>
                </a:cubicBezTo>
                <a:cubicBezTo>
                  <a:pt x="1681" y="1961"/>
                  <a:pt x="1682" y="1962"/>
                  <a:pt x="1683" y="1963"/>
                </a:cubicBezTo>
                <a:cubicBezTo>
                  <a:pt x="1683" y="1964"/>
                  <a:pt x="1684" y="1965"/>
                  <a:pt x="1685" y="1965"/>
                </a:cubicBezTo>
                <a:cubicBezTo>
                  <a:pt x="1685" y="1965"/>
                  <a:pt x="1686" y="1965"/>
                  <a:pt x="1687" y="1966"/>
                </a:cubicBezTo>
                <a:cubicBezTo>
                  <a:pt x="1688" y="1966"/>
                  <a:pt x="1688" y="1967"/>
                  <a:pt x="1687" y="1967"/>
                </a:cubicBezTo>
                <a:cubicBezTo>
                  <a:pt x="1687" y="1967"/>
                  <a:pt x="1687" y="1967"/>
                  <a:pt x="1687" y="1968"/>
                </a:cubicBezTo>
                <a:cubicBezTo>
                  <a:pt x="1686" y="1968"/>
                  <a:pt x="1689" y="1970"/>
                  <a:pt x="1689" y="1970"/>
                </a:cubicBezTo>
                <a:cubicBezTo>
                  <a:pt x="1690" y="1971"/>
                  <a:pt x="1691" y="1973"/>
                  <a:pt x="1692" y="1973"/>
                </a:cubicBezTo>
                <a:cubicBezTo>
                  <a:pt x="1692" y="1973"/>
                  <a:pt x="1693" y="1972"/>
                  <a:pt x="1693" y="1972"/>
                </a:cubicBezTo>
                <a:cubicBezTo>
                  <a:pt x="1693" y="1972"/>
                  <a:pt x="1694" y="1974"/>
                  <a:pt x="1695" y="1974"/>
                </a:cubicBezTo>
                <a:cubicBezTo>
                  <a:pt x="1695" y="1975"/>
                  <a:pt x="1696" y="1976"/>
                  <a:pt x="1697" y="1977"/>
                </a:cubicBezTo>
                <a:cubicBezTo>
                  <a:pt x="1699" y="1980"/>
                  <a:pt x="1704" y="1986"/>
                  <a:pt x="1708" y="1991"/>
                </a:cubicBezTo>
                <a:cubicBezTo>
                  <a:pt x="1709" y="1993"/>
                  <a:pt x="1711" y="1995"/>
                  <a:pt x="1712" y="1996"/>
                </a:cubicBezTo>
                <a:cubicBezTo>
                  <a:pt x="1713" y="1998"/>
                  <a:pt x="1716" y="1999"/>
                  <a:pt x="1716" y="2001"/>
                </a:cubicBezTo>
                <a:cubicBezTo>
                  <a:pt x="1716" y="2001"/>
                  <a:pt x="1716" y="2002"/>
                  <a:pt x="1716" y="2002"/>
                </a:cubicBezTo>
                <a:cubicBezTo>
                  <a:pt x="1717" y="2003"/>
                  <a:pt x="1717" y="2003"/>
                  <a:pt x="1718" y="2004"/>
                </a:cubicBezTo>
                <a:cubicBezTo>
                  <a:pt x="1718" y="2004"/>
                  <a:pt x="1719" y="2004"/>
                  <a:pt x="1720" y="2005"/>
                </a:cubicBezTo>
                <a:cubicBezTo>
                  <a:pt x="1720" y="2005"/>
                  <a:pt x="1720" y="2005"/>
                  <a:pt x="1721" y="2005"/>
                </a:cubicBezTo>
                <a:cubicBezTo>
                  <a:pt x="1721" y="2005"/>
                  <a:pt x="1721" y="2006"/>
                  <a:pt x="1721" y="2006"/>
                </a:cubicBezTo>
                <a:cubicBezTo>
                  <a:pt x="1723" y="2009"/>
                  <a:pt x="1724" y="2013"/>
                  <a:pt x="1727" y="2014"/>
                </a:cubicBezTo>
                <a:cubicBezTo>
                  <a:pt x="1727" y="2014"/>
                  <a:pt x="1727" y="2014"/>
                  <a:pt x="1728" y="2014"/>
                </a:cubicBezTo>
                <a:cubicBezTo>
                  <a:pt x="1729" y="2013"/>
                  <a:pt x="1731" y="2017"/>
                  <a:pt x="1731" y="2018"/>
                </a:cubicBezTo>
                <a:cubicBezTo>
                  <a:pt x="1733" y="2020"/>
                  <a:pt x="1735" y="2023"/>
                  <a:pt x="1737" y="2024"/>
                </a:cubicBezTo>
                <a:cubicBezTo>
                  <a:pt x="1738" y="2025"/>
                  <a:pt x="1741" y="2029"/>
                  <a:pt x="1744" y="2032"/>
                </a:cubicBezTo>
                <a:cubicBezTo>
                  <a:pt x="1746" y="2035"/>
                  <a:pt x="1752" y="2042"/>
                  <a:pt x="1758" y="2048"/>
                </a:cubicBezTo>
                <a:cubicBezTo>
                  <a:pt x="1759" y="2050"/>
                  <a:pt x="1761" y="2052"/>
                  <a:pt x="1763" y="2054"/>
                </a:cubicBezTo>
                <a:cubicBezTo>
                  <a:pt x="1763" y="2054"/>
                  <a:pt x="1767" y="2058"/>
                  <a:pt x="1766" y="2058"/>
                </a:cubicBezTo>
                <a:cubicBezTo>
                  <a:pt x="1766" y="2059"/>
                  <a:pt x="1766" y="2059"/>
                  <a:pt x="1766" y="2059"/>
                </a:cubicBezTo>
                <a:cubicBezTo>
                  <a:pt x="1765" y="2059"/>
                  <a:pt x="1765" y="2059"/>
                  <a:pt x="1765" y="2060"/>
                </a:cubicBezTo>
                <a:cubicBezTo>
                  <a:pt x="1765" y="2061"/>
                  <a:pt x="1766" y="2061"/>
                  <a:pt x="1767" y="2061"/>
                </a:cubicBezTo>
                <a:cubicBezTo>
                  <a:pt x="1767" y="2062"/>
                  <a:pt x="1768" y="2063"/>
                  <a:pt x="1769" y="2063"/>
                </a:cubicBezTo>
                <a:cubicBezTo>
                  <a:pt x="1769" y="2064"/>
                  <a:pt x="1770" y="2065"/>
                  <a:pt x="1771" y="2066"/>
                </a:cubicBezTo>
                <a:cubicBezTo>
                  <a:pt x="1771" y="2067"/>
                  <a:pt x="1772" y="2068"/>
                  <a:pt x="1773" y="2069"/>
                </a:cubicBezTo>
                <a:cubicBezTo>
                  <a:pt x="1773" y="2069"/>
                  <a:pt x="1774" y="2069"/>
                  <a:pt x="1775" y="2069"/>
                </a:cubicBezTo>
                <a:cubicBezTo>
                  <a:pt x="1776" y="2069"/>
                  <a:pt x="1776" y="2070"/>
                  <a:pt x="1777" y="2070"/>
                </a:cubicBezTo>
                <a:cubicBezTo>
                  <a:pt x="1778" y="2071"/>
                  <a:pt x="1780" y="2073"/>
                  <a:pt x="1781" y="2075"/>
                </a:cubicBezTo>
                <a:cubicBezTo>
                  <a:pt x="1782" y="2076"/>
                  <a:pt x="1784" y="2077"/>
                  <a:pt x="1784" y="2078"/>
                </a:cubicBezTo>
                <a:cubicBezTo>
                  <a:pt x="1785" y="2080"/>
                  <a:pt x="1785" y="2080"/>
                  <a:pt x="1786" y="2081"/>
                </a:cubicBezTo>
                <a:cubicBezTo>
                  <a:pt x="1787" y="2082"/>
                  <a:pt x="1788" y="2083"/>
                  <a:pt x="1789" y="2084"/>
                </a:cubicBezTo>
                <a:cubicBezTo>
                  <a:pt x="1789" y="2085"/>
                  <a:pt x="1789" y="2086"/>
                  <a:pt x="1789" y="2087"/>
                </a:cubicBezTo>
                <a:cubicBezTo>
                  <a:pt x="1790" y="2088"/>
                  <a:pt x="1792" y="2089"/>
                  <a:pt x="1793" y="2090"/>
                </a:cubicBezTo>
                <a:cubicBezTo>
                  <a:pt x="1795" y="2091"/>
                  <a:pt x="1796" y="2092"/>
                  <a:pt x="1798" y="2093"/>
                </a:cubicBezTo>
                <a:cubicBezTo>
                  <a:pt x="1799" y="2094"/>
                  <a:pt x="1800" y="2095"/>
                  <a:pt x="1801" y="2096"/>
                </a:cubicBezTo>
                <a:cubicBezTo>
                  <a:pt x="1802" y="2098"/>
                  <a:pt x="1802" y="2099"/>
                  <a:pt x="1803" y="2100"/>
                </a:cubicBezTo>
                <a:cubicBezTo>
                  <a:pt x="1804" y="2102"/>
                  <a:pt x="1804" y="2103"/>
                  <a:pt x="1806" y="2104"/>
                </a:cubicBezTo>
                <a:cubicBezTo>
                  <a:pt x="1806" y="2104"/>
                  <a:pt x="1806" y="2104"/>
                  <a:pt x="1806" y="2104"/>
                </a:cubicBezTo>
                <a:cubicBezTo>
                  <a:pt x="1807" y="2104"/>
                  <a:pt x="1808" y="2105"/>
                  <a:pt x="1808" y="2105"/>
                </a:cubicBezTo>
                <a:cubicBezTo>
                  <a:pt x="1809" y="2106"/>
                  <a:pt x="1810" y="2108"/>
                  <a:pt x="1808" y="2108"/>
                </a:cubicBezTo>
                <a:cubicBezTo>
                  <a:pt x="1808" y="2108"/>
                  <a:pt x="1808" y="2108"/>
                  <a:pt x="1808" y="2108"/>
                </a:cubicBezTo>
                <a:cubicBezTo>
                  <a:pt x="1808" y="2109"/>
                  <a:pt x="1808" y="2109"/>
                  <a:pt x="1808" y="2110"/>
                </a:cubicBezTo>
                <a:cubicBezTo>
                  <a:pt x="1808" y="2110"/>
                  <a:pt x="1808" y="2110"/>
                  <a:pt x="1808" y="2111"/>
                </a:cubicBezTo>
                <a:cubicBezTo>
                  <a:pt x="1808" y="2111"/>
                  <a:pt x="1809" y="2111"/>
                  <a:pt x="1809" y="2111"/>
                </a:cubicBezTo>
                <a:cubicBezTo>
                  <a:pt x="1809" y="2111"/>
                  <a:pt x="1809" y="2112"/>
                  <a:pt x="1809" y="2113"/>
                </a:cubicBezTo>
                <a:cubicBezTo>
                  <a:pt x="1809" y="2113"/>
                  <a:pt x="1809" y="2114"/>
                  <a:pt x="1810" y="2114"/>
                </a:cubicBezTo>
                <a:cubicBezTo>
                  <a:pt x="1810" y="2114"/>
                  <a:pt x="1811" y="2114"/>
                  <a:pt x="1811" y="2113"/>
                </a:cubicBezTo>
                <a:cubicBezTo>
                  <a:pt x="1812" y="2113"/>
                  <a:pt x="1812" y="2113"/>
                  <a:pt x="1812" y="2113"/>
                </a:cubicBezTo>
                <a:cubicBezTo>
                  <a:pt x="1812" y="2112"/>
                  <a:pt x="1813" y="2113"/>
                  <a:pt x="1813" y="2113"/>
                </a:cubicBezTo>
                <a:cubicBezTo>
                  <a:pt x="1813" y="2113"/>
                  <a:pt x="1813" y="2114"/>
                  <a:pt x="1813" y="2114"/>
                </a:cubicBezTo>
                <a:cubicBezTo>
                  <a:pt x="1813" y="2114"/>
                  <a:pt x="1813" y="2114"/>
                  <a:pt x="1813" y="2115"/>
                </a:cubicBezTo>
                <a:cubicBezTo>
                  <a:pt x="1814" y="2116"/>
                  <a:pt x="1814" y="2117"/>
                  <a:pt x="1815" y="2118"/>
                </a:cubicBezTo>
                <a:cubicBezTo>
                  <a:pt x="1816" y="2119"/>
                  <a:pt x="1817" y="2120"/>
                  <a:pt x="1818" y="2122"/>
                </a:cubicBezTo>
                <a:cubicBezTo>
                  <a:pt x="1819" y="2122"/>
                  <a:pt x="1819" y="2123"/>
                  <a:pt x="1820" y="2124"/>
                </a:cubicBezTo>
                <a:cubicBezTo>
                  <a:pt x="1820" y="2125"/>
                  <a:pt x="1821" y="2125"/>
                  <a:pt x="1822" y="2126"/>
                </a:cubicBezTo>
                <a:cubicBezTo>
                  <a:pt x="1823" y="2127"/>
                  <a:pt x="1823" y="2127"/>
                  <a:pt x="1824" y="2128"/>
                </a:cubicBezTo>
                <a:cubicBezTo>
                  <a:pt x="1824" y="2128"/>
                  <a:pt x="1824" y="2128"/>
                  <a:pt x="1825" y="2128"/>
                </a:cubicBezTo>
                <a:cubicBezTo>
                  <a:pt x="1825" y="2128"/>
                  <a:pt x="1826" y="2129"/>
                  <a:pt x="1826" y="2129"/>
                </a:cubicBezTo>
                <a:cubicBezTo>
                  <a:pt x="1827" y="2130"/>
                  <a:pt x="1829" y="2131"/>
                  <a:pt x="1830" y="2132"/>
                </a:cubicBezTo>
                <a:cubicBezTo>
                  <a:pt x="1830" y="2132"/>
                  <a:pt x="1830" y="2132"/>
                  <a:pt x="1830" y="2133"/>
                </a:cubicBezTo>
                <a:cubicBezTo>
                  <a:pt x="1830" y="2133"/>
                  <a:pt x="1830" y="2133"/>
                  <a:pt x="1830" y="2134"/>
                </a:cubicBezTo>
                <a:cubicBezTo>
                  <a:pt x="1830" y="2134"/>
                  <a:pt x="1829" y="2134"/>
                  <a:pt x="1829" y="2134"/>
                </a:cubicBezTo>
                <a:cubicBezTo>
                  <a:pt x="1829" y="2134"/>
                  <a:pt x="1829" y="2135"/>
                  <a:pt x="1829" y="2135"/>
                </a:cubicBezTo>
                <a:cubicBezTo>
                  <a:pt x="1829" y="2136"/>
                  <a:pt x="1829" y="2136"/>
                  <a:pt x="1830" y="2136"/>
                </a:cubicBezTo>
                <a:cubicBezTo>
                  <a:pt x="1829" y="2138"/>
                  <a:pt x="1831" y="2138"/>
                  <a:pt x="1832" y="2138"/>
                </a:cubicBezTo>
                <a:cubicBezTo>
                  <a:pt x="1833" y="2139"/>
                  <a:pt x="1834" y="2141"/>
                  <a:pt x="1835" y="2142"/>
                </a:cubicBezTo>
                <a:cubicBezTo>
                  <a:pt x="1835" y="2142"/>
                  <a:pt x="1836" y="2142"/>
                  <a:pt x="1837" y="2142"/>
                </a:cubicBezTo>
                <a:cubicBezTo>
                  <a:pt x="1837" y="2142"/>
                  <a:pt x="1837" y="2142"/>
                  <a:pt x="1838" y="2142"/>
                </a:cubicBezTo>
                <a:cubicBezTo>
                  <a:pt x="1838" y="2142"/>
                  <a:pt x="1838" y="2142"/>
                  <a:pt x="1838" y="2143"/>
                </a:cubicBezTo>
                <a:cubicBezTo>
                  <a:pt x="1838" y="2145"/>
                  <a:pt x="1840" y="2146"/>
                  <a:pt x="1842" y="2147"/>
                </a:cubicBezTo>
                <a:cubicBezTo>
                  <a:pt x="1843" y="2149"/>
                  <a:pt x="1845" y="2150"/>
                  <a:pt x="1845" y="2151"/>
                </a:cubicBezTo>
                <a:cubicBezTo>
                  <a:pt x="1845" y="2151"/>
                  <a:pt x="1847" y="2154"/>
                  <a:pt x="1850" y="2157"/>
                </a:cubicBezTo>
                <a:cubicBezTo>
                  <a:pt x="1850" y="2158"/>
                  <a:pt x="1851" y="2159"/>
                  <a:pt x="1852" y="2160"/>
                </a:cubicBezTo>
                <a:cubicBezTo>
                  <a:pt x="1853" y="2161"/>
                  <a:pt x="1853" y="2162"/>
                  <a:pt x="1854" y="2162"/>
                </a:cubicBezTo>
                <a:cubicBezTo>
                  <a:pt x="1855" y="2162"/>
                  <a:pt x="1855" y="2162"/>
                  <a:pt x="1856" y="2162"/>
                </a:cubicBezTo>
                <a:cubicBezTo>
                  <a:pt x="1856" y="2162"/>
                  <a:pt x="1857" y="2162"/>
                  <a:pt x="1857" y="2163"/>
                </a:cubicBezTo>
                <a:cubicBezTo>
                  <a:pt x="1858" y="2163"/>
                  <a:pt x="1858" y="2163"/>
                  <a:pt x="1858" y="2164"/>
                </a:cubicBezTo>
                <a:cubicBezTo>
                  <a:pt x="1859" y="2165"/>
                  <a:pt x="1859" y="2166"/>
                  <a:pt x="1859" y="2167"/>
                </a:cubicBezTo>
                <a:cubicBezTo>
                  <a:pt x="1859" y="2168"/>
                  <a:pt x="1863" y="2173"/>
                  <a:pt x="1866" y="2173"/>
                </a:cubicBezTo>
                <a:cubicBezTo>
                  <a:pt x="1867" y="2174"/>
                  <a:pt x="1870" y="2175"/>
                  <a:pt x="1869" y="2176"/>
                </a:cubicBezTo>
                <a:cubicBezTo>
                  <a:pt x="1869" y="2177"/>
                  <a:pt x="1869" y="2177"/>
                  <a:pt x="1869" y="2177"/>
                </a:cubicBezTo>
                <a:cubicBezTo>
                  <a:pt x="1869" y="2177"/>
                  <a:pt x="1869" y="2178"/>
                  <a:pt x="1869" y="2178"/>
                </a:cubicBezTo>
                <a:cubicBezTo>
                  <a:pt x="1870" y="2180"/>
                  <a:pt x="1871" y="2181"/>
                  <a:pt x="1872" y="2182"/>
                </a:cubicBezTo>
                <a:cubicBezTo>
                  <a:pt x="1873" y="2184"/>
                  <a:pt x="1875" y="2186"/>
                  <a:pt x="1875" y="2187"/>
                </a:cubicBezTo>
                <a:cubicBezTo>
                  <a:pt x="1876" y="2188"/>
                  <a:pt x="1878" y="2191"/>
                  <a:pt x="1881" y="2194"/>
                </a:cubicBezTo>
                <a:cubicBezTo>
                  <a:pt x="1882" y="2195"/>
                  <a:pt x="1885" y="2199"/>
                  <a:pt x="1888" y="2198"/>
                </a:cubicBezTo>
                <a:cubicBezTo>
                  <a:pt x="1888" y="2198"/>
                  <a:pt x="1888" y="2198"/>
                  <a:pt x="1888" y="2198"/>
                </a:cubicBezTo>
                <a:cubicBezTo>
                  <a:pt x="1889" y="2198"/>
                  <a:pt x="1889" y="2199"/>
                  <a:pt x="1889" y="2199"/>
                </a:cubicBezTo>
                <a:cubicBezTo>
                  <a:pt x="1890" y="2200"/>
                  <a:pt x="1891" y="2200"/>
                  <a:pt x="1891" y="2201"/>
                </a:cubicBezTo>
                <a:cubicBezTo>
                  <a:pt x="1892" y="2202"/>
                  <a:pt x="1893" y="2203"/>
                  <a:pt x="1893" y="2204"/>
                </a:cubicBezTo>
                <a:cubicBezTo>
                  <a:pt x="1895" y="2205"/>
                  <a:pt x="1896" y="2207"/>
                  <a:pt x="1897" y="2208"/>
                </a:cubicBezTo>
                <a:cubicBezTo>
                  <a:pt x="1897" y="2209"/>
                  <a:pt x="1899" y="2211"/>
                  <a:pt x="1899" y="2212"/>
                </a:cubicBezTo>
                <a:cubicBezTo>
                  <a:pt x="1899" y="2212"/>
                  <a:pt x="1899" y="2212"/>
                  <a:pt x="1899" y="2212"/>
                </a:cubicBezTo>
                <a:cubicBezTo>
                  <a:pt x="1899" y="2213"/>
                  <a:pt x="1900" y="2214"/>
                  <a:pt x="1901" y="2215"/>
                </a:cubicBezTo>
                <a:cubicBezTo>
                  <a:pt x="1902" y="2217"/>
                  <a:pt x="1904" y="2219"/>
                  <a:pt x="1905" y="2220"/>
                </a:cubicBezTo>
                <a:cubicBezTo>
                  <a:pt x="1906" y="2221"/>
                  <a:pt x="1906" y="2222"/>
                  <a:pt x="1908" y="2222"/>
                </a:cubicBezTo>
                <a:cubicBezTo>
                  <a:pt x="1909" y="2222"/>
                  <a:pt x="1910" y="2223"/>
                  <a:pt x="1911" y="2223"/>
                </a:cubicBezTo>
                <a:cubicBezTo>
                  <a:pt x="1912" y="2225"/>
                  <a:pt x="1913" y="2226"/>
                  <a:pt x="1914" y="2227"/>
                </a:cubicBezTo>
                <a:cubicBezTo>
                  <a:pt x="1915" y="2228"/>
                  <a:pt x="1916" y="2230"/>
                  <a:pt x="1917" y="2231"/>
                </a:cubicBezTo>
                <a:cubicBezTo>
                  <a:pt x="1917" y="2231"/>
                  <a:pt x="1917" y="2231"/>
                  <a:pt x="1917" y="2232"/>
                </a:cubicBezTo>
                <a:cubicBezTo>
                  <a:pt x="1916" y="2232"/>
                  <a:pt x="1916" y="2232"/>
                  <a:pt x="1917" y="2233"/>
                </a:cubicBezTo>
                <a:cubicBezTo>
                  <a:pt x="1917" y="2233"/>
                  <a:pt x="1917" y="2233"/>
                  <a:pt x="1917" y="2233"/>
                </a:cubicBezTo>
                <a:cubicBezTo>
                  <a:pt x="1918" y="2233"/>
                  <a:pt x="1921" y="2233"/>
                  <a:pt x="1921" y="2235"/>
                </a:cubicBezTo>
                <a:cubicBezTo>
                  <a:pt x="1921" y="2236"/>
                  <a:pt x="1920" y="2236"/>
                  <a:pt x="1920" y="2236"/>
                </a:cubicBezTo>
                <a:cubicBezTo>
                  <a:pt x="1919" y="2236"/>
                  <a:pt x="1919" y="2236"/>
                  <a:pt x="1919" y="2236"/>
                </a:cubicBezTo>
                <a:cubicBezTo>
                  <a:pt x="1919" y="2237"/>
                  <a:pt x="1919" y="2237"/>
                  <a:pt x="1919" y="2238"/>
                </a:cubicBezTo>
                <a:cubicBezTo>
                  <a:pt x="1919" y="2238"/>
                  <a:pt x="1919" y="2239"/>
                  <a:pt x="1920" y="2239"/>
                </a:cubicBezTo>
                <a:cubicBezTo>
                  <a:pt x="1920" y="2239"/>
                  <a:pt x="1921" y="2239"/>
                  <a:pt x="1922" y="2239"/>
                </a:cubicBezTo>
                <a:cubicBezTo>
                  <a:pt x="1922" y="2240"/>
                  <a:pt x="1922" y="2240"/>
                  <a:pt x="1922" y="2240"/>
                </a:cubicBezTo>
                <a:cubicBezTo>
                  <a:pt x="1922" y="2240"/>
                  <a:pt x="1922" y="2240"/>
                  <a:pt x="1921" y="2240"/>
                </a:cubicBezTo>
                <a:cubicBezTo>
                  <a:pt x="1920" y="2241"/>
                  <a:pt x="1924" y="2244"/>
                  <a:pt x="1924" y="2244"/>
                </a:cubicBezTo>
                <a:cubicBezTo>
                  <a:pt x="1926" y="2246"/>
                  <a:pt x="1928" y="2248"/>
                  <a:pt x="1929" y="2250"/>
                </a:cubicBezTo>
                <a:cubicBezTo>
                  <a:pt x="1931" y="2252"/>
                  <a:pt x="1932" y="2253"/>
                  <a:pt x="1934" y="2255"/>
                </a:cubicBezTo>
                <a:cubicBezTo>
                  <a:pt x="1935" y="2256"/>
                  <a:pt x="1936" y="2259"/>
                  <a:pt x="1938" y="2259"/>
                </a:cubicBezTo>
                <a:cubicBezTo>
                  <a:pt x="1938" y="2259"/>
                  <a:pt x="1939" y="2259"/>
                  <a:pt x="1939" y="2259"/>
                </a:cubicBezTo>
                <a:cubicBezTo>
                  <a:pt x="1940" y="2259"/>
                  <a:pt x="1940" y="2259"/>
                  <a:pt x="1941" y="2259"/>
                </a:cubicBezTo>
                <a:cubicBezTo>
                  <a:pt x="1941" y="2260"/>
                  <a:pt x="1942" y="2260"/>
                  <a:pt x="1943" y="2261"/>
                </a:cubicBezTo>
                <a:cubicBezTo>
                  <a:pt x="1944" y="2261"/>
                  <a:pt x="1945" y="2261"/>
                  <a:pt x="1945" y="2261"/>
                </a:cubicBezTo>
                <a:cubicBezTo>
                  <a:pt x="1946" y="2262"/>
                  <a:pt x="1947" y="2263"/>
                  <a:pt x="1947" y="2263"/>
                </a:cubicBezTo>
                <a:cubicBezTo>
                  <a:pt x="1948" y="2264"/>
                  <a:pt x="1951" y="2266"/>
                  <a:pt x="1950" y="2267"/>
                </a:cubicBezTo>
                <a:cubicBezTo>
                  <a:pt x="1950" y="2267"/>
                  <a:pt x="1950" y="2268"/>
                  <a:pt x="1949" y="2268"/>
                </a:cubicBezTo>
                <a:cubicBezTo>
                  <a:pt x="1949" y="2268"/>
                  <a:pt x="1949" y="2269"/>
                  <a:pt x="1950" y="2269"/>
                </a:cubicBezTo>
                <a:cubicBezTo>
                  <a:pt x="1950" y="2269"/>
                  <a:pt x="1951" y="2269"/>
                  <a:pt x="1951" y="2269"/>
                </a:cubicBezTo>
                <a:cubicBezTo>
                  <a:pt x="1951" y="2269"/>
                  <a:pt x="1952" y="2269"/>
                  <a:pt x="1952" y="2269"/>
                </a:cubicBezTo>
                <a:cubicBezTo>
                  <a:pt x="1954" y="2270"/>
                  <a:pt x="1955" y="2271"/>
                  <a:pt x="1956" y="2273"/>
                </a:cubicBezTo>
                <a:cubicBezTo>
                  <a:pt x="1956" y="2273"/>
                  <a:pt x="1956" y="2273"/>
                  <a:pt x="1956" y="2273"/>
                </a:cubicBezTo>
                <a:cubicBezTo>
                  <a:pt x="1956" y="2273"/>
                  <a:pt x="1956" y="2273"/>
                  <a:pt x="1956" y="2274"/>
                </a:cubicBezTo>
                <a:cubicBezTo>
                  <a:pt x="1954" y="2274"/>
                  <a:pt x="1953" y="2278"/>
                  <a:pt x="1956" y="2278"/>
                </a:cubicBezTo>
                <a:cubicBezTo>
                  <a:pt x="1956" y="2278"/>
                  <a:pt x="1956" y="2277"/>
                  <a:pt x="1957" y="2277"/>
                </a:cubicBezTo>
                <a:cubicBezTo>
                  <a:pt x="1957" y="2276"/>
                  <a:pt x="1957" y="2276"/>
                  <a:pt x="1958" y="2276"/>
                </a:cubicBezTo>
                <a:cubicBezTo>
                  <a:pt x="1958" y="2276"/>
                  <a:pt x="1958" y="2276"/>
                  <a:pt x="1959" y="2276"/>
                </a:cubicBezTo>
                <a:cubicBezTo>
                  <a:pt x="1959" y="2276"/>
                  <a:pt x="1960" y="2277"/>
                  <a:pt x="1960" y="2278"/>
                </a:cubicBezTo>
                <a:cubicBezTo>
                  <a:pt x="1961" y="2279"/>
                  <a:pt x="1960" y="2279"/>
                  <a:pt x="1960" y="2280"/>
                </a:cubicBezTo>
                <a:cubicBezTo>
                  <a:pt x="1960" y="2280"/>
                  <a:pt x="1961" y="2281"/>
                  <a:pt x="1961" y="2281"/>
                </a:cubicBezTo>
                <a:cubicBezTo>
                  <a:pt x="1962" y="2282"/>
                  <a:pt x="1963" y="2284"/>
                  <a:pt x="1964" y="2284"/>
                </a:cubicBezTo>
                <a:cubicBezTo>
                  <a:pt x="1965" y="2285"/>
                  <a:pt x="1966" y="2284"/>
                  <a:pt x="1967" y="2285"/>
                </a:cubicBezTo>
                <a:cubicBezTo>
                  <a:pt x="1969" y="2286"/>
                  <a:pt x="1971" y="2289"/>
                  <a:pt x="1973" y="2291"/>
                </a:cubicBezTo>
                <a:cubicBezTo>
                  <a:pt x="1974" y="2292"/>
                  <a:pt x="1980" y="2297"/>
                  <a:pt x="1979" y="2298"/>
                </a:cubicBezTo>
                <a:cubicBezTo>
                  <a:pt x="1979" y="2299"/>
                  <a:pt x="1978" y="2299"/>
                  <a:pt x="1978" y="2299"/>
                </a:cubicBezTo>
                <a:cubicBezTo>
                  <a:pt x="1978" y="2299"/>
                  <a:pt x="1979" y="2300"/>
                  <a:pt x="1979" y="2300"/>
                </a:cubicBezTo>
                <a:cubicBezTo>
                  <a:pt x="1979" y="2300"/>
                  <a:pt x="1982" y="2302"/>
                  <a:pt x="1980" y="2302"/>
                </a:cubicBezTo>
                <a:cubicBezTo>
                  <a:pt x="1979" y="2302"/>
                  <a:pt x="1979" y="2302"/>
                  <a:pt x="1979" y="2302"/>
                </a:cubicBezTo>
                <a:cubicBezTo>
                  <a:pt x="1978" y="2303"/>
                  <a:pt x="1979" y="2303"/>
                  <a:pt x="1979" y="2303"/>
                </a:cubicBezTo>
                <a:cubicBezTo>
                  <a:pt x="1980" y="2304"/>
                  <a:pt x="1980" y="2304"/>
                  <a:pt x="1981" y="2304"/>
                </a:cubicBezTo>
                <a:cubicBezTo>
                  <a:pt x="1981" y="2304"/>
                  <a:pt x="1981" y="2305"/>
                  <a:pt x="1982" y="2306"/>
                </a:cubicBezTo>
                <a:cubicBezTo>
                  <a:pt x="1982" y="2306"/>
                  <a:pt x="1983" y="2306"/>
                  <a:pt x="1983" y="2307"/>
                </a:cubicBezTo>
                <a:cubicBezTo>
                  <a:pt x="1985" y="2308"/>
                  <a:pt x="1986" y="2310"/>
                  <a:pt x="1988" y="2311"/>
                </a:cubicBezTo>
                <a:cubicBezTo>
                  <a:pt x="1988" y="2312"/>
                  <a:pt x="1989" y="2312"/>
                  <a:pt x="1989" y="2313"/>
                </a:cubicBezTo>
                <a:cubicBezTo>
                  <a:pt x="1990" y="2314"/>
                  <a:pt x="1990" y="2314"/>
                  <a:pt x="1991" y="2315"/>
                </a:cubicBezTo>
                <a:cubicBezTo>
                  <a:pt x="1991" y="2315"/>
                  <a:pt x="1992" y="2316"/>
                  <a:pt x="1992" y="2316"/>
                </a:cubicBezTo>
                <a:cubicBezTo>
                  <a:pt x="1993" y="2316"/>
                  <a:pt x="1993" y="2316"/>
                  <a:pt x="1994" y="2316"/>
                </a:cubicBezTo>
                <a:cubicBezTo>
                  <a:pt x="1995" y="2316"/>
                  <a:pt x="1995" y="2317"/>
                  <a:pt x="1996" y="2316"/>
                </a:cubicBezTo>
                <a:cubicBezTo>
                  <a:pt x="1996" y="2316"/>
                  <a:pt x="1996" y="2316"/>
                  <a:pt x="1997" y="2316"/>
                </a:cubicBezTo>
                <a:cubicBezTo>
                  <a:pt x="1997" y="2316"/>
                  <a:pt x="1997" y="2316"/>
                  <a:pt x="1998" y="2316"/>
                </a:cubicBezTo>
                <a:cubicBezTo>
                  <a:pt x="1998" y="2317"/>
                  <a:pt x="1998" y="2317"/>
                  <a:pt x="1999" y="2318"/>
                </a:cubicBezTo>
                <a:cubicBezTo>
                  <a:pt x="1999" y="2319"/>
                  <a:pt x="2000" y="2319"/>
                  <a:pt x="2000" y="2320"/>
                </a:cubicBezTo>
                <a:cubicBezTo>
                  <a:pt x="1999" y="2320"/>
                  <a:pt x="1999" y="2321"/>
                  <a:pt x="1999" y="2321"/>
                </a:cubicBezTo>
                <a:cubicBezTo>
                  <a:pt x="1999" y="2322"/>
                  <a:pt x="2001" y="2323"/>
                  <a:pt x="2001" y="2323"/>
                </a:cubicBezTo>
                <a:cubicBezTo>
                  <a:pt x="2002" y="2325"/>
                  <a:pt x="2001" y="2326"/>
                  <a:pt x="2002" y="2328"/>
                </a:cubicBezTo>
                <a:cubicBezTo>
                  <a:pt x="2002" y="2329"/>
                  <a:pt x="2004" y="2330"/>
                  <a:pt x="2005" y="2331"/>
                </a:cubicBezTo>
                <a:cubicBezTo>
                  <a:pt x="2005" y="2332"/>
                  <a:pt x="2006" y="2333"/>
                  <a:pt x="2007" y="2333"/>
                </a:cubicBezTo>
                <a:cubicBezTo>
                  <a:pt x="2007" y="2333"/>
                  <a:pt x="2008" y="2333"/>
                  <a:pt x="2009" y="2333"/>
                </a:cubicBezTo>
                <a:cubicBezTo>
                  <a:pt x="2010" y="2334"/>
                  <a:pt x="2011" y="2336"/>
                  <a:pt x="2012" y="2337"/>
                </a:cubicBezTo>
                <a:cubicBezTo>
                  <a:pt x="2013" y="2339"/>
                  <a:pt x="2015" y="2341"/>
                  <a:pt x="2016" y="2342"/>
                </a:cubicBezTo>
                <a:cubicBezTo>
                  <a:pt x="2017" y="2343"/>
                  <a:pt x="2018" y="2344"/>
                  <a:pt x="2019" y="2345"/>
                </a:cubicBezTo>
                <a:cubicBezTo>
                  <a:pt x="2029" y="2355"/>
                  <a:pt x="2034" y="2369"/>
                  <a:pt x="2044" y="2379"/>
                </a:cubicBezTo>
                <a:cubicBezTo>
                  <a:pt x="2047" y="2382"/>
                  <a:pt x="2050" y="2384"/>
                  <a:pt x="2054" y="2386"/>
                </a:cubicBezTo>
                <a:cubicBezTo>
                  <a:pt x="2055" y="2386"/>
                  <a:pt x="2057" y="2388"/>
                  <a:pt x="2059" y="2388"/>
                </a:cubicBezTo>
                <a:cubicBezTo>
                  <a:pt x="2060" y="2387"/>
                  <a:pt x="2061" y="2387"/>
                  <a:pt x="2062" y="2385"/>
                </a:cubicBezTo>
                <a:cubicBezTo>
                  <a:pt x="2062" y="2385"/>
                  <a:pt x="2062" y="2385"/>
                  <a:pt x="2062" y="2384"/>
                </a:cubicBezTo>
                <a:cubicBezTo>
                  <a:pt x="2062" y="2384"/>
                  <a:pt x="2063" y="2384"/>
                  <a:pt x="2063" y="2384"/>
                </a:cubicBezTo>
                <a:cubicBezTo>
                  <a:pt x="2064" y="2384"/>
                  <a:pt x="2064" y="2382"/>
                  <a:pt x="2064" y="2382"/>
                </a:cubicBezTo>
                <a:cubicBezTo>
                  <a:pt x="2065" y="2382"/>
                  <a:pt x="2066" y="2382"/>
                  <a:pt x="2067" y="2382"/>
                </a:cubicBezTo>
                <a:cubicBezTo>
                  <a:pt x="2068" y="2381"/>
                  <a:pt x="2068" y="2380"/>
                  <a:pt x="2069" y="2379"/>
                </a:cubicBezTo>
                <a:cubicBezTo>
                  <a:pt x="2069" y="2379"/>
                  <a:pt x="2070" y="2379"/>
                  <a:pt x="2070" y="2379"/>
                </a:cubicBezTo>
                <a:cubicBezTo>
                  <a:pt x="2071" y="2378"/>
                  <a:pt x="2072" y="2377"/>
                  <a:pt x="2073" y="2377"/>
                </a:cubicBezTo>
                <a:cubicBezTo>
                  <a:pt x="2073" y="2376"/>
                  <a:pt x="2074" y="2375"/>
                  <a:pt x="2075" y="2374"/>
                </a:cubicBezTo>
                <a:cubicBezTo>
                  <a:pt x="2077" y="2372"/>
                  <a:pt x="2078" y="2370"/>
                  <a:pt x="2079" y="2367"/>
                </a:cubicBezTo>
                <a:cubicBezTo>
                  <a:pt x="2080" y="2366"/>
                  <a:pt x="2080" y="2365"/>
                  <a:pt x="2081" y="2364"/>
                </a:cubicBezTo>
                <a:cubicBezTo>
                  <a:pt x="2081" y="2364"/>
                  <a:pt x="2081" y="2363"/>
                  <a:pt x="2081" y="2363"/>
                </a:cubicBezTo>
                <a:cubicBezTo>
                  <a:pt x="2081" y="2362"/>
                  <a:pt x="2081" y="2362"/>
                  <a:pt x="2082" y="2361"/>
                </a:cubicBezTo>
                <a:cubicBezTo>
                  <a:pt x="2083" y="2360"/>
                  <a:pt x="2084" y="2359"/>
                  <a:pt x="2086" y="2358"/>
                </a:cubicBezTo>
                <a:cubicBezTo>
                  <a:pt x="2087" y="2356"/>
                  <a:pt x="2088" y="2355"/>
                  <a:pt x="2088" y="2353"/>
                </a:cubicBezTo>
                <a:cubicBezTo>
                  <a:pt x="2088" y="2353"/>
                  <a:pt x="2088" y="2352"/>
                  <a:pt x="2088" y="2352"/>
                </a:cubicBezTo>
                <a:cubicBezTo>
                  <a:pt x="2088" y="2352"/>
                  <a:pt x="2088" y="2351"/>
                  <a:pt x="2088" y="2351"/>
                </a:cubicBezTo>
                <a:cubicBezTo>
                  <a:pt x="2084" y="2343"/>
                  <a:pt x="2078" y="2338"/>
                  <a:pt x="2073" y="2331"/>
                </a:cubicBezTo>
                <a:cubicBezTo>
                  <a:pt x="2070" y="2326"/>
                  <a:pt x="2067" y="2323"/>
                  <a:pt x="2064" y="2319"/>
                </a:cubicBezTo>
                <a:cubicBezTo>
                  <a:pt x="2062" y="2317"/>
                  <a:pt x="2060" y="2315"/>
                  <a:pt x="2059" y="2313"/>
                </a:cubicBezTo>
                <a:cubicBezTo>
                  <a:pt x="2057" y="2311"/>
                  <a:pt x="2055" y="2310"/>
                  <a:pt x="2053" y="2308"/>
                </a:cubicBezTo>
                <a:cubicBezTo>
                  <a:pt x="2052" y="2306"/>
                  <a:pt x="2051" y="2305"/>
                  <a:pt x="2050" y="2304"/>
                </a:cubicBezTo>
                <a:cubicBezTo>
                  <a:pt x="2048" y="2302"/>
                  <a:pt x="2046" y="2299"/>
                  <a:pt x="2043" y="2298"/>
                </a:cubicBezTo>
                <a:cubicBezTo>
                  <a:pt x="2042" y="2297"/>
                  <a:pt x="2041" y="2297"/>
                  <a:pt x="2040" y="2296"/>
                </a:cubicBezTo>
                <a:cubicBezTo>
                  <a:pt x="2039" y="2295"/>
                  <a:pt x="2038" y="2293"/>
                  <a:pt x="2037" y="2292"/>
                </a:cubicBezTo>
                <a:cubicBezTo>
                  <a:pt x="2014" y="2264"/>
                  <a:pt x="1955" y="2196"/>
                  <a:pt x="1943" y="2184"/>
                </a:cubicBezTo>
                <a:cubicBezTo>
                  <a:pt x="1941" y="2181"/>
                  <a:pt x="1935" y="2175"/>
                  <a:pt x="1931" y="2170"/>
                </a:cubicBezTo>
                <a:cubicBezTo>
                  <a:pt x="1927" y="2166"/>
                  <a:pt x="1920" y="2159"/>
                  <a:pt x="1917" y="2155"/>
                </a:cubicBezTo>
                <a:cubicBezTo>
                  <a:pt x="1897" y="2134"/>
                  <a:pt x="1889" y="2125"/>
                  <a:pt x="1869" y="2103"/>
                </a:cubicBezTo>
                <a:cubicBezTo>
                  <a:pt x="1868" y="2101"/>
                  <a:pt x="1866" y="2099"/>
                  <a:pt x="1864" y="2097"/>
                </a:cubicBezTo>
                <a:cubicBezTo>
                  <a:pt x="1864" y="2097"/>
                  <a:pt x="1863" y="2096"/>
                  <a:pt x="1862" y="2095"/>
                </a:cubicBezTo>
                <a:cubicBezTo>
                  <a:pt x="1862" y="2094"/>
                  <a:pt x="1861" y="2094"/>
                  <a:pt x="1860" y="2094"/>
                </a:cubicBezTo>
                <a:cubicBezTo>
                  <a:pt x="1859" y="2093"/>
                  <a:pt x="1859" y="2093"/>
                  <a:pt x="1859" y="2092"/>
                </a:cubicBezTo>
                <a:cubicBezTo>
                  <a:pt x="1858" y="2091"/>
                  <a:pt x="1858" y="2089"/>
                  <a:pt x="1857" y="2089"/>
                </a:cubicBezTo>
                <a:cubicBezTo>
                  <a:pt x="1857" y="2089"/>
                  <a:pt x="1856" y="2089"/>
                  <a:pt x="1856" y="2089"/>
                </a:cubicBezTo>
                <a:cubicBezTo>
                  <a:pt x="1855" y="2089"/>
                  <a:pt x="1854" y="2087"/>
                  <a:pt x="1853" y="2086"/>
                </a:cubicBezTo>
                <a:cubicBezTo>
                  <a:pt x="1852" y="2085"/>
                  <a:pt x="1851" y="2083"/>
                  <a:pt x="1850" y="2082"/>
                </a:cubicBezTo>
                <a:cubicBezTo>
                  <a:pt x="1847" y="2079"/>
                  <a:pt x="1845" y="2077"/>
                  <a:pt x="1843" y="2074"/>
                </a:cubicBezTo>
                <a:cubicBezTo>
                  <a:pt x="1836" y="2066"/>
                  <a:pt x="1830" y="2059"/>
                  <a:pt x="1829" y="2059"/>
                </a:cubicBezTo>
                <a:cubicBezTo>
                  <a:pt x="1828" y="2058"/>
                  <a:pt x="1828" y="2058"/>
                  <a:pt x="1828" y="2058"/>
                </a:cubicBezTo>
                <a:cubicBezTo>
                  <a:pt x="1828" y="2057"/>
                  <a:pt x="1828" y="2056"/>
                  <a:pt x="1827" y="2055"/>
                </a:cubicBezTo>
                <a:cubicBezTo>
                  <a:pt x="1825" y="2055"/>
                  <a:pt x="1825" y="2053"/>
                  <a:pt x="1823" y="2052"/>
                </a:cubicBezTo>
                <a:cubicBezTo>
                  <a:pt x="1822" y="2051"/>
                  <a:pt x="1821" y="2049"/>
                  <a:pt x="1820" y="2048"/>
                </a:cubicBezTo>
                <a:cubicBezTo>
                  <a:pt x="1817" y="2045"/>
                  <a:pt x="1815" y="2042"/>
                  <a:pt x="1812" y="2039"/>
                </a:cubicBezTo>
                <a:cubicBezTo>
                  <a:pt x="1801" y="2026"/>
                  <a:pt x="1789" y="2013"/>
                  <a:pt x="1778" y="1999"/>
                </a:cubicBezTo>
                <a:cubicBezTo>
                  <a:pt x="1773" y="1994"/>
                  <a:pt x="1768" y="1988"/>
                  <a:pt x="1763" y="1982"/>
                </a:cubicBezTo>
                <a:cubicBezTo>
                  <a:pt x="1760" y="1978"/>
                  <a:pt x="1756" y="1974"/>
                  <a:pt x="1752" y="1969"/>
                </a:cubicBezTo>
                <a:cubicBezTo>
                  <a:pt x="1749" y="1965"/>
                  <a:pt x="1745" y="1961"/>
                  <a:pt x="1741" y="1957"/>
                </a:cubicBezTo>
                <a:cubicBezTo>
                  <a:pt x="1740" y="1955"/>
                  <a:pt x="1738" y="1953"/>
                  <a:pt x="1737" y="1951"/>
                </a:cubicBezTo>
                <a:cubicBezTo>
                  <a:pt x="1736" y="1951"/>
                  <a:pt x="1735" y="1950"/>
                  <a:pt x="1735" y="1949"/>
                </a:cubicBezTo>
                <a:cubicBezTo>
                  <a:pt x="1734" y="1948"/>
                  <a:pt x="1733" y="1947"/>
                  <a:pt x="1733" y="1947"/>
                </a:cubicBezTo>
                <a:cubicBezTo>
                  <a:pt x="1732" y="1946"/>
                  <a:pt x="1732" y="1946"/>
                  <a:pt x="1731" y="1946"/>
                </a:cubicBezTo>
                <a:cubicBezTo>
                  <a:pt x="1731" y="1946"/>
                  <a:pt x="1731" y="1946"/>
                  <a:pt x="1731" y="1945"/>
                </a:cubicBezTo>
                <a:cubicBezTo>
                  <a:pt x="1730" y="1945"/>
                  <a:pt x="1729" y="1945"/>
                  <a:pt x="1728" y="1944"/>
                </a:cubicBezTo>
                <a:cubicBezTo>
                  <a:pt x="1728" y="1944"/>
                  <a:pt x="1728" y="1942"/>
                  <a:pt x="1728" y="1941"/>
                </a:cubicBezTo>
                <a:cubicBezTo>
                  <a:pt x="1727" y="1940"/>
                  <a:pt x="1726" y="1939"/>
                  <a:pt x="1725" y="1938"/>
                </a:cubicBezTo>
                <a:cubicBezTo>
                  <a:pt x="1723" y="1936"/>
                  <a:pt x="1722" y="1935"/>
                  <a:pt x="1720" y="1933"/>
                </a:cubicBezTo>
                <a:cubicBezTo>
                  <a:pt x="1719" y="1932"/>
                  <a:pt x="1715" y="1926"/>
                  <a:pt x="1714" y="1927"/>
                </a:cubicBezTo>
                <a:cubicBezTo>
                  <a:pt x="1713" y="1927"/>
                  <a:pt x="1713" y="1928"/>
                  <a:pt x="1713" y="1928"/>
                </a:cubicBezTo>
                <a:cubicBezTo>
                  <a:pt x="1712" y="1928"/>
                  <a:pt x="1711" y="1926"/>
                  <a:pt x="1710" y="1925"/>
                </a:cubicBezTo>
                <a:cubicBezTo>
                  <a:pt x="1710" y="1925"/>
                  <a:pt x="1707" y="1923"/>
                  <a:pt x="1708" y="1922"/>
                </a:cubicBezTo>
                <a:cubicBezTo>
                  <a:pt x="1708" y="1921"/>
                  <a:pt x="1708" y="1921"/>
                  <a:pt x="1707" y="1920"/>
                </a:cubicBezTo>
                <a:cubicBezTo>
                  <a:pt x="1706" y="1920"/>
                  <a:pt x="1706" y="1921"/>
                  <a:pt x="1705" y="1920"/>
                </a:cubicBezTo>
                <a:cubicBezTo>
                  <a:pt x="1705" y="1920"/>
                  <a:pt x="1704" y="1919"/>
                  <a:pt x="1704" y="1918"/>
                </a:cubicBezTo>
                <a:cubicBezTo>
                  <a:pt x="1704" y="1918"/>
                  <a:pt x="1705" y="1917"/>
                  <a:pt x="1704" y="1916"/>
                </a:cubicBezTo>
                <a:cubicBezTo>
                  <a:pt x="1704" y="1914"/>
                  <a:pt x="1702" y="1912"/>
                  <a:pt x="1700" y="1911"/>
                </a:cubicBezTo>
                <a:cubicBezTo>
                  <a:pt x="1699" y="1909"/>
                  <a:pt x="1698" y="1908"/>
                  <a:pt x="1696" y="1908"/>
                </a:cubicBezTo>
                <a:cubicBezTo>
                  <a:pt x="1694" y="1907"/>
                  <a:pt x="1694" y="1907"/>
                  <a:pt x="1694" y="1905"/>
                </a:cubicBezTo>
                <a:cubicBezTo>
                  <a:pt x="1693" y="1904"/>
                  <a:pt x="1692" y="1902"/>
                  <a:pt x="1691" y="1901"/>
                </a:cubicBezTo>
                <a:cubicBezTo>
                  <a:pt x="1690" y="1900"/>
                  <a:pt x="1689" y="1899"/>
                  <a:pt x="1687" y="1898"/>
                </a:cubicBezTo>
                <a:cubicBezTo>
                  <a:pt x="1687" y="1898"/>
                  <a:pt x="1686" y="1898"/>
                  <a:pt x="1685" y="1897"/>
                </a:cubicBezTo>
                <a:cubicBezTo>
                  <a:pt x="1685" y="1896"/>
                  <a:pt x="1685" y="1896"/>
                  <a:pt x="1684" y="1895"/>
                </a:cubicBezTo>
                <a:cubicBezTo>
                  <a:pt x="1684" y="1894"/>
                  <a:pt x="1684" y="1894"/>
                  <a:pt x="1684" y="1893"/>
                </a:cubicBezTo>
                <a:cubicBezTo>
                  <a:pt x="1684" y="1892"/>
                  <a:pt x="1683" y="1891"/>
                  <a:pt x="1682" y="1890"/>
                </a:cubicBezTo>
                <a:cubicBezTo>
                  <a:pt x="1681" y="1888"/>
                  <a:pt x="1680" y="1887"/>
                  <a:pt x="1678" y="1885"/>
                </a:cubicBezTo>
                <a:cubicBezTo>
                  <a:pt x="1675" y="1881"/>
                  <a:pt x="1671" y="1877"/>
                  <a:pt x="1668" y="1872"/>
                </a:cubicBezTo>
                <a:cubicBezTo>
                  <a:pt x="1666" y="1870"/>
                  <a:pt x="1664" y="1869"/>
                  <a:pt x="1663" y="1867"/>
                </a:cubicBezTo>
                <a:cubicBezTo>
                  <a:pt x="1662" y="1866"/>
                  <a:pt x="1660" y="1864"/>
                  <a:pt x="1659" y="1864"/>
                </a:cubicBezTo>
                <a:cubicBezTo>
                  <a:pt x="1658" y="1863"/>
                  <a:pt x="1656" y="1863"/>
                  <a:pt x="1655" y="1862"/>
                </a:cubicBezTo>
                <a:cubicBezTo>
                  <a:pt x="1654" y="1862"/>
                  <a:pt x="1654" y="1861"/>
                  <a:pt x="1654" y="1860"/>
                </a:cubicBezTo>
                <a:cubicBezTo>
                  <a:pt x="1653" y="1860"/>
                  <a:pt x="1652" y="1858"/>
                  <a:pt x="1651" y="1857"/>
                </a:cubicBezTo>
                <a:cubicBezTo>
                  <a:pt x="1650" y="1856"/>
                  <a:pt x="1649" y="1856"/>
                  <a:pt x="1649" y="1855"/>
                </a:cubicBezTo>
                <a:cubicBezTo>
                  <a:pt x="1649" y="1855"/>
                  <a:pt x="1649" y="1854"/>
                  <a:pt x="1649" y="1854"/>
                </a:cubicBezTo>
                <a:cubicBezTo>
                  <a:pt x="1649" y="1854"/>
                  <a:pt x="1649" y="1854"/>
                  <a:pt x="1650" y="1854"/>
                </a:cubicBezTo>
                <a:cubicBezTo>
                  <a:pt x="1650" y="1853"/>
                  <a:pt x="1650" y="1853"/>
                  <a:pt x="1650" y="1852"/>
                </a:cubicBezTo>
                <a:cubicBezTo>
                  <a:pt x="1649" y="1851"/>
                  <a:pt x="1648" y="1850"/>
                  <a:pt x="1647" y="1849"/>
                </a:cubicBezTo>
                <a:cubicBezTo>
                  <a:pt x="1645" y="1847"/>
                  <a:pt x="1643" y="1844"/>
                  <a:pt x="1643" y="1843"/>
                </a:cubicBezTo>
                <a:cubicBezTo>
                  <a:pt x="1642" y="1843"/>
                  <a:pt x="1639" y="1839"/>
                  <a:pt x="1635" y="1835"/>
                </a:cubicBezTo>
                <a:cubicBezTo>
                  <a:pt x="1634" y="1833"/>
                  <a:pt x="1632" y="1832"/>
                  <a:pt x="1631" y="1831"/>
                </a:cubicBezTo>
                <a:cubicBezTo>
                  <a:pt x="1631" y="1830"/>
                  <a:pt x="1629" y="1828"/>
                  <a:pt x="1628" y="1828"/>
                </a:cubicBezTo>
                <a:cubicBezTo>
                  <a:pt x="1628" y="1828"/>
                  <a:pt x="1627" y="1829"/>
                  <a:pt x="1626" y="1828"/>
                </a:cubicBezTo>
                <a:cubicBezTo>
                  <a:pt x="1626" y="1828"/>
                  <a:pt x="1625" y="1827"/>
                  <a:pt x="1626" y="1826"/>
                </a:cubicBezTo>
                <a:cubicBezTo>
                  <a:pt x="1626" y="1826"/>
                  <a:pt x="1626" y="1826"/>
                  <a:pt x="1626" y="1826"/>
                </a:cubicBezTo>
                <a:cubicBezTo>
                  <a:pt x="1627" y="1825"/>
                  <a:pt x="1623" y="1822"/>
                  <a:pt x="1623" y="1821"/>
                </a:cubicBezTo>
                <a:cubicBezTo>
                  <a:pt x="1619" y="1816"/>
                  <a:pt x="1617" y="1814"/>
                  <a:pt x="1615" y="1810"/>
                </a:cubicBezTo>
                <a:cubicBezTo>
                  <a:pt x="1613" y="1807"/>
                  <a:pt x="1604" y="1797"/>
                  <a:pt x="1599" y="1791"/>
                </a:cubicBezTo>
                <a:cubicBezTo>
                  <a:pt x="1598" y="1791"/>
                  <a:pt x="1597" y="1790"/>
                  <a:pt x="1596" y="1789"/>
                </a:cubicBezTo>
                <a:cubicBezTo>
                  <a:pt x="1596" y="1789"/>
                  <a:pt x="1595" y="1788"/>
                  <a:pt x="1595" y="1788"/>
                </a:cubicBezTo>
                <a:cubicBezTo>
                  <a:pt x="1595" y="1788"/>
                  <a:pt x="1594" y="1788"/>
                  <a:pt x="1594" y="1787"/>
                </a:cubicBezTo>
                <a:cubicBezTo>
                  <a:pt x="1594" y="1787"/>
                  <a:pt x="1594" y="1787"/>
                  <a:pt x="1593" y="1787"/>
                </a:cubicBezTo>
                <a:cubicBezTo>
                  <a:pt x="1593" y="1786"/>
                  <a:pt x="1593" y="1786"/>
                  <a:pt x="1592" y="1786"/>
                </a:cubicBezTo>
                <a:cubicBezTo>
                  <a:pt x="1592" y="1785"/>
                  <a:pt x="1592" y="1784"/>
                  <a:pt x="1591" y="1784"/>
                </a:cubicBezTo>
                <a:cubicBezTo>
                  <a:pt x="1591" y="1783"/>
                  <a:pt x="1590" y="1782"/>
                  <a:pt x="1590" y="1782"/>
                </a:cubicBezTo>
                <a:cubicBezTo>
                  <a:pt x="1589" y="1781"/>
                  <a:pt x="1588" y="1780"/>
                  <a:pt x="1587" y="1779"/>
                </a:cubicBezTo>
                <a:cubicBezTo>
                  <a:pt x="1585" y="1779"/>
                  <a:pt x="1584" y="1779"/>
                  <a:pt x="1584" y="1778"/>
                </a:cubicBezTo>
                <a:cubicBezTo>
                  <a:pt x="1583" y="1777"/>
                  <a:pt x="1584" y="1776"/>
                  <a:pt x="1583" y="1775"/>
                </a:cubicBezTo>
                <a:cubicBezTo>
                  <a:pt x="1583" y="1775"/>
                  <a:pt x="1583" y="1775"/>
                  <a:pt x="1583" y="1774"/>
                </a:cubicBezTo>
                <a:cubicBezTo>
                  <a:pt x="1583" y="1774"/>
                  <a:pt x="1583" y="1774"/>
                  <a:pt x="1582" y="1774"/>
                </a:cubicBezTo>
                <a:cubicBezTo>
                  <a:pt x="1582" y="1774"/>
                  <a:pt x="1582" y="1774"/>
                  <a:pt x="1582" y="1774"/>
                </a:cubicBezTo>
                <a:cubicBezTo>
                  <a:pt x="1580" y="1774"/>
                  <a:pt x="1579" y="1772"/>
                  <a:pt x="1577" y="1771"/>
                </a:cubicBezTo>
                <a:cubicBezTo>
                  <a:pt x="1577" y="1770"/>
                  <a:pt x="1576" y="1770"/>
                  <a:pt x="1577" y="1769"/>
                </a:cubicBezTo>
                <a:cubicBezTo>
                  <a:pt x="1577" y="1769"/>
                  <a:pt x="1577" y="1768"/>
                  <a:pt x="1577" y="1767"/>
                </a:cubicBezTo>
                <a:cubicBezTo>
                  <a:pt x="1577" y="1767"/>
                  <a:pt x="1576" y="1767"/>
                  <a:pt x="1576" y="1767"/>
                </a:cubicBezTo>
                <a:cubicBezTo>
                  <a:pt x="1574" y="1766"/>
                  <a:pt x="1575" y="1764"/>
                  <a:pt x="1574" y="1763"/>
                </a:cubicBezTo>
                <a:cubicBezTo>
                  <a:pt x="1573" y="1762"/>
                  <a:pt x="1572" y="1761"/>
                  <a:pt x="1571" y="1760"/>
                </a:cubicBezTo>
                <a:cubicBezTo>
                  <a:pt x="1571" y="1759"/>
                  <a:pt x="1568" y="1755"/>
                  <a:pt x="1566" y="1755"/>
                </a:cubicBezTo>
                <a:cubicBezTo>
                  <a:pt x="1566" y="1756"/>
                  <a:pt x="1566" y="1756"/>
                  <a:pt x="1566" y="1756"/>
                </a:cubicBezTo>
                <a:cubicBezTo>
                  <a:pt x="1565" y="1757"/>
                  <a:pt x="1564" y="1755"/>
                  <a:pt x="1563" y="1754"/>
                </a:cubicBezTo>
                <a:cubicBezTo>
                  <a:pt x="1562" y="1753"/>
                  <a:pt x="1562" y="1752"/>
                  <a:pt x="1562" y="1751"/>
                </a:cubicBezTo>
                <a:cubicBezTo>
                  <a:pt x="1562" y="1750"/>
                  <a:pt x="1562" y="1750"/>
                  <a:pt x="1561" y="1749"/>
                </a:cubicBezTo>
                <a:cubicBezTo>
                  <a:pt x="1561" y="1749"/>
                  <a:pt x="1560" y="1748"/>
                  <a:pt x="1560" y="1749"/>
                </a:cubicBezTo>
                <a:cubicBezTo>
                  <a:pt x="1560" y="1749"/>
                  <a:pt x="1559" y="1749"/>
                  <a:pt x="1559" y="1749"/>
                </a:cubicBezTo>
                <a:cubicBezTo>
                  <a:pt x="1559" y="1749"/>
                  <a:pt x="1559" y="1749"/>
                  <a:pt x="1559" y="1749"/>
                </a:cubicBezTo>
                <a:cubicBezTo>
                  <a:pt x="1558" y="1748"/>
                  <a:pt x="1558" y="1748"/>
                  <a:pt x="1557" y="1747"/>
                </a:cubicBezTo>
                <a:cubicBezTo>
                  <a:pt x="1557" y="1746"/>
                  <a:pt x="1557" y="1746"/>
                  <a:pt x="1557" y="1745"/>
                </a:cubicBezTo>
                <a:cubicBezTo>
                  <a:pt x="1558" y="1745"/>
                  <a:pt x="1558" y="1745"/>
                  <a:pt x="1558" y="1744"/>
                </a:cubicBezTo>
                <a:cubicBezTo>
                  <a:pt x="1557" y="1744"/>
                  <a:pt x="1557" y="1743"/>
                  <a:pt x="1556" y="1743"/>
                </a:cubicBezTo>
                <a:cubicBezTo>
                  <a:pt x="1553" y="1739"/>
                  <a:pt x="1546" y="1730"/>
                  <a:pt x="1544" y="1727"/>
                </a:cubicBezTo>
                <a:cubicBezTo>
                  <a:pt x="1544" y="1727"/>
                  <a:pt x="1542" y="1725"/>
                  <a:pt x="1541" y="1724"/>
                </a:cubicBezTo>
                <a:cubicBezTo>
                  <a:pt x="1540" y="1722"/>
                  <a:pt x="1538" y="1720"/>
                  <a:pt x="1536" y="1718"/>
                </a:cubicBezTo>
                <a:cubicBezTo>
                  <a:pt x="1535" y="1716"/>
                  <a:pt x="1533" y="1713"/>
                  <a:pt x="1532" y="1711"/>
                </a:cubicBezTo>
                <a:cubicBezTo>
                  <a:pt x="1529" y="1709"/>
                  <a:pt x="1528" y="1705"/>
                  <a:pt x="1525" y="1703"/>
                </a:cubicBezTo>
                <a:cubicBezTo>
                  <a:pt x="1524" y="1703"/>
                  <a:pt x="1523" y="1703"/>
                  <a:pt x="1523" y="1702"/>
                </a:cubicBezTo>
                <a:cubicBezTo>
                  <a:pt x="1521" y="1700"/>
                  <a:pt x="1520" y="1699"/>
                  <a:pt x="1518" y="1697"/>
                </a:cubicBezTo>
                <a:cubicBezTo>
                  <a:pt x="1515" y="1693"/>
                  <a:pt x="1511" y="1689"/>
                  <a:pt x="1509" y="1687"/>
                </a:cubicBezTo>
                <a:cubicBezTo>
                  <a:pt x="1508" y="1686"/>
                  <a:pt x="1507" y="1684"/>
                  <a:pt x="1506" y="1683"/>
                </a:cubicBezTo>
                <a:cubicBezTo>
                  <a:pt x="1505" y="1683"/>
                  <a:pt x="1505" y="1683"/>
                  <a:pt x="1504" y="1683"/>
                </a:cubicBezTo>
                <a:cubicBezTo>
                  <a:pt x="1504" y="1683"/>
                  <a:pt x="1504" y="1684"/>
                  <a:pt x="1504" y="1685"/>
                </a:cubicBezTo>
                <a:cubicBezTo>
                  <a:pt x="1503" y="1684"/>
                  <a:pt x="1503" y="1684"/>
                  <a:pt x="1502" y="1683"/>
                </a:cubicBezTo>
                <a:cubicBezTo>
                  <a:pt x="1502" y="1683"/>
                  <a:pt x="1502" y="1682"/>
                  <a:pt x="1502" y="1682"/>
                </a:cubicBezTo>
                <a:cubicBezTo>
                  <a:pt x="1502" y="1682"/>
                  <a:pt x="1502" y="1682"/>
                  <a:pt x="1503" y="1682"/>
                </a:cubicBezTo>
                <a:cubicBezTo>
                  <a:pt x="1503" y="1682"/>
                  <a:pt x="1503" y="1681"/>
                  <a:pt x="1503" y="1681"/>
                </a:cubicBezTo>
                <a:cubicBezTo>
                  <a:pt x="1503" y="1680"/>
                  <a:pt x="1501" y="1679"/>
                  <a:pt x="1500" y="1678"/>
                </a:cubicBezTo>
                <a:cubicBezTo>
                  <a:pt x="1500" y="1677"/>
                  <a:pt x="1498" y="1676"/>
                  <a:pt x="1498" y="1676"/>
                </a:cubicBezTo>
                <a:cubicBezTo>
                  <a:pt x="1498" y="1675"/>
                  <a:pt x="1497" y="1675"/>
                  <a:pt x="1496" y="1675"/>
                </a:cubicBezTo>
                <a:cubicBezTo>
                  <a:pt x="1495" y="1676"/>
                  <a:pt x="1495" y="1676"/>
                  <a:pt x="1495" y="1674"/>
                </a:cubicBezTo>
                <a:cubicBezTo>
                  <a:pt x="1494" y="1674"/>
                  <a:pt x="1495" y="1673"/>
                  <a:pt x="1495" y="1673"/>
                </a:cubicBezTo>
                <a:cubicBezTo>
                  <a:pt x="1495" y="1673"/>
                  <a:pt x="1495" y="1672"/>
                  <a:pt x="1495" y="1672"/>
                </a:cubicBezTo>
                <a:cubicBezTo>
                  <a:pt x="1494" y="1671"/>
                  <a:pt x="1493" y="1669"/>
                  <a:pt x="1493" y="1668"/>
                </a:cubicBezTo>
                <a:cubicBezTo>
                  <a:pt x="1493" y="1668"/>
                  <a:pt x="1493" y="1668"/>
                  <a:pt x="1493" y="1668"/>
                </a:cubicBezTo>
                <a:cubicBezTo>
                  <a:pt x="1493" y="1667"/>
                  <a:pt x="1493" y="1667"/>
                  <a:pt x="1493" y="1667"/>
                </a:cubicBezTo>
                <a:cubicBezTo>
                  <a:pt x="1492" y="1666"/>
                  <a:pt x="1491" y="1666"/>
                  <a:pt x="1490" y="1666"/>
                </a:cubicBezTo>
                <a:cubicBezTo>
                  <a:pt x="1489" y="1665"/>
                  <a:pt x="1489" y="1664"/>
                  <a:pt x="1488" y="1663"/>
                </a:cubicBezTo>
                <a:cubicBezTo>
                  <a:pt x="1486" y="1662"/>
                  <a:pt x="1485" y="1660"/>
                  <a:pt x="1483" y="1658"/>
                </a:cubicBezTo>
                <a:cubicBezTo>
                  <a:pt x="1480" y="1654"/>
                  <a:pt x="1477" y="1650"/>
                  <a:pt x="1473" y="1646"/>
                </a:cubicBezTo>
                <a:cubicBezTo>
                  <a:pt x="1464" y="1636"/>
                  <a:pt x="1455" y="1625"/>
                  <a:pt x="1453" y="1623"/>
                </a:cubicBezTo>
                <a:cubicBezTo>
                  <a:pt x="1451" y="1621"/>
                  <a:pt x="1444" y="1613"/>
                  <a:pt x="1437" y="1605"/>
                </a:cubicBezTo>
                <a:cubicBezTo>
                  <a:pt x="1429" y="1597"/>
                  <a:pt x="1417" y="1583"/>
                  <a:pt x="1410" y="1575"/>
                </a:cubicBezTo>
                <a:cubicBezTo>
                  <a:pt x="1403" y="1567"/>
                  <a:pt x="1384" y="1545"/>
                  <a:pt x="1368" y="1526"/>
                </a:cubicBezTo>
                <a:cubicBezTo>
                  <a:pt x="1363" y="1520"/>
                  <a:pt x="1357" y="1514"/>
                  <a:pt x="1352" y="1508"/>
                </a:cubicBezTo>
                <a:cubicBezTo>
                  <a:pt x="1349" y="1505"/>
                  <a:pt x="1346" y="1501"/>
                  <a:pt x="1344" y="1498"/>
                </a:cubicBezTo>
                <a:cubicBezTo>
                  <a:pt x="1342" y="1497"/>
                  <a:pt x="1341" y="1495"/>
                  <a:pt x="1340" y="1494"/>
                </a:cubicBezTo>
                <a:cubicBezTo>
                  <a:pt x="1339" y="1493"/>
                  <a:pt x="1337" y="1494"/>
                  <a:pt x="1337" y="1492"/>
                </a:cubicBezTo>
                <a:cubicBezTo>
                  <a:pt x="1337" y="1490"/>
                  <a:pt x="1335" y="1489"/>
                  <a:pt x="1335" y="1488"/>
                </a:cubicBezTo>
                <a:cubicBezTo>
                  <a:pt x="1333" y="1487"/>
                  <a:pt x="1332" y="1486"/>
                  <a:pt x="1331" y="1484"/>
                </a:cubicBezTo>
                <a:cubicBezTo>
                  <a:pt x="1329" y="1482"/>
                  <a:pt x="1326" y="1479"/>
                  <a:pt x="1324" y="1477"/>
                </a:cubicBezTo>
                <a:cubicBezTo>
                  <a:pt x="1321" y="1474"/>
                  <a:pt x="1319" y="1471"/>
                  <a:pt x="1316" y="1468"/>
                </a:cubicBezTo>
                <a:cubicBezTo>
                  <a:pt x="1315" y="1466"/>
                  <a:pt x="1313" y="1463"/>
                  <a:pt x="1310" y="1462"/>
                </a:cubicBezTo>
                <a:cubicBezTo>
                  <a:pt x="1309" y="1462"/>
                  <a:pt x="1309" y="1461"/>
                  <a:pt x="1309" y="1460"/>
                </a:cubicBezTo>
                <a:cubicBezTo>
                  <a:pt x="1308" y="1458"/>
                  <a:pt x="1306" y="1457"/>
                  <a:pt x="1305" y="1455"/>
                </a:cubicBezTo>
                <a:cubicBezTo>
                  <a:pt x="1302" y="1452"/>
                  <a:pt x="1295" y="1444"/>
                  <a:pt x="1289" y="1437"/>
                </a:cubicBezTo>
                <a:cubicBezTo>
                  <a:pt x="1286" y="1434"/>
                  <a:pt x="1283" y="1430"/>
                  <a:pt x="1280" y="1426"/>
                </a:cubicBezTo>
                <a:cubicBezTo>
                  <a:pt x="1279" y="1426"/>
                  <a:pt x="1279" y="1425"/>
                  <a:pt x="1279" y="1425"/>
                </a:cubicBezTo>
                <a:cubicBezTo>
                  <a:pt x="1279" y="1424"/>
                  <a:pt x="1279" y="1424"/>
                  <a:pt x="1279" y="1424"/>
                </a:cubicBezTo>
                <a:cubicBezTo>
                  <a:pt x="1279" y="1422"/>
                  <a:pt x="1277" y="1421"/>
                  <a:pt x="1276" y="1420"/>
                </a:cubicBezTo>
                <a:cubicBezTo>
                  <a:pt x="1275" y="1420"/>
                  <a:pt x="1274" y="1419"/>
                  <a:pt x="1273" y="1418"/>
                </a:cubicBezTo>
                <a:cubicBezTo>
                  <a:pt x="1272" y="1417"/>
                  <a:pt x="1271" y="1417"/>
                  <a:pt x="1271" y="1416"/>
                </a:cubicBezTo>
                <a:cubicBezTo>
                  <a:pt x="1270" y="1416"/>
                  <a:pt x="1269" y="1416"/>
                  <a:pt x="1269" y="1415"/>
                </a:cubicBezTo>
                <a:cubicBezTo>
                  <a:pt x="1268" y="1415"/>
                  <a:pt x="1268" y="1413"/>
                  <a:pt x="1267" y="1412"/>
                </a:cubicBezTo>
                <a:cubicBezTo>
                  <a:pt x="1267" y="1411"/>
                  <a:pt x="1265" y="1412"/>
                  <a:pt x="1264" y="1410"/>
                </a:cubicBezTo>
                <a:cubicBezTo>
                  <a:pt x="1264" y="1410"/>
                  <a:pt x="1264" y="1410"/>
                  <a:pt x="1264" y="1409"/>
                </a:cubicBezTo>
                <a:cubicBezTo>
                  <a:pt x="1264" y="1407"/>
                  <a:pt x="1261" y="1405"/>
                  <a:pt x="1260" y="1404"/>
                </a:cubicBezTo>
                <a:cubicBezTo>
                  <a:pt x="1258" y="1402"/>
                  <a:pt x="1257" y="1401"/>
                  <a:pt x="1256" y="1399"/>
                </a:cubicBezTo>
                <a:cubicBezTo>
                  <a:pt x="1255" y="1398"/>
                  <a:pt x="1253" y="1397"/>
                  <a:pt x="1253" y="1395"/>
                </a:cubicBezTo>
                <a:cubicBezTo>
                  <a:pt x="1253" y="1394"/>
                  <a:pt x="1254" y="1394"/>
                  <a:pt x="1254" y="1393"/>
                </a:cubicBezTo>
                <a:cubicBezTo>
                  <a:pt x="1254" y="1393"/>
                  <a:pt x="1254" y="1393"/>
                  <a:pt x="1254" y="1392"/>
                </a:cubicBezTo>
                <a:cubicBezTo>
                  <a:pt x="1254" y="1391"/>
                  <a:pt x="1253" y="1390"/>
                  <a:pt x="1253" y="1390"/>
                </a:cubicBezTo>
                <a:cubicBezTo>
                  <a:pt x="1252" y="1389"/>
                  <a:pt x="1252" y="1389"/>
                  <a:pt x="1251" y="1389"/>
                </a:cubicBezTo>
                <a:cubicBezTo>
                  <a:pt x="1251" y="1390"/>
                  <a:pt x="1251" y="1390"/>
                  <a:pt x="1250" y="1391"/>
                </a:cubicBezTo>
                <a:cubicBezTo>
                  <a:pt x="1250" y="1391"/>
                  <a:pt x="1250" y="1391"/>
                  <a:pt x="1249" y="1391"/>
                </a:cubicBezTo>
                <a:cubicBezTo>
                  <a:pt x="1247" y="1391"/>
                  <a:pt x="1246" y="1389"/>
                  <a:pt x="1245" y="1387"/>
                </a:cubicBezTo>
                <a:cubicBezTo>
                  <a:pt x="1244" y="1385"/>
                  <a:pt x="1243" y="1383"/>
                  <a:pt x="1242" y="1381"/>
                </a:cubicBezTo>
                <a:cubicBezTo>
                  <a:pt x="1241" y="1379"/>
                  <a:pt x="1240" y="1376"/>
                  <a:pt x="1238" y="1375"/>
                </a:cubicBezTo>
                <a:cubicBezTo>
                  <a:pt x="1236" y="1374"/>
                  <a:pt x="1234" y="1374"/>
                  <a:pt x="1233" y="1371"/>
                </a:cubicBezTo>
                <a:cubicBezTo>
                  <a:pt x="1233" y="1370"/>
                  <a:pt x="1232" y="1370"/>
                  <a:pt x="1231" y="1369"/>
                </a:cubicBezTo>
                <a:cubicBezTo>
                  <a:pt x="1231" y="1368"/>
                  <a:pt x="1231" y="1367"/>
                  <a:pt x="1230" y="1366"/>
                </a:cubicBezTo>
                <a:cubicBezTo>
                  <a:pt x="1230" y="1365"/>
                  <a:pt x="1229" y="1364"/>
                  <a:pt x="1229" y="1363"/>
                </a:cubicBezTo>
                <a:cubicBezTo>
                  <a:pt x="1227" y="1362"/>
                  <a:pt x="1226" y="1360"/>
                  <a:pt x="1225" y="1359"/>
                </a:cubicBezTo>
                <a:cubicBezTo>
                  <a:pt x="1223" y="1357"/>
                  <a:pt x="1222" y="1355"/>
                  <a:pt x="1220" y="1354"/>
                </a:cubicBezTo>
                <a:cubicBezTo>
                  <a:pt x="1218" y="1353"/>
                  <a:pt x="1218" y="1355"/>
                  <a:pt x="1217" y="1354"/>
                </a:cubicBezTo>
                <a:cubicBezTo>
                  <a:pt x="1215" y="1354"/>
                  <a:pt x="1214" y="1352"/>
                  <a:pt x="1213" y="1351"/>
                </a:cubicBezTo>
                <a:cubicBezTo>
                  <a:pt x="1213" y="1350"/>
                  <a:pt x="1208" y="1343"/>
                  <a:pt x="1207" y="1344"/>
                </a:cubicBezTo>
                <a:cubicBezTo>
                  <a:pt x="1207" y="1344"/>
                  <a:pt x="1206" y="1344"/>
                  <a:pt x="1206" y="1344"/>
                </a:cubicBezTo>
                <a:cubicBezTo>
                  <a:pt x="1205" y="1342"/>
                  <a:pt x="1203" y="1341"/>
                  <a:pt x="1202" y="1339"/>
                </a:cubicBezTo>
                <a:cubicBezTo>
                  <a:pt x="1197" y="1331"/>
                  <a:pt x="1193" y="1326"/>
                  <a:pt x="1186" y="1319"/>
                </a:cubicBezTo>
                <a:cubicBezTo>
                  <a:pt x="1184" y="1316"/>
                  <a:pt x="1181" y="1314"/>
                  <a:pt x="1179" y="1311"/>
                </a:cubicBezTo>
                <a:cubicBezTo>
                  <a:pt x="1179" y="1311"/>
                  <a:pt x="1179" y="1310"/>
                  <a:pt x="1179" y="1310"/>
                </a:cubicBezTo>
                <a:cubicBezTo>
                  <a:pt x="1179" y="1310"/>
                  <a:pt x="1179" y="1310"/>
                  <a:pt x="1179" y="1310"/>
                </a:cubicBezTo>
                <a:cubicBezTo>
                  <a:pt x="1179" y="1309"/>
                  <a:pt x="1178" y="1309"/>
                  <a:pt x="1178" y="1309"/>
                </a:cubicBezTo>
                <a:cubicBezTo>
                  <a:pt x="1176" y="1308"/>
                  <a:pt x="1177" y="1306"/>
                  <a:pt x="1176" y="1305"/>
                </a:cubicBezTo>
                <a:cubicBezTo>
                  <a:pt x="1176" y="1304"/>
                  <a:pt x="1175" y="1302"/>
                  <a:pt x="1173" y="1303"/>
                </a:cubicBezTo>
                <a:cubicBezTo>
                  <a:pt x="1173" y="1303"/>
                  <a:pt x="1173" y="1303"/>
                  <a:pt x="1172" y="1303"/>
                </a:cubicBezTo>
                <a:cubicBezTo>
                  <a:pt x="1171" y="1303"/>
                  <a:pt x="1170" y="1300"/>
                  <a:pt x="1169" y="1300"/>
                </a:cubicBezTo>
                <a:cubicBezTo>
                  <a:pt x="1168" y="1298"/>
                  <a:pt x="1167" y="1297"/>
                  <a:pt x="1166" y="1296"/>
                </a:cubicBezTo>
                <a:cubicBezTo>
                  <a:pt x="1162" y="1292"/>
                  <a:pt x="1159" y="1288"/>
                  <a:pt x="1158" y="1288"/>
                </a:cubicBezTo>
                <a:cubicBezTo>
                  <a:pt x="1157" y="1286"/>
                  <a:pt x="1156" y="1284"/>
                  <a:pt x="1155" y="1282"/>
                </a:cubicBezTo>
                <a:cubicBezTo>
                  <a:pt x="1154" y="1282"/>
                  <a:pt x="1154" y="1282"/>
                  <a:pt x="1154" y="1282"/>
                </a:cubicBezTo>
                <a:cubicBezTo>
                  <a:pt x="1155" y="1281"/>
                  <a:pt x="1155" y="1280"/>
                  <a:pt x="1154" y="1279"/>
                </a:cubicBezTo>
                <a:cubicBezTo>
                  <a:pt x="1153" y="1278"/>
                  <a:pt x="1153" y="1277"/>
                  <a:pt x="1152" y="1277"/>
                </a:cubicBezTo>
                <a:cubicBezTo>
                  <a:pt x="1151" y="1276"/>
                  <a:pt x="1151" y="1276"/>
                  <a:pt x="1151" y="1276"/>
                </a:cubicBezTo>
                <a:cubicBezTo>
                  <a:pt x="1150" y="1276"/>
                  <a:pt x="1150" y="1276"/>
                  <a:pt x="1150" y="1276"/>
                </a:cubicBezTo>
                <a:cubicBezTo>
                  <a:pt x="1149" y="1276"/>
                  <a:pt x="1148" y="1275"/>
                  <a:pt x="1147" y="1274"/>
                </a:cubicBezTo>
                <a:cubicBezTo>
                  <a:pt x="1146" y="1272"/>
                  <a:pt x="1144" y="1271"/>
                  <a:pt x="1143" y="1269"/>
                </a:cubicBezTo>
                <a:cubicBezTo>
                  <a:pt x="1142" y="1267"/>
                  <a:pt x="1141" y="1266"/>
                  <a:pt x="1139" y="1265"/>
                </a:cubicBezTo>
                <a:cubicBezTo>
                  <a:pt x="1138" y="1265"/>
                  <a:pt x="1137" y="1265"/>
                  <a:pt x="1136" y="1264"/>
                </a:cubicBezTo>
                <a:cubicBezTo>
                  <a:pt x="1135" y="1263"/>
                  <a:pt x="1134" y="1261"/>
                  <a:pt x="1134" y="1260"/>
                </a:cubicBezTo>
                <a:cubicBezTo>
                  <a:pt x="1131" y="1257"/>
                  <a:pt x="1128" y="1254"/>
                  <a:pt x="1125" y="1251"/>
                </a:cubicBezTo>
                <a:cubicBezTo>
                  <a:pt x="1120" y="1246"/>
                  <a:pt x="1115" y="1241"/>
                  <a:pt x="1114" y="1240"/>
                </a:cubicBezTo>
                <a:cubicBezTo>
                  <a:pt x="1113" y="1238"/>
                  <a:pt x="1111" y="1237"/>
                  <a:pt x="1110" y="1237"/>
                </a:cubicBezTo>
                <a:cubicBezTo>
                  <a:pt x="1109" y="1237"/>
                  <a:pt x="1109" y="1237"/>
                  <a:pt x="1109" y="1237"/>
                </a:cubicBezTo>
                <a:cubicBezTo>
                  <a:pt x="1109" y="1236"/>
                  <a:pt x="1109" y="1236"/>
                  <a:pt x="1109" y="1236"/>
                </a:cubicBezTo>
                <a:cubicBezTo>
                  <a:pt x="1108" y="1236"/>
                  <a:pt x="1108" y="1235"/>
                  <a:pt x="1108" y="1235"/>
                </a:cubicBezTo>
                <a:cubicBezTo>
                  <a:pt x="1108" y="1235"/>
                  <a:pt x="1108" y="1234"/>
                  <a:pt x="1108" y="1234"/>
                </a:cubicBezTo>
                <a:cubicBezTo>
                  <a:pt x="1108" y="1231"/>
                  <a:pt x="1105" y="1229"/>
                  <a:pt x="1103" y="1227"/>
                </a:cubicBezTo>
                <a:cubicBezTo>
                  <a:pt x="1101" y="1225"/>
                  <a:pt x="1099" y="1223"/>
                  <a:pt x="1097" y="1220"/>
                </a:cubicBezTo>
                <a:cubicBezTo>
                  <a:pt x="1095" y="1218"/>
                  <a:pt x="1093" y="1215"/>
                  <a:pt x="1091" y="1212"/>
                </a:cubicBezTo>
                <a:cubicBezTo>
                  <a:pt x="1090" y="1211"/>
                  <a:pt x="1089" y="1210"/>
                  <a:pt x="1087" y="1208"/>
                </a:cubicBezTo>
                <a:cubicBezTo>
                  <a:pt x="1087" y="1208"/>
                  <a:pt x="1085" y="1207"/>
                  <a:pt x="1085" y="1207"/>
                </a:cubicBezTo>
                <a:cubicBezTo>
                  <a:pt x="1084" y="1206"/>
                  <a:pt x="1084" y="1206"/>
                  <a:pt x="1084" y="1206"/>
                </a:cubicBezTo>
                <a:cubicBezTo>
                  <a:pt x="1083" y="1206"/>
                  <a:pt x="1083" y="1206"/>
                  <a:pt x="1083" y="1205"/>
                </a:cubicBezTo>
                <a:cubicBezTo>
                  <a:pt x="1082" y="1204"/>
                  <a:pt x="1081" y="1201"/>
                  <a:pt x="1080" y="1200"/>
                </a:cubicBezTo>
                <a:cubicBezTo>
                  <a:pt x="1079" y="1198"/>
                  <a:pt x="1077" y="1196"/>
                  <a:pt x="1075" y="1195"/>
                </a:cubicBezTo>
                <a:cubicBezTo>
                  <a:pt x="1074" y="1193"/>
                  <a:pt x="1073" y="1192"/>
                  <a:pt x="1071" y="1191"/>
                </a:cubicBezTo>
                <a:cubicBezTo>
                  <a:pt x="1070" y="1190"/>
                  <a:pt x="1069" y="1189"/>
                  <a:pt x="1068" y="1189"/>
                </a:cubicBezTo>
                <a:cubicBezTo>
                  <a:pt x="1067" y="1189"/>
                  <a:pt x="1066" y="1188"/>
                  <a:pt x="1066" y="1188"/>
                </a:cubicBezTo>
                <a:cubicBezTo>
                  <a:pt x="1065" y="1187"/>
                  <a:pt x="1064" y="1185"/>
                  <a:pt x="1063" y="1184"/>
                </a:cubicBezTo>
                <a:cubicBezTo>
                  <a:pt x="1062" y="1183"/>
                  <a:pt x="1061" y="1182"/>
                  <a:pt x="1060" y="1181"/>
                </a:cubicBezTo>
                <a:cubicBezTo>
                  <a:pt x="1059" y="1181"/>
                  <a:pt x="1059" y="1180"/>
                  <a:pt x="1058" y="1180"/>
                </a:cubicBezTo>
                <a:cubicBezTo>
                  <a:pt x="1058" y="1180"/>
                  <a:pt x="1058" y="1180"/>
                  <a:pt x="1058" y="1180"/>
                </a:cubicBezTo>
                <a:cubicBezTo>
                  <a:pt x="1058" y="1180"/>
                  <a:pt x="1057" y="1180"/>
                  <a:pt x="1057" y="1180"/>
                </a:cubicBezTo>
                <a:cubicBezTo>
                  <a:pt x="1057" y="1180"/>
                  <a:pt x="1057" y="1179"/>
                  <a:pt x="1057" y="1178"/>
                </a:cubicBezTo>
                <a:cubicBezTo>
                  <a:pt x="1056" y="1177"/>
                  <a:pt x="1055" y="1176"/>
                  <a:pt x="1055" y="1175"/>
                </a:cubicBezTo>
                <a:cubicBezTo>
                  <a:pt x="1054" y="1174"/>
                  <a:pt x="1053" y="1173"/>
                  <a:pt x="1053" y="1172"/>
                </a:cubicBezTo>
                <a:cubicBezTo>
                  <a:pt x="1052" y="1171"/>
                  <a:pt x="1052" y="1171"/>
                  <a:pt x="1052" y="1171"/>
                </a:cubicBezTo>
                <a:cubicBezTo>
                  <a:pt x="1050" y="1169"/>
                  <a:pt x="1049" y="1168"/>
                  <a:pt x="1048" y="1166"/>
                </a:cubicBezTo>
                <a:cubicBezTo>
                  <a:pt x="1047" y="1165"/>
                  <a:pt x="1046" y="1164"/>
                  <a:pt x="1045" y="1163"/>
                </a:cubicBezTo>
                <a:cubicBezTo>
                  <a:pt x="1045" y="1162"/>
                  <a:pt x="1044" y="1161"/>
                  <a:pt x="1044" y="1160"/>
                </a:cubicBezTo>
                <a:cubicBezTo>
                  <a:pt x="1044" y="1159"/>
                  <a:pt x="1043" y="1158"/>
                  <a:pt x="1043" y="1158"/>
                </a:cubicBezTo>
                <a:cubicBezTo>
                  <a:pt x="1042" y="1156"/>
                  <a:pt x="1040" y="1155"/>
                  <a:pt x="1039" y="1153"/>
                </a:cubicBezTo>
                <a:cubicBezTo>
                  <a:pt x="1036" y="1149"/>
                  <a:pt x="1032" y="1146"/>
                  <a:pt x="1029" y="1143"/>
                </a:cubicBezTo>
                <a:cubicBezTo>
                  <a:pt x="1029" y="1142"/>
                  <a:pt x="1028" y="1142"/>
                  <a:pt x="1028" y="1142"/>
                </a:cubicBezTo>
                <a:cubicBezTo>
                  <a:pt x="1028" y="1141"/>
                  <a:pt x="1028" y="1141"/>
                  <a:pt x="1028" y="1140"/>
                </a:cubicBezTo>
                <a:cubicBezTo>
                  <a:pt x="1028" y="1140"/>
                  <a:pt x="1027" y="1139"/>
                  <a:pt x="1027" y="1138"/>
                </a:cubicBezTo>
                <a:cubicBezTo>
                  <a:pt x="1027" y="1137"/>
                  <a:pt x="1026" y="1137"/>
                  <a:pt x="1025" y="1136"/>
                </a:cubicBezTo>
                <a:cubicBezTo>
                  <a:pt x="1024" y="1135"/>
                  <a:pt x="1023" y="1133"/>
                  <a:pt x="1022" y="1132"/>
                </a:cubicBezTo>
                <a:cubicBezTo>
                  <a:pt x="1021" y="1131"/>
                  <a:pt x="1020" y="1129"/>
                  <a:pt x="1019" y="1128"/>
                </a:cubicBezTo>
                <a:cubicBezTo>
                  <a:pt x="1018" y="1127"/>
                  <a:pt x="1018" y="1127"/>
                  <a:pt x="1017" y="1126"/>
                </a:cubicBezTo>
                <a:cubicBezTo>
                  <a:pt x="1017" y="1126"/>
                  <a:pt x="1017" y="1125"/>
                  <a:pt x="1016" y="1125"/>
                </a:cubicBezTo>
                <a:cubicBezTo>
                  <a:pt x="1015" y="1125"/>
                  <a:pt x="1012" y="1125"/>
                  <a:pt x="1012" y="1124"/>
                </a:cubicBezTo>
                <a:cubicBezTo>
                  <a:pt x="1012" y="1123"/>
                  <a:pt x="1013" y="1123"/>
                  <a:pt x="1014" y="1122"/>
                </a:cubicBezTo>
                <a:cubicBezTo>
                  <a:pt x="1014" y="1121"/>
                  <a:pt x="1013" y="1119"/>
                  <a:pt x="1012" y="1119"/>
                </a:cubicBezTo>
                <a:cubicBezTo>
                  <a:pt x="1012" y="1119"/>
                  <a:pt x="1012" y="1119"/>
                  <a:pt x="1012" y="1120"/>
                </a:cubicBezTo>
                <a:cubicBezTo>
                  <a:pt x="1012" y="1120"/>
                  <a:pt x="1012" y="1121"/>
                  <a:pt x="1012" y="1121"/>
                </a:cubicBezTo>
                <a:cubicBezTo>
                  <a:pt x="1012" y="1121"/>
                  <a:pt x="1011" y="1121"/>
                  <a:pt x="1011" y="1121"/>
                </a:cubicBezTo>
                <a:cubicBezTo>
                  <a:pt x="1010" y="1120"/>
                  <a:pt x="1010" y="1119"/>
                  <a:pt x="1009" y="1118"/>
                </a:cubicBezTo>
                <a:cubicBezTo>
                  <a:pt x="1009" y="1118"/>
                  <a:pt x="1008" y="1117"/>
                  <a:pt x="1008" y="1117"/>
                </a:cubicBezTo>
                <a:cubicBezTo>
                  <a:pt x="1007" y="1117"/>
                  <a:pt x="1007" y="1116"/>
                  <a:pt x="1007" y="1116"/>
                </a:cubicBezTo>
                <a:cubicBezTo>
                  <a:pt x="1007" y="1115"/>
                  <a:pt x="1007" y="1115"/>
                  <a:pt x="1007" y="1115"/>
                </a:cubicBezTo>
                <a:cubicBezTo>
                  <a:pt x="1006" y="1115"/>
                  <a:pt x="1006" y="1115"/>
                  <a:pt x="1006" y="1115"/>
                </a:cubicBezTo>
                <a:cubicBezTo>
                  <a:pt x="1006" y="1115"/>
                  <a:pt x="1006" y="1115"/>
                  <a:pt x="1005" y="1115"/>
                </a:cubicBezTo>
                <a:cubicBezTo>
                  <a:pt x="1004" y="1117"/>
                  <a:pt x="1003" y="1114"/>
                  <a:pt x="1003" y="1113"/>
                </a:cubicBezTo>
                <a:cubicBezTo>
                  <a:pt x="1002" y="1112"/>
                  <a:pt x="1001" y="1109"/>
                  <a:pt x="1001" y="1108"/>
                </a:cubicBezTo>
                <a:cubicBezTo>
                  <a:pt x="1000" y="1106"/>
                  <a:pt x="999" y="1104"/>
                  <a:pt x="998" y="1103"/>
                </a:cubicBezTo>
                <a:cubicBezTo>
                  <a:pt x="997" y="1102"/>
                  <a:pt x="996" y="1101"/>
                  <a:pt x="995" y="1099"/>
                </a:cubicBezTo>
                <a:cubicBezTo>
                  <a:pt x="994" y="1098"/>
                  <a:pt x="993" y="1097"/>
                  <a:pt x="992" y="1096"/>
                </a:cubicBezTo>
                <a:cubicBezTo>
                  <a:pt x="992" y="1096"/>
                  <a:pt x="990" y="1094"/>
                  <a:pt x="990" y="1094"/>
                </a:cubicBezTo>
                <a:cubicBezTo>
                  <a:pt x="990" y="1094"/>
                  <a:pt x="990" y="1094"/>
                  <a:pt x="989" y="1094"/>
                </a:cubicBezTo>
                <a:cubicBezTo>
                  <a:pt x="989" y="1094"/>
                  <a:pt x="989" y="1094"/>
                  <a:pt x="989" y="1094"/>
                </a:cubicBezTo>
                <a:cubicBezTo>
                  <a:pt x="989" y="1094"/>
                  <a:pt x="989" y="1094"/>
                  <a:pt x="988" y="1095"/>
                </a:cubicBezTo>
                <a:cubicBezTo>
                  <a:pt x="988" y="1095"/>
                  <a:pt x="986" y="1093"/>
                  <a:pt x="987" y="1093"/>
                </a:cubicBezTo>
                <a:cubicBezTo>
                  <a:pt x="987" y="1093"/>
                  <a:pt x="988" y="1093"/>
                  <a:pt x="988" y="1093"/>
                </a:cubicBezTo>
                <a:cubicBezTo>
                  <a:pt x="988" y="1092"/>
                  <a:pt x="986" y="1090"/>
                  <a:pt x="986" y="1090"/>
                </a:cubicBezTo>
                <a:cubicBezTo>
                  <a:pt x="985" y="1089"/>
                  <a:pt x="985" y="1088"/>
                  <a:pt x="985" y="1087"/>
                </a:cubicBezTo>
                <a:cubicBezTo>
                  <a:pt x="984" y="1087"/>
                  <a:pt x="984" y="1087"/>
                  <a:pt x="984" y="1087"/>
                </a:cubicBezTo>
                <a:cubicBezTo>
                  <a:pt x="983" y="1087"/>
                  <a:pt x="983" y="1086"/>
                  <a:pt x="983" y="1086"/>
                </a:cubicBezTo>
                <a:cubicBezTo>
                  <a:pt x="983" y="1086"/>
                  <a:pt x="982" y="1085"/>
                  <a:pt x="982" y="1085"/>
                </a:cubicBezTo>
                <a:cubicBezTo>
                  <a:pt x="982" y="1085"/>
                  <a:pt x="982" y="1085"/>
                  <a:pt x="981" y="1085"/>
                </a:cubicBezTo>
                <a:cubicBezTo>
                  <a:pt x="980" y="1085"/>
                  <a:pt x="982" y="1087"/>
                  <a:pt x="982" y="1088"/>
                </a:cubicBezTo>
                <a:cubicBezTo>
                  <a:pt x="983" y="1088"/>
                  <a:pt x="984" y="1088"/>
                  <a:pt x="983" y="1089"/>
                </a:cubicBezTo>
                <a:cubicBezTo>
                  <a:pt x="982" y="1090"/>
                  <a:pt x="982" y="1090"/>
                  <a:pt x="981" y="1089"/>
                </a:cubicBezTo>
                <a:cubicBezTo>
                  <a:pt x="980" y="1088"/>
                  <a:pt x="980" y="1087"/>
                  <a:pt x="979" y="1086"/>
                </a:cubicBezTo>
                <a:cubicBezTo>
                  <a:pt x="977" y="1084"/>
                  <a:pt x="976" y="1082"/>
                  <a:pt x="974" y="1080"/>
                </a:cubicBezTo>
                <a:cubicBezTo>
                  <a:pt x="973" y="1078"/>
                  <a:pt x="971" y="1076"/>
                  <a:pt x="969" y="1074"/>
                </a:cubicBezTo>
                <a:cubicBezTo>
                  <a:pt x="969" y="1073"/>
                  <a:pt x="968" y="1072"/>
                  <a:pt x="967" y="1071"/>
                </a:cubicBezTo>
                <a:cubicBezTo>
                  <a:pt x="967" y="1071"/>
                  <a:pt x="966" y="1070"/>
                  <a:pt x="966" y="1070"/>
                </a:cubicBezTo>
                <a:cubicBezTo>
                  <a:pt x="966" y="1070"/>
                  <a:pt x="966" y="1070"/>
                  <a:pt x="966" y="1070"/>
                </a:cubicBezTo>
                <a:cubicBezTo>
                  <a:pt x="966" y="1069"/>
                  <a:pt x="966" y="1069"/>
                  <a:pt x="965" y="1068"/>
                </a:cubicBezTo>
                <a:cubicBezTo>
                  <a:pt x="965" y="1068"/>
                  <a:pt x="967" y="1069"/>
                  <a:pt x="968" y="1069"/>
                </a:cubicBezTo>
                <a:cubicBezTo>
                  <a:pt x="968" y="1069"/>
                  <a:pt x="968" y="1067"/>
                  <a:pt x="968" y="1067"/>
                </a:cubicBezTo>
                <a:cubicBezTo>
                  <a:pt x="967" y="1067"/>
                  <a:pt x="966" y="1068"/>
                  <a:pt x="965" y="1067"/>
                </a:cubicBezTo>
                <a:cubicBezTo>
                  <a:pt x="965" y="1067"/>
                  <a:pt x="965" y="1066"/>
                  <a:pt x="965" y="1066"/>
                </a:cubicBezTo>
                <a:cubicBezTo>
                  <a:pt x="965" y="1065"/>
                  <a:pt x="965" y="1064"/>
                  <a:pt x="964" y="1063"/>
                </a:cubicBezTo>
                <a:cubicBezTo>
                  <a:pt x="963" y="1062"/>
                  <a:pt x="962" y="1061"/>
                  <a:pt x="961" y="1060"/>
                </a:cubicBezTo>
                <a:cubicBezTo>
                  <a:pt x="959" y="1057"/>
                  <a:pt x="957" y="1055"/>
                  <a:pt x="956" y="1055"/>
                </a:cubicBezTo>
                <a:cubicBezTo>
                  <a:pt x="955" y="1054"/>
                  <a:pt x="954" y="1052"/>
                  <a:pt x="954" y="1050"/>
                </a:cubicBezTo>
                <a:cubicBezTo>
                  <a:pt x="954" y="1050"/>
                  <a:pt x="953" y="1050"/>
                  <a:pt x="953" y="1050"/>
                </a:cubicBezTo>
                <a:cubicBezTo>
                  <a:pt x="952" y="1050"/>
                  <a:pt x="952" y="1050"/>
                  <a:pt x="951" y="1051"/>
                </a:cubicBezTo>
                <a:cubicBezTo>
                  <a:pt x="951" y="1051"/>
                  <a:pt x="951" y="1051"/>
                  <a:pt x="951" y="1051"/>
                </a:cubicBezTo>
                <a:cubicBezTo>
                  <a:pt x="950" y="1050"/>
                  <a:pt x="950" y="1049"/>
                  <a:pt x="950" y="1048"/>
                </a:cubicBezTo>
                <a:cubicBezTo>
                  <a:pt x="950" y="1047"/>
                  <a:pt x="949" y="1047"/>
                  <a:pt x="949" y="1046"/>
                </a:cubicBezTo>
                <a:cubicBezTo>
                  <a:pt x="948" y="1045"/>
                  <a:pt x="947" y="1044"/>
                  <a:pt x="946" y="1042"/>
                </a:cubicBezTo>
                <a:cubicBezTo>
                  <a:pt x="945" y="1042"/>
                  <a:pt x="945" y="1042"/>
                  <a:pt x="944" y="1041"/>
                </a:cubicBezTo>
                <a:cubicBezTo>
                  <a:pt x="944" y="1041"/>
                  <a:pt x="944" y="1042"/>
                  <a:pt x="943" y="1042"/>
                </a:cubicBezTo>
                <a:cubicBezTo>
                  <a:pt x="941" y="1039"/>
                  <a:pt x="939" y="1036"/>
                  <a:pt x="937" y="1034"/>
                </a:cubicBezTo>
                <a:cubicBezTo>
                  <a:pt x="936" y="1032"/>
                  <a:pt x="935" y="1031"/>
                  <a:pt x="933" y="1030"/>
                </a:cubicBezTo>
                <a:cubicBezTo>
                  <a:pt x="933" y="1030"/>
                  <a:pt x="932" y="1029"/>
                  <a:pt x="932" y="1029"/>
                </a:cubicBezTo>
                <a:cubicBezTo>
                  <a:pt x="932" y="1028"/>
                  <a:pt x="930" y="1027"/>
                  <a:pt x="931" y="1027"/>
                </a:cubicBezTo>
                <a:cubicBezTo>
                  <a:pt x="932" y="1027"/>
                  <a:pt x="934" y="1028"/>
                  <a:pt x="934" y="1027"/>
                </a:cubicBezTo>
                <a:cubicBezTo>
                  <a:pt x="935" y="1027"/>
                  <a:pt x="933" y="1026"/>
                  <a:pt x="933" y="1026"/>
                </a:cubicBezTo>
                <a:cubicBezTo>
                  <a:pt x="932" y="1026"/>
                  <a:pt x="931" y="1026"/>
                  <a:pt x="930" y="1025"/>
                </a:cubicBezTo>
                <a:cubicBezTo>
                  <a:pt x="930" y="1025"/>
                  <a:pt x="930" y="1025"/>
                  <a:pt x="930" y="1024"/>
                </a:cubicBezTo>
                <a:cubicBezTo>
                  <a:pt x="930" y="1024"/>
                  <a:pt x="930" y="1024"/>
                  <a:pt x="930" y="1024"/>
                </a:cubicBezTo>
                <a:cubicBezTo>
                  <a:pt x="930" y="1022"/>
                  <a:pt x="928" y="1020"/>
                  <a:pt x="927" y="1019"/>
                </a:cubicBezTo>
                <a:cubicBezTo>
                  <a:pt x="925" y="1016"/>
                  <a:pt x="922" y="1013"/>
                  <a:pt x="919" y="1010"/>
                </a:cubicBezTo>
                <a:cubicBezTo>
                  <a:pt x="918" y="1009"/>
                  <a:pt x="916" y="1008"/>
                  <a:pt x="915" y="1007"/>
                </a:cubicBezTo>
                <a:cubicBezTo>
                  <a:pt x="914" y="1006"/>
                  <a:pt x="912" y="1005"/>
                  <a:pt x="911" y="1004"/>
                </a:cubicBezTo>
                <a:cubicBezTo>
                  <a:pt x="911" y="1004"/>
                  <a:pt x="911" y="1003"/>
                  <a:pt x="911" y="1003"/>
                </a:cubicBezTo>
                <a:cubicBezTo>
                  <a:pt x="910" y="1003"/>
                  <a:pt x="911" y="1003"/>
                  <a:pt x="911" y="1003"/>
                </a:cubicBezTo>
                <a:cubicBezTo>
                  <a:pt x="911" y="1002"/>
                  <a:pt x="910" y="1001"/>
                  <a:pt x="909" y="1001"/>
                </a:cubicBezTo>
                <a:cubicBezTo>
                  <a:pt x="909" y="1001"/>
                  <a:pt x="908" y="1001"/>
                  <a:pt x="908" y="1001"/>
                </a:cubicBezTo>
                <a:cubicBezTo>
                  <a:pt x="907" y="1001"/>
                  <a:pt x="907" y="1001"/>
                  <a:pt x="906" y="1001"/>
                </a:cubicBezTo>
                <a:cubicBezTo>
                  <a:pt x="906" y="1000"/>
                  <a:pt x="905" y="999"/>
                  <a:pt x="905" y="999"/>
                </a:cubicBezTo>
                <a:cubicBezTo>
                  <a:pt x="905" y="998"/>
                  <a:pt x="904" y="997"/>
                  <a:pt x="903" y="996"/>
                </a:cubicBezTo>
                <a:cubicBezTo>
                  <a:pt x="902" y="996"/>
                  <a:pt x="901" y="996"/>
                  <a:pt x="901" y="995"/>
                </a:cubicBezTo>
                <a:cubicBezTo>
                  <a:pt x="900" y="995"/>
                  <a:pt x="899" y="994"/>
                  <a:pt x="899" y="993"/>
                </a:cubicBezTo>
                <a:cubicBezTo>
                  <a:pt x="897" y="991"/>
                  <a:pt x="895" y="988"/>
                  <a:pt x="894" y="986"/>
                </a:cubicBezTo>
                <a:cubicBezTo>
                  <a:pt x="894" y="985"/>
                  <a:pt x="893" y="985"/>
                  <a:pt x="893" y="984"/>
                </a:cubicBezTo>
                <a:cubicBezTo>
                  <a:pt x="893" y="983"/>
                  <a:pt x="892" y="983"/>
                  <a:pt x="891" y="982"/>
                </a:cubicBezTo>
                <a:cubicBezTo>
                  <a:pt x="891" y="982"/>
                  <a:pt x="891" y="982"/>
                  <a:pt x="891" y="982"/>
                </a:cubicBezTo>
                <a:cubicBezTo>
                  <a:pt x="891" y="980"/>
                  <a:pt x="888" y="980"/>
                  <a:pt x="887" y="980"/>
                </a:cubicBezTo>
                <a:cubicBezTo>
                  <a:pt x="887" y="980"/>
                  <a:pt x="887" y="979"/>
                  <a:pt x="886" y="979"/>
                </a:cubicBezTo>
                <a:cubicBezTo>
                  <a:pt x="886" y="978"/>
                  <a:pt x="887" y="978"/>
                  <a:pt x="886" y="977"/>
                </a:cubicBezTo>
                <a:cubicBezTo>
                  <a:pt x="886" y="976"/>
                  <a:pt x="886" y="976"/>
                  <a:pt x="885" y="975"/>
                </a:cubicBezTo>
                <a:cubicBezTo>
                  <a:pt x="885" y="974"/>
                  <a:pt x="885" y="974"/>
                  <a:pt x="885" y="974"/>
                </a:cubicBezTo>
                <a:cubicBezTo>
                  <a:pt x="884" y="973"/>
                  <a:pt x="884" y="973"/>
                  <a:pt x="884" y="973"/>
                </a:cubicBezTo>
                <a:cubicBezTo>
                  <a:pt x="884" y="973"/>
                  <a:pt x="884" y="973"/>
                  <a:pt x="884" y="973"/>
                </a:cubicBezTo>
                <a:cubicBezTo>
                  <a:pt x="884" y="973"/>
                  <a:pt x="884" y="972"/>
                  <a:pt x="883" y="972"/>
                </a:cubicBezTo>
                <a:cubicBezTo>
                  <a:pt x="883" y="972"/>
                  <a:pt x="882" y="971"/>
                  <a:pt x="882" y="972"/>
                </a:cubicBezTo>
                <a:cubicBezTo>
                  <a:pt x="881" y="972"/>
                  <a:pt x="881" y="972"/>
                  <a:pt x="881" y="973"/>
                </a:cubicBezTo>
                <a:cubicBezTo>
                  <a:pt x="880" y="972"/>
                  <a:pt x="880" y="972"/>
                  <a:pt x="880" y="971"/>
                </a:cubicBezTo>
                <a:cubicBezTo>
                  <a:pt x="879" y="971"/>
                  <a:pt x="879" y="970"/>
                  <a:pt x="878" y="970"/>
                </a:cubicBezTo>
                <a:cubicBezTo>
                  <a:pt x="877" y="968"/>
                  <a:pt x="875" y="965"/>
                  <a:pt x="874" y="963"/>
                </a:cubicBezTo>
                <a:cubicBezTo>
                  <a:pt x="873" y="962"/>
                  <a:pt x="873" y="961"/>
                  <a:pt x="872" y="960"/>
                </a:cubicBezTo>
                <a:cubicBezTo>
                  <a:pt x="872" y="960"/>
                  <a:pt x="871" y="959"/>
                  <a:pt x="871" y="958"/>
                </a:cubicBezTo>
                <a:cubicBezTo>
                  <a:pt x="871" y="957"/>
                  <a:pt x="870" y="956"/>
                  <a:pt x="870" y="955"/>
                </a:cubicBezTo>
                <a:cubicBezTo>
                  <a:pt x="869" y="954"/>
                  <a:pt x="868" y="953"/>
                  <a:pt x="867" y="953"/>
                </a:cubicBezTo>
                <a:cubicBezTo>
                  <a:pt x="867" y="953"/>
                  <a:pt x="866" y="953"/>
                  <a:pt x="865" y="953"/>
                </a:cubicBezTo>
                <a:cubicBezTo>
                  <a:pt x="865" y="953"/>
                  <a:pt x="865" y="953"/>
                  <a:pt x="865" y="953"/>
                </a:cubicBezTo>
                <a:cubicBezTo>
                  <a:pt x="864" y="953"/>
                  <a:pt x="864" y="953"/>
                  <a:pt x="864" y="952"/>
                </a:cubicBezTo>
                <a:cubicBezTo>
                  <a:pt x="861" y="950"/>
                  <a:pt x="862" y="946"/>
                  <a:pt x="859" y="944"/>
                </a:cubicBezTo>
                <a:cubicBezTo>
                  <a:pt x="859" y="944"/>
                  <a:pt x="859" y="944"/>
                  <a:pt x="858" y="944"/>
                </a:cubicBezTo>
                <a:cubicBezTo>
                  <a:pt x="856" y="944"/>
                  <a:pt x="856" y="942"/>
                  <a:pt x="855" y="941"/>
                </a:cubicBezTo>
                <a:cubicBezTo>
                  <a:pt x="854" y="941"/>
                  <a:pt x="853" y="940"/>
                  <a:pt x="853" y="939"/>
                </a:cubicBezTo>
                <a:cubicBezTo>
                  <a:pt x="852" y="939"/>
                  <a:pt x="852" y="939"/>
                  <a:pt x="851" y="939"/>
                </a:cubicBezTo>
                <a:cubicBezTo>
                  <a:pt x="851" y="939"/>
                  <a:pt x="850" y="939"/>
                  <a:pt x="850" y="938"/>
                </a:cubicBezTo>
                <a:cubicBezTo>
                  <a:pt x="849" y="937"/>
                  <a:pt x="848" y="937"/>
                  <a:pt x="848" y="936"/>
                </a:cubicBezTo>
                <a:cubicBezTo>
                  <a:pt x="847" y="935"/>
                  <a:pt x="847" y="934"/>
                  <a:pt x="847" y="934"/>
                </a:cubicBezTo>
                <a:cubicBezTo>
                  <a:pt x="847" y="933"/>
                  <a:pt x="846" y="932"/>
                  <a:pt x="845" y="931"/>
                </a:cubicBezTo>
                <a:cubicBezTo>
                  <a:pt x="844" y="930"/>
                  <a:pt x="843" y="929"/>
                  <a:pt x="843" y="928"/>
                </a:cubicBezTo>
                <a:cubicBezTo>
                  <a:pt x="842" y="927"/>
                  <a:pt x="841" y="926"/>
                  <a:pt x="840" y="925"/>
                </a:cubicBezTo>
                <a:cubicBezTo>
                  <a:pt x="840" y="925"/>
                  <a:pt x="839" y="923"/>
                  <a:pt x="838" y="923"/>
                </a:cubicBezTo>
                <a:cubicBezTo>
                  <a:pt x="837" y="923"/>
                  <a:pt x="836" y="924"/>
                  <a:pt x="835" y="923"/>
                </a:cubicBezTo>
                <a:cubicBezTo>
                  <a:pt x="834" y="922"/>
                  <a:pt x="834" y="921"/>
                  <a:pt x="833" y="920"/>
                </a:cubicBezTo>
                <a:cubicBezTo>
                  <a:pt x="832" y="919"/>
                  <a:pt x="832" y="917"/>
                  <a:pt x="831" y="916"/>
                </a:cubicBezTo>
                <a:cubicBezTo>
                  <a:pt x="829" y="915"/>
                  <a:pt x="828" y="914"/>
                  <a:pt x="827" y="912"/>
                </a:cubicBezTo>
                <a:cubicBezTo>
                  <a:pt x="824" y="909"/>
                  <a:pt x="821" y="906"/>
                  <a:pt x="818" y="903"/>
                </a:cubicBezTo>
                <a:cubicBezTo>
                  <a:pt x="817" y="902"/>
                  <a:pt x="817" y="901"/>
                  <a:pt x="816" y="900"/>
                </a:cubicBezTo>
                <a:cubicBezTo>
                  <a:pt x="815" y="899"/>
                  <a:pt x="815" y="898"/>
                  <a:pt x="815" y="897"/>
                </a:cubicBezTo>
                <a:cubicBezTo>
                  <a:pt x="815" y="897"/>
                  <a:pt x="815" y="897"/>
                  <a:pt x="814" y="897"/>
                </a:cubicBezTo>
                <a:cubicBezTo>
                  <a:pt x="814" y="897"/>
                  <a:pt x="814" y="897"/>
                  <a:pt x="814" y="897"/>
                </a:cubicBezTo>
                <a:cubicBezTo>
                  <a:pt x="813" y="897"/>
                  <a:pt x="812" y="896"/>
                  <a:pt x="812" y="895"/>
                </a:cubicBezTo>
                <a:cubicBezTo>
                  <a:pt x="811" y="894"/>
                  <a:pt x="811" y="894"/>
                  <a:pt x="810" y="893"/>
                </a:cubicBezTo>
                <a:cubicBezTo>
                  <a:pt x="809" y="891"/>
                  <a:pt x="808" y="890"/>
                  <a:pt x="807" y="889"/>
                </a:cubicBezTo>
                <a:cubicBezTo>
                  <a:pt x="806" y="889"/>
                  <a:pt x="804" y="888"/>
                  <a:pt x="804" y="887"/>
                </a:cubicBezTo>
                <a:cubicBezTo>
                  <a:pt x="804" y="886"/>
                  <a:pt x="805" y="886"/>
                  <a:pt x="805" y="885"/>
                </a:cubicBezTo>
                <a:cubicBezTo>
                  <a:pt x="804" y="885"/>
                  <a:pt x="804" y="885"/>
                  <a:pt x="804" y="885"/>
                </a:cubicBezTo>
                <a:cubicBezTo>
                  <a:pt x="803" y="885"/>
                  <a:pt x="803" y="885"/>
                  <a:pt x="803" y="885"/>
                </a:cubicBezTo>
                <a:cubicBezTo>
                  <a:pt x="803" y="887"/>
                  <a:pt x="800" y="886"/>
                  <a:pt x="800" y="885"/>
                </a:cubicBezTo>
                <a:cubicBezTo>
                  <a:pt x="799" y="884"/>
                  <a:pt x="800" y="884"/>
                  <a:pt x="800" y="883"/>
                </a:cubicBezTo>
                <a:cubicBezTo>
                  <a:pt x="800" y="882"/>
                  <a:pt x="800" y="882"/>
                  <a:pt x="799" y="882"/>
                </a:cubicBezTo>
                <a:cubicBezTo>
                  <a:pt x="799" y="881"/>
                  <a:pt x="798" y="880"/>
                  <a:pt x="798" y="879"/>
                </a:cubicBezTo>
                <a:cubicBezTo>
                  <a:pt x="798" y="879"/>
                  <a:pt x="797" y="877"/>
                  <a:pt x="796" y="877"/>
                </a:cubicBezTo>
                <a:cubicBezTo>
                  <a:pt x="796" y="877"/>
                  <a:pt x="796" y="877"/>
                  <a:pt x="796" y="877"/>
                </a:cubicBezTo>
                <a:cubicBezTo>
                  <a:pt x="794" y="877"/>
                  <a:pt x="795" y="876"/>
                  <a:pt x="795" y="875"/>
                </a:cubicBezTo>
                <a:cubicBezTo>
                  <a:pt x="794" y="874"/>
                  <a:pt x="793" y="874"/>
                  <a:pt x="792" y="874"/>
                </a:cubicBezTo>
                <a:cubicBezTo>
                  <a:pt x="792" y="874"/>
                  <a:pt x="791" y="873"/>
                  <a:pt x="790" y="873"/>
                </a:cubicBezTo>
                <a:cubicBezTo>
                  <a:pt x="790" y="873"/>
                  <a:pt x="790" y="873"/>
                  <a:pt x="790" y="873"/>
                </a:cubicBezTo>
                <a:cubicBezTo>
                  <a:pt x="790" y="872"/>
                  <a:pt x="790" y="872"/>
                  <a:pt x="790" y="871"/>
                </a:cubicBezTo>
                <a:cubicBezTo>
                  <a:pt x="790" y="870"/>
                  <a:pt x="788" y="869"/>
                  <a:pt x="788" y="868"/>
                </a:cubicBezTo>
                <a:cubicBezTo>
                  <a:pt x="777" y="856"/>
                  <a:pt x="772" y="851"/>
                  <a:pt x="772" y="851"/>
                </a:cubicBezTo>
                <a:cubicBezTo>
                  <a:pt x="771" y="851"/>
                  <a:pt x="766" y="844"/>
                  <a:pt x="765" y="843"/>
                </a:cubicBezTo>
                <a:cubicBezTo>
                  <a:pt x="764" y="842"/>
                  <a:pt x="764" y="841"/>
                  <a:pt x="764" y="840"/>
                </a:cubicBezTo>
                <a:cubicBezTo>
                  <a:pt x="763" y="839"/>
                  <a:pt x="763" y="838"/>
                  <a:pt x="763" y="838"/>
                </a:cubicBezTo>
                <a:cubicBezTo>
                  <a:pt x="762" y="837"/>
                  <a:pt x="762" y="837"/>
                  <a:pt x="761" y="836"/>
                </a:cubicBezTo>
                <a:cubicBezTo>
                  <a:pt x="761" y="836"/>
                  <a:pt x="761" y="836"/>
                  <a:pt x="761" y="835"/>
                </a:cubicBezTo>
                <a:cubicBezTo>
                  <a:pt x="761" y="835"/>
                  <a:pt x="761" y="835"/>
                  <a:pt x="761" y="834"/>
                </a:cubicBezTo>
                <a:cubicBezTo>
                  <a:pt x="761" y="834"/>
                  <a:pt x="761" y="833"/>
                  <a:pt x="760" y="832"/>
                </a:cubicBezTo>
                <a:cubicBezTo>
                  <a:pt x="760" y="832"/>
                  <a:pt x="759" y="831"/>
                  <a:pt x="758" y="831"/>
                </a:cubicBezTo>
                <a:cubicBezTo>
                  <a:pt x="757" y="830"/>
                  <a:pt x="755" y="829"/>
                  <a:pt x="755" y="827"/>
                </a:cubicBezTo>
                <a:cubicBezTo>
                  <a:pt x="755" y="827"/>
                  <a:pt x="755" y="827"/>
                  <a:pt x="755" y="826"/>
                </a:cubicBezTo>
                <a:cubicBezTo>
                  <a:pt x="754" y="825"/>
                  <a:pt x="754" y="826"/>
                  <a:pt x="753" y="826"/>
                </a:cubicBezTo>
                <a:cubicBezTo>
                  <a:pt x="752" y="826"/>
                  <a:pt x="751" y="825"/>
                  <a:pt x="751" y="824"/>
                </a:cubicBezTo>
                <a:cubicBezTo>
                  <a:pt x="750" y="823"/>
                  <a:pt x="749" y="822"/>
                  <a:pt x="748" y="820"/>
                </a:cubicBezTo>
                <a:cubicBezTo>
                  <a:pt x="744" y="817"/>
                  <a:pt x="741" y="814"/>
                  <a:pt x="740" y="813"/>
                </a:cubicBezTo>
                <a:cubicBezTo>
                  <a:pt x="739" y="812"/>
                  <a:pt x="738" y="810"/>
                  <a:pt x="737" y="809"/>
                </a:cubicBezTo>
                <a:cubicBezTo>
                  <a:pt x="736" y="809"/>
                  <a:pt x="736" y="808"/>
                  <a:pt x="735" y="808"/>
                </a:cubicBezTo>
                <a:cubicBezTo>
                  <a:pt x="734" y="808"/>
                  <a:pt x="734" y="808"/>
                  <a:pt x="733" y="808"/>
                </a:cubicBezTo>
                <a:cubicBezTo>
                  <a:pt x="732" y="808"/>
                  <a:pt x="731" y="806"/>
                  <a:pt x="731" y="804"/>
                </a:cubicBezTo>
                <a:cubicBezTo>
                  <a:pt x="730" y="804"/>
                  <a:pt x="730" y="803"/>
                  <a:pt x="729" y="802"/>
                </a:cubicBezTo>
                <a:cubicBezTo>
                  <a:pt x="729" y="801"/>
                  <a:pt x="728" y="801"/>
                  <a:pt x="728" y="800"/>
                </a:cubicBezTo>
                <a:cubicBezTo>
                  <a:pt x="726" y="798"/>
                  <a:pt x="725" y="797"/>
                  <a:pt x="723" y="795"/>
                </a:cubicBezTo>
                <a:cubicBezTo>
                  <a:pt x="720" y="791"/>
                  <a:pt x="716" y="787"/>
                  <a:pt x="711" y="781"/>
                </a:cubicBezTo>
                <a:cubicBezTo>
                  <a:pt x="701" y="770"/>
                  <a:pt x="691" y="759"/>
                  <a:pt x="688" y="756"/>
                </a:cubicBezTo>
                <a:cubicBezTo>
                  <a:pt x="687" y="755"/>
                  <a:pt x="686" y="754"/>
                  <a:pt x="685" y="752"/>
                </a:cubicBezTo>
                <a:cubicBezTo>
                  <a:pt x="684" y="752"/>
                  <a:pt x="683" y="750"/>
                  <a:pt x="682" y="750"/>
                </a:cubicBezTo>
                <a:cubicBezTo>
                  <a:pt x="682" y="750"/>
                  <a:pt x="681" y="750"/>
                  <a:pt x="681" y="750"/>
                </a:cubicBezTo>
                <a:cubicBezTo>
                  <a:pt x="681" y="750"/>
                  <a:pt x="681" y="749"/>
                  <a:pt x="681" y="749"/>
                </a:cubicBezTo>
                <a:cubicBezTo>
                  <a:pt x="681" y="749"/>
                  <a:pt x="681" y="748"/>
                  <a:pt x="681" y="748"/>
                </a:cubicBezTo>
                <a:cubicBezTo>
                  <a:pt x="680" y="748"/>
                  <a:pt x="679" y="747"/>
                  <a:pt x="678" y="746"/>
                </a:cubicBezTo>
                <a:cubicBezTo>
                  <a:pt x="677" y="745"/>
                  <a:pt x="677" y="744"/>
                  <a:pt x="676" y="743"/>
                </a:cubicBezTo>
                <a:cubicBezTo>
                  <a:pt x="675" y="742"/>
                  <a:pt x="674" y="741"/>
                  <a:pt x="673" y="740"/>
                </a:cubicBezTo>
                <a:cubicBezTo>
                  <a:pt x="673" y="740"/>
                  <a:pt x="673" y="740"/>
                  <a:pt x="673" y="739"/>
                </a:cubicBezTo>
                <a:cubicBezTo>
                  <a:pt x="670" y="739"/>
                  <a:pt x="670" y="738"/>
                  <a:pt x="669" y="736"/>
                </a:cubicBezTo>
                <a:cubicBezTo>
                  <a:pt x="669" y="736"/>
                  <a:pt x="669" y="736"/>
                  <a:pt x="669" y="736"/>
                </a:cubicBezTo>
                <a:cubicBezTo>
                  <a:pt x="669" y="736"/>
                  <a:pt x="669" y="735"/>
                  <a:pt x="669" y="735"/>
                </a:cubicBezTo>
                <a:cubicBezTo>
                  <a:pt x="669" y="733"/>
                  <a:pt x="667" y="732"/>
                  <a:pt x="666" y="731"/>
                </a:cubicBezTo>
                <a:cubicBezTo>
                  <a:pt x="665" y="730"/>
                  <a:pt x="663" y="729"/>
                  <a:pt x="662" y="727"/>
                </a:cubicBezTo>
                <a:cubicBezTo>
                  <a:pt x="661" y="725"/>
                  <a:pt x="660" y="724"/>
                  <a:pt x="659" y="722"/>
                </a:cubicBezTo>
                <a:cubicBezTo>
                  <a:pt x="658" y="721"/>
                  <a:pt x="654" y="718"/>
                  <a:pt x="651" y="714"/>
                </a:cubicBezTo>
                <a:cubicBezTo>
                  <a:pt x="650" y="713"/>
                  <a:pt x="649" y="711"/>
                  <a:pt x="647" y="710"/>
                </a:cubicBezTo>
                <a:cubicBezTo>
                  <a:pt x="647" y="709"/>
                  <a:pt x="645" y="708"/>
                  <a:pt x="644" y="708"/>
                </a:cubicBezTo>
                <a:cubicBezTo>
                  <a:pt x="644" y="707"/>
                  <a:pt x="643" y="707"/>
                  <a:pt x="643" y="707"/>
                </a:cubicBezTo>
                <a:cubicBezTo>
                  <a:pt x="642" y="706"/>
                  <a:pt x="642" y="705"/>
                  <a:pt x="642" y="704"/>
                </a:cubicBezTo>
                <a:cubicBezTo>
                  <a:pt x="641" y="702"/>
                  <a:pt x="639" y="700"/>
                  <a:pt x="637" y="698"/>
                </a:cubicBezTo>
                <a:cubicBezTo>
                  <a:pt x="635" y="696"/>
                  <a:pt x="634" y="694"/>
                  <a:pt x="632" y="693"/>
                </a:cubicBezTo>
                <a:cubicBezTo>
                  <a:pt x="630" y="690"/>
                  <a:pt x="628" y="688"/>
                  <a:pt x="626" y="686"/>
                </a:cubicBezTo>
                <a:cubicBezTo>
                  <a:pt x="625" y="685"/>
                  <a:pt x="625" y="684"/>
                  <a:pt x="624" y="683"/>
                </a:cubicBezTo>
                <a:cubicBezTo>
                  <a:pt x="623" y="682"/>
                  <a:pt x="622" y="681"/>
                  <a:pt x="621" y="680"/>
                </a:cubicBezTo>
                <a:cubicBezTo>
                  <a:pt x="620" y="680"/>
                  <a:pt x="618" y="679"/>
                  <a:pt x="617" y="678"/>
                </a:cubicBezTo>
                <a:cubicBezTo>
                  <a:pt x="615" y="676"/>
                  <a:pt x="614" y="674"/>
                  <a:pt x="613" y="673"/>
                </a:cubicBezTo>
                <a:cubicBezTo>
                  <a:pt x="612" y="671"/>
                  <a:pt x="611" y="669"/>
                  <a:pt x="610" y="667"/>
                </a:cubicBezTo>
                <a:cubicBezTo>
                  <a:pt x="606" y="664"/>
                  <a:pt x="603" y="660"/>
                  <a:pt x="600" y="657"/>
                </a:cubicBezTo>
                <a:cubicBezTo>
                  <a:pt x="598" y="654"/>
                  <a:pt x="595" y="651"/>
                  <a:pt x="593" y="649"/>
                </a:cubicBezTo>
                <a:cubicBezTo>
                  <a:pt x="591" y="647"/>
                  <a:pt x="589" y="644"/>
                  <a:pt x="586" y="642"/>
                </a:cubicBezTo>
                <a:cubicBezTo>
                  <a:pt x="586" y="642"/>
                  <a:pt x="585" y="641"/>
                  <a:pt x="585" y="640"/>
                </a:cubicBezTo>
                <a:cubicBezTo>
                  <a:pt x="584" y="640"/>
                  <a:pt x="584" y="640"/>
                  <a:pt x="584" y="640"/>
                </a:cubicBezTo>
                <a:cubicBezTo>
                  <a:pt x="583" y="639"/>
                  <a:pt x="583" y="639"/>
                  <a:pt x="582" y="639"/>
                </a:cubicBezTo>
                <a:cubicBezTo>
                  <a:pt x="582" y="639"/>
                  <a:pt x="582" y="638"/>
                  <a:pt x="582" y="638"/>
                </a:cubicBezTo>
                <a:cubicBezTo>
                  <a:pt x="583" y="637"/>
                  <a:pt x="581" y="635"/>
                  <a:pt x="580" y="634"/>
                </a:cubicBezTo>
                <a:cubicBezTo>
                  <a:pt x="580" y="633"/>
                  <a:pt x="579" y="631"/>
                  <a:pt x="578" y="631"/>
                </a:cubicBezTo>
                <a:cubicBezTo>
                  <a:pt x="577" y="631"/>
                  <a:pt x="577" y="631"/>
                  <a:pt x="577" y="631"/>
                </a:cubicBezTo>
                <a:cubicBezTo>
                  <a:pt x="577" y="631"/>
                  <a:pt x="577" y="631"/>
                  <a:pt x="576" y="630"/>
                </a:cubicBezTo>
                <a:cubicBezTo>
                  <a:pt x="575" y="630"/>
                  <a:pt x="575" y="628"/>
                  <a:pt x="574" y="627"/>
                </a:cubicBezTo>
                <a:cubicBezTo>
                  <a:pt x="572" y="625"/>
                  <a:pt x="570" y="622"/>
                  <a:pt x="568" y="620"/>
                </a:cubicBezTo>
                <a:cubicBezTo>
                  <a:pt x="565" y="617"/>
                  <a:pt x="558" y="609"/>
                  <a:pt x="554" y="604"/>
                </a:cubicBezTo>
                <a:cubicBezTo>
                  <a:pt x="553" y="603"/>
                  <a:pt x="551" y="601"/>
                  <a:pt x="549" y="599"/>
                </a:cubicBezTo>
                <a:cubicBezTo>
                  <a:pt x="548" y="598"/>
                  <a:pt x="546" y="597"/>
                  <a:pt x="546" y="595"/>
                </a:cubicBezTo>
                <a:cubicBezTo>
                  <a:pt x="546" y="594"/>
                  <a:pt x="546" y="593"/>
                  <a:pt x="545" y="593"/>
                </a:cubicBezTo>
                <a:cubicBezTo>
                  <a:pt x="544" y="592"/>
                  <a:pt x="544" y="592"/>
                  <a:pt x="543" y="591"/>
                </a:cubicBezTo>
                <a:cubicBezTo>
                  <a:pt x="542" y="590"/>
                  <a:pt x="540" y="587"/>
                  <a:pt x="539" y="586"/>
                </a:cubicBezTo>
                <a:cubicBezTo>
                  <a:pt x="538" y="585"/>
                  <a:pt x="538" y="585"/>
                  <a:pt x="538" y="584"/>
                </a:cubicBezTo>
                <a:cubicBezTo>
                  <a:pt x="537" y="583"/>
                  <a:pt x="537" y="583"/>
                  <a:pt x="537" y="583"/>
                </a:cubicBezTo>
                <a:cubicBezTo>
                  <a:pt x="537" y="583"/>
                  <a:pt x="536" y="583"/>
                  <a:pt x="536" y="583"/>
                </a:cubicBezTo>
                <a:cubicBezTo>
                  <a:pt x="535" y="583"/>
                  <a:pt x="535" y="582"/>
                  <a:pt x="534" y="581"/>
                </a:cubicBezTo>
                <a:cubicBezTo>
                  <a:pt x="533" y="580"/>
                  <a:pt x="532" y="579"/>
                  <a:pt x="531" y="578"/>
                </a:cubicBezTo>
                <a:cubicBezTo>
                  <a:pt x="530" y="576"/>
                  <a:pt x="528" y="574"/>
                  <a:pt x="526" y="572"/>
                </a:cubicBezTo>
                <a:cubicBezTo>
                  <a:pt x="523" y="568"/>
                  <a:pt x="520" y="565"/>
                  <a:pt x="517" y="561"/>
                </a:cubicBezTo>
                <a:cubicBezTo>
                  <a:pt x="516" y="561"/>
                  <a:pt x="515" y="560"/>
                  <a:pt x="515" y="560"/>
                </a:cubicBezTo>
                <a:cubicBezTo>
                  <a:pt x="514" y="560"/>
                  <a:pt x="513" y="560"/>
                  <a:pt x="513" y="560"/>
                </a:cubicBezTo>
                <a:cubicBezTo>
                  <a:pt x="513" y="560"/>
                  <a:pt x="513" y="559"/>
                  <a:pt x="513" y="559"/>
                </a:cubicBezTo>
                <a:cubicBezTo>
                  <a:pt x="512" y="558"/>
                  <a:pt x="512" y="558"/>
                  <a:pt x="512" y="557"/>
                </a:cubicBezTo>
                <a:cubicBezTo>
                  <a:pt x="511" y="556"/>
                  <a:pt x="511" y="555"/>
                  <a:pt x="510" y="554"/>
                </a:cubicBezTo>
                <a:cubicBezTo>
                  <a:pt x="510" y="553"/>
                  <a:pt x="509" y="551"/>
                  <a:pt x="507" y="551"/>
                </a:cubicBezTo>
                <a:cubicBezTo>
                  <a:pt x="507" y="551"/>
                  <a:pt x="507" y="551"/>
                  <a:pt x="506" y="551"/>
                </a:cubicBezTo>
                <a:cubicBezTo>
                  <a:pt x="506" y="551"/>
                  <a:pt x="506" y="551"/>
                  <a:pt x="506" y="551"/>
                </a:cubicBezTo>
                <a:cubicBezTo>
                  <a:pt x="505" y="551"/>
                  <a:pt x="505" y="550"/>
                  <a:pt x="505" y="550"/>
                </a:cubicBezTo>
                <a:cubicBezTo>
                  <a:pt x="506" y="548"/>
                  <a:pt x="505" y="547"/>
                  <a:pt x="504" y="546"/>
                </a:cubicBezTo>
                <a:cubicBezTo>
                  <a:pt x="503" y="545"/>
                  <a:pt x="502" y="543"/>
                  <a:pt x="502" y="542"/>
                </a:cubicBezTo>
                <a:cubicBezTo>
                  <a:pt x="502" y="542"/>
                  <a:pt x="502" y="542"/>
                  <a:pt x="501" y="541"/>
                </a:cubicBezTo>
                <a:cubicBezTo>
                  <a:pt x="501" y="541"/>
                  <a:pt x="501" y="541"/>
                  <a:pt x="500" y="541"/>
                </a:cubicBezTo>
                <a:cubicBezTo>
                  <a:pt x="500" y="541"/>
                  <a:pt x="499" y="541"/>
                  <a:pt x="499" y="541"/>
                </a:cubicBezTo>
                <a:cubicBezTo>
                  <a:pt x="499" y="540"/>
                  <a:pt x="498" y="540"/>
                  <a:pt x="498" y="540"/>
                </a:cubicBezTo>
                <a:cubicBezTo>
                  <a:pt x="498" y="540"/>
                  <a:pt x="498" y="539"/>
                  <a:pt x="498" y="539"/>
                </a:cubicBezTo>
                <a:cubicBezTo>
                  <a:pt x="498" y="539"/>
                  <a:pt x="498" y="538"/>
                  <a:pt x="499" y="538"/>
                </a:cubicBezTo>
                <a:cubicBezTo>
                  <a:pt x="499" y="538"/>
                  <a:pt x="498" y="537"/>
                  <a:pt x="498" y="537"/>
                </a:cubicBezTo>
                <a:cubicBezTo>
                  <a:pt x="497" y="536"/>
                  <a:pt x="496" y="536"/>
                  <a:pt x="495" y="536"/>
                </a:cubicBezTo>
                <a:cubicBezTo>
                  <a:pt x="495" y="535"/>
                  <a:pt x="494" y="535"/>
                  <a:pt x="494" y="534"/>
                </a:cubicBezTo>
                <a:cubicBezTo>
                  <a:pt x="493" y="533"/>
                  <a:pt x="492" y="532"/>
                  <a:pt x="491" y="531"/>
                </a:cubicBezTo>
                <a:cubicBezTo>
                  <a:pt x="489" y="529"/>
                  <a:pt x="486" y="525"/>
                  <a:pt x="485" y="523"/>
                </a:cubicBezTo>
                <a:cubicBezTo>
                  <a:pt x="484" y="523"/>
                  <a:pt x="484" y="522"/>
                  <a:pt x="484" y="521"/>
                </a:cubicBezTo>
                <a:cubicBezTo>
                  <a:pt x="483" y="521"/>
                  <a:pt x="483" y="520"/>
                  <a:pt x="484" y="520"/>
                </a:cubicBezTo>
                <a:cubicBezTo>
                  <a:pt x="484" y="520"/>
                  <a:pt x="484" y="519"/>
                  <a:pt x="483" y="519"/>
                </a:cubicBezTo>
                <a:cubicBezTo>
                  <a:pt x="482" y="519"/>
                  <a:pt x="482" y="520"/>
                  <a:pt x="481" y="519"/>
                </a:cubicBezTo>
                <a:cubicBezTo>
                  <a:pt x="480" y="519"/>
                  <a:pt x="479" y="517"/>
                  <a:pt x="479" y="516"/>
                </a:cubicBezTo>
                <a:cubicBezTo>
                  <a:pt x="477" y="513"/>
                  <a:pt x="475" y="510"/>
                  <a:pt x="472" y="508"/>
                </a:cubicBezTo>
                <a:cubicBezTo>
                  <a:pt x="471" y="507"/>
                  <a:pt x="471" y="506"/>
                  <a:pt x="470" y="505"/>
                </a:cubicBezTo>
                <a:cubicBezTo>
                  <a:pt x="469" y="505"/>
                  <a:pt x="469" y="504"/>
                  <a:pt x="468" y="504"/>
                </a:cubicBezTo>
                <a:cubicBezTo>
                  <a:pt x="468" y="503"/>
                  <a:pt x="468" y="503"/>
                  <a:pt x="468" y="503"/>
                </a:cubicBezTo>
                <a:cubicBezTo>
                  <a:pt x="468" y="502"/>
                  <a:pt x="468" y="502"/>
                  <a:pt x="468" y="502"/>
                </a:cubicBezTo>
                <a:cubicBezTo>
                  <a:pt x="467" y="501"/>
                  <a:pt x="467" y="501"/>
                  <a:pt x="467" y="501"/>
                </a:cubicBezTo>
                <a:cubicBezTo>
                  <a:pt x="466" y="500"/>
                  <a:pt x="466" y="501"/>
                  <a:pt x="465" y="501"/>
                </a:cubicBezTo>
                <a:cubicBezTo>
                  <a:pt x="465" y="501"/>
                  <a:pt x="464" y="501"/>
                  <a:pt x="464" y="500"/>
                </a:cubicBezTo>
                <a:cubicBezTo>
                  <a:pt x="462" y="499"/>
                  <a:pt x="461" y="498"/>
                  <a:pt x="459" y="497"/>
                </a:cubicBezTo>
                <a:cubicBezTo>
                  <a:pt x="458" y="496"/>
                  <a:pt x="458" y="494"/>
                  <a:pt x="457" y="493"/>
                </a:cubicBezTo>
                <a:cubicBezTo>
                  <a:pt x="457" y="492"/>
                  <a:pt x="456" y="491"/>
                  <a:pt x="456" y="490"/>
                </a:cubicBezTo>
                <a:cubicBezTo>
                  <a:pt x="456" y="490"/>
                  <a:pt x="455" y="489"/>
                  <a:pt x="455" y="489"/>
                </a:cubicBezTo>
                <a:cubicBezTo>
                  <a:pt x="455" y="488"/>
                  <a:pt x="455" y="488"/>
                  <a:pt x="455" y="488"/>
                </a:cubicBezTo>
                <a:cubicBezTo>
                  <a:pt x="455" y="488"/>
                  <a:pt x="455" y="488"/>
                  <a:pt x="455" y="487"/>
                </a:cubicBezTo>
                <a:cubicBezTo>
                  <a:pt x="454" y="487"/>
                  <a:pt x="454" y="487"/>
                  <a:pt x="454" y="487"/>
                </a:cubicBezTo>
                <a:cubicBezTo>
                  <a:pt x="454" y="488"/>
                  <a:pt x="454" y="487"/>
                  <a:pt x="453" y="487"/>
                </a:cubicBezTo>
                <a:cubicBezTo>
                  <a:pt x="452" y="486"/>
                  <a:pt x="452" y="484"/>
                  <a:pt x="451" y="483"/>
                </a:cubicBezTo>
                <a:cubicBezTo>
                  <a:pt x="451" y="483"/>
                  <a:pt x="451" y="483"/>
                  <a:pt x="451" y="483"/>
                </a:cubicBezTo>
                <a:cubicBezTo>
                  <a:pt x="450" y="482"/>
                  <a:pt x="449" y="481"/>
                  <a:pt x="448" y="481"/>
                </a:cubicBezTo>
                <a:cubicBezTo>
                  <a:pt x="447" y="481"/>
                  <a:pt x="446" y="480"/>
                  <a:pt x="445" y="480"/>
                </a:cubicBezTo>
                <a:cubicBezTo>
                  <a:pt x="445" y="480"/>
                  <a:pt x="444" y="480"/>
                  <a:pt x="443" y="479"/>
                </a:cubicBezTo>
                <a:cubicBezTo>
                  <a:pt x="442" y="479"/>
                  <a:pt x="442" y="478"/>
                  <a:pt x="442" y="477"/>
                </a:cubicBezTo>
                <a:cubicBezTo>
                  <a:pt x="442" y="476"/>
                  <a:pt x="441" y="475"/>
                  <a:pt x="441" y="474"/>
                </a:cubicBezTo>
                <a:cubicBezTo>
                  <a:pt x="440" y="472"/>
                  <a:pt x="439" y="471"/>
                  <a:pt x="438" y="469"/>
                </a:cubicBezTo>
                <a:cubicBezTo>
                  <a:pt x="437" y="468"/>
                  <a:pt x="436" y="467"/>
                  <a:pt x="435" y="465"/>
                </a:cubicBezTo>
                <a:cubicBezTo>
                  <a:pt x="435" y="464"/>
                  <a:pt x="434" y="463"/>
                  <a:pt x="434" y="462"/>
                </a:cubicBezTo>
                <a:cubicBezTo>
                  <a:pt x="434" y="462"/>
                  <a:pt x="434" y="462"/>
                  <a:pt x="433" y="462"/>
                </a:cubicBezTo>
                <a:cubicBezTo>
                  <a:pt x="433" y="461"/>
                  <a:pt x="433" y="461"/>
                  <a:pt x="433" y="461"/>
                </a:cubicBezTo>
                <a:cubicBezTo>
                  <a:pt x="432" y="462"/>
                  <a:pt x="432" y="461"/>
                  <a:pt x="432" y="461"/>
                </a:cubicBezTo>
                <a:cubicBezTo>
                  <a:pt x="432" y="461"/>
                  <a:pt x="432" y="461"/>
                  <a:pt x="432" y="461"/>
                </a:cubicBezTo>
                <a:cubicBezTo>
                  <a:pt x="432" y="460"/>
                  <a:pt x="432" y="460"/>
                  <a:pt x="431" y="460"/>
                </a:cubicBezTo>
                <a:cubicBezTo>
                  <a:pt x="431" y="460"/>
                  <a:pt x="431" y="460"/>
                  <a:pt x="431" y="460"/>
                </a:cubicBezTo>
                <a:cubicBezTo>
                  <a:pt x="431" y="460"/>
                  <a:pt x="431" y="460"/>
                  <a:pt x="430" y="459"/>
                </a:cubicBezTo>
                <a:cubicBezTo>
                  <a:pt x="430" y="459"/>
                  <a:pt x="430" y="458"/>
                  <a:pt x="429" y="458"/>
                </a:cubicBezTo>
                <a:cubicBezTo>
                  <a:pt x="426" y="455"/>
                  <a:pt x="423" y="453"/>
                  <a:pt x="421" y="450"/>
                </a:cubicBezTo>
                <a:cubicBezTo>
                  <a:pt x="420" y="449"/>
                  <a:pt x="419" y="448"/>
                  <a:pt x="417" y="446"/>
                </a:cubicBezTo>
                <a:cubicBezTo>
                  <a:pt x="417" y="445"/>
                  <a:pt x="417" y="445"/>
                  <a:pt x="417" y="443"/>
                </a:cubicBezTo>
                <a:cubicBezTo>
                  <a:pt x="417" y="443"/>
                  <a:pt x="417" y="442"/>
                  <a:pt x="417" y="441"/>
                </a:cubicBezTo>
                <a:cubicBezTo>
                  <a:pt x="416" y="440"/>
                  <a:pt x="415" y="439"/>
                  <a:pt x="415" y="439"/>
                </a:cubicBezTo>
                <a:cubicBezTo>
                  <a:pt x="415" y="438"/>
                  <a:pt x="414" y="436"/>
                  <a:pt x="413" y="436"/>
                </a:cubicBezTo>
                <a:cubicBezTo>
                  <a:pt x="412" y="437"/>
                  <a:pt x="411" y="435"/>
                  <a:pt x="411" y="434"/>
                </a:cubicBezTo>
                <a:cubicBezTo>
                  <a:pt x="410" y="433"/>
                  <a:pt x="409" y="431"/>
                  <a:pt x="408" y="430"/>
                </a:cubicBezTo>
                <a:cubicBezTo>
                  <a:pt x="407" y="429"/>
                  <a:pt x="406" y="429"/>
                  <a:pt x="406" y="428"/>
                </a:cubicBezTo>
                <a:cubicBezTo>
                  <a:pt x="405" y="428"/>
                  <a:pt x="404" y="428"/>
                  <a:pt x="404" y="427"/>
                </a:cubicBezTo>
                <a:cubicBezTo>
                  <a:pt x="403" y="427"/>
                  <a:pt x="402" y="427"/>
                  <a:pt x="402" y="426"/>
                </a:cubicBezTo>
                <a:cubicBezTo>
                  <a:pt x="402" y="426"/>
                  <a:pt x="402" y="425"/>
                  <a:pt x="402" y="425"/>
                </a:cubicBezTo>
                <a:cubicBezTo>
                  <a:pt x="403" y="425"/>
                  <a:pt x="402" y="424"/>
                  <a:pt x="402" y="423"/>
                </a:cubicBezTo>
                <a:cubicBezTo>
                  <a:pt x="402" y="423"/>
                  <a:pt x="401" y="423"/>
                  <a:pt x="401" y="422"/>
                </a:cubicBezTo>
                <a:cubicBezTo>
                  <a:pt x="401" y="422"/>
                  <a:pt x="400" y="421"/>
                  <a:pt x="399" y="421"/>
                </a:cubicBezTo>
                <a:cubicBezTo>
                  <a:pt x="399" y="421"/>
                  <a:pt x="399" y="421"/>
                  <a:pt x="399" y="421"/>
                </a:cubicBezTo>
                <a:cubicBezTo>
                  <a:pt x="398" y="421"/>
                  <a:pt x="398" y="421"/>
                  <a:pt x="398" y="421"/>
                </a:cubicBezTo>
                <a:cubicBezTo>
                  <a:pt x="397" y="421"/>
                  <a:pt x="396" y="420"/>
                  <a:pt x="396" y="419"/>
                </a:cubicBezTo>
                <a:cubicBezTo>
                  <a:pt x="395" y="418"/>
                  <a:pt x="394" y="417"/>
                  <a:pt x="393" y="416"/>
                </a:cubicBezTo>
                <a:cubicBezTo>
                  <a:pt x="391" y="413"/>
                  <a:pt x="386" y="406"/>
                  <a:pt x="382" y="401"/>
                </a:cubicBezTo>
                <a:cubicBezTo>
                  <a:pt x="380" y="400"/>
                  <a:pt x="379" y="398"/>
                  <a:pt x="378" y="396"/>
                </a:cubicBezTo>
                <a:cubicBezTo>
                  <a:pt x="376" y="395"/>
                  <a:pt x="375" y="394"/>
                  <a:pt x="374" y="392"/>
                </a:cubicBezTo>
                <a:cubicBezTo>
                  <a:pt x="374" y="391"/>
                  <a:pt x="373" y="390"/>
                  <a:pt x="373" y="390"/>
                </a:cubicBezTo>
                <a:cubicBezTo>
                  <a:pt x="373" y="389"/>
                  <a:pt x="373" y="389"/>
                  <a:pt x="373" y="389"/>
                </a:cubicBezTo>
                <a:cubicBezTo>
                  <a:pt x="373" y="389"/>
                  <a:pt x="372" y="389"/>
                  <a:pt x="372" y="389"/>
                </a:cubicBezTo>
                <a:cubicBezTo>
                  <a:pt x="372" y="389"/>
                  <a:pt x="371" y="389"/>
                  <a:pt x="371" y="389"/>
                </a:cubicBezTo>
                <a:cubicBezTo>
                  <a:pt x="371" y="389"/>
                  <a:pt x="370" y="389"/>
                  <a:pt x="370" y="389"/>
                </a:cubicBezTo>
                <a:cubicBezTo>
                  <a:pt x="369" y="388"/>
                  <a:pt x="369" y="387"/>
                  <a:pt x="369" y="386"/>
                </a:cubicBezTo>
                <a:cubicBezTo>
                  <a:pt x="368" y="385"/>
                  <a:pt x="367" y="383"/>
                  <a:pt x="366" y="381"/>
                </a:cubicBezTo>
                <a:cubicBezTo>
                  <a:pt x="365" y="381"/>
                  <a:pt x="365" y="380"/>
                  <a:pt x="364" y="379"/>
                </a:cubicBezTo>
                <a:cubicBezTo>
                  <a:pt x="364" y="379"/>
                  <a:pt x="363" y="378"/>
                  <a:pt x="363" y="377"/>
                </a:cubicBezTo>
                <a:cubicBezTo>
                  <a:pt x="363" y="377"/>
                  <a:pt x="363" y="377"/>
                  <a:pt x="363" y="377"/>
                </a:cubicBezTo>
                <a:cubicBezTo>
                  <a:pt x="363" y="377"/>
                  <a:pt x="362" y="378"/>
                  <a:pt x="362" y="378"/>
                </a:cubicBezTo>
                <a:cubicBezTo>
                  <a:pt x="362" y="379"/>
                  <a:pt x="362" y="379"/>
                  <a:pt x="362" y="379"/>
                </a:cubicBezTo>
                <a:cubicBezTo>
                  <a:pt x="361" y="379"/>
                  <a:pt x="361" y="378"/>
                  <a:pt x="361" y="378"/>
                </a:cubicBezTo>
                <a:cubicBezTo>
                  <a:pt x="360" y="377"/>
                  <a:pt x="359" y="376"/>
                  <a:pt x="358" y="375"/>
                </a:cubicBezTo>
                <a:cubicBezTo>
                  <a:pt x="357" y="373"/>
                  <a:pt x="354" y="370"/>
                  <a:pt x="353" y="368"/>
                </a:cubicBezTo>
                <a:cubicBezTo>
                  <a:pt x="352" y="367"/>
                  <a:pt x="349" y="364"/>
                  <a:pt x="346" y="361"/>
                </a:cubicBezTo>
                <a:cubicBezTo>
                  <a:pt x="344" y="358"/>
                  <a:pt x="337" y="351"/>
                  <a:pt x="332" y="345"/>
                </a:cubicBezTo>
                <a:cubicBezTo>
                  <a:pt x="331" y="343"/>
                  <a:pt x="329" y="341"/>
                  <a:pt x="327" y="339"/>
                </a:cubicBezTo>
                <a:cubicBezTo>
                  <a:pt x="326" y="338"/>
                  <a:pt x="325" y="337"/>
                  <a:pt x="324" y="336"/>
                </a:cubicBezTo>
                <a:cubicBezTo>
                  <a:pt x="324" y="335"/>
                  <a:pt x="323" y="334"/>
                  <a:pt x="323" y="333"/>
                </a:cubicBezTo>
                <a:cubicBezTo>
                  <a:pt x="323" y="333"/>
                  <a:pt x="323" y="333"/>
                  <a:pt x="323" y="332"/>
                </a:cubicBezTo>
                <a:cubicBezTo>
                  <a:pt x="324" y="331"/>
                  <a:pt x="322" y="330"/>
                  <a:pt x="321" y="329"/>
                </a:cubicBezTo>
                <a:cubicBezTo>
                  <a:pt x="320" y="328"/>
                  <a:pt x="320" y="328"/>
                  <a:pt x="319" y="327"/>
                </a:cubicBezTo>
                <a:cubicBezTo>
                  <a:pt x="319" y="326"/>
                  <a:pt x="319" y="326"/>
                  <a:pt x="318" y="326"/>
                </a:cubicBezTo>
                <a:cubicBezTo>
                  <a:pt x="318" y="325"/>
                  <a:pt x="318" y="325"/>
                  <a:pt x="318" y="325"/>
                </a:cubicBezTo>
                <a:cubicBezTo>
                  <a:pt x="318" y="325"/>
                  <a:pt x="318" y="324"/>
                  <a:pt x="318" y="324"/>
                </a:cubicBezTo>
                <a:cubicBezTo>
                  <a:pt x="318" y="324"/>
                  <a:pt x="317" y="324"/>
                  <a:pt x="317" y="324"/>
                </a:cubicBezTo>
                <a:cubicBezTo>
                  <a:pt x="315" y="325"/>
                  <a:pt x="314" y="323"/>
                  <a:pt x="313" y="322"/>
                </a:cubicBezTo>
                <a:cubicBezTo>
                  <a:pt x="312" y="321"/>
                  <a:pt x="310" y="319"/>
                  <a:pt x="309" y="318"/>
                </a:cubicBezTo>
                <a:cubicBezTo>
                  <a:pt x="308" y="317"/>
                  <a:pt x="308" y="317"/>
                  <a:pt x="307" y="316"/>
                </a:cubicBezTo>
                <a:cubicBezTo>
                  <a:pt x="306" y="316"/>
                  <a:pt x="306" y="316"/>
                  <a:pt x="306" y="315"/>
                </a:cubicBezTo>
                <a:cubicBezTo>
                  <a:pt x="306" y="315"/>
                  <a:pt x="306" y="314"/>
                  <a:pt x="306" y="314"/>
                </a:cubicBezTo>
                <a:cubicBezTo>
                  <a:pt x="306" y="313"/>
                  <a:pt x="304" y="312"/>
                  <a:pt x="304" y="311"/>
                </a:cubicBezTo>
                <a:cubicBezTo>
                  <a:pt x="303" y="311"/>
                  <a:pt x="302" y="310"/>
                  <a:pt x="302" y="309"/>
                </a:cubicBezTo>
                <a:cubicBezTo>
                  <a:pt x="301" y="309"/>
                  <a:pt x="301" y="308"/>
                  <a:pt x="301" y="307"/>
                </a:cubicBezTo>
                <a:cubicBezTo>
                  <a:pt x="301" y="306"/>
                  <a:pt x="301" y="305"/>
                  <a:pt x="301" y="305"/>
                </a:cubicBezTo>
                <a:cubicBezTo>
                  <a:pt x="300" y="305"/>
                  <a:pt x="300" y="305"/>
                  <a:pt x="299" y="305"/>
                </a:cubicBezTo>
                <a:cubicBezTo>
                  <a:pt x="298" y="304"/>
                  <a:pt x="298" y="303"/>
                  <a:pt x="297" y="303"/>
                </a:cubicBezTo>
                <a:cubicBezTo>
                  <a:pt x="296" y="302"/>
                  <a:pt x="294" y="300"/>
                  <a:pt x="293" y="300"/>
                </a:cubicBezTo>
                <a:cubicBezTo>
                  <a:pt x="291" y="299"/>
                  <a:pt x="290" y="298"/>
                  <a:pt x="289" y="296"/>
                </a:cubicBezTo>
                <a:cubicBezTo>
                  <a:pt x="288" y="295"/>
                  <a:pt x="287" y="293"/>
                  <a:pt x="286" y="291"/>
                </a:cubicBezTo>
                <a:cubicBezTo>
                  <a:pt x="286" y="291"/>
                  <a:pt x="286" y="289"/>
                  <a:pt x="285" y="289"/>
                </a:cubicBezTo>
                <a:cubicBezTo>
                  <a:pt x="285" y="289"/>
                  <a:pt x="284" y="288"/>
                  <a:pt x="284" y="288"/>
                </a:cubicBezTo>
                <a:cubicBezTo>
                  <a:pt x="283" y="289"/>
                  <a:pt x="283" y="289"/>
                  <a:pt x="283" y="289"/>
                </a:cubicBezTo>
                <a:cubicBezTo>
                  <a:pt x="282" y="289"/>
                  <a:pt x="282" y="288"/>
                  <a:pt x="282" y="288"/>
                </a:cubicBezTo>
                <a:cubicBezTo>
                  <a:pt x="282" y="287"/>
                  <a:pt x="281" y="287"/>
                  <a:pt x="281" y="286"/>
                </a:cubicBezTo>
                <a:cubicBezTo>
                  <a:pt x="281" y="286"/>
                  <a:pt x="281" y="285"/>
                  <a:pt x="281" y="285"/>
                </a:cubicBezTo>
                <a:cubicBezTo>
                  <a:pt x="281" y="284"/>
                  <a:pt x="281" y="284"/>
                  <a:pt x="281" y="283"/>
                </a:cubicBezTo>
                <a:cubicBezTo>
                  <a:pt x="281" y="283"/>
                  <a:pt x="281" y="282"/>
                  <a:pt x="281" y="282"/>
                </a:cubicBezTo>
                <a:cubicBezTo>
                  <a:pt x="281" y="281"/>
                  <a:pt x="280" y="281"/>
                  <a:pt x="279" y="281"/>
                </a:cubicBezTo>
                <a:cubicBezTo>
                  <a:pt x="279" y="281"/>
                  <a:pt x="279" y="281"/>
                  <a:pt x="280" y="281"/>
                </a:cubicBezTo>
                <a:cubicBezTo>
                  <a:pt x="280" y="281"/>
                  <a:pt x="280" y="280"/>
                  <a:pt x="280" y="280"/>
                </a:cubicBezTo>
                <a:cubicBezTo>
                  <a:pt x="281" y="280"/>
                  <a:pt x="280" y="280"/>
                  <a:pt x="280" y="280"/>
                </a:cubicBezTo>
                <a:cubicBezTo>
                  <a:pt x="280" y="279"/>
                  <a:pt x="280" y="279"/>
                  <a:pt x="279" y="279"/>
                </a:cubicBezTo>
                <a:cubicBezTo>
                  <a:pt x="279" y="279"/>
                  <a:pt x="279" y="279"/>
                  <a:pt x="279" y="279"/>
                </a:cubicBezTo>
                <a:cubicBezTo>
                  <a:pt x="279" y="279"/>
                  <a:pt x="278" y="279"/>
                  <a:pt x="278" y="280"/>
                </a:cubicBezTo>
                <a:cubicBezTo>
                  <a:pt x="278" y="280"/>
                  <a:pt x="278" y="280"/>
                  <a:pt x="278" y="281"/>
                </a:cubicBezTo>
                <a:cubicBezTo>
                  <a:pt x="278" y="282"/>
                  <a:pt x="277" y="281"/>
                  <a:pt x="276" y="281"/>
                </a:cubicBezTo>
                <a:cubicBezTo>
                  <a:pt x="276" y="281"/>
                  <a:pt x="276" y="281"/>
                  <a:pt x="275" y="281"/>
                </a:cubicBezTo>
                <a:cubicBezTo>
                  <a:pt x="275" y="280"/>
                  <a:pt x="276" y="280"/>
                  <a:pt x="276" y="279"/>
                </a:cubicBezTo>
                <a:cubicBezTo>
                  <a:pt x="276" y="278"/>
                  <a:pt x="276" y="277"/>
                  <a:pt x="276" y="277"/>
                </a:cubicBezTo>
                <a:cubicBezTo>
                  <a:pt x="276" y="276"/>
                  <a:pt x="275" y="276"/>
                  <a:pt x="275" y="275"/>
                </a:cubicBezTo>
                <a:cubicBezTo>
                  <a:pt x="274" y="274"/>
                  <a:pt x="272" y="271"/>
                  <a:pt x="270" y="269"/>
                </a:cubicBezTo>
                <a:cubicBezTo>
                  <a:pt x="270" y="268"/>
                  <a:pt x="269" y="267"/>
                  <a:pt x="269" y="267"/>
                </a:cubicBezTo>
                <a:cubicBezTo>
                  <a:pt x="268" y="266"/>
                  <a:pt x="268" y="265"/>
                  <a:pt x="267" y="265"/>
                </a:cubicBezTo>
                <a:cubicBezTo>
                  <a:pt x="267" y="265"/>
                  <a:pt x="266" y="265"/>
                  <a:pt x="266" y="266"/>
                </a:cubicBezTo>
                <a:cubicBezTo>
                  <a:pt x="265" y="265"/>
                  <a:pt x="265" y="265"/>
                  <a:pt x="264" y="264"/>
                </a:cubicBezTo>
                <a:cubicBezTo>
                  <a:pt x="264" y="263"/>
                  <a:pt x="263" y="263"/>
                  <a:pt x="262" y="262"/>
                </a:cubicBezTo>
                <a:cubicBezTo>
                  <a:pt x="261" y="262"/>
                  <a:pt x="259" y="261"/>
                  <a:pt x="259" y="259"/>
                </a:cubicBezTo>
                <a:cubicBezTo>
                  <a:pt x="259" y="259"/>
                  <a:pt x="259" y="258"/>
                  <a:pt x="259" y="258"/>
                </a:cubicBezTo>
                <a:cubicBezTo>
                  <a:pt x="259" y="257"/>
                  <a:pt x="259" y="257"/>
                  <a:pt x="259" y="256"/>
                </a:cubicBezTo>
                <a:cubicBezTo>
                  <a:pt x="260" y="257"/>
                  <a:pt x="260" y="257"/>
                  <a:pt x="260" y="256"/>
                </a:cubicBezTo>
                <a:cubicBezTo>
                  <a:pt x="259" y="255"/>
                  <a:pt x="259" y="254"/>
                  <a:pt x="258" y="254"/>
                </a:cubicBezTo>
                <a:cubicBezTo>
                  <a:pt x="257" y="253"/>
                  <a:pt x="257" y="253"/>
                  <a:pt x="256" y="252"/>
                </a:cubicBezTo>
                <a:cubicBezTo>
                  <a:pt x="256" y="252"/>
                  <a:pt x="256" y="252"/>
                  <a:pt x="255" y="251"/>
                </a:cubicBezTo>
                <a:cubicBezTo>
                  <a:pt x="255" y="251"/>
                  <a:pt x="255" y="251"/>
                  <a:pt x="255" y="251"/>
                </a:cubicBezTo>
                <a:cubicBezTo>
                  <a:pt x="254" y="251"/>
                  <a:pt x="253" y="251"/>
                  <a:pt x="252" y="251"/>
                </a:cubicBezTo>
                <a:cubicBezTo>
                  <a:pt x="252" y="251"/>
                  <a:pt x="252" y="251"/>
                  <a:pt x="251" y="251"/>
                </a:cubicBezTo>
                <a:cubicBezTo>
                  <a:pt x="251" y="251"/>
                  <a:pt x="251" y="250"/>
                  <a:pt x="251" y="250"/>
                </a:cubicBezTo>
                <a:cubicBezTo>
                  <a:pt x="251" y="250"/>
                  <a:pt x="251" y="249"/>
                  <a:pt x="251" y="249"/>
                </a:cubicBezTo>
                <a:cubicBezTo>
                  <a:pt x="251" y="248"/>
                  <a:pt x="251" y="248"/>
                  <a:pt x="251" y="248"/>
                </a:cubicBezTo>
                <a:cubicBezTo>
                  <a:pt x="249" y="247"/>
                  <a:pt x="248" y="245"/>
                  <a:pt x="247" y="244"/>
                </a:cubicBezTo>
                <a:cubicBezTo>
                  <a:pt x="246" y="244"/>
                  <a:pt x="245" y="243"/>
                  <a:pt x="245" y="242"/>
                </a:cubicBezTo>
                <a:cubicBezTo>
                  <a:pt x="245" y="241"/>
                  <a:pt x="243" y="239"/>
                  <a:pt x="240" y="236"/>
                </a:cubicBezTo>
                <a:cubicBezTo>
                  <a:pt x="239" y="235"/>
                  <a:pt x="239" y="234"/>
                  <a:pt x="238" y="233"/>
                </a:cubicBezTo>
                <a:cubicBezTo>
                  <a:pt x="237" y="232"/>
                  <a:pt x="236" y="231"/>
                  <a:pt x="236" y="231"/>
                </a:cubicBezTo>
                <a:cubicBezTo>
                  <a:pt x="235" y="230"/>
                  <a:pt x="235" y="230"/>
                  <a:pt x="234" y="230"/>
                </a:cubicBezTo>
                <a:cubicBezTo>
                  <a:pt x="233" y="231"/>
                  <a:pt x="232" y="230"/>
                  <a:pt x="232" y="229"/>
                </a:cubicBezTo>
                <a:cubicBezTo>
                  <a:pt x="231" y="228"/>
                  <a:pt x="231" y="228"/>
                  <a:pt x="231" y="228"/>
                </a:cubicBezTo>
                <a:cubicBezTo>
                  <a:pt x="231" y="227"/>
                  <a:pt x="231" y="227"/>
                  <a:pt x="231" y="226"/>
                </a:cubicBezTo>
                <a:cubicBezTo>
                  <a:pt x="231" y="225"/>
                  <a:pt x="231" y="225"/>
                  <a:pt x="230" y="224"/>
                </a:cubicBezTo>
                <a:cubicBezTo>
                  <a:pt x="230" y="223"/>
                  <a:pt x="229" y="223"/>
                  <a:pt x="229" y="222"/>
                </a:cubicBezTo>
                <a:cubicBezTo>
                  <a:pt x="227" y="221"/>
                  <a:pt x="226" y="220"/>
                  <a:pt x="224" y="219"/>
                </a:cubicBezTo>
                <a:cubicBezTo>
                  <a:pt x="223" y="219"/>
                  <a:pt x="221" y="218"/>
                  <a:pt x="221" y="217"/>
                </a:cubicBezTo>
                <a:cubicBezTo>
                  <a:pt x="220" y="217"/>
                  <a:pt x="220" y="216"/>
                  <a:pt x="220" y="215"/>
                </a:cubicBezTo>
                <a:cubicBezTo>
                  <a:pt x="220" y="214"/>
                  <a:pt x="220" y="214"/>
                  <a:pt x="220" y="213"/>
                </a:cubicBezTo>
                <a:cubicBezTo>
                  <a:pt x="220" y="212"/>
                  <a:pt x="219" y="211"/>
                  <a:pt x="218" y="211"/>
                </a:cubicBezTo>
                <a:cubicBezTo>
                  <a:pt x="216" y="209"/>
                  <a:pt x="215" y="207"/>
                  <a:pt x="214" y="206"/>
                </a:cubicBezTo>
                <a:cubicBezTo>
                  <a:pt x="214" y="205"/>
                  <a:pt x="212" y="202"/>
                  <a:pt x="209" y="199"/>
                </a:cubicBezTo>
                <a:cubicBezTo>
                  <a:pt x="208" y="197"/>
                  <a:pt x="206" y="196"/>
                  <a:pt x="205" y="195"/>
                </a:cubicBezTo>
                <a:cubicBezTo>
                  <a:pt x="205" y="195"/>
                  <a:pt x="205" y="194"/>
                  <a:pt x="205" y="194"/>
                </a:cubicBezTo>
                <a:cubicBezTo>
                  <a:pt x="205" y="194"/>
                  <a:pt x="204" y="195"/>
                  <a:pt x="204" y="195"/>
                </a:cubicBezTo>
                <a:cubicBezTo>
                  <a:pt x="204" y="195"/>
                  <a:pt x="204" y="195"/>
                  <a:pt x="204" y="195"/>
                </a:cubicBezTo>
                <a:cubicBezTo>
                  <a:pt x="203" y="194"/>
                  <a:pt x="203" y="194"/>
                  <a:pt x="203" y="194"/>
                </a:cubicBezTo>
                <a:cubicBezTo>
                  <a:pt x="202" y="194"/>
                  <a:pt x="201" y="194"/>
                  <a:pt x="200" y="193"/>
                </a:cubicBezTo>
                <a:cubicBezTo>
                  <a:pt x="199" y="193"/>
                  <a:pt x="199" y="192"/>
                  <a:pt x="199" y="192"/>
                </a:cubicBezTo>
                <a:cubicBezTo>
                  <a:pt x="198" y="191"/>
                  <a:pt x="197" y="190"/>
                  <a:pt x="196" y="189"/>
                </a:cubicBezTo>
                <a:cubicBezTo>
                  <a:pt x="195" y="187"/>
                  <a:pt x="194" y="185"/>
                  <a:pt x="193" y="184"/>
                </a:cubicBezTo>
                <a:cubicBezTo>
                  <a:pt x="192" y="183"/>
                  <a:pt x="191" y="182"/>
                  <a:pt x="191" y="182"/>
                </a:cubicBezTo>
                <a:cubicBezTo>
                  <a:pt x="190" y="182"/>
                  <a:pt x="190" y="181"/>
                  <a:pt x="190" y="181"/>
                </a:cubicBezTo>
                <a:cubicBezTo>
                  <a:pt x="190" y="181"/>
                  <a:pt x="190" y="180"/>
                  <a:pt x="190" y="180"/>
                </a:cubicBezTo>
                <a:cubicBezTo>
                  <a:pt x="191" y="180"/>
                  <a:pt x="190" y="179"/>
                  <a:pt x="190" y="179"/>
                </a:cubicBezTo>
                <a:cubicBezTo>
                  <a:pt x="190" y="178"/>
                  <a:pt x="189" y="178"/>
                  <a:pt x="189" y="177"/>
                </a:cubicBezTo>
                <a:cubicBezTo>
                  <a:pt x="188" y="176"/>
                  <a:pt x="186" y="174"/>
                  <a:pt x="185" y="173"/>
                </a:cubicBezTo>
                <a:cubicBezTo>
                  <a:pt x="184" y="172"/>
                  <a:pt x="184" y="170"/>
                  <a:pt x="182" y="170"/>
                </a:cubicBezTo>
                <a:cubicBezTo>
                  <a:pt x="182" y="170"/>
                  <a:pt x="182" y="170"/>
                  <a:pt x="182" y="170"/>
                </a:cubicBezTo>
                <a:cubicBezTo>
                  <a:pt x="182" y="170"/>
                  <a:pt x="181" y="171"/>
                  <a:pt x="181" y="171"/>
                </a:cubicBezTo>
                <a:cubicBezTo>
                  <a:pt x="181" y="171"/>
                  <a:pt x="181" y="171"/>
                  <a:pt x="180" y="170"/>
                </a:cubicBezTo>
                <a:cubicBezTo>
                  <a:pt x="179" y="169"/>
                  <a:pt x="178" y="167"/>
                  <a:pt x="176" y="166"/>
                </a:cubicBezTo>
                <a:cubicBezTo>
                  <a:pt x="175" y="164"/>
                  <a:pt x="174" y="163"/>
                  <a:pt x="173" y="162"/>
                </a:cubicBezTo>
                <a:cubicBezTo>
                  <a:pt x="172" y="162"/>
                  <a:pt x="172" y="162"/>
                  <a:pt x="172" y="161"/>
                </a:cubicBezTo>
                <a:cubicBezTo>
                  <a:pt x="172" y="161"/>
                  <a:pt x="173" y="161"/>
                  <a:pt x="173" y="160"/>
                </a:cubicBezTo>
                <a:cubicBezTo>
                  <a:pt x="173" y="160"/>
                  <a:pt x="172" y="160"/>
                  <a:pt x="172" y="160"/>
                </a:cubicBezTo>
                <a:cubicBezTo>
                  <a:pt x="171" y="159"/>
                  <a:pt x="168" y="159"/>
                  <a:pt x="169" y="157"/>
                </a:cubicBezTo>
                <a:cubicBezTo>
                  <a:pt x="169" y="157"/>
                  <a:pt x="169" y="157"/>
                  <a:pt x="169" y="157"/>
                </a:cubicBezTo>
                <a:cubicBezTo>
                  <a:pt x="170" y="157"/>
                  <a:pt x="170" y="157"/>
                  <a:pt x="170" y="156"/>
                </a:cubicBezTo>
                <a:cubicBezTo>
                  <a:pt x="170" y="156"/>
                  <a:pt x="170" y="156"/>
                  <a:pt x="170" y="155"/>
                </a:cubicBezTo>
                <a:cubicBezTo>
                  <a:pt x="170" y="155"/>
                  <a:pt x="170" y="154"/>
                  <a:pt x="170" y="154"/>
                </a:cubicBezTo>
                <a:cubicBezTo>
                  <a:pt x="170" y="154"/>
                  <a:pt x="169" y="154"/>
                  <a:pt x="169" y="153"/>
                </a:cubicBezTo>
                <a:cubicBezTo>
                  <a:pt x="169" y="153"/>
                  <a:pt x="169" y="153"/>
                  <a:pt x="168" y="153"/>
                </a:cubicBezTo>
                <a:cubicBezTo>
                  <a:pt x="168" y="153"/>
                  <a:pt x="169" y="152"/>
                  <a:pt x="168" y="151"/>
                </a:cubicBezTo>
                <a:cubicBezTo>
                  <a:pt x="168" y="151"/>
                  <a:pt x="167" y="150"/>
                  <a:pt x="166" y="149"/>
                </a:cubicBezTo>
                <a:cubicBezTo>
                  <a:pt x="164" y="147"/>
                  <a:pt x="162" y="145"/>
                  <a:pt x="161" y="143"/>
                </a:cubicBezTo>
                <a:cubicBezTo>
                  <a:pt x="159" y="141"/>
                  <a:pt x="157" y="139"/>
                  <a:pt x="156" y="137"/>
                </a:cubicBezTo>
                <a:cubicBezTo>
                  <a:pt x="155" y="137"/>
                  <a:pt x="154" y="136"/>
                  <a:pt x="154" y="135"/>
                </a:cubicBezTo>
                <a:cubicBezTo>
                  <a:pt x="153" y="134"/>
                  <a:pt x="152" y="133"/>
                  <a:pt x="151" y="134"/>
                </a:cubicBezTo>
                <a:cubicBezTo>
                  <a:pt x="151" y="134"/>
                  <a:pt x="150" y="134"/>
                  <a:pt x="150" y="133"/>
                </a:cubicBezTo>
                <a:cubicBezTo>
                  <a:pt x="149" y="133"/>
                  <a:pt x="148" y="133"/>
                  <a:pt x="147" y="133"/>
                </a:cubicBezTo>
                <a:cubicBezTo>
                  <a:pt x="146" y="133"/>
                  <a:pt x="146" y="133"/>
                  <a:pt x="145" y="132"/>
                </a:cubicBezTo>
                <a:cubicBezTo>
                  <a:pt x="144" y="131"/>
                  <a:pt x="143" y="130"/>
                  <a:pt x="142" y="129"/>
                </a:cubicBezTo>
                <a:cubicBezTo>
                  <a:pt x="142" y="128"/>
                  <a:pt x="141" y="127"/>
                  <a:pt x="139" y="126"/>
                </a:cubicBezTo>
                <a:cubicBezTo>
                  <a:pt x="139" y="125"/>
                  <a:pt x="139" y="125"/>
                  <a:pt x="139" y="125"/>
                </a:cubicBezTo>
                <a:cubicBezTo>
                  <a:pt x="139" y="124"/>
                  <a:pt x="138" y="125"/>
                  <a:pt x="138" y="125"/>
                </a:cubicBezTo>
                <a:cubicBezTo>
                  <a:pt x="138" y="124"/>
                  <a:pt x="138" y="124"/>
                  <a:pt x="137" y="124"/>
                </a:cubicBezTo>
                <a:cubicBezTo>
                  <a:pt x="137" y="123"/>
                  <a:pt x="137" y="123"/>
                  <a:pt x="136" y="122"/>
                </a:cubicBezTo>
                <a:cubicBezTo>
                  <a:pt x="135" y="122"/>
                  <a:pt x="135" y="121"/>
                  <a:pt x="134" y="120"/>
                </a:cubicBezTo>
                <a:cubicBezTo>
                  <a:pt x="134" y="120"/>
                  <a:pt x="134" y="120"/>
                  <a:pt x="134" y="119"/>
                </a:cubicBezTo>
                <a:cubicBezTo>
                  <a:pt x="134" y="119"/>
                  <a:pt x="135" y="119"/>
                  <a:pt x="135" y="118"/>
                </a:cubicBezTo>
                <a:cubicBezTo>
                  <a:pt x="135" y="118"/>
                  <a:pt x="135" y="117"/>
                  <a:pt x="134" y="117"/>
                </a:cubicBezTo>
                <a:cubicBezTo>
                  <a:pt x="134" y="117"/>
                  <a:pt x="134" y="116"/>
                  <a:pt x="133" y="116"/>
                </a:cubicBezTo>
                <a:cubicBezTo>
                  <a:pt x="133" y="116"/>
                  <a:pt x="133" y="116"/>
                  <a:pt x="133" y="116"/>
                </a:cubicBezTo>
                <a:cubicBezTo>
                  <a:pt x="133" y="116"/>
                  <a:pt x="133" y="116"/>
                  <a:pt x="132" y="117"/>
                </a:cubicBezTo>
                <a:cubicBezTo>
                  <a:pt x="132" y="118"/>
                  <a:pt x="131" y="117"/>
                  <a:pt x="130" y="116"/>
                </a:cubicBezTo>
                <a:cubicBezTo>
                  <a:pt x="130" y="115"/>
                  <a:pt x="129" y="114"/>
                  <a:pt x="129" y="113"/>
                </a:cubicBezTo>
                <a:cubicBezTo>
                  <a:pt x="129" y="112"/>
                  <a:pt x="128" y="111"/>
                  <a:pt x="128" y="111"/>
                </a:cubicBezTo>
                <a:cubicBezTo>
                  <a:pt x="127" y="110"/>
                  <a:pt x="127" y="110"/>
                  <a:pt x="126" y="110"/>
                </a:cubicBezTo>
                <a:cubicBezTo>
                  <a:pt x="126" y="109"/>
                  <a:pt x="126" y="109"/>
                  <a:pt x="126" y="109"/>
                </a:cubicBezTo>
                <a:cubicBezTo>
                  <a:pt x="126" y="109"/>
                  <a:pt x="126" y="110"/>
                  <a:pt x="126" y="110"/>
                </a:cubicBezTo>
                <a:cubicBezTo>
                  <a:pt x="125" y="110"/>
                  <a:pt x="125" y="110"/>
                  <a:pt x="125" y="110"/>
                </a:cubicBezTo>
                <a:cubicBezTo>
                  <a:pt x="123" y="109"/>
                  <a:pt x="122" y="107"/>
                  <a:pt x="121" y="106"/>
                </a:cubicBezTo>
                <a:cubicBezTo>
                  <a:pt x="120" y="104"/>
                  <a:pt x="118" y="103"/>
                  <a:pt x="117" y="102"/>
                </a:cubicBezTo>
                <a:cubicBezTo>
                  <a:pt x="116" y="100"/>
                  <a:pt x="114" y="98"/>
                  <a:pt x="112" y="97"/>
                </a:cubicBezTo>
                <a:cubicBezTo>
                  <a:pt x="111" y="96"/>
                  <a:pt x="111" y="95"/>
                  <a:pt x="110" y="94"/>
                </a:cubicBezTo>
                <a:cubicBezTo>
                  <a:pt x="110" y="94"/>
                  <a:pt x="110" y="93"/>
                  <a:pt x="110" y="93"/>
                </a:cubicBezTo>
                <a:cubicBezTo>
                  <a:pt x="110" y="93"/>
                  <a:pt x="111" y="93"/>
                  <a:pt x="111" y="92"/>
                </a:cubicBezTo>
                <a:cubicBezTo>
                  <a:pt x="110" y="91"/>
                  <a:pt x="108" y="90"/>
                  <a:pt x="108" y="89"/>
                </a:cubicBezTo>
                <a:cubicBezTo>
                  <a:pt x="108" y="89"/>
                  <a:pt x="108" y="89"/>
                  <a:pt x="109" y="89"/>
                </a:cubicBezTo>
                <a:cubicBezTo>
                  <a:pt x="109" y="89"/>
                  <a:pt x="109" y="88"/>
                  <a:pt x="109" y="88"/>
                </a:cubicBezTo>
                <a:cubicBezTo>
                  <a:pt x="109" y="88"/>
                  <a:pt x="109" y="88"/>
                  <a:pt x="108" y="87"/>
                </a:cubicBezTo>
                <a:cubicBezTo>
                  <a:pt x="106" y="85"/>
                  <a:pt x="103" y="82"/>
                  <a:pt x="100" y="79"/>
                </a:cubicBezTo>
                <a:cubicBezTo>
                  <a:pt x="100" y="79"/>
                  <a:pt x="99" y="78"/>
                  <a:pt x="98" y="78"/>
                </a:cubicBezTo>
                <a:cubicBezTo>
                  <a:pt x="97" y="77"/>
                  <a:pt x="97" y="77"/>
                  <a:pt x="96" y="77"/>
                </a:cubicBezTo>
                <a:cubicBezTo>
                  <a:pt x="94" y="77"/>
                  <a:pt x="94" y="77"/>
                  <a:pt x="93" y="76"/>
                </a:cubicBezTo>
                <a:cubicBezTo>
                  <a:pt x="92" y="76"/>
                  <a:pt x="91" y="75"/>
                  <a:pt x="91" y="75"/>
                </a:cubicBezTo>
                <a:cubicBezTo>
                  <a:pt x="90" y="74"/>
                  <a:pt x="90" y="73"/>
                  <a:pt x="89" y="73"/>
                </a:cubicBezTo>
                <a:cubicBezTo>
                  <a:pt x="89" y="73"/>
                  <a:pt x="89" y="72"/>
                  <a:pt x="90" y="72"/>
                </a:cubicBezTo>
                <a:cubicBezTo>
                  <a:pt x="90" y="72"/>
                  <a:pt x="90" y="71"/>
                  <a:pt x="90" y="71"/>
                </a:cubicBezTo>
                <a:cubicBezTo>
                  <a:pt x="90" y="70"/>
                  <a:pt x="89" y="70"/>
                  <a:pt x="88" y="69"/>
                </a:cubicBezTo>
                <a:cubicBezTo>
                  <a:pt x="88" y="69"/>
                  <a:pt x="88" y="68"/>
                  <a:pt x="88" y="67"/>
                </a:cubicBezTo>
                <a:cubicBezTo>
                  <a:pt x="88" y="66"/>
                  <a:pt x="88" y="65"/>
                  <a:pt x="87" y="64"/>
                </a:cubicBezTo>
                <a:cubicBezTo>
                  <a:pt x="87" y="64"/>
                  <a:pt x="86" y="63"/>
                  <a:pt x="86" y="62"/>
                </a:cubicBezTo>
                <a:cubicBezTo>
                  <a:pt x="85" y="62"/>
                  <a:pt x="84" y="60"/>
                  <a:pt x="83" y="60"/>
                </a:cubicBezTo>
                <a:cubicBezTo>
                  <a:pt x="82" y="59"/>
                  <a:pt x="82" y="60"/>
                  <a:pt x="81" y="60"/>
                </a:cubicBezTo>
                <a:cubicBezTo>
                  <a:pt x="80" y="59"/>
                  <a:pt x="80" y="58"/>
                  <a:pt x="80" y="58"/>
                </a:cubicBezTo>
                <a:cubicBezTo>
                  <a:pt x="79" y="57"/>
                  <a:pt x="76" y="53"/>
                  <a:pt x="74" y="50"/>
                </a:cubicBezTo>
                <a:cubicBezTo>
                  <a:pt x="73" y="49"/>
                  <a:pt x="72" y="48"/>
                  <a:pt x="71" y="47"/>
                </a:cubicBezTo>
                <a:cubicBezTo>
                  <a:pt x="62" y="39"/>
                  <a:pt x="57" y="28"/>
                  <a:pt x="47" y="18"/>
                </a:cubicBezTo>
                <a:cubicBezTo>
                  <a:pt x="41" y="12"/>
                  <a:pt x="36" y="0"/>
                  <a:pt x="26" y="2"/>
                </a:cubicBezTo>
                <a:cubicBezTo>
                  <a:pt x="20" y="2"/>
                  <a:pt x="15" y="10"/>
                  <a:pt x="11" y="14"/>
                </a:cubicBezTo>
                <a:cubicBezTo>
                  <a:pt x="7" y="17"/>
                  <a:pt x="7" y="20"/>
                  <a:pt x="5" y="23"/>
                </a:cubicBezTo>
                <a:cubicBezTo>
                  <a:pt x="4" y="24"/>
                  <a:pt x="1" y="27"/>
                  <a:pt x="0" y="28"/>
                </a:cubicBezTo>
                <a:cubicBezTo>
                  <a:pt x="0" y="29"/>
                  <a:pt x="0" y="31"/>
                  <a:pt x="1" y="32"/>
                </a:cubicBezTo>
                <a:cubicBezTo>
                  <a:pt x="2" y="38"/>
                  <a:pt x="2" y="39"/>
                  <a:pt x="5" y="44"/>
                </a:cubicBezTo>
                <a:cubicBezTo>
                  <a:pt x="7" y="48"/>
                  <a:pt x="10" y="53"/>
                  <a:pt x="13" y="57"/>
                </a:cubicBezTo>
                <a:cubicBezTo>
                  <a:pt x="16" y="60"/>
                  <a:pt x="19" y="64"/>
                  <a:pt x="22" y="67"/>
                </a:cubicBezTo>
                <a:cubicBezTo>
                  <a:pt x="23" y="68"/>
                  <a:pt x="24" y="69"/>
                  <a:pt x="25" y="70"/>
                </a:cubicBezTo>
                <a:cubicBezTo>
                  <a:pt x="26" y="71"/>
                  <a:pt x="27" y="71"/>
                  <a:pt x="27" y="72"/>
                </a:cubicBezTo>
                <a:cubicBezTo>
                  <a:pt x="28" y="73"/>
                  <a:pt x="29" y="75"/>
                  <a:pt x="29" y="76"/>
                </a:cubicBezTo>
                <a:cubicBezTo>
                  <a:pt x="30" y="77"/>
                  <a:pt x="31" y="78"/>
                  <a:pt x="32" y="79"/>
                </a:cubicBezTo>
                <a:cubicBezTo>
                  <a:pt x="34" y="81"/>
                  <a:pt x="34" y="83"/>
                  <a:pt x="36" y="84"/>
                </a:cubicBezTo>
                <a:cubicBezTo>
                  <a:pt x="37" y="86"/>
                  <a:pt x="39" y="87"/>
                  <a:pt x="40" y="89"/>
                </a:cubicBezTo>
                <a:cubicBezTo>
                  <a:pt x="42" y="91"/>
                  <a:pt x="43" y="92"/>
                  <a:pt x="45" y="94"/>
                </a:cubicBezTo>
                <a:cubicBezTo>
                  <a:pt x="46" y="95"/>
                  <a:pt x="47" y="95"/>
                  <a:pt x="49" y="96"/>
                </a:cubicBezTo>
                <a:cubicBezTo>
                  <a:pt x="50" y="97"/>
                  <a:pt x="51" y="99"/>
                  <a:pt x="53" y="100"/>
                </a:cubicBezTo>
                <a:cubicBezTo>
                  <a:pt x="76" y="129"/>
                  <a:pt x="135" y="197"/>
                  <a:pt x="147" y="209"/>
                </a:cubicBezTo>
                <a:cubicBezTo>
                  <a:pt x="149" y="212"/>
                  <a:pt x="155" y="218"/>
                  <a:pt x="159" y="222"/>
                </a:cubicBezTo>
                <a:cubicBezTo>
                  <a:pt x="163" y="227"/>
                  <a:pt x="170" y="234"/>
                  <a:pt x="173" y="238"/>
                </a:cubicBezTo>
                <a:cubicBezTo>
                  <a:pt x="193" y="259"/>
                  <a:pt x="201" y="268"/>
                  <a:pt x="221" y="290"/>
                </a:cubicBezTo>
                <a:cubicBezTo>
                  <a:pt x="222" y="291"/>
                  <a:pt x="224" y="293"/>
                  <a:pt x="225" y="295"/>
                </a:cubicBezTo>
                <a:cubicBezTo>
                  <a:pt x="226" y="296"/>
                  <a:pt x="228" y="299"/>
                  <a:pt x="230" y="299"/>
                </a:cubicBezTo>
                <a:cubicBezTo>
                  <a:pt x="230" y="299"/>
                  <a:pt x="230" y="299"/>
                  <a:pt x="230" y="299"/>
                </a:cubicBezTo>
                <a:cubicBezTo>
                  <a:pt x="231" y="300"/>
                  <a:pt x="231" y="301"/>
                  <a:pt x="231" y="302"/>
                </a:cubicBezTo>
                <a:cubicBezTo>
                  <a:pt x="231" y="302"/>
                  <a:pt x="231" y="303"/>
                  <a:pt x="232" y="304"/>
                </a:cubicBezTo>
                <a:cubicBezTo>
                  <a:pt x="232" y="304"/>
                  <a:pt x="233" y="304"/>
                  <a:pt x="233" y="304"/>
                </a:cubicBezTo>
                <a:cubicBezTo>
                  <a:pt x="234" y="304"/>
                  <a:pt x="235" y="305"/>
                  <a:pt x="236" y="306"/>
                </a:cubicBezTo>
                <a:cubicBezTo>
                  <a:pt x="237" y="307"/>
                  <a:pt x="238" y="308"/>
                  <a:pt x="239" y="310"/>
                </a:cubicBezTo>
                <a:cubicBezTo>
                  <a:pt x="242" y="313"/>
                  <a:pt x="244" y="316"/>
                  <a:pt x="247" y="319"/>
                </a:cubicBezTo>
                <a:cubicBezTo>
                  <a:pt x="250" y="321"/>
                  <a:pt x="252" y="324"/>
                  <a:pt x="255" y="327"/>
                </a:cubicBezTo>
                <a:cubicBezTo>
                  <a:pt x="256" y="328"/>
                  <a:pt x="257" y="329"/>
                  <a:pt x="258" y="330"/>
                </a:cubicBezTo>
                <a:cubicBezTo>
                  <a:pt x="259" y="332"/>
                  <a:pt x="260" y="333"/>
                  <a:pt x="260" y="335"/>
                </a:cubicBezTo>
                <a:cubicBezTo>
                  <a:pt x="261" y="336"/>
                  <a:pt x="260" y="337"/>
                  <a:pt x="262" y="338"/>
                </a:cubicBezTo>
                <a:cubicBezTo>
                  <a:pt x="263" y="338"/>
                  <a:pt x="263" y="338"/>
                  <a:pt x="263" y="338"/>
                </a:cubicBezTo>
                <a:cubicBezTo>
                  <a:pt x="263" y="338"/>
                  <a:pt x="264" y="338"/>
                  <a:pt x="264" y="338"/>
                </a:cubicBezTo>
                <a:cubicBezTo>
                  <a:pt x="267" y="340"/>
                  <a:pt x="269" y="344"/>
                  <a:pt x="272" y="347"/>
                </a:cubicBezTo>
                <a:cubicBezTo>
                  <a:pt x="275" y="350"/>
                  <a:pt x="278" y="354"/>
                  <a:pt x="280" y="357"/>
                </a:cubicBezTo>
                <a:cubicBezTo>
                  <a:pt x="286" y="363"/>
                  <a:pt x="292" y="370"/>
                  <a:pt x="297" y="377"/>
                </a:cubicBezTo>
                <a:cubicBezTo>
                  <a:pt x="302" y="382"/>
                  <a:pt x="307" y="388"/>
                  <a:pt x="312" y="393"/>
                </a:cubicBezTo>
                <a:cubicBezTo>
                  <a:pt x="323" y="406"/>
                  <a:pt x="334" y="419"/>
                  <a:pt x="346" y="432"/>
                </a:cubicBezTo>
                <a:cubicBezTo>
                  <a:pt x="348" y="435"/>
                  <a:pt x="351" y="438"/>
                  <a:pt x="353" y="441"/>
                </a:cubicBezTo>
                <a:cubicBezTo>
                  <a:pt x="354" y="443"/>
                  <a:pt x="356" y="444"/>
                  <a:pt x="357" y="445"/>
                </a:cubicBezTo>
                <a:cubicBezTo>
                  <a:pt x="358" y="446"/>
                  <a:pt x="359" y="448"/>
                  <a:pt x="360" y="448"/>
                </a:cubicBezTo>
                <a:cubicBezTo>
                  <a:pt x="362" y="449"/>
                  <a:pt x="361" y="449"/>
                  <a:pt x="361" y="450"/>
                </a:cubicBezTo>
                <a:cubicBezTo>
                  <a:pt x="362" y="451"/>
                  <a:pt x="363" y="453"/>
                  <a:pt x="363" y="453"/>
                </a:cubicBezTo>
                <a:cubicBezTo>
                  <a:pt x="364" y="453"/>
                  <a:pt x="364" y="454"/>
                  <a:pt x="365" y="454"/>
                </a:cubicBezTo>
                <a:cubicBezTo>
                  <a:pt x="366" y="455"/>
                  <a:pt x="367" y="456"/>
                  <a:pt x="368" y="458"/>
                </a:cubicBezTo>
                <a:cubicBezTo>
                  <a:pt x="371" y="460"/>
                  <a:pt x="373" y="463"/>
                  <a:pt x="375" y="466"/>
                </a:cubicBezTo>
                <a:cubicBezTo>
                  <a:pt x="375" y="466"/>
                  <a:pt x="376" y="467"/>
                  <a:pt x="376" y="467"/>
                </a:cubicBezTo>
                <a:cubicBezTo>
                  <a:pt x="376" y="467"/>
                  <a:pt x="377" y="467"/>
                  <a:pt x="377" y="467"/>
                </a:cubicBezTo>
                <a:cubicBezTo>
                  <a:pt x="378" y="467"/>
                  <a:pt x="380" y="469"/>
                  <a:pt x="381" y="469"/>
                </a:cubicBezTo>
                <a:cubicBezTo>
                  <a:pt x="381" y="470"/>
                  <a:pt x="382" y="470"/>
                  <a:pt x="382" y="471"/>
                </a:cubicBezTo>
                <a:cubicBezTo>
                  <a:pt x="382" y="471"/>
                  <a:pt x="380" y="471"/>
                  <a:pt x="381" y="472"/>
                </a:cubicBezTo>
                <a:cubicBezTo>
                  <a:pt x="381" y="473"/>
                  <a:pt x="382" y="473"/>
                  <a:pt x="382" y="473"/>
                </a:cubicBezTo>
                <a:cubicBezTo>
                  <a:pt x="383" y="473"/>
                  <a:pt x="384" y="474"/>
                  <a:pt x="383" y="475"/>
                </a:cubicBezTo>
                <a:cubicBezTo>
                  <a:pt x="383" y="475"/>
                  <a:pt x="383" y="475"/>
                  <a:pt x="383" y="475"/>
                </a:cubicBezTo>
                <a:cubicBezTo>
                  <a:pt x="385" y="477"/>
                  <a:pt x="386" y="478"/>
                  <a:pt x="388" y="480"/>
                </a:cubicBezTo>
                <a:cubicBezTo>
                  <a:pt x="389" y="482"/>
                  <a:pt x="391" y="484"/>
                  <a:pt x="393" y="485"/>
                </a:cubicBezTo>
                <a:cubicBezTo>
                  <a:pt x="393" y="485"/>
                  <a:pt x="394" y="485"/>
                  <a:pt x="394" y="486"/>
                </a:cubicBezTo>
                <a:cubicBezTo>
                  <a:pt x="395" y="486"/>
                  <a:pt x="396" y="487"/>
                  <a:pt x="396" y="488"/>
                </a:cubicBezTo>
                <a:cubicBezTo>
                  <a:pt x="397" y="489"/>
                  <a:pt x="398" y="491"/>
                  <a:pt x="399" y="492"/>
                </a:cubicBezTo>
                <a:cubicBezTo>
                  <a:pt x="400" y="493"/>
                  <a:pt x="400" y="495"/>
                  <a:pt x="402" y="495"/>
                </a:cubicBezTo>
                <a:cubicBezTo>
                  <a:pt x="402" y="495"/>
                  <a:pt x="402" y="495"/>
                  <a:pt x="402" y="495"/>
                </a:cubicBezTo>
                <a:cubicBezTo>
                  <a:pt x="403" y="495"/>
                  <a:pt x="403" y="496"/>
                  <a:pt x="403" y="496"/>
                </a:cubicBezTo>
                <a:cubicBezTo>
                  <a:pt x="403" y="496"/>
                  <a:pt x="404" y="497"/>
                  <a:pt x="404" y="498"/>
                </a:cubicBezTo>
                <a:cubicBezTo>
                  <a:pt x="403" y="498"/>
                  <a:pt x="407" y="501"/>
                  <a:pt x="407" y="502"/>
                </a:cubicBezTo>
                <a:cubicBezTo>
                  <a:pt x="409" y="504"/>
                  <a:pt x="410" y="506"/>
                  <a:pt x="411" y="507"/>
                </a:cubicBezTo>
                <a:cubicBezTo>
                  <a:pt x="415" y="512"/>
                  <a:pt x="419" y="516"/>
                  <a:pt x="423" y="521"/>
                </a:cubicBezTo>
                <a:cubicBezTo>
                  <a:pt x="424" y="523"/>
                  <a:pt x="426" y="525"/>
                  <a:pt x="428" y="526"/>
                </a:cubicBezTo>
                <a:cubicBezTo>
                  <a:pt x="428" y="527"/>
                  <a:pt x="429" y="528"/>
                  <a:pt x="430" y="529"/>
                </a:cubicBezTo>
                <a:cubicBezTo>
                  <a:pt x="431" y="530"/>
                  <a:pt x="432" y="530"/>
                  <a:pt x="432" y="531"/>
                </a:cubicBezTo>
                <a:cubicBezTo>
                  <a:pt x="433" y="531"/>
                  <a:pt x="434" y="532"/>
                  <a:pt x="435" y="533"/>
                </a:cubicBezTo>
                <a:cubicBezTo>
                  <a:pt x="435" y="534"/>
                  <a:pt x="435" y="534"/>
                  <a:pt x="436" y="534"/>
                </a:cubicBezTo>
                <a:cubicBezTo>
                  <a:pt x="436" y="535"/>
                  <a:pt x="437" y="535"/>
                  <a:pt x="437" y="535"/>
                </a:cubicBezTo>
                <a:cubicBezTo>
                  <a:pt x="438" y="536"/>
                  <a:pt x="437" y="537"/>
                  <a:pt x="438" y="538"/>
                </a:cubicBezTo>
                <a:cubicBezTo>
                  <a:pt x="439" y="540"/>
                  <a:pt x="441" y="541"/>
                  <a:pt x="443" y="543"/>
                </a:cubicBezTo>
                <a:cubicBezTo>
                  <a:pt x="445" y="546"/>
                  <a:pt x="447" y="549"/>
                  <a:pt x="447" y="549"/>
                </a:cubicBezTo>
                <a:cubicBezTo>
                  <a:pt x="448" y="550"/>
                  <a:pt x="451" y="554"/>
                  <a:pt x="455" y="558"/>
                </a:cubicBezTo>
                <a:cubicBezTo>
                  <a:pt x="456" y="559"/>
                  <a:pt x="457" y="561"/>
                  <a:pt x="459" y="562"/>
                </a:cubicBezTo>
                <a:cubicBezTo>
                  <a:pt x="459" y="563"/>
                  <a:pt x="460" y="563"/>
                  <a:pt x="460" y="564"/>
                </a:cubicBezTo>
                <a:cubicBezTo>
                  <a:pt x="461" y="565"/>
                  <a:pt x="461" y="565"/>
                  <a:pt x="462" y="566"/>
                </a:cubicBezTo>
                <a:cubicBezTo>
                  <a:pt x="462" y="566"/>
                  <a:pt x="463" y="565"/>
                  <a:pt x="463" y="566"/>
                </a:cubicBezTo>
                <a:cubicBezTo>
                  <a:pt x="463" y="566"/>
                  <a:pt x="463" y="566"/>
                  <a:pt x="463" y="566"/>
                </a:cubicBezTo>
                <a:cubicBezTo>
                  <a:pt x="462" y="567"/>
                  <a:pt x="464" y="568"/>
                  <a:pt x="464" y="568"/>
                </a:cubicBezTo>
                <a:cubicBezTo>
                  <a:pt x="465" y="569"/>
                  <a:pt x="466" y="571"/>
                  <a:pt x="467" y="572"/>
                </a:cubicBezTo>
                <a:cubicBezTo>
                  <a:pt x="471" y="576"/>
                  <a:pt x="473" y="579"/>
                  <a:pt x="475" y="583"/>
                </a:cubicBezTo>
                <a:cubicBezTo>
                  <a:pt x="477" y="586"/>
                  <a:pt x="486" y="596"/>
                  <a:pt x="491" y="601"/>
                </a:cubicBezTo>
                <a:cubicBezTo>
                  <a:pt x="493" y="603"/>
                  <a:pt x="495" y="606"/>
                  <a:pt x="497" y="606"/>
                </a:cubicBezTo>
                <a:cubicBezTo>
                  <a:pt x="498" y="606"/>
                  <a:pt x="499" y="606"/>
                  <a:pt x="499" y="607"/>
                </a:cubicBezTo>
                <a:cubicBezTo>
                  <a:pt x="499" y="608"/>
                  <a:pt x="498" y="608"/>
                  <a:pt x="498" y="609"/>
                </a:cubicBezTo>
                <a:cubicBezTo>
                  <a:pt x="498" y="609"/>
                  <a:pt x="500" y="610"/>
                  <a:pt x="500" y="611"/>
                </a:cubicBezTo>
                <a:cubicBezTo>
                  <a:pt x="501" y="612"/>
                  <a:pt x="502" y="614"/>
                  <a:pt x="503" y="614"/>
                </a:cubicBezTo>
                <a:cubicBezTo>
                  <a:pt x="504" y="613"/>
                  <a:pt x="504" y="613"/>
                  <a:pt x="505" y="613"/>
                </a:cubicBezTo>
                <a:cubicBezTo>
                  <a:pt x="505" y="613"/>
                  <a:pt x="505" y="614"/>
                  <a:pt x="505" y="614"/>
                </a:cubicBezTo>
                <a:cubicBezTo>
                  <a:pt x="506" y="614"/>
                  <a:pt x="506" y="615"/>
                  <a:pt x="507" y="616"/>
                </a:cubicBezTo>
                <a:cubicBezTo>
                  <a:pt x="507" y="616"/>
                  <a:pt x="506" y="616"/>
                  <a:pt x="506" y="616"/>
                </a:cubicBezTo>
                <a:cubicBezTo>
                  <a:pt x="506" y="616"/>
                  <a:pt x="505" y="616"/>
                  <a:pt x="505" y="616"/>
                </a:cubicBezTo>
                <a:cubicBezTo>
                  <a:pt x="505" y="617"/>
                  <a:pt x="505" y="617"/>
                  <a:pt x="506" y="617"/>
                </a:cubicBezTo>
                <a:cubicBezTo>
                  <a:pt x="506" y="618"/>
                  <a:pt x="506" y="618"/>
                  <a:pt x="507" y="618"/>
                </a:cubicBezTo>
                <a:cubicBezTo>
                  <a:pt x="508" y="618"/>
                  <a:pt x="509" y="619"/>
                  <a:pt x="510" y="619"/>
                </a:cubicBezTo>
                <a:cubicBezTo>
                  <a:pt x="511" y="620"/>
                  <a:pt x="512" y="621"/>
                  <a:pt x="512" y="622"/>
                </a:cubicBezTo>
                <a:cubicBezTo>
                  <a:pt x="513" y="623"/>
                  <a:pt x="514" y="623"/>
                  <a:pt x="514" y="625"/>
                </a:cubicBezTo>
                <a:cubicBezTo>
                  <a:pt x="513" y="626"/>
                  <a:pt x="513" y="626"/>
                  <a:pt x="514" y="627"/>
                </a:cubicBezTo>
                <a:cubicBezTo>
                  <a:pt x="514" y="627"/>
                  <a:pt x="515" y="627"/>
                  <a:pt x="515" y="628"/>
                </a:cubicBezTo>
                <a:cubicBezTo>
                  <a:pt x="516" y="629"/>
                  <a:pt x="517" y="631"/>
                  <a:pt x="519" y="632"/>
                </a:cubicBezTo>
                <a:cubicBezTo>
                  <a:pt x="520" y="634"/>
                  <a:pt x="521" y="636"/>
                  <a:pt x="523" y="637"/>
                </a:cubicBezTo>
                <a:cubicBezTo>
                  <a:pt x="524" y="637"/>
                  <a:pt x="524" y="637"/>
                  <a:pt x="525" y="637"/>
                </a:cubicBezTo>
                <a:cubicBezTo>
                  <a:pt x="526" y="637"/>
                  <a:pt x="528" y="639"/>
                  <a:pt x="528" y="641"/>
                </a:cubicBezTo>
                <a:cubicBezTo>
                  <a:pt x="528" y="641"/>
                  <a:pt x="528" y="641"/>
                  <a:pt x="528" y="641"/>
                </a:cubicBezTo>
                <a:cubicBezTo>
                  <a:pt x="527" y="642"/>
                  <a:pt x="527" y="643"/>
                  <a:pt x="528" y="644"/>
                </a:cubicBezTo>
                <a:cubicBezTo>
                  <a:pt x="528" y="644"/>
                  <a:pt x="528" y="644"/>
                  <a:pt x="528" y="644"/>
                </a:cubicBezTo>
                <a:cubicBezTo>
                  <a:pt x="529" y="644"/>
                  <a:pt x="530" y="644"/>
                  <a:pt x="530" y="644"/>
                </a:cubicBezTo>
                <a:cubicBezTo>
                  <a:pt x="529" y="645"/>
                  <a:pt x="529" y="645"/>
                  <a:pt x="530" y="646"/>
                </a:cubicBezTo>
                <a:cubicBezTo>
                  <a:pt x="530" y="646"/>
                  <a:pt x="530" y="646"/>
                  <a:pt x="530" y="646"/>
                </a:cubicBezTo>
                <a:cubicBezTo>
                  <a:pt x="535" y="652"/>
                  <a:pt x="541" y="658"/>
                  <a:pt x="546" y="665"/>
                </a:cubicBezTo>
                <a:cubicBezTo>
                  <a:pt x="546" y="666"/>
                  <a:pt x="548" y="667"/>
                  <a:pt x="549" y="669"/>
                </a:cubicBezTo>
                <a:cubicBezTo>
                  <a:pt x="550" y="670"/>
                  <a:pt x="552" y="673"/>
                  <a:pt x="554" y="675"/>
                </a:cubicBezTo>
                <a:cubicBezTo>
                  <a:pt x="555" y="676"/>
                  <a:pt x="557" y="679"/>
                  <a:pt x="558" y="681"/>
                </a:cubicBezTo>
                <a:cubicBezTo>
                  <a:pt x="559" y="683"/>
                  <a:pt x="560" y="684"/>
                  <a:pt x="561" y="685"/>
                </a:cubicBezTo>
                <a:cubicBezTo>
                  <a:pt x="562" y="686"/>
                  <a:pt x="562" y="688"/>
                  <a:pt x="563" y="688"/>
                </a:cubicBezTo>
                <a:cubicBezTo>
                  <a:pt x="565" y="689"/>
                  <a:pt x="566" y="689"/>
                  <a:pt x="567" y="691"/>
                </a:cubicBezTo>
                <a:cubicBezTo>
                  <a:pt x="569" y="692"/>
                  <a:pt x="570" y="694"/>
                  <a:pt x="572" y="696"/>
                </a:cubicBezTo>
                <a:cubicBezTo>
                  <a:pt x="574" y="698"/>
                  <a:pt x="576" y="700"/>
                  <a:pt x="578" y="703"/>
                </a:cubicBezTo>
                <a:cubicBezTo>
                  <a:pt x="580" y="705"/>
                  <a:pt x="582" y="707"/>
                  <a:pt x="584" y="710"/>
                </a:cubicBezTo>
                <a:cubicBezTo>
                  <a:pt x="585" y="709"/>
                  <a:pt x="585" y="709"/>
                  <a:pt x="586" y="710"/>
                </a:cubicBezTo>
                <a:cubicBezTo>
                  <a:pt x="586" y="710"/>
                  <a:pt x="587" y="710"/>
                  <a:pt x="587" y="711"/>
                </a:cubicBezTo>
                <a:cubicBezTo>
                  <a:pt x="586" y="712"/>
                  <a:pt x="589" y="714"/>
                  <a:pt x="590" y="715"/>
                </a:cubicBezTo>
                <a:cubicBezTo>
                  <a:pt x="590" y="715"/>
                  <a:pt x="591" y="717"/>
                  <a:pt x="592" y="718"/>
                </a:cubicBezTo>
                <a:cubicBezTo>
                  <a:pt x="592" y="718"/>
                  <a:pt x="594" y="718"/>
                  <a:pt x="594" y="718"/>
                </a:cubicBezTo>
                <a:cubicBezTo>
                  <a:pt x="594" y="718"/>
                  <a:pt x="593" y="719"/>
                  <a:pt x="593" y="719"/>
                </a:cubicBezTo>
                <a:cubicBezTo>
                  <a:pt x="593" y="720"/>
                  <a:pt x="594" y="720"/>
                  <a:pt x="594" y="721"/>
                </a:cubicBezTo>
                <a:cubicBezTo>
                  <a:pt x="595" y="721"/>
                  <a:pt x="597" y="722"/>
                  <a:pt x="596" y="724"/>
                </a:cubicBezTo>
                <a:cubicBezTo>
                  <a:pt x="596" y="725"/>
                  <a:pt x="595" y="726"/>
                  <a:pt x="597" y="727"/>
                </a:cubicBezTo>
                <a:cubicBezTo>
                  <a:pt x="597" y="727"/>
                  <a:pt x="598" y="727"/>
                  <a:pt x="599" y="727"/>
                </a:cubicBezTo>
                <a:cubicBezTo>
                  <a:pt x="600" y="727"/>
                  <a:pt x="601" y="728"/>
                  <a:pt x="602" y="730"/>
                </a:cubicBezTo>
                <a:cubicBezTo>
                  <a:pt x="604" y="732"/>
                  <a:pt x="606" y="733"/>
                  <a:pt x="607" y="735"/>
                </a:cubicBezTo>
                <a:cubicBezTo>
                  <a:pt x="610" y="739"/>
                  <a:pt x="613" y="742"/>
                  <a:pt x="617" y="746"/>
                </a:cubicBezTo>
                <a:cubicBezTo>
                  <a:pt x="626" y="757"/>
                  <a:pt x="635" y="767"/>
                  <a:pt x="637" y="769"/>
                </a:cubicBezTo>
                <a:cubicBezTo>
                  <a:pt x="639" y="771"/>
                  <a:pt x="646" y="780"/>
                  <a:pt x="653" y="788"/>
                </a:cubicBezTo>
                <a:cubicBezTo>
                  <a:pt x="661" y="796"/>
                  <a:pt x="672" y="809"/>
                  <a:pt x="680" y="818"/>
                </a:cubicBezTo>
                <a:cubicBezTo>
                  <a:pt x="687" y="826"/>
                  <a:pt x="706" y="848"/>
                  <a:pt x="722" y="866"/>
                </a:cubicBezTo>
                <a:cubicBezTo>
                  <a:pt x="726" y="872"/>
                  <a:pt x="731" y="878"/>
                  <a:pt x="736" y="883"/>
                </a:cubicBezTo>
                <a:cubicBezTo>
                  <a:pt x="739" y="886"/>
                  <a:pt x="741" y="889"/>
                  <a:pt x="744" y="892"/>
                </a:cubicBezTo>
                <a:cubicBezTo>
                  <a:pt x="746" y="894"/>
                  <a:pt x="748" y="898"/>
                  <a:pt x="751" y="900"/>
                </a:cubicBezTo>
                <a:cubicBezTo>
                  <a:pt x="751" y="900"/>
                  <a:pt x="751" y="900"/>
                  <a:pt x="752" y="900"/>
                </a:cubicBezTo>
                <a:cubicBezTo>
                  <a:pt x="753" y="901"/>
                  <a:pt x="753" y="902"/>
                  <a:pt x="754" y="903"/>
                </a:cubicBezTo>
                <a:cubicBezTo>
                  <a:pt x="756" y="904"/>
                  <a:pt x="757" y="906"/>
                  <a:pt x="758" y="907"/>
                </a:cubicBezTo>
                <a:cubicBezTo>
                  <a:pt x="761" y="910"/>
                  <a:pt x="763" y="913"/>
                  <a:pt x="766" y="916"/>
                </a:cubicBezTo>
                <a:cubicBezTo>
                  <a:pt x="768" y="919"/>
                  <a:pt x="771" y="921"/>
                  <a:pt x="773" y="924"/>
                </a:cubicBezTo>
                <a:cubicBezTo>
                  <a:pt x="774" y="925"/>
                  <a:pt x="775" y="926"/>
                  <a:pt x="776" y="928"/>
                </a:cubicBezTo>
                <a:cubicBezTo>
                  <a:pt x="777" y="929"/>
                  <a:pt x="778" y="930"/>
                  <a:pt x="780" y="931"/>
                </a:cubicBezTo>
                <a:cubicBezTo>
                  <a:pt x="779" y="931"/>
                  <a:pt x="780" y="932"/>
                  <a:pt x="780" y="932"/>
                </a:cubicBezTo>
                <a:cubicBezTo>
                  <a:pt x="781" y="933"/>
                  <a:pt x="782" y="934"/>
                  <a:pt x="782" y="935"/>
                </a:cubicBezTo>
                <a:cubicBezTo>
                  <a:pt x="783" y="936"/>
                  <a:pt x="784" y="937"/>
                  <a:pt x="785" y="938"/>
                </a:cubicBezTo>
                <a:cubicBezTo>
                  <a:pt x="788" y="941"/>
                  <a:pt x="795" y="949"/>
                  <a:pt x="801" y="955"/>
                </a:cubicBezTo>
                <a:cubicBezTo>
                  <a:pt x="802" y="957"/>
                  <a:pt x="804" y="959"/>
                  <a:pt x="806" y="961"/>
                </a:cubicBezTo>
                <a:cubicBezTo>
                  <a:pt x="807" y="963"/>
                  <a:pt x="809" y="964"/>
                  <a:pt x="810" y="966"/>
                </a:cubicBezTo>
                <a:cubicBezTo>
                  <a:pt x="810" y="966"/>
                  <a:pt x="810" y="966"/>
                  <a:pt x="810" y="967"/>
                </a:cubicBezTo>
                <a:cubicBezTo>
                  <a:pt x="810" y="967"/>
                  <a:pt x="810" y="967"/>
                  <a:pt x="810" y="967"/>
                </a:cubicBezTo>
                <a:cubicBezTo>
                  <a:pt x="810" y="967"/>
                  <a:pt x="810" y="968"/>
                  <a:pt x="810" y="969"/>
                </a:cubicBezTo>
                <a:cubicBezTo>
                  <a:pt x="810" y="969"/>
                  <a:pt x="811" y="970"/>
                  <a:pt x="811" y="970"/>
                </a:cubicBezTo>
                <a:cubicBezTo>
                  <a:pt x="813" y="971"/>
                  <a:pt x="814" y="972"/>
                  <a:pt x="815" y="973"/>
                </a:cubicBezTo>
                <a:cubicBezTo>
                  <a:pt x="815" y="973"/>
                  <a:pt x="815" y="974"/>
                  <a:pt x="816" y="974"/>
                </a:cubicBezTo>
                <a:cubicBezTo>
                  <a:pt x="816" y="974"/>
                  <a:pt x="817" y="974"/>
                  <a:pt x="817" y="975"/>
                </a:cubicBezTo>
                <a:cubicBezTo>
                  <a:pt x="817" y="975"/>
                  <a:pt x="817" y="975"/>
                  <a:pt x="818" y="976"/>
                </a:cubicBezTo>
                <a:cubicBezTo>
                  <a:pt x="818" y="976"/>
                  <a:pt x="818" y="976"/>
                  <a:pt x="818" y="976"/>
                </a:cubicBezTo>
                <a:cubicBezTo>
                  <a:pt x="819" y="976"/>
                  <a:pt x="821" y="978"/>
                  <a:pt x="821" y="979"/>
                </a:cubicBezTo>
                <a:cubicBezTo>
                  <a:pt x="822" y="980"/>
                  <a:pt x="822" y="981"/>
                  <a:pt x="824" y="982"/>
                </a:cubicBezTo>
                <a:cubicBezTo>
                  <a:pt x="824" y="983"/>
                  <a:pt x="826" y="985"/>
                  <a:pt x="826" y="985"/>
                </a:cubicBezTo>
                <a:cubicBezTo>
                  <a:pt x="828" y="986"/>
                  <a:pt x="829" y="988"/>
                  <a:pt x="830" y="989"/>
                </a:cubicBezTo>
                <a:cubicBezTo>
                  <a:pt x="831" y="990"/>
                  <a:pt x="833" y="992"/>
                  <a:pt x="834" y="993"/>
                </a:cubicBezTo>
                <a:cubicBezTo>
                  <a:pt x="835" y="994"/>
                  <a:pt x="837" y="996"/>
                  <a:pt x="836" y="997"/>
                </a:cubicBezTo>
                <a:cubicBezTo>
                  <a:pt x="836" y="997"/>
                  <a:pt x="836" y="998"/>
                  <a:pt x="836" y="998"/>
                </a:cubicBezTo>
                <a:cubicBezTo>
                  <a:pt x="836" y="999"/>
                  <a:pt x="836" y="999"/>
                  <a:pt x="837" y="999"/>
                </a:cubicBezTo>
                <a:cubicBezTo>
                  <a:pt x="837" y="1000"/>
                  <a:pt x="838" y="1000"/>
                  <a:pt x="838" y="1000"/>
                </a:cubicBezTo>
                <a:cubicBezTo>
                  <a:pt x="840" y="1001"/>
                  <a:pt x="841" y="1002"/>
                  <a:pt x="843" y="1003"/>
                </a:cubicBez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7">
            <a:extLst>
              <a:ext uri="{FF2B5EF4-FFF2-40B4-BE49-F238E27FC236}">
                <a16:creationId xmlns:a16="http://schemas.microsoft.com/office/drawing/2014/main" id="{5A849107-AA71-523E-5C2B-515D8B7BBFA4}"/>
              </a:ext>
            </a:extLst>
          </p:cNvPr>
          <p:cNvSpPr>
            <a:spLocks noChangeAspect="1"/>
          </p:cNvSpPr>
          <p:nvPr userDrawn="1"/>
        </p:nvSpPr>
        <p:spPr bwMode="auto">
          <a:xfrm rot="15926472">
            <a:off x="9228161" y="4471726"/>
            <a:ext cx="921230" cy="2858255"/>
          </a:xfrm>
          <a:custGeom>
            <a:avLst/>
            <a:gdLst>
              <a:gd name="T0" fmla="*/ 520 w 967"/>
              <a:gd name="T1" fmla="*/ 1290 h 3000"/>
              <a:gd name="T2" fmla="*/ 488 w 967"/>
              <a:gd name="T3" fmla="*/ 1395 h 3000"/>
              <a:gd name="T4" fmla="*/ 446 w 967"/>
              <a:gd name="T5" fmla="*/ 1536 h 3000"/>
              <a:gd name="T6" fmla="*/ 421 w 967"/>
              <a:gd name="T7" fmla="*/ 1621 h 3000"/>
              <a:gd name="T8" fmla="*/ 395 w 967"/>
              <a:gd name="T9" fmla="*/ 1686 h 3000"/>
              <a:gd name="T10" fmla="*/ 382 w 967"/>
              <a:gd name="T11" fmla="*/ 1742 h 3000"/>
              <a:gd name="T12" fmla="*/ 370 w 967"/>
              <a:gd name="T13" fmla="*/ 1786 h 3000"/>
              <a:gd name="T14" fmla="*/ 351 w 967"/>
              <a:gd name="T15" fmla="*/ 1850 h 3000"/>
              <a:gd name="T16" fmla="*/ 321 w 967"/>
              <a:gd name="T17" fmla="*/ 1933 h 3000"/>
              <a:gd name="T18" fmla="*/ 288 w 967"/>
              <a:gd name="T19" fmla="*/ 2060 h 3000"/>
              <a:gd name="T20" fmla="*/ 266 w 967"/>
              <a:gd name="T21" fmla="*/ 2136 h 3000"/>
              <a:gd name="T22" fmla="*/ 230 w 967"/>
              <a:gd name="T23" fmla="*/ 2253 h 3000"/>
              <a:gd name="T24" fmla="*/ 210 w 967"/>
              <a:gd name="T25" fmla="*/ 2314 h 3000"/>
              <a:gd name="T26" fmla="*/ 195 w 967"/>
              <a:gd name="T27" fmla="*/ 2364 h 3000"/>
              <a:gd name="T28" fmla="*/ 173 w 967"/>
              <a:gd name="T29" fmla="*/ 2432 h 3000"/>
              <a:gd name="T30" fmla="*/ 148 w 967"/>
              <a:gd name="T31" fmla="*/ 2504 h 3000"/>
              <a:gd name="T32" fmla="*/ 114 w 967"/>
              <a:gd name="T33" fmla="*/ 2619 h 3000"/>
              <a:gd name="T34" fmla="*/ 99 w 967"/>
              <a:gd name="T35" fmla="*/ 2663 h 3000"/>
              <a:gd name="T36" fmla="*/ 78 w 967"/>
              <a:gd name="T37" fmla="*/ 2725 h 3000"/>
              <a:gd name="T38" fmla="*/ 55 w 967"/>
              <a:gd name="T39" fmla="*/ 2796 h 3000"/>
              <a:gd name="T40" fmla="*/ 44 w 967"/>
              <a:gd name="T41" fmla="*/ 2848 h 3000"/>
              <a:gd name="T42" fmla="*/ 29 w 967"/>
              <a:gd name="T43" fmla="*/ 2905 h 3000"/>
              <a:gd name="T44" fmla="*/ 33 w 967"/>
              <a:gd name="T45" fmla="*/ 2999 h 3000"/>
              <a:gd name="T46" fmla="*/ 149 w 967"/>
              <a:gd name="T47" fmla="*/ 2663 h 3000"/>
              <a:gd name="T48" fmla="*/ 210 w 967"/>
              <a:gd name="T49" fmla="*/ 2456 h 3000"/>
              <a:gd name="T50" fmla="*/ 240 w 967"/>
              <a:gd name="T51" fmla="*/ 2363 h 3000"/>
              <a:gd name="T52" fmla="*/ 273 w 967"/>
              <a:gd name="T53" fmla="*/ 2265 h 3000"/>
              <a:gd name="T54" fmla="*/ 299 w 967"/>
              <a:gd name="T55" fmla="*/ 2188 h 3000"/>
              <a:gd name="T56" fmla="*/ 324 w 967"/>
              <a:gd name="T57" fmla="*/ 2104 h 3000"/>
              <a:gd name="T58" fmla="*/ 415 w 967"/>
              <a:gd name="T59" fmla="*/ 1806 h 3000"/>
              <a:gd name="T60" fmla="*/ 440 w 967"/>
              <a:gd name="T61" fmla="*/ 1718 h 3000"/>
              <a:gd name="T62" fmla="*/ 477 w 967"/>
              <a:gd name="T63" fmla="*/ 1600 h 3000"/>
              <a:gd name="T64" fmla="*/ 503 w 967"/>
              <a:gd name="T65" fmla="*/ 1504 h 3000"/>
              <a:gd name="T66" fmla="*/ 528 w 967"/>
              <a:gd name="T67" fmla="*/ 1432 h 3000"/>
              <a:gd name="T68" fmla="*/ 540 w 967"/>
              <a:gd name="T69" fmla="*/ 1394 h 3000"/>
              <a:gd name="T70" fmla="*/ 559 w 967"/>
              <a:gd name="T71" fmla="*/ 1335 h 3000"/>
              <a:gd name="T72" fmla="*/ 582 w 967"/>
              <a:gd name="T73" fmla="*/ 1262 h 3000"/>
              <a:gd name="T74" fmla="*/ 598 w 967"/>
              <a:gd name="T75" fmla="*/ 1211 h 3000"/>
              <a:gd name="T76" fmla="*/ 619 w 967"/>
              <a:gd name="T77" fmla="*/ 1135 h 3000"/>
              <a:gd name="T78" fmla="*/ 642 w 967"/>
              <a:gd name="T79" fmla="*/ 1062 h 3000"/>
              <a:gd name="T80" fmla="*/ 674 w 967"/>
              <a:gd name="T81" fmla="*/ 941 h 3000"/>
              <a:gd name="T82" fmla="*/ 712 w 967"/>
              <a:gd name="T83" fmla="*/ 816 h 3000"/>
              <a:gd name="T84" fmla="*/ 744 w 967"/>
              <a:gd name="T85" fmla="*/ 713 h 3000"/>
              <a:gd name="T86" fmla="*/ 765 w 967"/>
              <a:gd name="T87" fmla="*/ 654 h 3000"/>
              <a:gd name="T88" fmla="*/ 782 w 967"/>
              <a:gd name="T89" fmla="*/ 600 h 3000"/>
              <a:gd name="T90" fmla="*/ 801 w 967"/>
              <a:gd name="T91" fmla="*/ 546 h 3000"/>
              <a:gd name="T92" fmla="*/ 830 w 967"/>
              <a:gd name="T93" fmla="*/ 449 h 3000"/>
              <a:gd name="T94" fmla="*/ 851 w 967"/>
              <a:gd name="T95" fmla="*/ 382 h 3000"/>
              <a:gd name="T96" fmla="*/ 864 w 967"/>
              <a:gd name="T97" fmla="*/ 352 h 3000"/>
              <a:gd name="T98" fmla="*/ 877 w 967"/>
              <a:gd name="T99" fmla="*/ 301 h 3000"/>
              <a:gd name="T100" fmla="*/ 897 w 967"/>
              <a:gd name="T101" fmla="*/ 239 h 3000"/>
              <a:gd name="T102" fmla="*/ 914 w 967"/>
              <a:gd name="T103" fmla="*/ 183 h 3000"/>
              <a:gd name="T104" fmla="*/ 924 w 967"/>
              <a:gd name="T105" fmla="*/ 138 h 3000"/>
              <a:gd name="T106" fmla="*/ 944 w 967"/>
              <a:gd name="T107" fmla="*/ 74 h 3000"/>
              <a:gd name="T108" fmla="*/ 816 w 967"/>
              <a:gd name="T109" fmla="*/ 332 h 3000"/>
              <a:gd name="T110" fmla="*/ 755 w 967"/>
              <a:gd name="T111" fmla="*/ 532 h 3000"/>
              <a:gd name="T112" fmla="*/ 726 w 967"/>
              <a:gd name="T113" fmla="*/ 626 h 3000"/>
              <a:gd name="T114" fmla="*/ 693 w 967"/>
              <a:gd name="T115" fmla="*/ 737 h 3000"/>
              <a:gd name="T116" fmla="*/ 666 w 967"/>
              <a:gd name="T117" fmla="*/ 811 h 3000"/>
              <a:gd name="T118" fmla="*/ 592 w 967"/>
              <a:gd name="T119" fmla="*/ 1054 h 3000"/>
              <a:gd name="T120" fmla="*/ 549 w 967"/>
              <a:gd name="T121" fmla="*/ 1194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67" h="3000">
                <a:moveTo>
                  <a:pt x="539" y="1230"/>
                </a:moveTo>
                <a:lnTo>
                  <a:pt x="539" y="1230"/>
                </a:lnTo>
                <a:cubicBezTo>
                  <a:pt x="539" y="1231"/>
                  <a:pt x="539" y="1231"/>
                  <a:pt x="539" y="1232"/>
                </a:cubicBezTo>
                <a:cubicBezTo>
                  <a:pt x="537" y="1234"/>
                  <a:pt x="536" y="1236"/>
                  <a:pt x="535" y="1239"/>
                </a:cubicBezTo>
                <a:cubicBezTo>
                  <a:pt x="534" y="1240"/>
                  <a:pt x="533" y="1241"/>
                  <a:pt x="532" y="1242"/>
                </a:cubicBezTo>
                <a:cubicBezTo>
                  <a:pt x="532" y="1243"/>
                  <a:pt x="531" y="1244"/>
                  <a:pt x="531" y="1245"/>
                </a:cubicBezTo>
                <a:cubicBezTo>
                  <a:pt x="531" y="1246"/>
                  <a:pt x="531" y="1246"/>
                  <a:pt x="532" y="1247"/>
                </a:cubicBezTo>
                <a:cubicBezTo>
                  <a:pt x="532" y="1248"/>
                  <a:pt x="532" y="1249"/>
                  <a:pt x="532" y="1250"/>
                </a:cubicBezTo>
                <a:cubicBezTo>
                  <a:pt x="531" y="1251"/>
                  <a:pt x="530" y="1251"/>
                  <a:pt x="529" y="1252"/>
                </a:cubicBezTo>
                <a:cubicBezTo>
                  <a:pt x="529" y="1252"/>
                  <a:pt x="530" y="1254"/>
                  <a:pt x="529" y="1254"/>
                </a:cubicBezTo>
                <a:cubicBezTo>
                  <a:pt x="529" y="1255"/>
                  <a:pt x="529" y="1255"/>
                  <a:pt x="529" y="1255"/>
                </a:cubicBezTo>
                <a:cubicBezTo>
                  <a:pt x="528" y="1255"/>
                  <a:pt x="528" y="1256"/>
                  <a:pt x="527" y="1256"/>
                </a:cubicBezTo>
                <a:cubicBezTo>
                  <a:pt x="527" y="1256"/>
                  <a:pt x="527" y="1256"/>
                  <a:pt x="527" y="1256"/>
                </a:cubicBezTo>
                <a:cubicBezTo>
                  <a:pt x="527" y="1257"/>
                  <a:pt x="527" y="1257"/>
                  <a:pt x="527" y="1257"/>
                </a:cubicBezTo>
                <a:cubicBezTo>
                  <a:pt x="526" y="1257"/>
                  <a:pt x="526" y="1258"/>
                  <a:pt x="526" y="1258"/>
                </a:cubicBezTo>
                <a:cubicBezTo>
                  <a:pt x="526" y="1259"/>
                  <a:pt x="526" y="1260"/>
                  <a:pt x="526" y="1261"/>
                </a:cubicBezTo>
                <a:cubicBezTo>
                  <a:pt x="525" y="1262"/>
                  <a:pt x="525" y="1264"/>
                  <a:pt x="525" y="1265"/>
                </a:cubicBezTo>
                <a:cubicBezTo>
                  <a:pt x="524" y="1267"/>
                  <a:pt x="523" y="1270"/>
                  <a:pt x="523" y="1272"/>
                </a:cubicBezTo>
                <a:cubicBezTo>
                  <a:pt x="523" y="1274"/>
                  <a:pt x="524" y="1273"/>
                  <a:pt x="526" y="1273"/>
                </a:cubicBezTo>
                <a:cubicBezTo>
                  <a:pt x="526" y="1274"/>
                  <a:pt x="526" y="1274"/>
                  <a:pt x="526" y="1274"/>
                </a:cubicBezTo>
                <a:cubicBezTo>
                  <a:pt x="526" y="1275"/>
                  <a:pt x="525" y="1275"/>
                  <a:pt x="525" y="1276"/>
                </a:cubicBezTo>
                <a:cubicBezTo>
                  <a:pt x="525" y="1277"/>
                  <a:pt x="524" y="1278"/>
                  <a:pt x="524" y="1278"/>
                </a:cubicBezTo>
                <a:cubicBezTo>
                  <a:pt x="524" y="1280"/>
                  <a:pt x="523" y="1282"/>
                  <a:pt x="522" y="1284"/>
                </a:cubicBezTo>
                <a:cubicBezTo>
                  <a:pt x="521" y="1285"/>
                  <a:pt x="518" y="1289"/>
                  <a:pt x="520" y="1290"/>
                </a:cubicBezTo>
                <a:cubicBezTo>
                  <a:pt x="521" y="1291"/>
                  <a:pt x="521" y="1291"/>
                  <a:pt x="521" y="1291"/>
                </a:cubicBezTo>
                <a:cubicBezTo>
                  <a:pt x="522" y="1291"/>
                  <a:pt x="520" y="1294"/>
                  <a:pt x="520" y="1294"/>
                </a:cubicBezTo>
                <a:cubicBezTo>
                  <a:pt x="516" y="1303"/>
                  <a:pt x="514" y="1309"/>
                  <a:pt x="511" y="1319"/>
                </a:cubicBezTo>
                <a:cubicBezTo>
                  <a:pt x="510" y="1321"/>
                  <a:pt x="510" y="1324"/>
                  <a:pt x="509" y="1326"/>
                </a:cubicBezTo>
                <a:cubicBezTo>
                  <a:pt x="509" y="1326"/>
                  <a:pt x="508" y="1327"/>
                  <a:pt x="507" y="1327"/>
                </a:cubicBezTo>
                <a:cubicBezTo>
                  <a:pt x="507" y="1328"/>
                  <a:pt x="506" y="1329"/>
                  <a:pt x="506" y="1330"/>
                </a:cubicBezTo>
                <a:cubicBezTo>
                  <a:pt x="506" y="1331"/>
                  <a:pt x="506" y="1333"/>
                  <a:pt x="505" y="1334"/>
                </a:cubicBezTo>
                <a:cubicBezTo>
                  <a:pt x="504" y="1334"/>
                  <a:pt x="503" y="1335"/>
                  <a:pt x="503" y="1335"/>
                </a:cubicBezTo>
                <a:cubicBezTo>
                  <a:pt x="502" y="1336"/>
                  <a:pt x="503" y="1338"/>
                  <a:pt x="503" y="1339"/>
                </a:cubicBezTo>
                <a:cubicBezTo>
                  <a:pt x="504" y="1340"/>
                  <a:pt x="504" y="1341"/>
                  <a:pt x="504" y="1343"/>
                </a:cubicBezTo>
                <a:cubicBezTo>
                  <a:pt x="503" y="1344"/>
                  <a:pt x="503" y="1346"/>
                  <a:pt x="502" y="1348"/>
                </a:cubicBezTo>
                <a:cubicBezTo>
                  <a:pt x="501" y="1353"/>
                  <a:pt x="499" y="1358"/>
                  <a:pt x="499" y="1359"/>
                </a:cubicBezTo>
                <a:cubicBezTo>
                  <a:pt x="499" y="1360"/>
                  <a:pt x="499" y="1361"/>
                  <a:pt x="498" y="1361"/>
                </a:cubicBezTo>
                <a:cubicBezTo>
                  <a:pt x="498" y="1362"/>
                  <a:pt x="497" y="1362"/>
                  <a:pt x="496" y="1363"/>
                </a:cubicBezTo>
                <a:cubicBezTo>
                  <a:pt x="496" y="1363"/>
                  <a:pt x="495" y="1364"/>
                  <a:pt x="495" y="1365"/>
                </a:cubicBezTo>
                <a:cubicBezTo>
                  <a:pt x="494" y="1366"/>
                  <a:pt x="493" y="1367"/>
                  <a:pt x="493" y="1369"/>
                </a:cubicBezTo>
                <a:cubicBezTo>
                  <a:pt x="493" y="1369"/>
                  <a:pt x="493" y="1370"/>
                  <a:pt x="493" y="1370"/>
                </a:cubicBezTo>
                <a:cubicBezTo>
                  <a:pt x="493" y="1371"/>
                  <a:pt x="493" y="1371"/>
                  <a:pt x="493" y="1372"/>
                </a:cubicBezTo>
                <a:cubicBezTo>
                  <a:pt x="494" y="1374"/>
                  <a:pt x="493" y="1378"/>
                  <a:pt x="492" y="1380"/>
                </a:cubicBezTo>
                <a:cubicBezTo>
                  <a:pt x="491" y="1381"/>
                  <a:pt x="490" y="1383"/>
                  <a:pt x="489" y="1385"/>
                </a:cubicBezTo>
                <a:cubicBezTo>
                  <a:pt x="489" y="1386"/>
                  <a:pt x="489" y="1386"/>
                  <a:pt x="490" y="1387"/>
                </a:cubicBezTo>
                <a:cubicBezTo>
                  <a:pt x="490" y="1387"/>
                  <a:pt x="490" y="1388"/>
                  <a:pt x="490" y="1388"/>
                </a:cubicBezTo>
                <a:cubicBezTo>
                  <a:pt x="491" y="1389"/>
                  <a:pt x="490" y="1391"/>
                  <a:pt x="490" y="1392"/>
                </a:cubicBezTo>
                <a:cubicBezTo>
                  <a:pt x="490" y="1393"/>
                  <a:pt x="489" y="1394"/>
                  <a:pt x="488" y="1395"/>
                </a:cubicBezTo>
                <a:cubicBezTo>
                  <a:pt x="488" y="1397"/>
                  <a:pt x="488" y="1398"/>
                  <a:pt x="487" y="1400"/>
                </a:cubicBezTo>
                <a:cubicBezTo>
                  <a:pt x="487" y="1402"/>
                  <a:pt x="486" y="1404"/>
                  <a:pt x="485" y="1406"/>
                </a:cubicBezTo>
                <a:cubicBezTo>
                  <a:pt x="484" y="1413"/>
                  <a:pt x="482" y="1420"/>
                  <a:pt x="482" y="1422"/>
                </a:cubicBezTo>
                <a:cubicBezTo>
                  <a:pt x="481" y="1423"/>
                  <a:pt x="480" y="1426"/>
                  <a:pt x="481" y="1427"/>
                </a:cubicBezTo>
                <a:cubicBezTo>
                  <a:pt x="481" y="1428"/>
                  <a:pt x="481" y="1428"/>
                  <a:pt x="481" y="1428"/>
                </a:cubicBezTo>
                <a:cubicBezTo>
                  <a:pt x="481" y="1429"/>
                  <a:pt x="479" y="1431"/>
                  <a:pt x="479" y="1432"/>
                </a:cubicBezTo>
                <a:cubicBezTo>
                  <a:pt x="478" y="1433"/>
                  <a:pt x="478" y="1434"/>
                  <a:pt x="477" y="1436"/>
                </a:cubicBezTo>
                <a:cubicBezTo>
                  <a:pt x="476" y="1439"/>
                  <a:pt x="475" y="1443"/>
                  <a:pt x="474" y="1446"/>
                </a:cubicBezTo>
                <a:cubicBezTo>
                  <a:pt x="473" y="1449"/>
                  <a:pt x="472" y="1452"/>
                  <a:pt x="471" y="1455"/>
                </a:cubicBezTo>
                <a:cubicBezTo>
                  <a:pt x="470" y="1457"/>
                  <a:pt x="468" y="1461"/>
                  <a:pt x="469" y="1463"/>
                </a:cubicBezTo>
                <a:cubicBezTo>
                  <a:pt x="469" y="1464"/>
                  <a:pt x="469" y="1464"/>
                  <a:pt x="469" y="1465"/>
                </a:cubicBezTo>
                <a:cubicBezTo>
                  <a:pt x="469" y="1465"/>
                  <a:pt x="469" y="1465"/>
                  <a:pt x="469" y="1465"/>
                </a:cubicBezTo>
                <a:cubicBezTo>
                  <a:pt x="468" y="1466"/>
                  <a:pt x="468" y="1467"/>
                  <a:pt x="467" y="1468"/>
                </a:cubicBezTo>
                <a:cubicBezTo>
                  <a:pt x="466" y="1469"/>
                  <a:pt x="466" y="1470"/>
                  <a:pt x="465" y="1471"/>
                </a:cubicBezTo>
                <a:cubicBezTo>
                  <a:pt x="465" y="1473"/>
                  <a:pt x="464" y="1476"/>
                  <a:pt x="464" y="1478"/>
                </a:cubicBezTo>
                <a:cubicBezTo>
                  <a:pt x="463" y="1480"/>
                  <a:pt x="463" y="1482"/>
                  <a:pt x="462" y="1484"/>
                </a:cubicBezTo>
                <a:cubicBezTo>
                  <a:pt x="462" y="1485"/>
                  <a:pt x="462" y="1486"/>
                  <a:pt x="462" y="1486"/>
                </a:cubicBezTo>
                <a:cubicBezTo>
                  <a:pt x="462" y="1487"/>
                  <a:pt x="463" y="1488"/>
                  <a:pt x="463" y="1488"/>
                </a:cubicBezTo>
                <a:cubicBezTo>
                  <a:pt x="463" y="1489"/>
                  <a:pt x="463" y="1490"/>
                  <a:pt x="463" y="1491"/>
                </a:cubicBezTo>
                <a:cubicBezTo>
                  <a:pt x="462" y="1494"/>
                  <a:pt x="461" y="1497"/>
                  <a:pt x="460" y="1500"/>
                </a:cubicBezTo>
                <a:cubicBezTo>
                  <a:pt x="459" y="1503"/>
                  <a:pt x="458" y="1506"/>
                  <a:pt x="457" y="1509"/>
                </a:cubicBezTo>
                <a:cubicBezTo>
                  <a:pt x="455" y="1512"/>
                  <a:pt x="454" y="1516"/>
                  <a:pt x="453" y="1519"/>
                </a:cubicBezTo>
                <a:cubicBezTo>
                  <a:pt x="452" y="1522"/>
                  <a:pt x="450" y="1524"/>
                  <a:pt x="449" y="1527"/>
                </a:cubicBezTo>
                <a:cubicBezTo>
                  <a:pt x="448" y="1530"/>
                  <a:pt x="447" y="1533"/>
                  <a:pt x="446" y="1536"/>
                </a:cubicBezTo>
                <a:cubicBezTo>
                  <a:pt x="446" y="1537"/>
                  <a:pt x="445" y="1538"/>
                  <a:pt x="445" y="1540"/>
                </a:cubicBezTo>
                <a:cubicBezTo>
                  <a:pt x="445" y="1541"/>
                  <a:pt x="445" y="1542"/>
                  <a:pt x="444" y="1543"/>
                </a:cubicBezTo>
                <a:cubicBezTo>
                  <a:pt x="444" y="1544"/>
                  <a:pt x="444" y="1544"/>
                  <a:pt x="444" y="1545"/>
                </a:cubicBezTo>
                <a:cubicBezTo>
                  <a:pt x="442" y="1547"/>
                  <a:pt x="441" y="1549"/>
                  <a:pt x="440" y="1551"/>
                </a:cubicBezTo>
                <a:cubicBezTo>
                  <a:pt x="439" y="1553"/>
                  <a:pt x="438" y="1556"/>
                  <a:pt x="437" y="1559"/>
                </a:cubicBezTo>
                <a:cubicBezTo>
                  <a:pt x="437" y="1561"/>
                  <a:pt x="436" y="1562"/>
                  <a:pt x="436" y="1564"/>
                </a:cubicBezTo>
                <a:cubicBezTo>
                  <a:pt x="436" y="1566"/>
                  <a:pt x="437" y="1567"/>
                  <a:pt x="436" y="1569"/>
                </a:cubicBezTo>
                <a:cubicBezTo>
                  <a:pt x="436" y="1569"/>
                  <a:pt x="435" y="1570"/>
                  <a:pt x="435" y="1570"/>
                </a:cubicBezTo>
                <a:cubicBezTo>
                  <a:pt x="435" y="1570"/>
                  <a:pt x="435" y="1571"/>
                  <a:pt x="435" y="1572"/>
                </a:cubicBezTo>
                <a:cubicBezTo>
                  <a:pt x="434" y="1573"/>
                  <a:pt x="434" y="1575"/>
                  <a:pt x="434" y="1577"/>
                </a:cubicBezTo>
                <a:cubicBezTo>
                  <a:pt x="434" y="1577"/>
                  <a:pt x="434" y="1578"/>
                  <a:pt x="434" y="1578"/>
                </a:cubicBezTo>
                <a:cubicBezTo>
                  <a:pt x="434" y="1578"/>
                  <a:pt x="434" y="1579"/>
                  <a:pt x="434" y="1579"/>
                </a:cubicBezTo>
                <a:cubicBezTo>
                  <a:pt x="433" y="1581"/>
                  <a:pt x="433" y="1583"/>
                  <a:pt x="432" y="1585"/>
                </a:cubicBezTo>
                <a:cubicBezTo>
                  <a:pt x="431" y="1587"/>
                  <a:pt x="430" y="1589"/>
                  <a:pt x="429" y="1591"/>
                </a:cubicBezTo>
                <a:cubicBezTo>
                  <a:pt x="427" y="1593"/>
                  <a:pt x="426" y="1595"/>
                  <a:pt x="425" y="1598"/>
                </a:cubicBezTo>
                <a:cubicBezTo>
                  <a:pt x="424" y="1600"/>
                  <a:pt x="424" y="1602"/>
                  <a:pt x="424" y="1604"/>
                </a:cubicBezTo>
                <a:cubicBezTo>
                  <a:pt x="424" y="1604"/>
                  <a:pt x="423" y="1605"/>
                  <a:pt x="423" y="1605"/>
                </a:cubicBezTo>
                <a:cubicBezTo>
                  <a:pt x="423" y="1605"/>
                  <a:pt x="423" y="1605"/>
                  <a:pt x="423" y="1605"/>
                </a:cubicBezTo>
                <a:cubicBezTo>
                  <a:pt x="423" y="1606"/>
                  <a:pt x="422" y="1606"/>
                  <a:pt x="422" y="1606"/>
                </a:cubicBezTo>
                <a:cubicBezTo>
                  <a:pt x="422" y="1608"/>
                  <a:pt x="421" y="1610"/>
                  <a:pt x="420" y="1611"/>
                </a:cubicBezTo>
                <a:cubicBezTo>
                  <a:pt x="420" y="1612"/>
                  <a:pt x="419" y="1613"/>
                  <a:pt x="419" y="1614"/>
                </a:cubicBezTo>
                <a:cubicBezTo>
                  <a:pt x="419" y="1615"/>
                  <a:pt x="418" y="1616"/>
                  <a:pt x="419" y="1617"/>
                </a:cubicBezTo>
                <a:cubicBezTo>
                  <a:pt x="419" y="1618"/>
                  <a:pt x="420" y="1616"/>
                  <a:pt x="421" y="1617"/>
                </a:cubicBezTo>
                <a:cubicBezTo>
                  <a:pt x="422" y="1618"/>
                  <a:pt x="421" y="1620"/>
                  <a:pt x="421" y="1621"/>
                </a:cubicBezTo>
                <a:cubicBezTo>
                  <a:pt x="420" y="1623"/>
                  <a:pt x="420" y="1625"/>
                  <a:pt x="419" y="1627"/>
                </a:cubicBezTo>
                <a:cubicBezTo>
                  <a:pt x="418" y="1629"/>
                  <a:pt x="418" y="1630"/>
                  <a:pt x="417" y="1632"/>
                </a:cubicBezTo>
                <a:cubicBezTo>
                  <a:pt x="416" y="1634"/>
                  <a:pt x="417" y="1635"/>
                  <a:pt x="415" y="1635"/>
                </a:cubicBezTo>
                <a:cubicBezTo>
                  <a:pt x="414" y="1635"/>
                  <a:pt x="413" y="1635"/>
                  <a:pt x="413" y="1636"/>
                </a:cubicBezTo>
                <a:cubicBezTo>
                  <a:pt x="413" y="1636"/>
                  <a:pt x="413" y="1637"/>
                  <a:pt x="412" y="1637"/>
                </a:cubicBezTo>
                <a:cubicBezTo>
                  <a:pt x="412" y="1637"/>
                  <a:pt x="412" y="1637"/>
                  <a:pt x="412" y="1638"/>
                </a:cubicBezTo>
                <a:cubicBezTo>
                  <a:pt x="411" y="1638"/>
                  <a:pt x="411" y="1638"/>
                  <a:pt x="411" y="1638"/>
                </a:cubicBezTo>
                <a:cubicBezTo>
                  <a:pt x="411" y="1639"/>
                  <a:pt x="411" y="1640"/>
                  <a:pt x="410" y="1641"/>
                </a:cubicBezTo>
                <a:cubicBezTo>
                  <a:pt x="410" y="1641"/>
                  <a:pt x="410" y="1641"/>
                  <a:pt x="410" y="1642"/>
                </a:cubicBezTo>
                <a:cubicBezTo>
                  <a:pt x="410" y="1642"/>
                  <a:pt x="410" y="1642"/>
                  <a:pt x="410" y="1642"/>
                </a:cubicBezTo>
                <a:cubicBezTo>
                  <a:pt x="409" y="1643"/>
                  <a:pt x="409" y="1645"/>
                  <a:pt x="409" y="1646"/>
                </a:cubicBezTo>
                <a:cubicBezTo>
                  <a:pt x="408" y="1648"/>
                  <a:pt x="408" y="1649"/>
                  <a:pt x="407" y="1651"/>
                </a:cubicBezTo>
                <a:cubicBezTo>
                  <a:pt x="407" y="1653"/>
                  <a:pt x="406" y="1654"/>
                  <a:pt x="405" y="1656"/>
                </a:cubicBezTo>
                <a:cubicBezTo>
                  <a:pt x="405" y="1656"/>
                  <a:pt x="404" y="1657"/>
                  <a:pt x="404" y="1658"/>
                </a:cubicBezTo>
                <a:cubicBezTo>
                  <a:pt x="404" y="1659"/>
                  <a:pt x="404" y="1659"/>
                  <a:pt x="404" y="1660"/>
                </a:cubicBezTo>
                <a:cubicBezTo>
                  <a:pt x="404" y="1662"/>
                  <a:pt x="404" y="1664"/>
                  <a:pt x="404" y="1666"/>
                </a:cubicBezTo>
                <a:cubicBezTo>
                  <a:pt x="403" y="1667"/>
                  <a:pt x="403" y="1669"/>
                  <a:pt x="402" y="1671"/>
                </a:cubicBezTo>
                <a:cubicBezTo>
                  <a:pt x="402" y="1672"/>
                  <a:pt x="402" y="1674"/>
                  <a:pt x="401" y="1675"/>
                </a:cubicBezTo>
                <a:cubicBezTo>
                  <a:pt x="401" y="1677"/>
                  <a:pt x="400" y="1679"/>
                  <a:pt x="399" y="1681"/>
                </a:cubicBezTo>
                <a:cubicBezTo>
                  <a:pt x="399" y="1681"/>
                  <a:pt x="398" y="1682"/>
                  <a:pt x="398" y="1683"/>
                </a:cubicBezTo>
                <a:cubicBezTo>
                  <a:pt x="398" y="1684"/>
                  <a:pt x="398" y="1686"/>
                  <a:pt x="397" y="1686"/>
                </a:cubicBezTo>
                <a:cubicBezTo>
                  <a:pt x="397" y="1686"/>
                  <a:pt x="397" y="1686"/>
                  <a:pt x="397" y="1686"/>
                </a:cubicBezTo>
                <a:cubicBezTo>
                  <a:pt x="397" y="1685"/>
                  <a:pt x="396" y="1686"/>
                  <a:pt x="396" y="1686"/>
                </a:cubicBezTo>
                <a:cubicBezTo>
                  <a:pt x="396" y="1686"/>
                  <a:pt x="395" y="1686"/>
                  <a:pt x="395" y="1686"/>
                </a:cubicBezTo>
                <a:cubicBezTo>
                  <a:pt x="395" y="1686"/>
                  <a:pt x="395" y="1687"/>
                  <a:pt x="395" y="1687"/>
                </a:cubicBezTo>
                <a:cubicBezTo>
                  <a:pt x="395" y="1687"/>
                  <a:pt x="395" y="1688"/>
                  <a:pt x="395" y="1688"/>
                </a:cubicBezTo>
                <a:cubicBezTo>
                  <a:pt x="395" y="1688"/>
                  <a:pt x="396" y="1688"/>
                  <a:pt x="395" y="1689"/>
                </a:cubicBezTo>
                <a:cubicBezTo>
                  <a:pt x="395" y="1689"/>
                  <a:pt x="395" y="1689"/>
                  <a:pt x="395" y="1689"/>
                </a:cubicBezTo>
                <a:cubicBezTo>
                  <a:pt x="395" y="1689"/>
                  <a:pt x="394" y="1689"/>
                  <a:pt x="394" y="1690"/>
                </a:cubicBezTo>
                <a:cubicBezTo>
                  <a:pt x="394" y="1690"/>
                  <a:pt x="394" y="1690"/>
                  <a:pt x="395" y="1690"/>
                </a:cubicBezTo>
                <a:cubicBezTo>
                  <a:pt x="394" y="1691"/>
                  <a:pt x="394" y="1692"/>
                  <a:pt x="394" y="1693"/>
                </a:cubicBezTo>
                <a:cubicBezTo>
                  <a:pt x="393" y="1694"/>
                  <a:pt x="393" y="1696"/>
                  <a:pt x="392" y="1697"/>
                </a:cubicBezTo>
                <a:cubicBezTo>
                  <a:pt x="391" y="1700"/>
                  <a:pt x="390" y="1703"/>
                  <a:pt x="389" y="1707"/>
                </a:cubicBezTo>
                <a:cubicBezTo>
                  <a:pt x="389" y="1709"/>
                  <a:pt x="389" y="1710"/>
                  <a:pt x="389" y="1712"/>
                </a:cubicBezTo>
                <a:cubicBezTo>
                  <a:pt x="388" y="1713"/>
                  <a:pt x="388" y="1714"/>
                  <a:pt x="388" y="1714"/>
                </a:cubicBezTo>
                <a:cubicBezTo>
                  <a:pt x="388" y="1715"/>
                  <a:pt x="389" y="1716"/>
                  <a:pt x="388" y="1717"/>
                </a:cubicBezTo>
                <a:cubicBezTo>
                  <a:pt x="388" y="1717"/>
                  <a:pt x="388" y="1718"/>
                  <a:pt x="388" y="1718"/>
                </a:cubicBezTo>
                <a:cubicBezTo>
                  <a:pt x="388" y="1718"/>
                  <a:pt x="388" y="1718"/>
                  <a:pt x="388" y="1718"/>
                </a:cubicBezTo>
                <a:cubicBezTo>
                  <a:pt x="387" y="1718"/>
                  <a:pt x="386" y="1719"/>
                  <a:pt x="386" y="1720"/>
                </a:cubicBezTo>
                <a:cubicBezTo>
                  <a:pt x="386" y="1720"/>
                  <a:pt x="386" y="1720"/>
                  <a:pt x="386" y="1720"/>
                </a:cubicBezTo>
                <a:cubicBezTo>
                  <a:pt x="386" y="1721"/>
                  <a:pt x="386" y="1721"/>
                  <a:pt x="387" y="1722"/>
                </a:cubicBezTo>
                <a:cubicBezTo>
                  <a:pt x="387" y="1722"/>
                  <a:pt x="387" y="1723"/>
                  <a:pt x="387" y="1724"/>
                </a:cubicBezTo>
                <a:cubicBezTo>
                  <a:pt x="387" y="1724"/>
                  <a:pt x="387" y="1725"/>
                  <a:pt x="387" y="1726"/>
                </a:cubicBezTo>
                <a:cubicBezTo>
                  <a:pt x="387" y="1727"/>
                  <a:pt x="386" y="1727"/>
                  <a:pt x="386" y="1728"/>
                </a:cubicBezTo>
                <a:cubicBezTo>
                  <a:pt x="385" y="1729"/>
                  <a:pt x="386" y="1730"/>
                  <a:pt x="386" y="1730"/>
                </a:cubicBezTo>
                <a:cubicBezTo>
                  <a:pt x="387" y="1732"/>
                  <a:pt x="386" y="1733"/>
                  <a:pt x="385" y="1734"/>
                </a:cubicBezTo>
                <a:cubicBezTo>
                  <a:pt x="385" y="1736"/>
                  <a:pt x="384" y="1738"/>
                  <a:pt x="383" y="1739"/>
                </a:cubicBezTo>
                <a:cubicBezTo>
                  <a:pt x="383" y="1740"/>
                  <a:pt x="383" y="1741"/>
                  <a:pt x="382" y="1742"/>
                </a:cubicBezTo>
                <a:cubicBezTo>
                  <a:pt x="382" y="1742"/>
                  <a:pt x="381" y="1742"/>
                  <a:pt x="380" y="1743"/>
                </a:cubicBezTo>
                <a:cubicBezTo>
                  <a:pt x="380" y="1744"/>
                  <a:pt x="380" y="1744"/>
                  <a:pt x="380" y="1745"/>
                </a:cubicBezTo>
                <a:cubicBezTo>
                  <a:pt x="380" y="1745"/>
                  <a:pt x="380" y="1745"/>
                  <a:pt x="381" y="1746"/>
                </a:cubicBezTo>
                <a:cubicBezTo>
                  <a:pt x="381" y="1746"/>
                  <a:pt x="381" y="1747"/>
                  <a:pt x="380" y="1747"/>
                </a:cubicBezTo>
                <a:cubicBezTo>
                  <a:pt x="380" y="1746"/>
                  <a:pt x="379" y="1747"/>
                  <a:pt x="379" y="1747"/>
                </a:cubicBezTo>
                <a:cubicBezTo>
                  <a:pt x="379" y="1747"/>
                  <a:pt x="379" y="1748"/>
                  <a:pt x="379" y="1748"/>
                </a:cubicBezTo>
                <a:cubicBezTo>
                  <a:pt x="379" y="1749"/>
                  <a:pt x="380" y="1749"/>
                  <a:pt x="380" y="1750"/>
                </a:cubicBezTo>
                <a:cubicBezTo>
                  <a:pt x="380" y="1750"/>
                  <a:pt x="380" y="1751"/>
                  <a:pt x="380" y="1752"/>
                </a:cubicBezTo>
                <a:cubicBezTo>
                  <a:pt x="379" y="1752"/>
                  <a:pt x="379" y="1752"/>
                  <a:pt x="379" y="1752"/>
                </a:cubicBezTo>
                <a:cubicBezTo>
                  <a:pt x="378" y="1752"/>
                  <a:pt x="378" y="1754"/>
                  <a:pt x="377" y="1754"/>
                </a:cubicBezTo>
                <a:cubicBezTo>
                  <a:pt x="377" y="1755"/>
                  <a:pt x="376" y="1755"/>
                  <a:pt x="376" y="1755"/>
                </a:cubicBezTo>
                <a:cubicBezTo>
                  <a:pt x="375" y="1756"/>
                  <a:pt x="375" y="1757"/>
                  <a:pt x="375" y="1757"/>
                </a:cubicBezTo>
                <a:cubicBezTo>
                  <a:pt x="375" y="1758"/>
                  <a:pt x="375" y="1758"/>
                  <a:pt x="375" y="1758"/>
                </a:cubicBezTo>
                <a:cubicBezTo>
                  <a:pt x="375" y="1759"/>
                  <a:pt x="375" y="1759"/>
                  <a:pt x="376" y="1760"/>
                </a:cubicBezTo>
                <a:cubicBezTo>
                  <a:pt x="376" y="1760"/>
                  <a:pt x="376" y="1760"/>
                  <a:pt x="376" y="1760"/>
                </a:cubicBezTo>
                <a:cubicBezTo>
                  <a:pt x="376" y="1761"/>
                  <a:pt x="376" y="1761"/>
                  <a:pt x="377" y="1761"/>
                </a:cubicBezTo>
                <a:cubicBezTo>
                  <a:pt x="377" y="1761"/>
                  <a:pt x="376" y="1762"/>
                  <a:pt x="376" y="1762"/>
                </a:cubicBezTo>
                <a:cubicBezTo>
                  <a:pt x="376" y="1763"/>
                  <a:pt x="376" y="1763"/>
                  <a:pt x="376" y="1764"/>
                </a:cubicBezTo>
                <a:cubicBezTo>
                  <a:pt x="376" y="1765"/>
                  <a:pt x="376" y="1765"/>
                  <a:pt x="375" y="1766"/>
                </a:cubicBezTo>
                <a:cubicBezTo>
                  <a:pt x="375" y="1768"/>
                  <a:pt x="374" y="1770"/>
                  <a:pt x="373" y="1771"/>
                </a:cubicBezTo>
                <a:cubicBezTo>
                  <a:pt x="372" y="1772"/>
                  <a:pt x="371" y="1776"/>
                  <a:pt x="370" y="1776"/>
                </a:cubicBezTo>
                <a:cubicBezTo>
                  <a:pt x="369" y="1776"/>
                  <a:pt x="369" y="1778"/>
                  <a:pt x="368" y="1779"/>
                </a:cubicBezTo>
                <a:cubicBezTo>
                  <a:pt x="368" y="1780"/>
                  <a:pt x="368" y="1781"/>
                  <a:pt x="368" y="1782"/>
                </a:cubicBezTo>
                <a:cubicBezTo>
                  <a:pt x="367" y="1783"/>
                  <a:pt x="370" y="1784"/>
                  <a:pt x="370" y="1786"/>
                </a:cubicBezTo>
                <a:cubicBezTo>
                  <a:pt x="369" y="1786"/>
                  <a:pt x="368" y="1787"/>
                  <a:pt x="368" y="1788"/>
                </a:cubicBezTo>
                <a:cubicBezTo>
                  <a:pt x="367" y="1789"/>
                  <a:pt x="366" y="1791"/>
                  <a:pt x="365" y="1792"/>
                </a:cubicBezTo>
                <a:cubicBezTo>
                  <a:pt x="364" y="1792"/>
                  <a:pt x="363" y="1793"/>
                  <a:pt x="364" y="1794"/>
                </a:cubicBezTo>
                <a:cubicBezTo>
                  <a:pt x="364" y="1795"/>
                  <a:pt x="364" y="1795"/>
                  <a:pt x="365" y="1795"/>
                </a:cubicBezTo>
                <a:cubicBezTo>
                  <a:pt x="365" y="1795"/>
                  <a:pt x="365" y="1796"/>
                  <a:pt x="365" y="1797"/>
                </a:cubicBezTo>
                <a:cubicBezTo>
                  <a:pt x="365" y="1798"/>
                  <a:pt x="365" y="1798"/>
                  <a:pt x="364" y="1799"/>
                </a:cubicBezTo>
                <a:cubicBezTo>
                  <a:pt x="364" y="1800"/>
                  <a:pt x="363" y="1803"/>
                  <a:pt x="364" y="1804"/>
                </a:cubicBezTo>
                <a:cubicBezTo>
                  <a:pt x="364" y="1804"/>
                  <a:pt x="364" y="1804"/>
                  <a:pt x="364" y="1804"/>
                </a:cubicBezTo>
                <a:cubicBezTo>
                  <a:pt x="364" y="1805"/>
                  <a:pt x="364" y="1805"/>
                  <a:pt x="364" y="1806"/>
                </a:cubicBezTo>
                <a:cubicBezTo>
                  <a:pt x="364" y="1806"/>
                  <a:pt x="364" y="1806"/>
                  <a:pt x="364" y="1807"/>
                </a:cubicBezTo>
                <a:cubicBezTo>
                  <a:pt x="363" y="1807"/>
                  <a:pt x="363" y="1808"/>
                  <a:pt x="363" y="1808"/>
                </a:cubicBezTo>
                <a:cubicBezTo>
                  <a:pt x="363" y="1808"/>
                  <a:pt x="363" y="1808"/>
                  <a:pt x="362" y="1808"/>
                </a:cubicBezTo>
                <a:cubicBezTo>
                  <a:pt x="362" y="1809"/>
                  <a:pt x="361" y="1811"/>
                  <a:pt x="361" y="1812"/>
                </a:cubicBezTo>
                <a:cubicBezTo>
                  <a:pt x="361" y="1813"/>
                  <a:pt x="360" y="1815"/>
                  <a:pt x="360" y="1816"/>
                </a:cubicBezTo>
                <a:cubicBezTo>
                  <a:pt x="359" y="1818"/>
                  <a:pt x="358" y="1819"/>
                  <a:pt x="358" y="1821"/>
                </a:cubicBezTo>
                <a:cubicBezTo>
                  <a:pt x="358" y="1822"/>
                  <a:pt x="358" y="1822"/>
                  <a:pt x="358" y="1823"/>
                </a:cubicBezTo>
                <a:cubicBezTo>
                  <a:pt x="358" y="1824"/>
                  <a:pt x="358" y="1824"/>
                  <a:pt x="358" y="1825"/>
                </a:cubicBezTo>
                <a:cubicBezTo>
                  <a:pt x="358" y="1825"/>
                  <a:pt x="359" y="1826"/>
                  <a:pt x="358" y="1827"/>
                </a:cubicBezTo>
                <a:cubicBezTo>
                  <a:pt x="358" y="1827"/>
                  <a:pt x="358" y="1827"/>
                  <a:pt x="358" y="1827"/>
                </a:cubicBezTo>
                <a:cubicBezTo>
                  <a:pt x="358" y="1827"/>
                  <a:pt x="358" y="1827"/>
                  <a:pt x="358" y="1827"/>
                </a:cubicBezTo>
                <a:cubicBezTo>
                  <a:pt x="358" y="1828"/>
                  <a:pt x="357" y="1828"/>
                  <a:pt x="357" y="1828"/>
                </a:cubicBezTo>
                <a:cubicBezTo>
                  <a:pt x="356" y="1829"/>
                  <a:pt x="356" y="1831"/>
                  <a:pt x="356" y="1833"/>
                </a:cubicBezTo>
                <a:cubicBezTo>
                  <a:pt x="356" y="1834"/>
                  <a:pt x="355" y="1836"/>
                  <a:pt x="355" y="1838"/>
                </a:cubicBezTo>
                <a:cubicBezTo>
                  <a:pt x="354" y="1842"/>
                  <a:pt x="353" y="1846"/>
                  <a:pt x="351" y="1850"/>
                </a:cubicBezTo>
                <a:cubicBezTo>
                  <a:pt x="351" y="1852"/>
                  <a:pt x="350" y="1854"/>
                  <a:pt x="348" y="1855"/>
                </a:cubicBezTo>
                <a:cubicBezTo>
                  <a:pt x="348" y="1856"/>
                  <a:pt x="347" y="1856"/>
                  <a:pt x="347" y="1857"/>
                </a:cubicBezTo>
                <a:cubicBezTo>
                  <a:pt x="347" y="1858"/>
                  <a:pt x="348" y="1858"/>
                  <a:pt x="348" y="1859"/>
                </a:cubicBezTo>
                <a:cubicBezTo>
                  <a:pt x="348" y="1860"/>
                  <a:pt x="347" y="1862"/>
                  <a:pt x="347" y="1863"/>
                </a:cubicBezTo>
                <a:cubicBezTo>
                  <a:pt x="346" y="1865"/>
                  <a:pt x="345" y="1867"/>
                  <a:pt x="344" y="1870"/>
                </a:cubicBezTo>
                <a:cubicBezTo>
                  <a:pt x="344" y="1870"/>
                  <a:pt x="344" y="1870"/>
                  <a:pt x="343" y="1870"/>
                </a:cubicBezTo>
                <a:cubicBezTo>
                  <a:pt x="343" y="1871"/>
                  <a:pt x="342" y="1872"/>
                  <a:pt x="342" y="1873"/>
                </a:cubicBezTo>
                <a:cubicBezTo>
                  <a:pt x="342" y="1873"/>
                  <a:pt x="342" y="1874"/>
                  <a:pt x="342" y="1875"/>
                </a:cubicBezTo>
                <a:cubicBezTo>
                  <a:pt x="343" y="1875"/>
                  <a:pt x="344" y="1875"/>
                  <a:pt x="344" y="1875"/>
                </a:cubicBezTo>
                <a:cubicBezTo>
                  <a:pt x="344" y="1876"/>
                  <a:pt x="343" y="1876"/>
                  <a:pt x="343" y="1876"/>
                </a:cubicBezTo>
                <a:cubicBezTo>
                  <a:pt x="343" y="1877"/>
                  <a:pt x="343" y="1878"/>
                  <a:pt x="343" y="1879"/>
                </a:cubicBezTo>
                <a:cubicBezTo>
                  <a:pt x="342" y="1880"/>
                  <a:pt x="340" y="1880"/>
                  <a:pt x="340" y="1881"/>
                </a:cubicBezTo>
                <a:cubicBezTo>
                  <a:pt x="339" y="1882"/>
                  <a:pt x="340" y="1883"/>
                  <a:pt x="340" y="1884"/>
                </a:cubicBezTo>
                <a:cubicBezTo>
                  <a:pt x="340" y="1884"/>
                  <a:pt x="339" y="1885"/>
                  <a:pt x="339" y="1885"/>
                </a:cubicBezTo>
                <a:cubicBezTo>
                  <a:pt x="339" y="1886"/>
                  <a:pt x="340" y="1887"/>
                  <a:pt x="340" y="1888"/>
                </a:cubicBezTo>
                <a:cubicBezTo>
                  <a:pt x="340" y="1888"/>
                  <a:pt x="340" y="1889"/>
                  <a:pt x="339" y="1889"/>
                </a:cubicBezTo>
                <a:cubicBezTo>
                  <a:pt x="339" y="1889"/>
                  <a:pt x="339" y="1889"/>
                  <a:pt x="339" y="1890"/>
                </a:cubicBezTo>
                <a:cubicBezTo>
                  <a:pt x="338" y="1891"/>
                  <a:pt x="338" y="1893"/>
                  <a:pt x="337" y="1895"/>
                </a:cubicBezTo>
                <a:cubicBezTo>
                  <a:pt x="333" y="1910"/>
                  <a:pt x="331" y="1917"/>
                  <a:pt x="331" y="1917"/>
                </a:cubicBezTo>
                <a:cubicBezTo>
                  <a:pt x="331" y="1918"/>
                  <a:pt x="329" y="1926"/>
                  <a:pt x="328" y="1927"/>
                </a:cubicBezTo>
                <a:cubicBezTo>
                  <a:pt x="327" y="1929"/>
                  <a:pt x="325" y="1931"/>
                  <a:pt x="324" y="1932"/>
                </a:cubicBezTo>
                <a:cubicBezTo>
                  <a:pt x="324" y="1933"/>
                  <a:pt x="324" y="1934"/>
                  <a:pt x="324" y="1935"/>
                </a:cubicBezTo>
                <a:cubicBezTo>
                  <a:pt x="323" y="1935"/>
                  <a:pt x="323" y="1934"/>
                  <a:pt x="322" y="1933"/>
                </a:cubicBezTo>
                <a:cubicBezTo>
                  <a:pt x="322" y="1933"/>
                  <a:pt x="321" y="1933"/>
                  <a:pt x="321" y="1933"/>
                </a:cubicBezTo>
                <a:cubicBezTo>
                  <a:pt x="321" y="1934"/>
                  <a:pt x="321" y="1935"/>
                  <a:pt x="321" y="1935"/>
                </a:cubicBezTo>
                <a:cubicBezTo>
                  <a:pt x="321" y="1936"/>
                  <a:pt x="321" y="1937"/>
                  <a:pt x="321" y="1938"/>
                </a:cubicBezTo>
                <a:cubicBezTo>
                  <a:pt x="321" y="1940"/>
                  <a:pt x="321" y="1941"/>
                  <a:pt x="321" y="1943"/>
                </a:cubicBezTo>
                <a:cubicBezTo>
                  <a:pt x="321" y="1943"/>
                  <a:pt x="320" y="1943"/>
                  <a:pt x="320" y="1943"/>
                </a:cubicBezTo>
                <a:cubicBezTo>
                  <a:pt x="320" y="1944"/>
                  <a:pt x="319" y="1944"/>
                  <a:pt x="319" y="1944"/>
                </a:cubicBezTo>
                <a:cubicBezTo>
                  <a:pt x="318" y="1944"/>
                  <a:pt x="318" y="1945"/>
                  <a:pt x="318" y="1945"/>
                </a:cubicBezTo>
                <a:cubicBezTo>
                  <a:pt x="318" y="1945"/>
                  <a:pt x="318" y="1946"/>
                  <a:pt x="318" y="1946"/>
                </a:cubicBezTo>
                <a:cubicBezTo>
                  <a:pt x="320" y="1948"/>
                  <a:pt x="319" y="1952"/>
                  <a:pt x="318" y="1954"/>
                </a:cubicBezTo>
                <a:cubicBezTo>
                  <a:pt x="317" y="1958"/>
                  <a:pt x="316" y="1963"/>
                  <a:pt x="315" y="1964"/>
                </a:cubicBezTo>
                <a:cubicBezTo>
                  <a:pt x="315" y="1967"/>
                  <a:pt x="314" y="1969"/>
                  <a:pt x="314" y="1972"/>
                </a:cubicBezTo>
                <a:cubicBezTo>
                  <a:pt x="315" y="1973"/>
                  <a:pt x="314" y="1975"/>
                  <a:pt x="313" y="1976"/>
                </a:cubicBezTo>
                <a:cubicBezTo>
                  <a:pt x="313" y="1977"/>
                  <a:pt x="312" y="1978"/>
                  <a:pt x="311" y="1979"/>
                </a:cubicBezTo>
                <a:cubicBezTo>
                  <a:pt x="311" y="1980"/>
                  <a:pt x="311" y="1981"/>
                  <a:pt x="310" y="1982"/>
                </a:cubicBezTo>
                <a:cubicBezTo>
                  <a:pt x="309" y="1985"/>
                  <a:pt x="309" y="1989"/>
                  <a:pt x="308" y="1993"/>
                </a:cubicBezTo>
                <a:cubicBezTo>
                  <a:pt x="306" y="1997"/>
                  <a:pt x="305" y="2002"/>
                  <a:pt x="304" y="2006"/>
                </a:cubicBezTo>
                <a:cubicBezTo>
                  <a:pt x="300" y="2020"/>
                  <a:pt x="295" y="2034"/>
                  <a:pt x="294" y="2038"/>
                </a:cubicBezTo>
                <a:cubicBezTo>
                  <a:pt x="294" y="2040"/>
                  <a:pt x="294" y="2042"/>
                  <a:pt x="293" y="2043"/>
                </a:cubicBezTo>
                <a:cubicBezTo>
                  <a:pt x="293" y="2044"/>
                  <a:pt x="292" y="2046"/>
                  <a:pt x="292" y="2047"/>
                </a:cubicBezTo>
                <a:cubicBezTo>
                  <a:pt x="292" y="2047"/>
                  <a:pt x="292" y="2047"/>
                  <a:pt x="292" y="2047"/>
                </a:cubicBezTo>
                <a:cubicBezTo>
                  <a:pt x="291" y="2047"/>
                  <a:pt x="291" y="2047"/>
                  <a:pt x="291" y="2048"/>
                </a:cubicBezTo>
                <a:cubicBezTo>
                  <a:pt x="291" y="2048"/>
                  <a:pt x="291" y="2048"/>
                  <a:pt x="291" y="2049"/>
                </a:cubicBezTo>
                <a:cubicBezTo>
                  <a:pt x="291" y="2049"/>
                  <a:pt x="292" y="2049"/>
                  <a:pt x="292" y="2050"/>
                </a:cubicBezTo>
                <a:cubicBezTo>
                  <a:pt x="292" y="2051"/>
                  <a:pt x="290" y="2054"/>
                  <a:pt x="290" y="2056"/>
                </a:cubicBezTo>
                <a:cubicBezTo>
                  <a:pt x="289" y="2057"/>
                  <a:pt x="288" y="2059"/>
                  <a:pt x="288" y="2060"/>
                </a:cubicBezTo>
                <a:cubicBezTo>
                  <a:pt x="288" y="2060"/>
                  <a:pt x="288" y="2060"/>
                  <a:pt x="288" y="2060"/>
                </a:cubicBezTo>
                <a:cubicBezTo>
                  <a:pt x="289" y="2061"/>
                  <a:pt x="288" y="2061"/>
                  <a:pt x="289" y="2062"/>
                </a:cubicBezTo>
                <a:cubicBezTo>
                  <a:pt x="289" y="2062"/>
                  <a:pt x="289" y="2062"/>
                  <a:pt x="289" y="2063"/>
                </a:cubicBezTo>
                <a:cubicBezTo>
                  <a:pt x="289" y="2064"/>
                  <a:pt x="288" y="2065"/>
                  <a:pt x="287" y="2064"/>
                </a:cubicBezTo>
                <a:cubicBezTo>
                  <a:pt x="287" y="2064"/>
                  <a:pt x="287" y="2064"/>
                  <a:pt x="286" y="2063"/>
                </a:cubicBezTo>
                <a:cubicBezTo>
                  <a:pt x="286" y="2063"/>
                  <a:pt x="286" y="2064"/>
                  <a:pt x="286" y="2064"/>
                </a:cubicBezTo>
                <a:cubicBezTo>
                  <a:pt x="286" y="2064"/>
                  <a:pt x="286" y="2065"/>
                  <a:pt x="286" y="2065"/>
                </a:cubicBezTo>
                <a:cubicBezTo>
                  <a:pt x="286" y="2067"/>
                  <a:pt x="285" y="2069"/>
                  <a:pt x="285" y="2070"/>
                </a:cubicBezTo>
                <a:cubicBezTo>
                  <a:pt x="285" y="2071"/>
                  <a:pt x="285" y="2074"/>
                  <a:pt x="284" y="2076"/>
                </a:cubicBezTo>
                <a:cubicBezTo>
                  <a:pt x="284" y="2076"/>
                  <a:pt x="283" y="2076"/>
                  <a:pt x="283" y="2076"/>
                </a:cubicBezTo>
                <a:cubicBezTo>
                  <a:pt x="283" y="2076"/>
                  <a:pt x="283" y="2077"/>
                  <a:pt x="283" y="2077"/>
                </a:cubicBezTo>
                <a:cubicBezTo>
                  <a:pt x="282" y="2079"/>
                  <a:pt x="281" y="2080"/>
                  <a:pt x="281" y="2081"/>
                </a:cubicBezTo>
                <a:cubicBezTo>
                  <a:pt x="281" y="2082"/>
                  <a:pt x="280" y="2087"/>
                  <a:pt x="278" y="2092"/>
                </a:cubicBezTo>
                <a:cubicBezTo>
                  <a:pt x="278" y="2094"/>
                  <a:pt x="277" y="2096"/>
                  <a:pt x="277" y="2098"/>
                </a:cubicBezTo>
                <a:cubicBezTo>
                  <a:pt x="277" y="2098"/>
                  <a:pt x="276" y="2099"/>
                  <a:pt x="276" y="2100"/>
                </a:cubicBezTo>
                <a:cubicBezTo>
                  <a:pt x="276" y="2101"/>
                  <a:pt x="276" y="2102"/>
                  <a:pt x="277" y="2102"/>
                </a:cubicBezTo>
                <a:cubicBezTo>
                  <a:pt x="277" y="2103"/>
                  <a:pt x="276" y="2104"/>
                  <a:pt x="276" y="2104"/>
                </a:cubicBezTo>
                <a:cubicBezTo>
                  <a:pt x="276" y="2104"/>
                  <a:pt x="275" y="2105"/>
                  <a:pt x="275" y="2105"/>
                </a:cubicBezTo>
                <a:cubicBezTo>
                  <a:pt x="274" y="2105"/>
                  <a:pt x="274" y="2106"/>
                  <a:pt x="274" y="2106"/>
                </a:cubicBezTo>
                <a:cubicBezTo>
                  <a:pt x="274" y="2108"/>
                  <a:pt x="273" y="2109"/>
                  <a:pt x="273" y="2110"/>
                </a:cubicBezTo>
                <a:cubicBezTo>
                  <a:pt x="272" y="2113"/>
                  <a:pt x="271" y="2116"/>
                  <a:pt x="270" y="2119"/>
                </a:cubicBezTo>
                <a:cubicBezTo>
                  <a:pt x="269" y="2122"/>
                  <a:pt x="268" y="2125"/>
                  <a:pt x="267" y="2128"/>
                </a:cubicBezTo>
                <a:cubicBezTo>
                  <a:pt x="267" y="2130"/>
                  <a:pt x="265" y="2133"/>
                  <a:pt x="265" y="2136"/>
                </a:cubicBezTo>
                <a:cubicBezTo>
                  <a:pt x="266" y="2136"/>
                  <a:pt x="266" y="2136"/>
                  <a:pt x="266" y="2136"/>
                </a:cubicBezTo>
                <a:cubicBezTo>
                  <a:pt x="266" y="2137"/>
                  <a:pt x="265" y="2137"/>
                  <a:pt x="265" y="2137"/>
                </a:cubicBezTo>
                <a:cubicBezTo>
                  <a:pt x="265" y="2138"/>
                  <a:pt x="265" y="2138"/>
                  <a:pt x="265" y="2138"/>
                </a:cubicBezTo>
                <a:cubicBezTo>
                  <a:pt x="265" y="2139"/>
                  <a:pt x="265" y="2139"/>
                  <a:pt x="265" y="2140"/>
                </a:cubicBezTo>
                <a:cubicBezTo>
                  <a:pt x="265" y="2142"/>
                  <a:pt x="264" y="2144"/>
                  <a:pt x="263" y="2146"/>
                </a:cubicBezTo>
                <a:cubicBezTo>
                  <a:pt x="262" y="2148"/>
                  <a:pt x="261" y="2150"/>
                  <a:pt x="260" y="2152"/>
                </a:cubicBezTo>
                <a:cubicBezTo>
                  <a:pt x="259" y="2156"/>
                  <a:pt x="258" y="2161"/>
                  <a:pt x="256" y="2166"/>
                </a:cubicBezTo>
                <a:cubicBezTo>
                  <a:pt x="254" y="2174"/>
                  <a:pt x="252" y="2182"/>
                  <a:pt x="250" y="2190"/>
                </a:cubicBezTo>
                <a:cubicBezTo>
                  <a:pt x="250" y="2190"/>
                  <a:pt x="250" y="2190"/>
                  <a:pt x="250" y="2190"/>
                </a:cubicBezTo>
                <a:cubicBezTo>
                  <a:pt x="249" y="2190"/>
                  <a:pt x="249" y="2190"/>
                  <a:pt x="249" y="2190"/>
                </a:cubicBezTo>
                <a:cubicBezTo>
                  <a:pt x="249" y="2190"/>
                  <a:pt x="249" y="2191"/>
                  <a:pt x="249" y="2191"/>
                </a:cubicBezTo>
                <a:cubicBezTo>
                  <a:pt x="249" y="2192"/>
                  <a:pt x="248" y="2193"/>
                  <a:pt x="248" y="2194"/>
                </a:cubicBezTo>
                <a:cubicBezTo>
                  <a:pt x="247" y="2195"/>
                  <a:pt x="247" y="2196"/>
                  <a:pt x="246" y="2196"/>
                </a:cubicBezTo>
                <a:cubicBezTo>
                  <a:pt x="246" y="2197"/>
                  <a:pt x="245" y="2197"/>
                  <a:pt x="245" y="2198"/>
                </a:cubicBezTo>
                <a:cubicBezTo>
                  <a:pt x="245" y="2199"/>
                  <a:pt x="246" y="2200"/>
                  <a:pt x="246" y="2200"/>
                </a:cubicBezTo>
                <a:cubicBezTo>
                  <a:pt x="246" y="2201"/>
                  <a:pt x="245" y="2202"/>
                  <a:pt x="245" y="2203"/>
                </a:cubicBezTo>
                <a:cubicBezTo>
                  <a:pt x="244" y="2205"/>
                  <a:pt x="243" y="2209"/>
                  <a:pt x="242" y="2212"/>
                </a:cubicBezTo>
                <a:cubicBezTo>
                  <a:pt x="241" y="2216"/>
                  <a:pt x="238" y="2226"/>
                  <a:pt x="236" y="2232"/>
                </a:cubicBezTo>
                <a:cubicBezTo>
                  <a:pt x="235" y="2233"/>
                  <a:pt x="235" y="2236"/>
                  <a:pt x="234" y="2239"/>
                </a:cubicBezTo>
                <a:cubicBezTo>
                  <a:pt x="234" y="2240"/>
                  <a:pt x="233" y="2242"/>
                  <a:pt x="233" y="2243"/>
                </a:cubicBezTo>
                <a:cubicBezTo>
                  <a:pt x="232" y="2243"/>
                  <a:pt x="232" y="2243"/>
                  <a:pt x="232" y="2244"/>
                </a:cubicBezTo>
                <a:cubicBezTo>
                  <a:pt x="231" y="2244"/>
                  <a:pt x="231" y="2244"/>
                  <a:pt x="231" y="2245"/>
                </a:cubicBezTo>
                <a:cubicBezTo>
                  <a:pt x="231" y="2245"/>
                  <a:pt x="230" y="2246"/>
                  <a:pt x="230" y="2247"/>
                </a:cubicBezTo>
                <a:cubicBezTo>
                  <a:pt x="230" y="2247"/>
                  <a:pt x="230" y="2247"/>
                  <a:pt x="230" y="2248"/>
                </a:cubicBezTo>
                <a:cubicBezTo>
                  <a:pt x="230" y="2249"/>
                  <a:pt x="230" y="2251"/>
                  <a:pt x="230" y="2253"/>
                </a:cubicBezTo>
                <a:cubicBezTo>
                  <a:pt x="229" y="2254"/>
                  <a:pt x="227" y="2254"/>
                  <a:pt x="226" y="2255"/>
                </a:cubicBezTo>
                <a:cubicBezTo>
                  <a:pt x="225" y="2255"/>
                  <a:pt x="225" y="2255"/>
                  <a:pt x="225" y="2256"/>
                </a:cubicBezTo>
                <a:cubicBezTo>
                  <a:pt x="226" y="2257"/>
                  <a:pt x="226" y="2258"/>
                  <a:pt x="226" y="2259"/>
                </a:cubicBezTo>
                <a:cubicBezTo>
                  <a:pt x="227" y="2259"/>
                  <a:pt x="227" y="2259"/>
                  <a:pt x="227" y="2260"/>
                </a:cubicBezTo>
                <a:cubicBezTo>
                  <a:pt x="227" y="2260"/>
                  <a:pt x="227" y="2260"/>
                  <a:pt x="226" y="2261"/>
                </a:cubicBezTo>
                <a:cubicBezTo>
                  <a:pt x="226" y="2261"/>
                  <a:pt x="227" y="2261"/>
                  <a:pt x="227" y="2261"/>
                </a:cubicBezTo>
                <a:cubicBezTo>
                  <a:pt x="227" y="2262"/>
                  <a:pt x="226" y="2265"/>
                  <a:pt x="225" y="2266"/>
                </a:cubicBezTo>
                <a:cubicBezTo>
                  <a:pt x="224" y="2268"/>
                  <a:pt x="224" y="2271"/>
                  <a:pt x="223" y="2273"/>
                </a:cubicBezTo>
                <a:cubicBezTo>
                  <a:pt x="222" y="2278"/>
                  <a:pt x="220" y="2282"/>
                  <a:pt x="218" y="2287"/>
                </a:cubicBezTo>
                <a:cubicBezTo>
                  <a:pt x="218" y="2287"/>
                  <a:pt x="218" y="2288"/>
                  <a:pt x="219" y="2288"/>
                </a:cubicBezTo>
                <a:cubicBezTo>
                  <a:pt x="219" y="2289"/>
                  <a:pt x="219" y="2289"/>
                  <a:pt x="219" y="2289"/>
                </a:cubicBezTo>
                <a:cubicBezTo>
                  <a:pt x="219" y="2289"/>
                  <a:pt x="219" y="2289"/>
                  <a:pt x="219" y="2290"/>
                </a:cubicBezTo>
                <a:cubicBezTo>
                  <a:pt x="219" y="2290"/>
                  <a:pt x="219" y="2290"/>
                  <a:pt x="219" y="2290"/>
                </a:cubicBezTo>
                <a:cubicBezTo>
                  <a:pt x="219" y="2291"/>
                  <a:pt x="218" y="2292"/>
                  <a:pt x="218" y="2293"/>
                </a:cubicBezTo>
                <a:cubicBezTo>
                  <a:pt x="217" y="2294"/>
                  <a:pt x="217" y="2295"/>
                  <a:pt x="216" y="2296"/>
                </a:cubicBezTo>
                <a:cubicBezTo>
                  <a:pt x="216" y="2297"/>
                  <a:pt x="215" y="2298"/>
                  <a:pt x="215" y="2299"/>
                </a:cubicBezTo>
                <a:cubicBezTo>
                  <a:pt x="215" y="2299"/>
                  <a:pt x="215" y="2300"/>
                  <a:pt x="215" y="2300"/>
                </a:cubicBezTo>
                <a:cubicBezTo>
                  <a:pt x="215" y="2300"/>
                  <a:pt x="215" y="2300"/>
                  <a:pt x="215" y="2300"/>
                </a:cubicBezTo>
                <a:cubicBezTo>
                  <a:pt x="215" y="2301"/>
                  <a:pt x="215" y="2302"/>
                  <a:pt x="215" y="2302"/>
                </a:cubicBezTo>
                <a:cubicBezTo>
                  <a:pt x="214" y="2302"/>
                  <a:pt x="214" y="2302"/>
                  <a:pt x="214" y="2303"/>
                </a:cubicBezTo>
                <a:cubicBezTo>
                  <a:pt x="213" y="2303"/>
                  <a:pt x="213" y="2305"/>
                  <a:pt x="213" y="2305"/>
                </a:cubicBezTo>
                <a:cubicBezTo>
                  <a:pt x="213" y="2306"/>
                  <a:pt x="212" y="2308"/>
                  <a:pt x="211" y="2308"/>
                </a:cubicBezTo>
                <a:cubicBezTo>
                  <a:pt x="211" y="2309"/>
                  <a:pt x="210" y="2309"/>
                  <a:pt x="210" y="2310"/>
                </a:cubicBezTo>
                <a:cubicBezTo>
                  <a:pt x="209" y="2311"/>
                  <a:pt x="212" y="2313"/>
                  <a:pt x="210" y="2314"/>
                </a:cubicBezTo>
                <a:cubicBezTo>
                  <a:pt x="210" y="2314"/>
                  <a:pt x="210" y="2314"/>
                  <a:pt x="209" y="2314"/>
                </a:cubicBezTo>
                <a:cubicBezTo>
                  <a:pt x="209" y="2314"/>
                  <a:pt x="209" y="2314"/>
                  <a:pt x="209" y="2314"/>
                </a:cubicBezTo>
                <a:cubicBezTo>
                  <a:pt x="209" y="2314"/>
                  <a:pt x="208" y="2314"/>
                  <a:pt x="208" y="2314"/>
                </a:cubicBezTo>
                <a:cubicBezTo>
                  <a:pt x="208" y="2314"/>
                  <a:pt x="208" y="2315"/>
                  <a:pt x="208" y="2316"/>
                </a:cubicBezTo>
                <a:cubicBezTo>
                  <a:pt x="208" y="2316"/>
                  <a:pt x="208" y="2316"/>
                  <a:pt x="209" y="2317"/>
                </a:cubicBezTo>
                <a:cubicBezTo>
                  <a:pt x="209" y="2319"/>
                  <a:pt x="208" y="2322"/>
                  <a:pt x="207" y="2324"/>
                </a:cubicBezTo>
                <a:cubicBezTo>
                  <a:pt x="206" y="2326"/>
                  <a:pt x="206" y="2328"/>
                  <a:pt x="205" y="2330"/>
                </a:cubicBezTo>
                <a:cubicBezTo>
                  <a:pt x="205" y="2331"/>
                  <a:pt x="204" y="2332"/>
                  <a:pt x="204" y="2333"/>
                </a:cubicBezTo>
                <a:cubicBezTo>
                  <a:pt x="203" y="2335"/>
                  <a:pt x="203" y="2334"/>
                  <a:pt x="202" y="2335"/>
                </a:cubicBezTo>
                <a:cubicBezTo>
                  <a:pt x="201" y="2335"/>
                  <a:pt x="201" y="2335"/>
                  <a:pt x="200" y="2335"/>
                </a:cubicBezTo>
                <a:cubicBezTo>
                  <a:pt x="200" y="2335"/>
                  <a:pt x="200" y="2335"/>
                  <a:pt x="200" y="2336"/>
                </a:cubicBezTo>
                <a:cubicBezTo>
                  <a:pt x="200" y="2336"/>
                  <a:pt x="200" y="2337"/>
                  <a:pt x="200" y="2337"/>
                </a:cubicBezTo>
                <a:cubicBezTo>
                  <a:pt x="201" y="2337"/>
                  <a:pt x="201" y="2338"/>
                  <a:pt x="201" y="2339"/>
                </a:cubicBezTo>
                <a:cubicBezTo>
                  <a:pt x="201" y="2340"/>
                  <a:pt x="201" y="2341"/>
                  <a:pt x="201" y="2342"/>
                </a:cubicBezTo>
                <a:cubicBezTo>
                  <a:pt x="200" y="2344"/>
                  <a:pt x="199" y="2345"/>
                  <a:pt x="199" y="2346"/>
                </a:cubicBezTo>
                <a:cubicBezTo>
                  <a:pt x="198" y="2348"/>
                  <a:pt x="198" y="2350"/>
                  <a:pt x="197" y="2352"/>
                </a:cubicBezTo>
                <a:cubicBezTo>
                  <a:pt x="197" y="2353"/>
                  <a:pt x="197" y="2354"/>
                  <a:pt x="196" y="2355"/>
                </a:cubicBezTo>
                <a:cubicBezTo>
                  <a:pt x="196" y="2356"/>
                  <a:pt x="196" y="2356"/>
                  <a:pt x="196" y="2357"/>
                </a:cubicBezTo>
                <a:cubicBezTo>
                  <a:pt x="196" y="2357"/>
                  <a:pt x="195" y="2357"/>
                  <a:pt x="195" y="2357"/>
                </a:cubicBezTo>
                <a:cubicBezTo>
                  <a:pt x="195" y="2358"/>
                  <a:pt x="194" y="2358"/>
                  <a:pt x="194" y="2358"/>
                </a:cubicBezTo>
                <a:cubicBezTo>
                  <a:pt x="194" y="2359"/>
                  <a:pt x="194" y="2359"/>
                  <a:pt x="194" y="2359"/>
                </a:cubicBezTo>
                <a:cubicBezTo>
                  <a:pt x="194" y="2359"/>
                  <a:pt x="194" y="2359"/>
                  <a:pt x="194" y="2359"/>
                </a:cubicBezTo>
                <a:cubicBezTo>
                  <a:pt x="194" y="2360"/>
                  <a:pt x="194" y="2361"/>
                  <a:pt x="194" y="2361"/>
                </a:cubicBezTo>
                <a:cubicBezTo>
                  <a:pt x="195" y="2362"/>
                  <a:pt x="195" y="2363"/>
                  <a:pt x="195" y="2364"/>
                </a:cubicBezTo>
                <a:cubicBezTo>
                  <a:pt x="195" y="2364"/>
                  <a:pt x="195" y="2365"/>
                  <a:pt x="195" y="2365"/>
                </a:cubicBezTo>
                <a:cubicBezTo>
                  <a:pt x="194" y="2368"/>
                  <a:pt x="193" y="2371"/>
                  <a:pt x="193" y="2373"/>
                </a:cubicBezTo>
                <a:cubicBezTo>
                  <a:pt x="192" y="2375"/>
                  <a:pt x="190" y="2376"/>
                  <a:pt x="189" y="2377"/>
                </a:cubicBezTo>
                <a:cubicBezTo>
                  <a:pt x="188" y="2377"/>
                  <a:pt x="188" y="2377"/>
                  <a:pt x="188" y="2378"/>
                </a:cubicBezTo>
                <a:cubicBezTo>
                  <a:pt x="188" y="2378"/>
                  <a:pt x="189" y="2379"/>
                  <a:pt x="189" y="2380"/>
                </a:cubicBezTo>
                <a:cubicBezTo>
                  <a:pt x="189" y="2381"/>
                  <a:pt x="188" y="2381"/>
                  <a:pt x="188" y="2381"/>
                </a:cubicBezTo>
                <a:cubicBezTo>
                  <a:pt x="187" y="2383"/>
                  <a:pt x="187" y="2385"/>
                  <a:pt x="187" y="2387"/>
                </a:cubicBezTo>
                <a:cubicBezTo>
                  <a:pt x="187" y="2388"/>
                  <a:pt x="187" y="2389"/>
                  <a:pt x="187" y="2390"/>
                </a:cubicBezTo>
                <a:cubicBezTo>
                  <a:pt x="187" y="2392"/>
                  <a:pt x="186" y="2394"/>
                  <a:pt x="186" y="2396"/>
                </a:cubicBezTo>
                <a:cubicBezTo>
                  <a:pt x="185" y="2396"/>
                  <a:pt x="185" y="2396"/>
                  <a:pt x="185" y="2397"/>
                </a:cubicBezTo>
                <a:cubicBezTo>
                  <a:pt x="184" y="2398"/>
                  <a:pt x="183" y="2400"/>
                  <a:pt x="182" y="2402"/>
                </a:cubicBezTo>
                <a:cubicBezTo>
                  <a:pt x="182" y="2403"/>
                  <a:pt x="181" y="2405"/>
                  <a:pt x="181" y="2406"/>
                </a:cubicBezTo>
                <a:cubicBezTo>
                  <a:pt x="180" y="2407"/>
                  <a:pt x="178" y="2408"/>
                  <a:pt x="177" y="2409"/>
                </a:cubicBezTo>
                <a:cubicBezTo>
                  <a:pt x="177" y="2410"/>
                  <a:pt x="177" y="2410"/>
                  <a:pt x="177" y="2410"/>
                </a:cubicBezTo>
                <a:cubicBezTo>
                  <a:pt x="177" y="2410"/>
                  <a:pt x="177" y="2411"/>
                  <a:pt x="177" y="2411"/>
                </a:cubicBezTo>
                <a:cubicBezTo>
                  <a:pt x="177" y="2411"/>
                  <a:pt x="177" y="2411"/>
                  <a:pt x="177" y="2411"/>
                </a:cubicBezTo>
                <a:cubicBezTo>
                  <a:pt x="177" y="2411"/>
                  <a:pt x="177" y="2411"/>
                  <a:pt x="177" y="2412"/>
                </a:cubicBezTo>
                <a:cubicBezTo>
                  <a:pt x="177" y="2412"/>
                  <a:pt x="176" y="2411"/>
                  <a:pt x="176" y="2412"/>
                </a:cubicBezTo>
                <a:cubicBezTo>
                  <a:pt x="177" y="2412"/>
                  <a:pt x="177" y="2413"/>
                  <a:pt x="177" y="2413"/>
                </a:cubicBezTo>
                <a:cubicBezTo>
                  <a:pt x="177" y="2413"/>
                  <a:pt x="177" y="2413"/>
                  <a:pt x="177" y="2413"/>
                </a:cubicBezTo>
                <a:cubicBezTo>
                  <a:pt x="177" y="2414"/>
                  <a:pt x="177" y="2414"/>
                  <a:pt x="176" y="2414"/>
                </a:cubicBezTo>
                <a:cubicBezTo>
                  <a:pt x="176" y="2415"/>
                  <a:pt x="176" y="2415"/>
                  <a:pt x="176" y="2416"/>
                </a:cubicBezTo>
                <a:cubicBezTo>
                  <a:pt x="178" y="2419"/>
                  <a:pt x="176" y="2424"/>
                  <a:pt x="175" y="2427"/>
                </a:cubicBezTo>
                <a:cubicBezTo>
                  <a:pt x="174" y="2428"/>
                  <a:pt x="174" y="2431"/>
                  <a:pt x="173" y="2432"/>
                </a:cubicBezTo>
                <a:cubicBezTo>
                  <a:pt x="173" y="2432"/>
                  <a:pt x="173" y="2432"/>
                  <a:pt x="173" y="2433"/>
                </a:cubicBezTo>
                <a:cubicBezTo>
                  <a:pt x="172" y="2433"/>
                  <a:pt x="172" y="2433"/>
                  <a:pt x="171" y="2434"/>
                </a:cubicBezTo>
                <a:cubicBezTo>
                  <a:pt x="171" y="2434"/>
                  <a:pt x="171" y="2434"/>
                  <a:pt x="170" y="2434"/>
                </a:cubicBezTo>
                <a:cubicBezTo>
                  <a:pt x="169" y="2435"/>
                  <a:pt x="169" y="2437"/>
                  <a:pt x="168" y="2438"/>
                </a:cubicBezTo>
                <a:cubicBezTo>
                  <a:pt x="168" y="2439"/>
                  <a:pt x="166" y="2440"/>
                  <a:pt x="167" y="2441"/>
                </a:cubicBezTo>
                <a:cubicBezTo>
                  <a:pt x="168" y="2442"/>
                  <a:pt x="167" y="2444"/>
                  <a:pt x="166" y="2445"/>
                </a:cubicBezTo>
                <a:cubicBezTo>
                  <a:pt x="165" y="2446"/>
                  <a:pt x="165" y="2448"/>
                  <a:pt x="164" y="2449"/>
                </a:cubicBezTo>
                <a:cubicBezTo>
                  <a:pt x="164" y="2450"/>
                  <a:pt x="164" y="2451"/>
                  <a:pt x="164" y="2452"/>
                </a:cubicBezTo>
                <a:cubicBezTo>
                  <a:pt x="164" y="2453"/>
                  <a:pt x="165" y="2453"/>
                  <a:pt x="165" y="2454"/>
                </a:cubicBezTo>
                <a:cubicBezTo>
                  <a:pt x="165" y="2455"/>
                  <a:pt x="164" y="2455"/>
                  <a:pt x="164" y="2455"/>
                </a:cubicBezTo>
                <a:cubicBezTo>
                  <a:pt x="163" y="2455"/>
                  <a:pt x="163" y="2455"/>
                  <a:pt x="163" y="2455"/>
                </a:cubicBezTo>
                <a:cubicBezTo>
                  <a:pt x="162" y="2455"/>
                  <a:pt x="162" y="2458"/>
                  <a:pt x="162" y="2458"/>
                </a:cubicBezTo>
                <a:cubicBezTo>
                  <a:pt x="162" y="2459"/>
                  <a:pt x="160" y="2462"/>
                  <a:pt x="161" y="2462"/>
                </a:cubicBezTo>
                <a:cubicBezTo>
                  <a:pt x="162" y="2462"/>
                  <a:pt x="162" y="2462"/>
                  <a:pt x="162" y="2463"/>
                </a:cubicBezTo>
                <a:cubicBezTo>
                  <a:pt x="162" y="2463"/>
                  <a:pt x="162" y="2465"/>
                  <a:pt x="162" y="2465"/>
                </a:cubicBezTo>
                <a:cubicBezTo>
                  <a:pt x="161" y="2466"/>
                  <a:pt x="161" y="2467"/>
                  <a:pt x="160" y="2468"/>
                </a:cubicBezTo>
                <a:cubicBezTo>
                  <a:pt x="159" y="2471"/>
                  <a:pt x="156" y="2479"/>
                  <a:pt x="154" y="2485"/>
                </a:cubicBezTo>
                <a:cubicBezTo>
                  <a:pt x="153" y="2488"/>
                  <a:pt x="153" y="2490"/>
                  <a:pt x="152" y="2492"/>
                </a:cubicBezTo>
                <a:cubicBezTo>
                  <a:pt x="151" y="2493"/>
                  <a:pt x="151" y="2496"/>
                  <a:pt x="150" y="2498"/>
                </a:cubicBezTo>
                <a:cubicBezTo>
                  <a:pt x="150" y="2498"/>
                  <a:pt x="150" y="2498"/>
                  <a:pt x="149" y="2498"/>
                </a:cubicBezTo>
                <a:cubicBezTo>
                  <a:pt x="149" y="2499"/>
                  <a:pt x="149" y="2499"/>
                  <a:pt x="149" y="2500"/>
                </a:cubicBezTo>
                <a:cubicBezTo>
                  <a:pt x="149" y="2501"/>
                  <a:pt x="149" y="2502"/>
                  <a:pt x="149" y="2503"/>
                </a:cubicBezTo>
                <a:cubicBezTo>
                  <a:pt x="149" y="2503"/>
                  <a:pt x="149" y="2503"/>
                  <a:pt x="149" y="2503"/>
                </a:cubicBezTo>
                <a:cubicBezTo>
                  <a:pt x="149" y="2504"/>
                  <a:pt x="149" y="2504"/>
                  <a:pt x="148" y="2504"/>
                </a:cubicBezTo>
                <a:cubicBezTo>
                  <a:pt x="147" y="2507"/>
                  <a:pt x="145" y="2510"/>
                  <a:pt x="144" y="2513"/>
                </a:cubicBezTo>
                <a:cubicBezTo>
                  <a:pt x="144" y="2514"/>
                  <a:pt x="144" y="2514"/>
                  <a:pt x="145" y="2514"/>
                </a:cubicBezTo>
                <a:cubicBezTo>
                  <a:pt x="147" y="2515"/>
                  <a:pt x="144" y="2518"/>
                  <a:pt x="144" y="2519"/>
                </a:cubicBezTo>
                <a:cubicBezTo>
                  <a:pt x="143" y="2522"/>
                  <a:pt x="142" y="2525"/>
                  <a:pt x="141" y="2527"/>
                </a:cubicBezTo>
                <a:cubicBezTo>
                  <a:pt x="141" y="2529"/>
                  <a:pt x="140" y="2533"/>
                  <a:pt x="138" y="2537"/>
                </a:cubicBezTo>
                <a:cubicBezTo>
                  <a:pt x="137" y="2541"/>
                  <a:pt x="134" y="2550"/>
                  <a:pt x="132" y="2557"/>
                </a:cubicBezTo>
                <a:cubicBezTo>
                  <a:pt x="131" y="2560"/>
                  <a:pt x="130" y="2562"/>
                  <a:pt x="130" y="2565"/>
                </a:cubicBezTo>
                <a:cubicBezTo>
                  <a:pt x="130" y="2565"/>
                  <a:pt x="128" y="2571"/>
                  <a:pt x="127" y="2570"/>
                </a:cubicBezTo>
                <a:cubicBezTo>
                  <a:pt x="127" y="2570"/>
                  <a:pt x="127" y="2570"/>
                  <a:pt x="127" y="2570"/>
                </a:cubicBezTo>
                <a:cubicBezTo>
                  <a:pt x="127" y="2570"/>
                  <a:pt x="126" y="2570"/>
                  <a:pt x="126" y="2570"/>
                </a:cubicBezTo>
                <a:cubicBezTo>
                  <a:pt x="125" y="2571"/>
                  <a:pt x="125" y="2571"/>
                  <a:pt x="125" y="2572"/>
                </a:cubicBezTo>
                <a:cubicBezTo>
                  <a:pt x="125" y="2573"/>
                  <a:pt x="125" y="2574"/>
                  <a:pt x="125" y="2575"/>
                </a:cubicBezTo>
                <a:cubicBezTo>
                  <a:pt x="124" y="2576"/>
                  <a:pt x="124" y="2577"/>
                  <a:pt x="123" y="2578"/>
                </a:cubicBezTo>
                <a:cubicBezTo>
                  <a:pt x="123" y="2579"/>
                  <a:pt x="122" y="2580"/>
                  <a:pt x="122" y="2581"/>
                </a:cubicBezTo>
                <a:cubicBezTo>
                  <a:pt x="122" y="2582"/>
                  <a:pt x="123" y="2582"/>
                  <a:pt x="123" y="2583"/>
                </a:cubicBezTo>
                <a:cubicBezTo>
                  <a:pt x="124" y="2584"/>
                  <a:pt x="123" y="2584"/>
                  <a:pt x="123" y="2585"/>
                </a:cubicBezTo>
                <a:cubicBezTo>
                  <a:pt x="123" y="2587"/>
                  <a:pt x="122" y="2589"/>
                  <a:pt x="121" y="2592"/>
                </a:cubicBezTo>
                <a:cubicBezTo>
                  <a:pt x="121" y="2593"/>
                  <a:pt x="121" y="2595"/>
                  <a:pt x="120" y="2596"/>
                </a:cubicBezTo>
                <a:cubicBezTo>
                  <a:pt x="119" y="2597"/>
                  <a:pt x="119" y="2598"/>
                  <a:pt x="119" y="2599"/>
                </a:cubicBezTo>
                <a:cubicBezTo>
                  <a:pt x="118" y="2600"/>
                  <a:pt x="118" y="2602"/>
                  <a:pt x="118" y="2603"/>
                </a:cubicBezTo>
                <a:cubicBezTo>
                  <a:pt x="117" y="2604"/>
                  <a:pt x="116" y="2604"/>
                  <a:pt x="115" y="2605"/>
                </a:cubicBezTo>
                <a:cubicBezTo>
                  <a:pt x="115" y="2606"/>
                  <a:pt x="115" y="2608"/>
                  <a:pt x="115" y="2609"/>
                </a:cubicBezTo>
                <a:cubicBezTo>
                  <a:pt x="114" y="2612"/>
                  <a:pt x="115" y="2614"/>
                  <a:pt x="115" y="2616"/>
                </a:cubicBezTo>
                <a:cubicBezTo>
                  <a:pt x="115" y="2617"/>
                  <a:pt x="114" y="2618"/>
                  <a:pt x="114" y="2619"/>
                </a:cubicBezTo>
                <a:cubicBezTo>
                  <a:pt x="113" y="2621"/>
                  <a:pt x="112" y="2622"/>
                  <a:pt x="111" y="2624"/>
                </a:cubicBezTo>
                <a:cubicBezTo>
                  <a:pt x="111" y="2625"/>
                  <a:pt x="110" y="2626"/>
                  <a:pt x="109" y="2628"/>
                </a:cubicBezTo>
                <a:cubicBezTo>
                  <a:pt x="110" y="2628"/>
                  <a:pt x="110" y="2628"/>
                  <a:pt x="110" y="2628"/>
                </a:cubicBezTo>
                <a:cubicBezTo>
                  <a:pt x="111" y="2629"/>
                  <a:pt x="110" y="2630"/>
                  <a:pt x="110" y="2631"/>
                </a:cubicBezTo>
                <a:cubicBezTo>
                  <a:pt x="110" y="2631"/>
                  <a:pt x="109" y="2633"/>
                  <a:pt x="108" y="2632"/>
                </a:cubicBezTo>
                <a:cubicBezTo>
                  <a:pt x="108" y="2632"/>
                  <a:pt x="107" y="2632"/>
                  <a:pt x="107" y="2632"/>
                </a:cubicBezTo>
                <a:cubicBezTo>
                  <a:pt x="107" y="2633"/>
                  <a:pt x="106" y="2633"/>
                  <a:pt x="106" y="2633"/>
                </a:cubicBezTo>
                <a:cubicBezTo>
                  <a:pt x="106" y="2633"/>
                  <a:pt x="105" y="2633"/>
                  <a:pt x="105" y="2633"/>
                </a:cubicBezTo>
                <a:cubicBezTo>
                  <a:pt x="105" y="2633"/>
                  <a:pt x="105" y="2634"/>
                  <a:pt x="105" y="2634"/>
                </a:cubicBezTo>
                <a:cubicBezTo>
                  <a:pt x="105" y="2635"/>
                  <a:pt x="105" y="2635"/>
                  <a:pt x="104" y="2635"/>
                </a:cubicBezTo>
                <a:cubicBezTo>
                  <a:pt x="104" y="2635"/>
                  <a:pt x="103" y="2636"/>
                  <a:pt x="103" y="2637"/>
                </a:cubicBezTo>
                <a:cubicBezTo>
                  <a:pt x="104" y="2637"/>
                  <a:pt x="104" y="2638"/>
                  <a:pt x="105" y="2638"/>
                </a:cubicBezTo>
                <a:cubicBezTo>
                  <a:pt x="105" y="2638"/>
                  <a:pt x="105" y="2637"/>
                  <a:pt x="105" y="2637"/>
                </a:cubicBezTo>
                <a:cubicBezTo>
                  <a:pt x="106" y="2638"/>
                  <a:pt x="106" y="2638"/>
                  <a:pt x="106" y="2639"/>
                </a:cubicBezTo>
                <a:cubicBezTo>
                  <a:pt x="106" y="2639"/>
                  <a:pt x="105" y="2640"/>
                  <a:pt x="105" y="2640"/>
                </a:cubicBezTo>
                <a:cubicBezTo>
                  <a:pt x="105" y="2640"/>
                  <a:pt x="105" y="2639"/>
                  <a:pt x="104" y="2640"/>
                </a:cubicBezTo>
                <a:cubicBezTo>
                  <a:pt x="104" y="2641"/>
                  <a:pt x="103" y="2642"/>
                  <a:pt x="102" y="2644"/>
                </a:cubicBezTo>
                <a:cubicBezTo>
                  <a:pt x="102" y="2645"/>
                  <a:pt x="102" y="2646"/>
                  <a:pt x="101" y="2648"/>
                </a:cubicBezTo>
                <a:cubicBezTo>
                  <a:pt x="101" y="2648"/>
                  <a:pt x="100" y="2649"/>
                  <a:pt x="100" y="2650"/>
                </a:cubicBezTo>
                <a:cubicBezTo>
                  <a:pt x="100" y="2651"/>
                  <a:pt x="100" y="2652"/>
                  <a:pt x="99" y="2653"/>
                </a:cubicBezTo>
                <a:cubicBezTo>
                  <a:pt x="99" y="2654"/>
                  <a:pt x="99" y="2655"/>
                  <a:pt x="99" y="2656"/>
                </a:cubicBezTo>
                <a:cubicBezTo>
                  <a:pt x="99" y="2656"/>
                  <a:pt x="99" y="2656"/>
                  <a:pt x="99" y="2657"/>
                </a:cubicBezTo>
                <a:cubicBezTo>
                  <a:pt x="99" y="2657"/>
                  <a:pt x="99" y="2658"/>
                  <a:pt x="99" y="2659"/>
                </a:cubicBezTo>
                <a:cubicBezTo>
                  <a:pt x="99" y="2660"/>
                  <a:pt x="99" y="2661"/>
                  <a:pt x="99" y="2663"/>
                </a:cubicBezTo>
                <a:cubicBezTo>
                  <a:pt x="98" y="2663"/>
                  <a:pt x="98" y="2663"/>
                  <a:pt x="98" y="2664"/>
                </a:cubicBezTo>
                <a:cubicBezTo>
                  <a:pt x="98" y="2664"/>
                  <a:pt x="98" y="2664"/>
                  <a:pt x="97" y="2664"/>
                </a:cubicBezTo>
                <a:cubicBezTo>
                  <a:pt x="97" y="2664"/>
                  <a:pt x="97" y="2664"/>
                  <a:pt x="97" y="2663"/>
                </a:cubicBezTo>
                <a:cubicBezTo>
                  <a:pt x="96" y="2663"/>
                  <a:pt x="95" y="2663"/>
                  <a:pt x="95" y="2664"/>
                </a:cubicBezTo>
                <a:cubicBezTo>
                  <a:pt x="95" y="2664"/>
                  <a:pt x="95" y="2665"/>
                  <a:pt x="95" y="2665"/>
                </a:cubicBezTo>
                <a:cubicBezTo>
                  <a:pt x="93" y="2665"/>
                  <a:pt x="94" y="2667"/>
                  <a:pt x="94" y="2668"/>
                </a:cubicBezTo>
                <a:cubicBezTo>
                  <a:pt x="94" y="2670"/>
                  <a:pt x="93" y="2671"/>
                  <a:pt x="93" y="2673"/>
                </a:cubicBezTo>
                <a:cubicBezTo>
                  <a:pt x="93" y="2673"/>
                  <a:pt x="94" y="2673"/>
                  <a:pt x="94" y="2674"/>
                </a:cubicBezTo>
                <a:cubicBezTo>
                  <a:pt x="94" y="2674"/>
                  <a:pt x="94" y="2675"/>
                  <a:pt x="94" y="2675"/>
                </a:cubicBezTo>
                <a:cubicBezTo>
                  <a:pt x="94" y="2675"/>
                  <a:pt x="94" y="2676"/>
                  <a:pt x="94" y="2676"/>
                </a:cubicBezTo>
                <a:cubicBezTo>
                  <a:pt x="92" y="2677"/>
                  <a:pt x="92" y="2680"/>
                  <a:pt x="92" y="2681"/>
                </a:cubicBezTo>
                <a:cubicBezTo>
                  <a:pt x="91" y="2684"/>
                  <a:pt x="91" y="2686"/>
                  <a:pt x="91" y="2686"/>
                </a:cubicBezTo>
                <a:cubicBezTo>
                  <a:pt x="90" y="2686"/>
                  <a:pt x="89" y="2689"/>
                  <a:pt x="88" y="2693"/>
                </a:cubicBezTo>
                <a:cubicBezTo>
                  <a:pt x="87" y="2694"/>
                  <a:pt x="87" y="2695"/>
                  <a:pt x="87" y="2697"/>
                </a:cubicBezTo>
                <a:cubicBezTo>
                  <a:pt x="86" y="2698"/>
                  <a:pt x="85" y="2698"/>
                  <a:pt x="86" y="2699"/>
                </a:cubicBezTo>
                <a:cubicBezTo>
                  <a:pt x="86" y="2700"/>
                  <a:pt x="86" y="2700"/>
                  <a:pt x="87" y="2701"/>
                </a:cubicBezTo>
                <a:cubicBezTo>
                  <a:pt x="87" y="2701"/>
                  <a:pt x="87" y="2702"/>
                  <a:pt x="87" y="2702"/>
                </a:cubicBezTo>
                <a:cubicBezTo>
                  <a:pt x="87" y="2703"/>
                  <a:pt x="87" y="2703"/>
                  <a:pt x="86" y="2704"/>
                </a:cubicBezTo>
                <a:cubicBezTo>
                  <a:pt x="86" y="2705"/>
                  <a:pt x="85" y="2706"/>
                  <a:pt x="84" y="2706"/>
                </a:cubicBezTo>
                <a:cubicBezTo>
                  <a:pt x="83" y="2707"/>
                  <a:pt x="81" y="2713"/>
                  <a:pt x="82" y="2715"/>
                </a:cubicBezTo>
                <a:cubicBezTo>
                  <a:pt x="83" y="2717"/>
                  <a:pt x="83" y="2719"/>
                  <a:pt x="81" y="2720"/>
                </a:cubicBezTo>
                <a:cubicBezTo>
                  <a:pt x="81" y="2720"/>
                  <a:pt x="81" y="2720"/>
                  <a:pt x="81" y="2720"/>
                </a:cubicBezTo>
                <a:cubicBezTo>
                  <a:pt x="81" y="2720"/>
                  <a:pt x="80" y="2720"/>
                  <a:pt x="80" y="2721"/>
                </a:cubicBezTo>
                <a:cubicBezTo>
                  <a:pt x="79" y="2722"/>
                  <a:pt x="79" y="2724"/>
                  <a:pt x="78" y="2725"/>
                </a:cubicBezTo>
                <a:cubicBezTo>
                  <a:pt x="77" y="2727"/>
                  <a:pt x="76" y="2730"/>
                  <a:pt x="76" y="2731"/>
                </a:cubicBezTo>
                <a:cubicBezTo>
                  <a:pt x="75" y="2732"/>
                  <a:pt x="74" y="2735"/>
                  <a:pt x="73" y="2739"/>
                </a:cubicBezTo>
                <a:cubicBezTo>
                  <a:pt x="72" y="2741"/>
                  <a:pt x="70" y="2745"/>
                  <a:pt x="72" y="2747"/>
                </a:cubicBezTo>
                <a:cubicBezTo>
                  <a:pt x="73" y="2747"/>
                  <a:pt x="73" y="2747"/>
                  <a:pt x="73" y="2748"/>
                </a:cubicBezTo>
                <a:cubicBezTo>
                  <a:pt x="73" y="2748"/>
                  <a:pt x="73" y="2748"/>
                  <a:pt x="73" y="2749"/>
                </a:cubicBezTo>
                <a:cubicBezTo>
                  <a:pt x="72" y="2750"/>
                  <a:pt x="73" y="2750"/>
                  <a:pt x="72" y="2751"/>
                </a:cubicBezTo>
                <a:cubicBezTo>
                  <a:pt x="72" y="2753"/>
                  <a:pt x="71" y="2754"/>
                  <a:pt x="71" y="2755"/>
                </a:cubicBezTo>
                <a:cubicBezTo>
                  <a:pt x="70" y="2757"/>
                  <a:pt x="69" y="2758"/>
                  <a:pt x="69" y="2760"/>
                </a:cubicBezTo>
                <a:cubicBezTo>
                  <a:pt x="69" y="2761"/>
                  <a:pt x="68" y="2763"/>
                  <a:pt x="67" y="2764"/>
                </a:cubicBezTo>
                <a:cubicBezTo>
                  <a:pt x="67" y="2764"/>
                  <a:pt x="67" y="2764"/>
                  <a:pt x="67" y="2764"/>
                </a:cubicBezTo>
                <a:cubicBezTo>
                  <a:pt x="66" y="2765"/>
                  <a:pt x="66" y="2766"/>
                  <a:pt x="65" y="2767"/>
                </a:cubicBezTo>
                <a:cubicBezTo>
                  <a:pt x="65" y="2769"/>
                  <a:pt x="64" y="2772"/>
                  <a:pt x="63" y="2773"/>
                </a:cubicBezTo>
                <a:cubicBezTo>
                  <a:pt x="63" y="2774"/>
                  <a:pt x="62" y="2775"/>
                  <a:pt x="63" y="2777"/>
                </a:cubicBezTo>
                <a:cubicBezTo>
                  <a:pt x="63" y="2778"/>
                  <a:pt x="63" y="2778"/>
                  <a:pt x="63" y="2780"/>
                </a:cubicBezTo>
                <a:cubicBezTo>
                  <a:pt x="63" y="2781"/>
                  <a:pt x="62" y="2783"/>
                  <a:pt x="62" y="2784"/>
                </a:cubicBezTo>
                <a:cubicBezTo>
                  <a:pt x="61" y="2786"/>
                  <a:pt x="61" y="2788"/>
                  <a:pt x="60" y="2790"/>
                </a:cubicBezTo>
                <a:cubicBezTo>
                  <a:pt x="60" y="2789"/>
                  <a:pt x="60" y="2789"/>
                  <a:pt x="59" y="2789"/>
                </a:cubicBezTo>
                <a:cubicBezTo>
                  <a:pt x="59" y="2789"/>
                  <a:pt x="59" y="2789"/>
                  <a:pt x="59" y="2790"/>
                </a:cubicBezTo>
                <a:cubicBezTo>
                  <a:pt x="59" y="2790"/>
                  <a:pt x="59" y="2790"/>
                  <a:pt x="59" y="2790"/>
                </a:cubicBezTo>
                <a:cubicBezTo>
                  <a:pt x="59" y="2791"/>
                  <a:pt x="60" y="2794"/>
                  <a:pt x="59" y="2795"/>
                </a:cubicBezTo>
                <a:cubicBezTo>
                  <a:pt x="58" y="2795"/>
                  <a:pt x="58" y="2795"/>
                  <a:pt x="57" y="2794"/>
                </a:cubicBezTo>
                <a:cubicBezTo>
                  <a:pt x="57" y="2794"/>
                  <a:pt x="57" y="2794"/>
                  <a:pt x="57" y="2794"/>
                </a:cubicBezTo>
                <a:cubicBezTo>
                  <a:pt x="56" y="2794"/>
                  <a:pt x="56" y="2794"/>
                  <a:pt x="55" y="2794"/>
                </a:cubicBezTo>
                <a:cubicBezTo>
                  <a:pt x="55" y="2795"/>
                  <a:pt x="55" y="2795"/>
                  <a:pt x="55" y="2796"/>
                </a:cubicBezTo>
                <a:cubicBezTo>
                  <a:pt x="55" y="2797"/>
                  <a:pt x="56" y="2797"/>
                  <a:pt x="56" y="2798"/>
                </a:cubicBezTo>
                <a:cubicBezTo>
                  <a:pt x="56" y="2798"/>
                  <a:pt x="55" y="2798"/>
                  <a:pt x="55" y="2798"/>
                </a:cubicBezTo>
                <a:cubicBezTo>
                  <a:pt x="55" y="2798"/>
                  <a:pt x="55" y="2798"/>
                  <a:pt x="55" y="2798"/>
                </a:cubicBezTo>
                <a:cubicBezTo>
                  <a:pt x="53" y="2797"/>
                  <a:pt x="53" y="2801"/>
                  <a:pt x="53" y="2802"/>
                </a:cubicBezTo>
                <a:cubicBezTo>
                  <a:pt x="52" y="2805"/>
                  <a:pt x="51" y="2807"/>
                  <a:pt x="51" y="2810"/>
                </a:cubicBezTo>
                <a:cubicBezTo>
                  <a:pt x="50" y="2812"/>
                  <a:pt x="49" y="2814"/>
                  <a:pt x="49" y="2816"/>
                </a:cubicBezTo>
                <a:cubicBezTo>
                  <a:pt x="48" y="2818"/>
                  <a:pt x="47" y="2820"/>
                  <a:pt x="47" y="2822"/>
                </a:cubicBezTo>
                <a:cubicBezTo>
                  <a:pt x="47" y="2822"/>
                  <a:pt x="48" y="2822"/>
                  <a:pt x="48" y="2823"/>
                </a:cubicBezTo>
                <a:cubicBezTo>
                  <a:pt x="48" y="2823"/>
                  <a:pt x="48" y="2824"/>
                  <a:pt x="48" y="2824"/>
                </a:cubicBezTo>
                <a:cubicBezTo>
                  <a:pt x="49" y="2825"/>
                  <a:pt x="48" y="2826"/>
                  <a:pt x="49" y="2827"/>
                </a:cubicBezTo>
                <a:cubicBezTo>
                  <a:pt x="49" y="2828"/>
                  <a:pt x="50" y="2828"/>
                  <a:pt x="49" y="2829"/>
                </a:cubicBezTo>
                <a:cubicBezTo>
                  <a:pt x="49" y="2830"/>
                  <a:pt x="49" y="2831"/>
                  <a:pt x="49" y="2832"/>
                </a:cubicBezTo>
                <a:cubicBezTo>
                  <a:pt x="48" y="2833"/>
                  <a:pt x="48" y="2836"/>
                  <a:pt x="47" y="2836"/>
                </a:cubicBezTo>
                <a:cubicBezTo>
                  <a:pt x="47" y="2836"/>
                  <a:pt x="46" y="2836"/>
                  <a:pt x="46" y="2836"/>
                </a:cubicBezTo>
                <a:cubicBezTo>
                  <a:pt x="45" y="2836"/>
                  <a:pt x="45" y="2837"/>
                  <a:pt x="45" y="2837"/>
                </a:cubicBezTo>
                <a:cubicBezTo>
                  <a:pt x="45" y="2838"/>
                  <a:pt x="45" y="2838"/>
                  <a:pt x="46" y="2838"/>
                </a:cubicBezTo>
                <a:cubicBezTo>
                  <a:pt x="46" y="2838"/>
                  <a:pt x="46" y="2838"/>
                  <a:pt x="46" y="2839"/>
                </a:cubicBezTo>
                <a:cubicBezTo>
                  <a:pt x="47" y="2841"/>
                  <a:pt x="46" y="2843"/>
                  <a:pt x="45" y="2844"/>
                </a:cubicBezTo>
                <a:cubicBezTo>
                  <a:pt x="45" y="2844"/>
                  <a:pt x="45" y="2844"/>
                  <a:pt x="45" y="2844"/>
                </a:cubicBezTo>
                <a:cubicBezTo>
                  <a:pt x="45" y="2845"/>
                  <a:pt x="44" y="2844"/>
                  <a:pt x="44" y="2844"/>
                </a:cubicBezTo>
                <a:cubicBezTo>
                  <a:pt x="43" y="2844"/>
                  <a:pt x="39" y="2845"/>
                  <a:pt x="41" y="2847"/>
                </a:cubicBezTo>
                <a:cubicBezTo>
                  <a:pt x="41" y="2847"/>
                  <a:pt x="42" y="2847"/>
                  <a:pt x="42" y="2847"/>
                </a:cubicBezTo>
                <a:cubicBezTo>
                  <a:pt x="43" y="2847"/>
                  <a:pt x="43" y="2848"/>
                  <a:pt x="43" y="2848"/>
                </a:cubicBezTo>
                <a:cubicBezTo>
                  <a:pt x="43" y="2848"/>
                  <a:pt x="44" y="2848"/>
                  <a:pt x="44" y="2848"/>
                </a:cubicBezTo>
                <a:cubicBezTo>
                  <a:pt x="44" y="2849"/>
                  <a:pt x="44" y="2850"/>
                  <a:pt x="43" y="2851"/>
                </a:cubicBezTo>
                <a:cubicBezTo>
                  <a:pt x="43" y="2851"/>
                  <a:pt x="42" y="2851"/>
                  <a:pt x="41" y="2851"/>
                </a:cubicBezTo>
                <a:cubicBezTo>
                  <a:pt x="41" y="2852"/>
                  <a:pt x="41" y="2853"/>
                  <a:pt x="41" y="2853"/>
                </a:cubicBezTo>
                <a:cubicBezTo>
                  <a:pt x="41" y="2855"/>
                  <a:pt x="40" y="2856"/>
                  <a:pt x="40" y="2857"/>
                </a:cubicBezTo>
                <a:cubicBezTo>
                  <a:pt x="40" y="2858"/>
                  <a:pt x="40" y="2859"/>
                  <a:pt x="40" y="2860"/>
                </a:cubicBezTo>
                <a:cubicBezTo>
                  <a:pt x="40" y="2862"/>
                  <a:pt x="39" y="2866"/>
                  <a:pt x="38" y="2868"/>
                </a:cubicBezTo>
                <a:cubicBezTo>
                  <a:pt x="38" y="2869"/>
                  <a:pt x="37" y="2878"/>
                  <a:pt x="35" y="2877"/>
                </a:cubicBezTo>
                <a:cubicBezTo>
                  <a:pt x="35" y="2877"/>
                  <a:pt x="35" y="2877"/>
                  <a:pt x="34" y="2877"/>
                </a:cubicBezTo>
                <a:cubicBezTo>
                  <a:pt x="34" y="2877"/>
                  <a:pt x="34" y="2878"/>
                  <a:pt x="34" y="2878"/>
                </a:cubicBezTo>
                <a:cubicBezTo>
                  <a:pt x="34" y="2878"/>
                  <a:pt x="34" y="2882"/>
                  <a:pt x="33" y="2880"/>
                </a:cubicBezTo>
                <a:cubicBezTo>
                  <a:pt x="32" y="2880"/>
                  <a:pt x="32" y="2879"/>
                  <a:pt x="32" y="2879"/>
                </a:cubicBezTo>
                <a:cubicBezTo>
                  <a:pt x="31" y="2879"/>
                  <a:pt x="31" y="2880"/>
                  <a:pt x="31" y="2880"/>
                </a:cubicBezTo>
                <a:cubicBezTo>
                  <a:pt x="31" y="2881"/>
                  <a:pt x="32" y="2881"/>
                  <a:pt x="32" y="2882"/>
                </a:cubicBezTo>
                <a:cubicBezTo>
                  <a:pt x="32" y="2882"/>
                  <a:pt x="31" y="2883"/>
                  <a:pt x="31" y="2883"/>
                </a:cubicBezTo>
                <a:cubicBezTo>
                  <a:pt x="31" y="2884"/>
                  <a:pt x="31" y="2885"/>
                  <a:pt x="30" y="2885"/>
                </a:cubicBezTo>
                <a:cubicBezTo>
                  <a:pt x="30" y="2887"/>
                  <a:pt x="30" y="2889"/>
                  <a:pt x="29" y="2891"/>
                </a:cubicBezTo>
                <a:cubicBezTo>
                  <a:pt x="29" y="2892"/>
                  <a:pt x="29" y="2893"/>
                  <a:pt x="29" y="2894"/>
                </a:cubicBezTo>
                <a:cubicBezTo>
                  <a:pt x="28" y="2895"/>
                  <a:pt x="28" y="2895"/>
                  <a:pt x="28" y="2896"/>
                </a:cubicBezTo>
                <a:cubicBezTo>
                  <a:pt x="28" y="2896"/>
                  <a:pt x="28" y="2897"/>
                  <a:pt x="28" y="2898"/>
                </a:cubicBezTo>
                <a:cubicBezTo>
                  <a:pt x="28" y="2898"/>
                  <a:pt x="28" y="2899"/>
                  <a:pt x="29" y="2899"/>
                </a:cubicBezTo>
                <a:cubicBezTo>
                  <a:pt x="29" y="2900"/>
                  <a:pt x="29" y="2901"/>
                  <a:pt x="29" y="2901"/>
                </a:cubicBezTo>
                <a:cubicBezTo>
                  <a:pt x="29" y="2902"/>
                  <a:pt x="30" y="2902"/>
                  <a:pt x="30" y="2902"/>
                </a:cubicBezTo>
                <a:cubicBezTo>
                  <a:pt x="30" y="2902"/>
                  <a:pt x="30" y="2902"/>
                  <a:pt x="30" y="2903"/>
                </a:cubicBezTo>
                <a:cubicBezTo>
                  <a:pt x="30" y="2903"/>
                  <a:pt x="29" y="2904"/>
                  <a:pt x="29" y="2905"/>
                </a:cubicBezTo>
                <a:cubicBezTo>
                  <a:pt x="29" y="2905"/>
                  <a:pt x="29" y="2906"/>
                  <a:pt x="28" y="2906"/>
                </a:cubicBezTo>
                <a:cubicBezTo>
                  <a:pt x="27" y="2906"/>
                  <a:pt x="27" y="2906"/>
                  <a:pt x="27" y="2906"/>
                </a:cubicBezTo>
                <a:cubicBezTo>
                  <a:pt x="26" y="2907"/>
                  <a:pt x="26" y="2909"/>
                  <a:pt x="26" y="2909"/>
                </a:cubicBezTo>
                <a:cubicBezTo>
                  <a:pt x="25" y="2911"/>
                  <a:pt x="23" y="2911"/>
                  <a:pt x="23" y="2912"/>
                </a:cubicBezTo>
                <a:cubicBezTo>
                  <a:pt x="21" y="2913"/>
                  <a:pt x="21" y="2915"/>
                  <a:pt x="21" y="2917"/>
                </a:cubicBezTo>
                <a:cubicBezTo>
                  <a:pt x="21" y="2917"/>
                  <a:pt x="21" y="2918"/>
                  <a:pt x="21" y="2919"/>
                </a:cubicBezTo>
                <a:cubicBezTo>
                  <a:pt x="21" y="2920"/>
                  <a:pt x="21" y="2920"/>
                  <a:pt x="21" y="2921"/>
                </a:cubicBezTo>
                <a:cubicBezTo>
                  <a:pt x="22" y="2923"/>
                  <a:pt x="20" y="2925"/>
                  <a:pt x="20" y="2926"/>
                </a:cubicBezTo>
                <a:cubicBezTo>
                  <a:pt x="19" y="2928"/>
                  <a:pt x="18" y="2930"/>
                  <a:pt x="18" y="2932"/>
                </a:cubicBezTo>
                <a:cubicBezTo>
                  <a:pt x="18" y="2934"/>
                  <a:pt x="17" y="2935"/>
                  <a:pt x="17" y="2936"/>
                </a:cubicBezTo>
                <a:cubicBezTo>
                  <a:pt x="13" y="2950"/>
                  <a:pt x="4" y="2961"/>
                  <a:pt x="1" y="2975"/>
                </a:cubicBezTo>
                <a:cubicBezTo>
                  <a:pt x="0" y="2979"/>
                  <a:pt x="0" y="2983"/>
                  <a:pt x="1" y="2987"/>
                </a:cubicBezTo>
                <a:cubicBezTo>
                  <a:pt x="1" y="2988"/>
                  <a:pt x="1" y="2991"/>
                  <a:pt x="1" y="2992"/>
                </a:cubicBezTo>
                <a:cubicBezTo>
                  <a:pt x="2" y="2993"/>
                  <a:pt x="4" y="2994"/>
                  <a:pt x="5" y="2993"/>
                </a:cubicBezTo>
                <a:cubicBezTo>
                  <a:pt x="5" y="2993"/>
                  <a:pt x="6" y="2993"/>
                  <a:pt x="6" y="2993"/>
                </a:cubicBezTo>
                <a:cubicBezTo>
                  <a:pt x="7" y="2993"/>
                  <a:pt x="7" y="2994"/>
                  <a:pt x="7" y="2994"/>
                </a:cubicBezTo>
                <a:cubicBezTo>
                  <a:pt x="8" y="2995"/>
                  <a:pt x="9" y="2994"/>
                  <a:pt x="9" y="2994"/>
                </a:cubicBezTo>
                <a:cubicBezTo>
                  <a:pt x="10" y="2994"/>
                  <a:pt x="10" y="2996"/>
                  <a:pt x="11" y="2996"/>
                </a:cubicBezTo>
                <a:cubicBezTo>
                  <a:pt x="12" y="2997"/>
                  <a:pt x="13" y="2996"/>
                  <a:pt x="14" y="2997"/>
                </a:cubicBezTo>
                <a:cubicBezTo>
                  <a:pt x="14" y="2997"/>
                  <a:pt x="15" y="2997"/>
                  <a:pt x="15" y="2997"/>
                </a:cubicBezTo>
                <a:cubicBezTo>
                  <a:pt x="16" y="2998"/>
                  <a:pt x="17" y="2998"/>
                  <a:pt x="18" y="2998"/>
                </a:cubicBezTo>
                <a:cubicBezTo>
                  <a:pt x="19" y="2998"/>
                  <a:pt x="20" y="2999"/>
                  <a:pt x="22" y="2999"/>
                </a:cubicBezTo>
                <a:cubicBezTo>
                  <a:pt x="24" y="2999"/>
                  <a:pt x="27" y="2999"/>
                  <a:pt x="30" y="2999"/>
                </a:cubicBezTo>
                <a:cubicBezTo>
                  <a:pt x="31" y="2999"/>
                  <a:pt x="32" y="2999"/>
                  <a:pt x="33" y="2999"/>
                </a:cubicBezTo>
                <a:cubicBezTo>
                  <a:pt x="34" y="2999"/>
                  <a:pt x="34" y="2999"/>
                  <a:pt x="35" y="2998"/>
                </a:cubicBezTo>
                <a:cubicBezTo>
                  <a:pt x="35" y="2998"/>
                  <a:pt x="35" y="2998"/>
                  <a:pt x="36" y="2998"/>
                </a:cubicBezTo>
                <a:cubicBezTo>
                  <a:pt x="38" y="2998"/>
                  <a:pt x="39" y="2999"/>
                  <a:pt x="41" y="2999"/>
                </a:cubicBezTo>
                <a:cubicBezTo>
                  <a:pt x="43" y="3000"/>
                  <a:pt x="45" y="2999"/>
                  <a:pt x="46" y="2999"/>
                </a:cubicBezTo>
                <a:cubicBezTo>
                  <a:pt x="47" y="2999"/>
                  <a:pt x="47" y="2999"/>
                  <a:pt x="47" y="2999"/>
                </a:cubicBezTo>
                <a:cubicBezTo>
                  <a:pt x="48" y="2998"/>
                  <a:pt x="48" y="2998"/>
                  <a:pt x="48" y="2998"/>
                </a:cubicBezTo>
                <a:cubicBezTo>
                  <a:pt x="53" y="2991"/>
                  <a:pt x="54" y="2982"/>
                  <a:pt x="58" y="2974"/>
                </a:cubicBezTo>
                <a:cubicBezTo>
                  <a:pt x="60" y="2970"/>
                  <a:pt x="61" y="2965"/>
                  <a:pt x="63" y="2960"/>
                </a:cubicBezTo>
                <a:cubicBezTo>
                  <a:pt x="64" y="2958"/>
                  <a:pt x="64" y="2955"/>
                  <a:pt x="65" y="2953"/>
                </a:cubicBezTo>
                <a:cubicBezTo>
                  <a:pt x="66" y="2950"/>
                  <a:pt x="66" y="2948"/>
                  <a:pt x="67" y="2946"/>
                </a:cubicBezTo>
                <a:cubicBezTo>
                  <a:pt x="67" y="2944"/>
                  <a:pt x="68" y="2942"/>
                  <a:pt x="68" y="2940"/>
                </a:cubicBezTo>
                <a:cubicBezTo>
                  <a:pt x="69" y="2937"/>
                  <a:pt x="70" y="2935"/>
                  <a:pt x="70" y="2932"/>
                </a:cubicBezTo>
                <a:cubicBezTo>
                  <a:pt x="70" y="2930"/>
                  <a:pt x="69" y="2929"/>
                  <a:pt x="70" y="2928"/>
                </a:cubicBezTo>
                <a:cubicBezTo>
                  <a:pt x="70" y="2926"/>
                  <a:pt x="71" y="2925"/>
                  <a:pt x="71" y="2924"/>
                </a:cubicBezTo>
                <a:cubicBezTo>
                  <a:pt x="83" y="2889"/>
                  <a:pt x="110" y="2803"/>
                  <a:pt x="114" y="2786"/>
                </a:cubicBezTo>
                <a:cubicBezTo>
                  <a:pt x="115" y="2783"/>
                  <a:pt x="117" y="2775"/>
                  <a:pt x="119" y="2769"/>
                </a:cubicBezTo>
                <a:cubicBezTo>
                  <a:pt x="121" y="2763"/>
                  <a:pt x="123" y="2754"/>
                  <a:pt x="125" y="2749"/>
                </a:cubicBezTo>
                <a:cubicBezTo>
                  <a:pt x="132" y="2721"/>
                  <a:pt x="135" y="2710"/>
                  <a:pt x="144" y="2681"/>
                </a:cubicBezTo>
                <a:cubicBezTo>
                  <a:pt x="145" y="2679"/>
                  <a:pt x="145" y="2676"/>
                  <a:pt x="146" y="2674"/>
                </a:cubicBezTo>
                <a:cubicBezTo>
                  <a:pt x="146" y="2673"/>
                  <a:pt x="147" y="2672"/>
                  <a:pt x="147" y="2671"/>
                </a:cubicBezTo>
                <a:cubicBezTo>
                  <a:pt x="147" y="2670"/>
                  <a:pt x="147" y="2669"/>
                  <a:pt x="147" y="2669"/>
                </a:cubicBezTo>
                <a:cubicBezTo>
                  <a:pt x="147" y="2667"/>
                  <a:pt x="147" y="2667"/>
                  <a:pt x="148" y="2666"/>
                </a:cubicBezTo>
                <a:cubicBezTo>
                  <a:pt x="149" y="2666"/>
                  <a:pt x="150" y="2665"/>
                  <a:pt x="149" y="2664"/>
                </a:cubicBezTo>
                <a:cubicBezTo>
                  <a:pt x="149" y="2663"/>
                  <a:pt x="149" y="2663"/>
                  <a:pt x="149" y="2663"/>
                </a:cubicBezTo>
                <a:cubicBezTo>
                  <a:pt x="148" y="2662"/>
                  <a:pt x="150" y="2660"/>
                  <a:pt x="150" y="2658"/>
                </a:cubicBezTo>
                <a:cubicBezTo>
                  <a:pt x="150" y="2657"/>
                  <a:pt x="151" y="2655"/>
                  <a:pt x="151" y="2653"/>
                </a:cubicBezTo>
                <a:cubicBezTo>
                  <a:pt x="152" y="2650"/>
                  <a:pt x="154" y="2647"/>
                  <a:pt x="155" y="2644"/>
                </a:cubicBezTo>
                <a:cubicBezTo>
                  <a:pt x="158" y="2634"/>
                  <a:pt x="160" y="2625"/>
                  <a:pt x="160" y="2624"/>
                </a:cubicBezTo>
                <a:cubicBezTo>
                  <a:pt x="160" y="2623"/>
                  <a:pt x="160" y="2623"/>
                  <a:pt x="160" y="2622"/>
                </a:cubicBezTo>
                <a:cubicBezTo>
                  <a:pt x="161" y="2622"/>
                  <a:pt x="162" y="2621"/>
                  <a:pt x="162" y="2620"/>
                </a:cubicBezTo>
                <a:cubicBezTo>
                  <a:pt x="162" y="2618"/>
                  <a:pt x="163" y="2617"/>
                  <a:pt x="163" y="2616"/>
                </a:cubicBezTo>
                <a:cubicBezTo>
                  <a:pt x="164" y="2614"/>
                  <a:pt x="164" y="2612"/>
                  <a:pt x="165" y="2610"/>
                </a:cubicBezTo>
                <a:cubicBezTo>
                  <a:pt x="166" y="2606"/>
                  <a:pt x="167" y="2603"/>
                  <a:pt x="168" y="2599"/>
                </a:cubicBezTo>
                <a:cubicBezTo>
                  <a:pt x="174" y="2582"/>
                  <a:pt x="179" y="2566"/>
                  <a:pt x="184" y="2549"/>
                </a:cubicBezTo>
                <a:cubicBezTo>
                  <a:pt x="186" y="2542"/>
                  <a:pt x="189" y="2535"/>
                  <a:pt x="191" y="2527"/>
                </a:cubicBezTo>
                <a:cubicBezTo>
                  <a:pt x="193" y="2522"/>
                  <a:pt x="194" y="2517"/>
                  <a:pt x="196" y="2511"/>
                </a:cubicBezTo>
                <a:cubicBezTo>
                  <a:pt x="198" y="2506"/>
                  <a:pt x="199" y="2501"/>
                  <a:pt x="201" y="2496"/>
                </a:cubicBezTo>
                <a:cubicBezTo>
                  <a:pt x="202" y="2493"/>
                  <a:pt x="202" y="2491"/>
                  <a:pt x="203" y="2489"/>
                </a:cubicBezTo>
                <a:cubicBezTo>
                  <a:pt x="203" y="2488"/>
                  <a:pt x="204" y="2487"/>
                  <a:pt x="204" y="2486"/>
                </a:cubicBezTo>
                <a:cubicBezTo>
                  <a:pt x="204" y="2485"/>
                  <a:pt x="205" y="2483"/>
                  <a:pt x="205" y="2483"/>
                </a:cubicBezTo>
                <a:cubicBezTo>
                  <a:pt x="205" y="2482"/>
                  <a:pt x="205" y="2482"/>
                  <a:pt x="205" y="2481"/>
                </a:cubicBezTo>
                <a:cubicBezTo>
                  <a:pt x="205" y="2481"/>
                  <a:pt x="205" y="2481"/>
                  <a:pt x="205" y="2481"/>
                </a:cubicBezTo>
                <a:cubicBezTo>
                  <a:pt x="206" y="2480"/>
                  <a:pt x="204" y="2479"/>
                  <a:pt x="205" y="2478"/>
                </a:cubicBezTo>
                <a:cubicBezTo>
                  <a:pt x="205" y="2477"/>
                  <a:pt x="206" y="2477"/>
                  <a:pt x="207" y="2476"/>
                </a:cubicBezTo>
                <a:cubicBezTo>
                  <a:pt x="208" y="2475"/>
                  <a:pt x="208" y="2473"/>
                  <a:pt x="208" y="2471"/>
                </a:cubicBezTo>
                <a:cubicBezTo>
                  <a:pt x="209" y="2469"/>
                  <a:pt x="209" y="2467"/>
                  <a:pt x="210" y="2465"/>
                </a:cubicBezTo>
                <a:cubicBezTo>
                  <a:pt x="210" y="2464"/>
                  <a:pt x="213" y="2457"/>
                  <a:pt x="212" y="2457"/>
                </a:cubicBezTo>
                <a:cubicBezTo>
                  <a:pt x="211" y="2456"/>
                  <a:pt x="211" y="2456"/>
                  <a:pt x="210" y="2456"/>
                </a:cubicBezTo>
                <a:cubicBezTo>
                  <a:pt x="210" y="2456"/>
                  <a:pt x="211" y="2453"/>
                  <a:pt x="211" y="2452"/>
                </a:cubicBezTo>
                <a:cubicBezTo>
                  <a:pt x="211" y="2452"/>
                  <a:pt x="212" y="2448"/>
                  <a:pt x="213" y="2449"/>
                </a:cubicBezTo>
                <a:cubicBezTo>
                  <a:pt x="214" y="2449"/>
                  <a:pt x="214" y="2448"/>
                  <a:pt x="214" y="2447"/>
                </a:cubicBezTo>
                <a:cubicBezTo>
                  <a:pt x="214" y="2446"/>
                  <a:pt x="213" y="2447"/>
                  <a:pt x="213" y="2445"/>
                </a:cubicBezTo>
                <a:cubicBezTo>
                  <a:pt x="213" y="2445"/>
                  <a:pt x="213" y="2444"/>
                  <a:pt x="214" y="2443"/>
                </a:cubicBezTo>
                <a:cubicBezTo>
                  <a:pt x="214" y="2443"/>
                  <a:pt x="215" y="2443"/>
                  <a:pt x="216" y="2443"/>
                </a:cubicBezTo>
                <a:cubicBezTo>
                  <a:pt x="218" y="2441"/>
                  <a:pt x="218" y="2438"/>
                  <a:pt x="219" y="2436"/>
                </a:cubicBezTo>
                <a:cubicBezTo>
                  <a:pt x="219" y="2435"/>
                  <a:pt x="220" y="2433"/>
                  <a:pt x="219" y="2431"/>
                </a:cubicBezTo>
                <a:cubicBezTo>
                  <a:pt x="218" y="2430"/>
                  <a:pt x="219" y="2429"/>
                  <a:pt x="220" y="2428"/>
                </a:cubicBezTo>
                <a:cubicBezTo>
                  <a:pt x="221" y="2427"/>
                  <a:pt x="221" y="2425"/>
                  <a:pt x="222" y="2424"/>
                </a:cubicBezTo>
                <a:cubicBezTo>
                  <a:pt x="223" y="2422"/>
                  <a:pt x="222" y="2421"/>
                  <a:pt x="222" y="2419"/>
                </a:cubicBezTo>
                <a:cubicBezTo>
                  <a:pt x="222" y="2418"/>
                  <a:pt x="222" y="2417"/>
                  <a:pt x="222" y="2416"/>
                </a:cubicBezTo>
                <a:cubicBezTo>
                  <a:pt x="223" y="2416"/>
                  <a:pt x="223" y="2415"/>
                  <a:pt x="224" y="2415"/>
                </a:cubicBezTo>
                <a:cubicBezTo>
                  <a:pt x="224" y="2414"/>
                  <a:pt x="224" y="2414"/>
                  <a:pt x="225" y="2413"/>
                </a:cubicBezTo>
                <a:cubicBezTo>
                  <a:pt x="226" y="2412"/>
                  <a:pt x="226" y="2411"/>
                  <a:pt x="227" y="2410"/>
                </a:cubicBezTo>
                <a:cubicBezTo>
                  <a:pt x="227" y="2408"/>
                  <a:pt x="228" y="2406"/>
                  <a:pt x="229" y="2404"/>
                </a:cubicBezTo>
                <a:cubicBezTo>
                  <a:pt x="230" y="2399"/>
                  <a:pt x="232" y="2394"/>
                  <a:pt x="234" y="2388"/>
                </a:cubicBezTo>
                <a:cubicBezTo>
                  <a:pt x="235" y="2386"/>
                  <a:pt x="235" y="2384"/>
                  <a:pt x="236" y="2381"/>
                </a:cubicBezTo>
                <a:cubicBezTo>
                  <a:pt x="236" y="2380"/>
                  <a:pt x="237" y="2378"/>
                  <a:pt x="237" y="2376"/>
                </a:cubicBezTo>
                <a:cubicBezTo>
                  <a:pt x="237" y="2375"/>
                  <a:pt x="236" y="2374"/>
                  <a:pt x="236" y="2373"/>
                </a:cubicBezTo>
                <a:cubicBezTo>
                  <a:pt x="236" y="2372"/>
                  <a:pt x="236" y="2371"/>
                  <a:pt x="237" y="2370"/>
                </a:cubicBezTo>
                <a:cubicBezTo>
                  <a:pt x="237" y="2370"/>
                  <a:pt x="238" y="2368"/>
                  <a:pt x="238" y="2366"/>
                </a:cubicBezTo>
                <a:cubicBezTo>
                  <a:pt x="238" y="2365"/>
                  <a:pt x="238" y="2364"/>
                  <a:pt x="239" y="2363"/>
                </a:cubicBezTo>
                <a:cubicBezTo>
                  <a:pt x="239" y="2363"/>
                  <a:pt x="239" y="2363"/>
                  <a:pt x="240" y="2363"/>
                </a:cubicBezTo>
                <a:cubicBezTo>
                  <a:pt x="240" y="2363"/>
                  <a:pt x="240" y="2363"/>
                  <a:pt x="240" y="2363"/>
                </a:cubicBezTo>
                <a:cubicBezTo>
                  <a:pt x="241" y="2363"/>
                  <a:pt x="241" y="2363"/>
                  <a:pt x="241" y="2363"/>
                </a:cubicBezTo>
                <a:cubicBezTo>
                  <a:pt x="242" y="2361"/>
                  <a:pt x="242" y="2360"/>
                  <a:pt x="243" y="2359"/>
                </a:cubicBezTo>
                <a:cubicBezTo>
                  <a:pt x="244" y="2356"/>
                  <a:pt x="245" y="2353"/>
                  <a:pt x="245" y="2352"/>
                </a:cubicBezTo>
                <a:cubicBezTo>
                  <a:pt x="246" y="2351"/>
                  <a:pt x="247" y="2346"/>
                  <a:pt x="249" y="2341"/>
                </a:cubicBezTo>
                <a:cubicBezTo>
                  <a:pt x="249" y="2339"/>
                  <a:pt x="250" y="2337"/>
                  <a:pt x="250" y="2336"/>
                </a:cubicBezTo>
                <a:cubicBezTo>
                  <a:pt x="250" y="2335"/>
                  <a:pt x="251" y="2332"/>
                  <a:pt x="251" y="2332"/>
                </a:cubicBezTo>
                <a:cubicBezTo>
                  <a:pt x="250" y="2331"/>
                  <a:pt x="250" y="2331"/>
                  <a:pt x="250" y="2330"/>
                </a:cubicBezTo>
                <a:cubicBezTo>
                  <a:pt x="250" y="2330"/>
                  <a:pt x="250" y="2329"/>
                  <a:pt x="251" y="2329"/>
                </a:cubicBezTo>
                <a:cubicBezTo>
                  <a:pt x="251" y="2329"/>
                  <a:pt x="251" y="2329"/>
                  <a:pt x="251" y="2329"/>
                </a:cubicBezTo>
                <a:cubicBezTo>
                  <a:pt x="253" y="2329"/>
                  <a:pt x="254" y="2324"/>
                  <a:pt x="254" y="2323"/>
                </a:cubicBezTo>
                <a:cubicBezTo>
                  <a:pt x="256" y="2317"/>
                  <a:pt x="257" y="2314"/>
                  <a:pt x="259" y="2311"/>
                </a:cubicBezTo>
                <a:cubicBezTo>
                  <a:pt x="261" y="2307"/>
                  <a:pt x="265" y="2295"/>
                  <a:pt x="267" y="2287"/>
                </a:cubicBezTo>
                <a:cubicBezTo>
                  <a:pt x="267" y="2286"/>
                  <a:pt x="267" y="2285"/>
                  <a:pt x="267" y="2284"/>
                </a:cubicBezTo>
                <a:cubicBezTo>
                  <a:pt x="267" y="2283"/>
                  <a:pt x="267" y="2283"/>
                  <a:pt x="267" y="2282"/>
                </a:cubicBezTo>
                <a:cubicBezTo>
                  <a:pt x="267" y="2282"/>
                  <a:pt x="267" y="2281"/>
                  <a:pt x="267" y="2281"/>
                </a:cubicBezTo>
                <a:cubicBezTo>
                  <a:pt x="267" y="2281"/>
                  <a:pt x="268" y="2280"/>
                  <a:pt x="268" y="2280"/>
                </a:cubicBezTo>
                <a:cubicBezTo>
                  <a:pt x="268" y="2280"/>
                  <a:pt x="268" y="2279"/>
                  <a:pt x="268" y="2279"/>
                </a:cubicBezTo>
                <a:cubicBezTo>
                  <a:pt x="268" y="2278"/>
                  <a:pt x="269" y="2278"/>
                  <a:pt x="269" y="2277"/>
                </a:cubicBezTo>
                <a:cubicBezTo>
                  <a:pt x="270" y="2276"/>
                  <a:pt x="270" y="2275"/>
                  <a:pt x="270" y="2274"/>
                </a:cubicBezTo>
                <a:cubicBezTo>
                  <a:pt x="270" y="2273"/>
                  <a:pt x="271" y="2272"/>
                  <a:pt x="270" y="2271"/>
                </a:cubicBezTo>
                <a:cubicBezTo>
                  <a:pt x="270" y="2269"/>
                  <a:pt x="270" y="2268"/>
                  <a:pt x="270" y="2267"/>
                </a:cubicBezTo>
                <a:cubicBezTo>
                  <a:pt x="271" y="2267"/>
                  <a:pt x="272" y="2266"/>
                  <a:pt x="272" y="2265"/>
                </a:cubicBezTo>
                <a:cubicBezTo>
                  <a:pt x="272" y="2265"/>
                  <a:pt x="272" y="2265"/>
                  <a:pt x="273" y="2265"/>
                </a:cubicBezTo>
                <a:cubicBezTo>
                  <a:pt x="273" y="2265"/>
                  <a:pt x="273" y="2264"/>
                  <a:pt x="273" y="2264"/>
                </a:cubicBezTo>
                <a:cubicBezTo>
                  <a:pt x="273" y="2264"/>
                  <a:pt x="273" y="2264"/>
                  <a:pt x="272" y="2264"/>
                </a:cubicBezTo>
                <a:cubicBezTo>
                  <a:pt x="271" y="2262"/>
                  <a:pt x="272" y="2260"/>
                  <a:pt x="273" y="2258"/>
                </a:cubicBezTo>
                <a:cubicBezTo>
                  <a:pt x="273" y="2258"/>
                  <a:pt x="273" y="2257"/>
                  <a:pt x="274" y="2257"/>
                </a:cubicBezTo>
                <a:cubicBezTo>
                  <a:pt x="274" y="2256"/>
                  <a:pt x="275" y="2257"/>
                  <a:pt x="275" y="2256"/>
                </a:cubicBezTo>
                <a:cubicBezTo>
                  <a:pt x="276" y="2256"/>
                  <a:pt x="276" y="2255"/>
                  <a:pt x="275" y="2255"/>
                </a:cubicBezTo>
                <a:cubicBezTo>
                  <a:pt x="275" y="2253"/>
                  <a:pt x="277" y="2253"/>
                  <a:pt x="277" y="2251"/>
                </a:cubicBezTo>
                <a:cubicBezTo>
                  <a:pt x="278" y="2250"/>
                  <a:pt x="278" y="2249"/>
                  <a:pt x="279" y="2248"/>
                </a:cubicBezTo>
                <a:cubicBezTo>
                  <a:pt x="279" y="2246"/>
                  <a:pt x="281" y="2242"/>
                  <a:pt x="280" y="2241"/>
                </a:cubicBezTo>
                <a:cubicBezTo>
                  <a:pt x="280" y="2241"/>
                  <a:pt x="280" y="2241"/>
                  <a:pt x="279" y="2241"/>
                </a:cubicBezTo>
                <a:cubicBezTo>
                  <a:pt x="278" y="2240"/>
                  <a:pt x="279" y="2238"/>
                  <a:pt x="279" y="2237"/>
                </a:cubicBezTo>
                <a:cubicBezTo>
                  <a:pt x="280" y="2236"/>
                  <a:pt x="280" y="2235"/>
                  <a:pt x="281" y="2234"/>
                </a:cubicBezTo>
                <a:cubicBezTo>
                  <a:pt x="282" y="2234"/>
                  <a:pt x="282" y="2234"/>
                  <a:pt x="283" y="2233"/>
                </a:cubicBezTo>
                <a:cubicBezTo>
                  <a:pt x="283" y="2233"/>
                  <a:pt x="283" y="2232"/>
                  <a:pt x="282" y="2232"/>
                </a:cubicBezTo>
                <a:cubicBezTo>
                  <a:pt x="282" y="2231"/>
                  <a:pt x="282" y="2231"/>
                  <a:pt x="282" y="2231"/>
                </a:cubicBezTo>
                <a:cubicBezTo>
                  <a:pt x="282" y="2231"/>
                  <a:pt x="282" y="2231"/>
                  <a:pt x="282" y="2231"/>
                </a:cubicBezTo>
                <a:cubicBezTo>
                  <a:pt x="282" y="2230"/>
                  <a:pt x="282" y="2229"/>
                  <a:pt x="282" y="2229"/>
                </a:cubicBezTo>
                <a:cubicBezTo>
                  <a:pt x="283" y="2228"/>
                  <a:pt x="283" y="2228"/>
                  <a:pt x="284" y="2228"/>
                </a:cubicBezTo>
                <a:cubicBezTo>
                  <a:pt x="284" y="2228"/>
                  <a:pt x="284" y="2228"/>
                  <a:pt x="285" y="2227"/>
                </a:cubicBezTo>
                <a:cubicBezTo>
                  <a:pt x="285" y="2227"/>
                  <a:pt x="285" y="2226"/>
                  <a:pt x="286" y="2225"/>
                </a:cubicBezTo>
                <a:cubicBezTo>
                  <a:pt x="287" y="2221"/>
                  <a:pt x="291" y="2210"/>
                  <a:pt x="292" y="2207"/>
                </a:cubicBezTo>
                <a:cubicBezTo>
                  <a:pt x="292" y="2206"/>
                  <a:pt x="293" y="2204"/>
                  <a:pt x="294" y="2202"/>
                </a:cubicBezTo>
                <a:cubicBezTo>
                  <a:pt x="294" y="2201"/>
                  <a:pt x="295" y="2198"/>
                  <a:pt x="296" y="2196"/>
                </a:cubicBezTo>
                <a:cubicBezTo>
                  <a:pt x="297" y="2194"/>
                  <a:pt x="298" y="2190"/>
                  <a:pt x="299" y="2188"/>
                </a:cubicBezTo>
                <a:cubicBezTo>
                  <a:pt x="301" y="2185"/>
                  <a:pt x="303" y="2182"/>
                  <a:pt x="303" y="2178"/>
                </a:cubicBezTo>
                <a:cubicBezTo>
                  <a:pt x="302" y="2177"/>
                  <a:pt x="302" y="2177"/>
                  <a:pt x="303" y="2176"/>
                </a:cubicBezTo>
                <a:cubicBezTo>
                  <a:pt x="303" y="2173"/>
                  <a:pt x="304" y="2171"/>
                  <a:pt x="304" y="2169"/>
                </a:cubicBezTo>
                <a:cubicBezTo>
                  <a:pt x="306" y="2165"/>
                  <a:pt x="307" y="2159"/>
                  <a:pt x="308" y="2156"/>
                </a:cubicBezTo>
                <a:cubicBezTo>
                  <a:pt x="309" y="2154"/>
                  <a:pt x="309" y="2153"/>
                  <a:pt x="309" y="2151"/>
                </a:cubicBezTo>
                <a:cubicBezTo>
                  <a:pt x="309" y="2151"/>
                  <a:pt x="309" y="2150"/>
                  <a:pt x="309" y="2150"/>
                </a:cubicBezTo>
                <a:cubicBezTo>
                  <a:pt x="308" y="2150"/>
                  <a:pt x="308" y="2150"/>
                  <a:pt x="307" y="2150"/>
                </a:cubicBezTo>
                <a:cubicBezTo>
                  <a:pt x="307" y="2150"/>
                  <a:pt x="308" y="2149"/>
                  <a:pt x="308" y="2148"/>
                </a:cubicBezTo>
                <a:cubicBezTo>
                  <a:pt x="308" y="2148"/>
                  <a:pt x="308" y="2147"/>
                  <a:pt x="309" y="2148"/>
                </a:cubicBezTo>
                <a:cubicBezTo>
                  <a:pt x="309" y="2148"/>
                  <a:pt x="309" y="2148"/>
                  <a:pt x="309" y="2148"/>
                </a:cubicBezTo>
                <a:cubicBezTo>
                  <a:pt x="309" y="2148"/>
                  <a:pt x="309" y="2148"/>
                  <a:pt x="310" y="2148"/>
                </a:cubicBezTo>
                <a:cubicBezTo>
                  <a:pt x="311" y="2147"/>
                  <a:pt x="311" y="2145"/>
                  <a:pt x="311" y="2144"/>
                </a:cubicBezTo>
                <a:cubicBezTo>
                  <a:pt x="311" y="2143"/>
                  <a:pt x="311" y="2141"/>
                  <a:pt x="312" y="2141"/>
                </a:cubicBezTo>
                <a:cubicBezTo>
                  <a:pt x="312" y="2140"/>
                  <a:pt x="312" y="2139"/>
                  <a:pt x="312" y="2139"/>
                </a:cubicBezTo>
                <a:cubicBezTo>
                  <a:pt x="310" y="2138"/>
                  <a:pt x="310" y="2138"/>
                  <a:pt x="311" y="2137"/>
                </a:cubicBezTo>
                <a:cubicBezTo>
                  <a:pt x="311" y="2137"/>
                  <a:pt x="312" y="2137"/>
                  <a:pt x="312" y="2136"/>
                </a:cubicBezTo>
                <a:cubicBezTo>
                  <a:pt x="313" y="2136"/>
                  <a:pt x="314" y="2136"/>
                  <a:pt x="314" y="2136"/>
                </a:cubicBezTo>
                <a:cubicBezTo>
                  <a:pt x="314" y="2135"/>
                  <a:pt x="315" y="2133"/>
                  <a:pt x="316" y="2133"/>
                </a:cubicBezTo>
                <a:cubicBezTo>
                  <a:pt x="316" y="2133"/>
                  <a:pt x="316" y="2133"/>
                  <a:pt x="316" y="2133"/>
                </a:cubicBezTo>
                <a:cubicBezTo>
                  <a:pt x="317" y="2132"/>
                  <a:pt x="317" y="2132"/>
                  <a:pt x="317" y="2132"/>
                </a:cubicBezTo>
                <a:cubicBezTo>
                  <a:pt x="317" y="2131"/>
                  <a:pt x="316" y="2130"/>
                  <a:pt x="316" y="2129"/>
                </a:cubicBezTo>
                <a:cubicBezTo>
                  <a:pt x="316" y="2128"/>
                  <a:pt x="317" y="2127"/>
                  <a:pt x="317" y="2126"/>
                </a:cubicBezTo>
                <a:cubicBezTo>
                  <a:pt x="318" y="2123"/>
                  <a:pt x="318" y="2121"/>
                  <a:pt x="319" y="2119"/>
                </a:cubicBezTo>
                <a:cubicBezTo>
                  <a:pt x="321" y="2114"/>
                  <a:pt x="322" y="2109"/>
                  <a:pt x="324" y="2104"/>
                </a:cubicBezTo>
                <a:cubicBezTo>
                  <a:pt x="328" y="2091"/>
                  <a:pt x="332" y="2078"/>
                  <a:pt x="333" y="2075"/>
                </a:cubicBezTo>
                <a:cubicBezTo>
                  <a:pt x="334" y="2072"/>
                  <a:pt x="337" y="2062"/>
                  <a:pt x="340" y="2051"/>
                </a:cubicBezTo>
                <a:cubicBezTo>
                  <a:pt x="343" y="2041"/>
                  <a:pt x="348" y="2024"/>
                  <a:pt x="351" y="2013"/>
                </a:cubicBezTo>
                <a:cubicBezTo>
                  <a:pt x="355" y="2003"/>
                  <a:pt x="363" y="1975"/>
                  <a:pt x="371" y="1952"/>
                </a:cubicBezTo>
                <a:cubicBezTo>
                  <a:pt x="373" y="1944"/>
                  <a:pt x="375" y="1936"/>
                  <a:pt x="378" y="1928"/>
                </a:cubicBezTo>
                <a:cubicBezTo>
                  <a:pt x="379" y="1924"/>
                  <a:pt x="380" y="1920"/>
                  <a:pt x="381" y="1916"/>
                </a:cubicBezTo>
                <a:cubicBezTo>
                  <a:pt x="382" y="1914"/>
                  <a:pt x="383" y="1912"/>
                  <a:pt x="383" y="1911"/>
                </a:cubicBezTo>
                <a:cubicBezTo>
                  <a:pt x="383" y="1909"/>
                  <a:pt x="382" y="1908"/>
                  <a:pt x="384" y="1907"/>
                </a:cubicBezTo>
                <a:cubicBezTo>
                  <a:pt x="385" y="1906"/>
                  <a:pt x="385" y="1904"/>
                  <a:pt x="385" y="1903"/>
                </a:cubicBezTo>
                <a:cubicBezTo>
                  <a:pt x="386" y="1901"/>
                  <a:pt x="386" y="1900"/>
                  <a:pt x="387" y="1898"/>
                </a:cubicBezTo>
                <a:cubicBezTo>
                  <a:pt x="388" y="1895"/>
                  <a:pt x="389" y="1891"/>
                  <a:pt x="390" y="1888"/>
                </a:cubicBezTo>
                <a:cubicBezTo>
                  <a:pt x="391" y="1884"/>
                  <a:pt x="392" y="1881"/>
                  <a:pt x="393" y="1877"/>
                </a:cubicBezTo>
                <a:cubicBezTo>
                  <a:pt x="394" y="1875"/>
                  <a:pt x="395" y="1871"/>
                  <a:pt x="395" y="1869"/>
                </a:cubicBezTo>
                <a:cubicBezTo>
                  <a:pt x="394" y="1868"/>
                  <a:pt x="395" y="1867"/>
                  <a:pt x="396" y="1867"/>
                </a:cubicBezTo>
                <a:cubicBezTo>
                  <a:pt x="397" y="1865"/>
                  <a:pt x="397" y="1862"/>
                  <a:pt x="398" y="1860"/>
                </a:cubicBezTo>
                <a:cubicBezTo>
                  <a:pt x="399" y="1856"/>
                  <a:pt x="402" y="1846"/>
                  <a:pt x="405" y="1838"/>
                </a:cubicBezTo>
                <a:cubicBezTo>
                  <a:pt x="406" y="1833"/>
                  <a:pt x="407" y="1829"/>
                  <a:pt x="409" y="1824"/>
                </a:cubicBezTo>
                <a:cubicBezTo>
                  <a:pt x="409" y="1823"/>
                  <a:pt x="410" y="1823"/>
                  <a:pt x="410" y="1822"/>
                </a:cubicBezTo>
                <a:cubicBezTo>
                  <a:pt x="410" y="1822"/>
                  <a:pt x="411" y="1822"/>
                  <a:pt x="411" y="1822"/>
                </a:cubicBezTo>
                <a:cubicBezTo>
                  <a:pt x="412" y="1821"/>
                  <a:pt x="412" y="1819"/>
                  <a:pt x="412" y="1818"/>
                </a:cubicBezTo>
                <a:cubicBezTo>
                  <a:pt x="412" y="1816"/>
                  <a:pt x="413" y="1815"/>
                  <a:pt x="413" y="1814"/>
                </a:cubicBezTo>
                <a:cubicBezTo>
                  <a:pt x="413" y="1813"/>
                  <a:pt x="413" y="1812"/>
                  <a:pt x="413" y="1811"/>
                </a:cubicBezTo>
                <a:cubicBezTo>
                  <a:pt x="413" y="1810"/>
                  <a:pt x="413" y="1809"/>
                  <a:pt x="413" y="1809"/>
                </a:cubicBezTo>
                <a:cubicBezTo>
                  <a:pt x="413" y="1808"/>
                  <a:pt x="414" y="1807"/>
                  <a:pt x="415" y="1806"/>
                </a:cubicBezTo>
                <a:cubicBezTo>
                  <a:pt x="415" y="1805"/>
                  <a:pt x="414" y="1804"/>
                  <a:pt x="415" y="1803"/>
                </a:cubicBezTo>
                <a:cubicBezTo>
                  <a:pt x="415" y="1802"/>
                  <a:pt x="415" y="1802"/>
                  <a:pt x="416" y="1802"/>
                </a:cubicBezTo>
                <a:cubicBezTo>
                  <a:pt x="417" y="1800"/>
                  <a:pt x="417" y="1797"/>
                  <a:pt x="418" y="1795"/>
                </a:cubicBezTo>
                <a:cubicBezTo>
                  <a:pt x="418" y="1793"/>
                  <a:pt x="419" y="1791"/>
                  <a:pt x="420" y="1789"/>
                </a:cubicBezTo>
                <a:cubicBezTo>
                  <a:pt x="420" y="1788"/>
                  <a:pt x="420" y="1786"/>
                  <a:pt x="421" y="1785"/>
                </a:cubicBezTo>
                <a:cubicBezTo>
                  <a:pt x="422" y="1785"/>
                  <a:pt x="423" y="1785"/>
                  <a:pt x="424" y="1785"/>
                </a:cubicBezTo>
                <a:cubicBezTo>
                  <a:pt x="424" y="1785"/>
                  <a:pt x="424" y="1785"/>
                  <a:pt x="425" y="1784"/>
                </a:cubicBezTo>
                <a:cubicBezTo>
                  <a:pt x="425" y="1784"/>
                  <a:pt x="426" y="1782"/>
                  <a:pt x="426" y="1782"/>
                </a:cubicBezTo>
                <a:cubicBezTo>
                  <a:pt x="426" y="1781"/>
                  <a:pt x="426" y="1781"/>
                  <a:pt x="426" y="1780"/>
                </a:cubicBezTo>
                <a:cubicBezTo>
                  <a:pt x="425" y="1780"/>
                  <a:pt x="425" y="1780"/>
                  <a:pt x="424" y="1780"/>
                </a:cubicBezTo>
                <a:cubicBezTo>
                  <a:pt x="424" y="1780"/>
                  <a:pt x="423" y="1780"/>
                  <a:pt x="423" y="1779"/>
                </a:cubicBezTo>
                <a:cubicBezTo>
                  <a:pt x="422" y="1777"/>
                  <a:pt x="423" y="1775"/>
                  <a:pt x="424" y="1774"/>
                </a:cubicBezTo>
                <a:cubicBezTo>
                  <a:pt x="425" y="1772"/>
                  <a:pt x="426" y="1770"/>
                  <a:pt x="428" y="1768"/>
                </a:cubicBezTo>
                <a:cubicBezTo>
                  <a:pt x="429" y="1766"/>
                  <a:pt x="431" y="1763"/>
                  <a:pt x="431" y="1761"/>
                </a:cubicBezTo>
                <a:cubicBezTo>
                  <a:pt x="431" y="1759"/>
                  <a:pt x="430" y="1757"/>
                  <a:pt x="431" y="1756"/>
                </a:cubicBezTo>
                <a:cubicBezTo>
                  <a:pt x="432" y="1755"/>
                  <a:pt x="432" y="1754"/>
                  <a:pt x="432" y="1753"/>
                </a:cubicBezTo>
                <a:cubicBezTo>
                  <a:pt x="433" y="1752"/>
                  <a:pt x="434" y="1751"/>
                  <a:pt x="434" y="1750"/>
                </a:cubicBezTo>
                <a:cubicBezTo>
                  <a:pt x="435" y="1749"/>
                  <a:pt x="436" y="1748"/>
                  <a:pt x="436" y="1747"/>
                </a:cubicBezTo>
                <a:cubicBezTo>
                  <a:pt x="437" y="1745"/>
                  <a:pt x="437" y="1744"/>
                  <a:pt x="438" y="1742"/>
                </a:cubicBezTo>
                <a:cubicBezTo>
                  <a:pt x="438" y="1740"/>
                  <a:pt x="440" y="1737"/>
                  <a:pt x="439" y="1735"/>
                </a:cubicBezTo>
                <a:cubicBezTo>
                  <a:pt x="439" y="1733"/>
                  <a:pt x="437" y="1734"/>
                  <a:pt x="437" y="1732"/>
                </a:cubicBezTo>
                <a:cubicBezTo>
                  <a:pt x="437" y="1731"/>
                  <a:pt x="438" y="1729"/>
                  <a:pt x="438" y="1728"/>
                </a:cubicBezTo>
                <a:cubicBezTo>
                  <a:pt x="438" y="1727"/>
                  <a:pt x="442" y="1719"/>
                  <a:pt x="441" y="1718"/>
                </a:cubicBezTo>
                <a:cubicBezTo>
                  <a:pt x="440" y="1718"/>
                  <a:pt x="440" y="1718"/>
                  <a:pt x="440" y="1718"/>
                </a:cubicBezTo>
                <a:cubicBezTo>
                  <a:pt x="441" y="1716"/>
                  <a:pt x="441" y="1714"/>
                  <a:pt x="442" y="1712"/>
                </a:cubicBezTo>
                <a:cubicBezTo>
                  <a:pt x="446" y="1704"/>
                  <a:pt x="449" y="1697"/>
                  <a:pt x="451" y="1688"/>
                </a:cubicBezTo>
                <a:cubicBezTo>
                  <a:pt x="452" y="1684"/>
                  <a:pt x="453" y="1681"/>
                  <a:pt x="454" y="1677"/>
                </a:cubicBezTo>
                <a:cubicBezTo>
                  <a:pt x="454" y="1677"/>
                  <a:pt x="455" y="1677"/>
                  <a:pt x="455" y="1677"/>
                </a:cubicBezTo>
                <a:cubicBezTo>
                  <a:pt x="455" y="1677"/>
                  <a:pt x="455" y="1677"/>
                  <a:pt x="455" y="1677"/>
                </a:cubicBezTo>
                <a:cubicBezTo>
                  <a:pt x="456" y="1677"/>
                  <a:pt x="456" y="1676"/>
                  <a:pt x="456" y="1675"/>
                </a:cubicBezTo>
                <a:cubicBezTo>
                  <a:pt x="455" y="1674"/>
                  <a:pt x="457" y="1673"/>
                  <a:pt x="458" y="1672"/>
                </a:cubicBezTo>
                <a:cubicBezTo>
                  <a:pt x="459" y="1671"/>
                  <a:pt x="460" y="1669"/>
                  <a:pt x="458" y="1668"/>
                </a:cubicBezTo>
                <a:cubicBezTo>
                  <a:pt x="458" y="1668"/>
                  <a:pt x="458" y="1668"/>
                  <a:pt x="458" y="1668"/>
                </a:cubicBezTo>
                <a:cubicBezTo>
                  <a:pt x="457" y="1667"/>
                  <a:pt x="458" y="1664"/>
                  <a:pt x="459" y="1663"/>
                </a:cubicBezTo>
                <a:cubicBezTo>
                  <a:pt x="459" y="1662"/>
                  <a:pt x="460" y="1660"/>
                  <a:pt x="460" y="1658"/>
                </a:cubicBezTo>
                <a:cubicBezTo>
                  <a:pt x="461" y="1653"/>
                  <a:pt x="463" y="1649"/>
                  <a:pt x="463" y="1648"/>
                </a:cubicBezTo>
                <a:cubicBezTo>
                  <a:pt x="464" y="1646"/>
                  <a:pt x="465" y="1644"/>
                  <a:pt x="466" y="1642"/>
                </a:cubicBezTo>
                <a:cubicBezTo>
                  <a:pt x="466" y="1642"/>
                  <a:pt x="466" y="1641"/>
                  <a:pt x="466" y="1641"/>
                </a:cubicBezTo>
                <a:cubicBezTo>
                  <a:pt x="467" y="1641"/>
                  <a:pt x="467" y="1641"/>
                  <a:pt x="468" y="1640"/>
                </a:cubicBezTo>
                <a:cubicBezTo>
                  <a:pt x="468" y="1639"/>
                  <a:pt x="469" y="1637"/>
                  <a:pt x="469" y="1636"/>
                </a:cubicBezTo>
                <a:cubicBezTo>
                  <a:pt x="469" y="1636"/>
                  <a:pt x="469" y="1635"/>
                  <a:pt x="469" y="1635"/>
                </a:cubicBezTo>
                <a:cubicBezTo>
                  <a:pt x="469" y="1635"/>
                  <a:pt x="468" y="1635"/>
                  <a:pt x="468" y="1634"/>
                </a:cubicBezTo>
                <a:cubicBezTo>
                  <a:pt x="468" y="1633"/>
                  <a:pt x="469" y="1632"/>
                  <a:pt x="469" y="1631"/>
                </a:cubicBezTo>
                <a:cubicBezTo>
                  <a:pt x="469" y="1629"/>
                  <a:pt x="470" y="1627"/>
                  <a:pt x="471" y="1625"/>
                </a:cubicBezTo>
                <a:cubicBezTo>
                  <a:pt x="472" y="1623"/>
                  <a:pt x="472" y="1621"/>
                  <a:pt x="472" y="1619"/>
                </a:cubicBezTo>
                <a:cubicBezTo>
                  <a:pt x="472" y="1618"/>
                  <a:pt x="471" y="1617"/>
                  <a:pt x="471" y="1616"/>
                </a:cubicBezTo>
                <a:cubicBezTo>
                  <a:pt x="472" y="1614"/>
                  <a:pt x="473" y="1613"/>
                  <a:pt x="473" y="1612"/>
                </a:cubicBezTo>
                <a:cubicBezTo>
                  <a:pt x="475" y="1608"/>
                  <a:pt x="476" y="1604"/>
                  <a:pt x="477" y="1600"/>
                </a:cubicBezTo>
                <a:cubicBezTo>
                  <a:pt x="478" y="1593"/>
                  <a:pt x="480" y="1587"/>
                  <a:pt x="481" y="1585"/>
                </a:cubicBezTo>
                <a:cubicBezTo>
                  <a:pt x="481" y="1583"/>
                  <a:pt x="482" y="1581"/>
                  <a:pt x="481" y="1579"/>
                </a:cubicBezTo>
                <a:cubicBezTo>
                  <a:pt x="481" y="1579"/>
                  <a:pt x="481" y="1579"/>
                  <a:pt x="481" y="1579"/>
                </a:cubicBezTo>
                <a:cubicBezTo>
                  <a:pt x="481" y="1579"/>
                  <a:pt x="481" y="1579"/>
                  <a:pt x="481" y="1578"/>
                </a:cubicBezTo>
                <a:cubicBezTo>
                  <a:pt x="481" y="1578"/>
                  <a:pt x="481" y="1578"/>
                  <a:pt x="482" y="1577"/>
                </a:cubicBezTo>
                <a:cubicBezTo>
                  <a:pt x="482" y="1577"/>
                  <a:pt x="482" y="1577"/>
                  <a:pt x="483" y="1576"/>
                </a:cubicBezTo>
                <a:cubicBezTo>
                  <a:pt x="485" y="1575"/>
                  <a:pt x="485" y="1571"/>
                  <a:pt x="486" y="1569"/>
                </a:cubicBezTo>
                <a:cubicBezTo>
                  <a:pt x="486" y="1566"/>
                  <a:pt x="487" y="1563"/>
                  <a:pt x="488" y="1560"/>
                </a:cubicBezTo>
                <a:cubicBezTo>
                  <a:pt x="489" y="1557"/>
                  <a:pt x="490" y="1554"/>
                  <a:pt x="492" y="1551"/>
                </a:cubicBezTo>
                <a:cubicBezTo>
                  <a:pt x="492" y="1549"/>
                  <a:pt x="493" y="1547"/>
                  <a:pt x="493" y="1546"/>
                </a:cubicBezTo>
                <a:cubicBezTo>
                  <a:pt x="493" y="1545"/>
                  <a:pt x="493" y="1544"/>
                  <a:pt x="493" y="1543"/>
                </a:cubicBezTo>
                <a:cubicBezTo>
                  <a:pt x="493" y="1542"/>
                  <a:pt x="493" y="1542"/>
                  <a:pt x="493" y="1542"/>
                </a:cubicBezTo>
                <a:cubicBezTo>
                  <a:pt x="493" y="1541"/>
                  <a:pt x="493" y="1541"/>
                  <a:pt x="493" y="1540"/>
                </a:cubicBezTo>
                <a:cubicBezTo>
                  <a:pt x="494" y="1538"/>
                  <a:pt x="496" y="1537"/>
                  <a:pt x="497" y="1535"/>
                </a:cubicBezTo>
                <a:cubicBezTo>
                  <a:pt x="498" y="1533"/>
                  <a:pt x="498" y="1530"/>
                  <a:pt x="498" y="1528"/>
                </a:cubicBezTo>
                <a:cubicBezTo>
                  <a:pt x="499" y="1526"/>
                  <a:pt x="499" y="1525"/>
                  <a:pt x="500" y="1523"/>
                </a:cubicBezTo>
                <a:cubicBezTo>
                  <a:pt x="500" y="1521"/>
                  <a:pt x="500" y="1520"/>
                  <a:pt x="500" y="1519"/>
                </a:cubicBezTo>
                <a:cubicBezTo>
                  <a:pt x="499" y="1518"/>
                  <a:pt x="499" y="1517"/>
                  <a:pt x="500" y="1516"/>
                </a:cubicBezTo>
                <a:cubicBezTo>
                  <a:pt x="500" y="1515"/>
                  <a:pt x="500" y="1514"/>
                  <a:pt x="501" y="1512"/>
                </a:cubicBezTo>
                <a:cubicBezTo>
                  <a:pt x="501" y="1511"/>
                  <a:pt x="502" y="1509"/>
                  <a:pt x="502" y="1508"/>
                </a:cubicBezTo>
                <a:cubicBezTo>
                  <a:pt x="502" y="1507"/>
                  <a:pt x="502" y="1507"/>
                  <a:pt x="502" y="1506"/>
                </a:cubicBezTo>
                <a:cubicBezTo>
                  <a:pt x="502" y="1506"/>
                  <a:pt x="502" y="1506"/>
                  <a:pt x="502" y="1506"/>
                </a:cubicBezTo>
                <a:cubicBezTo>
                  <a:pt x="501" y="1505"/>
                  <a:pt x="501" y="1505"/>
                  <a:pt x="501" y="1505"/>
                </a:cubicBezTo>
                <a:cubicBezTo>
                  <a:pt x="501" y="1504"/>
                  <a:pt x="502" y="1504"/>
                  <a:pt x="503" y="1504"/>
                </a:cubicBezTo>
                <a:cubicBezTo>
                  <a:pt x="504" y="1503"/>
                  <a:pt x="504" y="1501"/>
                  <a:pt x="505" y="1500"/>
                </a:cubicBezTo>
                <a:cubicBezTo>
                  <a:pt x="505" y="1499"/>
                  <a:pt x="506" y="1498"/>
                  <a:pt x="506" y="1497"/>
                </a:cubicBezTo>
                <a:cubicBezTo>
                  <a:pt x="506" y="1496"/>
                  <a:pt x="506" y="1496"/>
                  <a:pt x="506" y="1496"/>
                </a:cubicBezTo>
                <a:cubicBezTo>
                  <a:pt x="507" y="1494"/>
                  <a:pt x="508" y="1491"/>
                  <a:pt x="508" y="1490"/>
                </a:cubicBezTo>
                <a:cubicBezTo>
                  <a:pt x="508" y="1488"/>
                  <a:pt x="509" y="1487"/>
                  <a:pt x="509" y="1486"/>
                </a:cubicBezTo>
                <a:cubicBezTo>
                  <a:pt x="510" y="1485"/>
                  <a:pt x="510" y="1484"/>
                  <a:pt x="511" y="1483"/>
                </a:cubicBezTo>
                <a:cubicBezTo>
                  <a:pt x="512" y="1482"/>
                  <a:pt x="512" y="1482"/>
                  <a:pt x="513" y="1481"/>
                </a:cubicBezTo>
                <a:cubicBezTo>
                  <a:pt x="514" y="1479"/>
                  <a:pt x="514" y="1477"/>
                  <a:pt x="515" y="1475"/>
                </a:cubicBezTo>
                <a:cubicBezTo>
                  <a:pt x="516" y="1471"/>
                  <a:pt x="517" y="1466"/>
                  <a:pt x="518" y="1461"/>
                </a:cubicBezTo>
                <a:cubicBezTo>
                  <a:pt x="519" y="1461"/>
                  <a:pt x="519" y="1461"/>
                  <a:pt x="519" y="1460"/>
                </a:cubicBezTo>
                <a:cubicBezTo>
                  <a:pt x="519" y="1460"/>
                  <a:pt x="519" y="1460"/>
                  <a:pt x="520" y="1459"/>
                </a:cubicBezTo>
                <a:cubicBezTo>
                  <a:pt x="520" y="1459"/>
                  <a:pt x="521" y="1458"/>
                  <a:pt x="521" y="1457"/>
                </a:cubicBezTo>
                <a:cubicBezTo>
                  <a:pt x="522" y="1457"/>
                  <a:pt x="522" y="1456"/>
                  <a:pt x="522" y="1455"/>
                </a:cubicBezTo>
                <a:cubicBezTo>
                  <a:pt x="523" y="1453"/>
                  <a:pt x="523" y="1451"/>
                  <a:pt x="524" y="1450"/>
                </a:cubicBezTo>
                <a:cubicBezTo>
                  <a:pt x="524" y="1448"/>
                  <a:pt x="525" y="1447"/>
                  <a:pt x="526" y="1445"/>
                </a:cubicBezTo>
                <a:cubicBezTo>
                  <a:pt x="526" y="1444"/>
                  <a:pt x="526" y="1444"/>
                  <a:pt x="526" y="1443"/>
                </a:cubicBezTo>
                <a:cubicBezTo>
                  <a:pt x="526" y="1443"/>
                  <a:pt x="527" y="1442"/>
                  <a:pt x="527" y="1441"/>
                </a:cubicBezTo>
                <a:cubicBezTo>
                  <a:pt x="526" y="1440"/>
                  <a:pt x="524" y="1438"/>
                  <a:pt x="526" y="1437"/>
                </a:cubicBezTo>
                <a:cubicBezTo>
                  <a:pt x="526" y="1436"/>
                  <a:pt x="527" y="1438"/>
                  <a:pt x="528" y="1437"/>
                </a:cubicBezTo>
                <a:cubicBezTo>
                  <a:pt x="529" y="1437"/>
                  <a:pt x="530" y="1435"/>
                  <a:pt x="530" y="1434"/>
                </a:cubicBezTo>
                <a:cubicBezTo>
                  <a:pt x="529" y="1434"/>
                  <a:pt x="529" y="1434"/>
                  <a:pt x="529" y="1435"/>
                </a:cubicBezTo>
                <a:cubicBezTo>
                  <a:pt x="529" y="1435"/>
                  <a:pt x="528" y="1436"/>
                  <a:pt x="528" y="1435"/>
                </a:cubicBezTo>
                <a:cubicBezTo>
                  <a:pt x="528" y="1435"/>
                  <a:pt x="527" y="1435"/>
                  <a:pt x="527" y="1435"/>
                </a:cubicBezTo>
                <a:cubicBezTo>
                  <a:pt x="528" y="1434"/>
                  <a:pt x="528" y="1433"/>
                  <a:pt x="528" y="1432"/>
                </a:cubicBezTo>
                <a:cubicBezTo>
                  <a:pt x="529" y="1431"/>
                  <a:pt x="529" y="1430"/>
                  <a:pt x="529" y="1430"/>
                </a:cubicBezTo>
                <a:cubicBezTo>
                  <a:pt x="529" y="1429"/>
                  <a:pt x="529" y="1429"/>
                  <a:pt x="530" y="1428"/>
                </a:cubicBezTo>
                <a:cubicBezTo>
                  <a:pt x="530" y="1428"/>
                  <a:pt x="530" y="1428"/>
                  <a:pt x="530" y="1428"/>
                </a:cubicBezTo>
                <a:cubicBezTo>
                  <a:pt x="530" y="1427"/>
                  <a:pt x="530" y="1427"/>
                  <a:pt x="530" y="1427"/>
                </a:cubicBezTo>
                <a:cubicBezTo>
                  <a:pt x="530" y="1427"/>
                  <a:pt x="530" y="1427"/>
                  <a:pt x="529" y="1427"/>
                </a:cubicBezTo>
                <a:cubicBezTo>
                  <a:pt x="527" y="1427"/>
                  <a:pt x="529" y="1424"/>
                  <a:pt x="529" y="1423"/>
                </a:cubicBezTo>
                <a:cubicBezTo>
                  <a:pt x="530" y="1422"/>
                  <a:pt x="532" y="1420"/>
                  <a:pt x="533" y="1419"/>
                </a:cubicBezTo>
                <a:cubicBezTo>
                  <a:pt x="534" y="1417"/>
                  <a:pt x="535" y="1416"/>
                  <a:pt x="536" y="1414"/>
                </a:cubicBezTo>
                <a:cubicBezTo>
                  <a:pt x="536" y="1413"/>
                  <a:pt x="537" y="1411"/>
                  <a:pt x="537" y="1410"/>
                </a:cubicBezTo>
                <a:cubicBezTo>
                  <a:pt x="538" y="1408"/>
                  <a:pt x="538" y="1407"/>
                  <a:pt x="539" y="1406"/>
                </a:cubicBezTo>
                <a:cubicBezTo>
                  <a:pt x="539" y="1405"/>
                  <a:pt x="539" y="1403"/>
                  <a:pt x="539" y="1403"/>
                </a:cubicBezTo>
                <a:cubicBezTo>
                  <a:pt x="539" y="1403"/>
                  <a:pt x="539" y="1402"/>
                  <a:pt x="539" y="1402"/>
                </a:cubicBezTo>
                <a:cubicBezTo>
                  <a:pt x="539" y="1402"/>
                  <a:pt x="539" y="1402"/>
                  <a:pt x="538" y="1402"/>
                </a:cubicBezTo>
                <a:cubicBezTo>
                  <a:pt x="538" y="1402"/>
                  <a:pt x="538" y="1402"/>
                  <a:pt x="538" y="1402"/>
                </a:cubicBezTo>
                <a:cubicBezTo>
                  <a:pt x="537" y="1401"/>
                  <a:pt x="538" y="1399"/>
                  <a:pt x="538" y="1399"/>
                </a:cubicBezTo>
                <a:cubicBezTo>
                  <a:pt x="539" y="1400"/>
                  <a:pt x="539" y="1400"/>
                  <a:pt x="539" y="1400"/>
                </a:cubicBezTo>
                <a:cubicBezTo>
                  <a:pt x="540" y="1400"/>
                  <a:pt x="541" y="1398"/>
                  <a:pt x="541" y="1397"/>
                </a:cubicBezTo>
                <a:cubicBezTo>
                  <a:pt x="541" y="1396"/>
                  <a:pt x="542" y="1395"/>
                  <a:pt x="542" y="1394"/>
                </a:cubicBezTo>
                <a:cubicBezTo>
                  <a:pt x="542" y="1394"/>
                  <a:pt x="542" y="1394"/>
                  <a:pt x="542" y="1394"/>
                </a:cubicBezTo>
                <a:cubicBezTo>
                  <a:pt x="542" y="1393"/>
                  <a:pt x="542" y="1393"/>
                  <a:pt x="542" y="1392"/>
                </a:cubicBezTo>
                <a:cubicBezTo>
                  <a:pt x="543" y="1392"/>
                  <a:pt x="543" y="1392"/>
                  <a:pt x="543" y="1391"/>
                </a:cubicBezTo>
                <a:cubicBezTo>
                  <a:pt x="543" y="1391"/>
                  <a:pt x="543" y="1391"/>
                  <a:pt x="543" y="1391"/>
                </a:cubicBezTo>
                <a:cubicBezTo>
                  <a:pt x="542" y="1389"/>
                  <a:pt x="541" y="1392"/>
                  <a:pt x="541" y="1393"/>
                </a:cubicBezTo>
                <a:cubicBezTo>
                  <a:pt x="541" y="1393"/>
                  <a:pt x="541" y="1395"/>
                  <a:pt x="540" y="1394"/>
                </a:cubicBezTo>
                <a:cubicBezTo>
                  <a:pt x="539" y="1394"/>
                  <a:pt x="539" y="1393"/>
                  <a:pt x="539" y="1392"/>
                </a:cubicBezTo>
                <a:cubicBezTo>
                  <a:pt x="539" y="1391"/>
                  <a:pt x="540" y="1390"/>
                  <a:pt x="540" y="1389"/>
                </a:cubicBezTo>
                <a:cubicBezTo>
                  <a:pt x="541" y="1387"/>
                  <a:pt x="542" y="1385"/>
                  <a:pt x="542" y="1382"/>
                </a:cubicBezTo>
                <a:cubicBezTo>
                  <a:pt x="543" y="1380"/>
                  <a:pt x="544" y="1377"/>
                  <a:pt x="545" y="1374"/>
                </a:cubicBezTo>
                <a:cubicBezTo>
                  <a:pt x="546" y="1373"/>
                  <a:pt x="546" y="1372"/>
                  <a:pt x="546" y="1371"/>
                </a:cubicBezTo>
                <a:cubicBezTo>
                  <a:pt x="547" y="1371"/>
                  <a:pt x="547" y="1370"/>
                  <a:pt x="547" y="1369"/>
                </a:cubicBezTo>
                <a:cubicBezTo>
                  <a:pt x="547" y="1369"/>
                  <a:pt x="547" y="1369"/>
                  <a:pt x="547" y="1369"/>
                </a:cubicBezTo>
                <a:cubicBezTo>
                  <a:pt x="547" y="1369"/>
                  <a:pt x="548" y="1369"/>
                  <a:pt x="548" y="1368"/>
                </a:cubicBezTo>
                <a:cubicBezTo>
                  <a:pt x="549" y="1368"/>
                  <a:pt x="549" y="1370"/>
                  <a:pt x="549" y="1370"/>
                </a:cubicBezTo>
                <a:cubicBezTo>
                  <a:pt x="549" y="1371"/>
                  <a:pt x="550" y="1370"/>
                  <a:pt x="550" y="1370"/>
                </a:cubicBezTo>
                <a:cubicBezTo>
                  <a:pt x="550" y="1369"/>
                  <a:pt x="549" y="1368"/>
                  <a:pt x="549" y="1368"/>
                </a:cubicBezTo>
                <a:cubicBezTo>
                  <a:pt x="549" y="1367"/>
                  <a:pt x="550" y="1367"/>
                  <a:pt x="550" y="1367"/>
                </a:cubicBezTo>
                <a:cubicBezTo>
                  <a:pt x="551" y="1366"/>
                  <a:pt x="551" y="1365"/>
                  <a:pt x="552" y="1365"/>
                </a:cubicBezTo>
                <a:cubicBezTo>
                  <a:pt x="552" y="1363"/>
                  <a:pt x="553" y="1362"/>
                  <a:pt x="553" y="1360"/>
                </a:cubicBezTo>
                <a:cubicBezTo>
                  <a:pt x="554" y="1357"/>
                  <a:pt x="555" y="1354"/>
                  <a:pt x="555" y="1353"/>
                </a:cubicBezTo>
                <a:cubicBezTo>
                  <a:pt x="555" y="1352"/>
                  <a:pt x="557" y="1350"/>
                  <a:pt x="557" y="1349"/>
                </a:cubicBezTo>
                <a:cubicBezTo>
                  <a:pt x="558" y="1349"/>
                  <a:pt x="558" y="1348"/>
                  <a:pt x="557" y="1347"/>
                </a:cubicBezTo>
                <a:cubicBezTo>
                  <a:pt x="557" y="1347"/>
                  <a:pt x="556" y="1347"/>
                  <a:pt x="556" y="1347"/>
                </a:cubicBezTo>
                <a:cubicBezTo>
                  <a:pt x="556" y="1347"/>
                  <a:pt x="555" y="1347"/>
                  <a:pt x="555" y="1346"/>
                </a:cubicBezTo>
                <a:cubicBezTo>
                  <a:pt x="556" y="1346"/>
                  <a:pt x="557" y="1345"/>
                  <a:pt x="557" y="1345"/>
                </a:cubicBezTo>
                <a:cubicBezTo>
                  <a:pt x="558" y="1344"/>
                  <a:pt x="558" y="1343"/>
                  <a:pt x="558" y="1342"/>
                </a:cubicBezTo>
                <a:cubicBezTo>
                  <a:pt x="559" y="1341"/>
                  <a:pt x="559" y="1339"/>
                  <a:pt x="560" y="1338"/>
                </a:cubicBezTo>
                <a:cubicBezTo>
                  <a:pt x="560" y="1337"/>
                  <a:pt x="560" y="1337"/>
                  <a:pt x="560" y="1336"/>
                </a:cubicBezTo>
                <a:cubicBezTo>
                  <a:pt x="560" y="1336"/>
                  <a:pt x="559" y="1336"/>
                  <a:pt x="559" y="1335"/>
                </a:cubicBezTo>
                <a:cubicBezTo>
                  <a:pt x="560" y="1332"/>
                  <a:pt x="562" y="1329"/>
                  <a:pt x="563" y="1326"/>
                </a:cubicBezTo>
                <a:cubicBezTo>
                  <a:pt x="564" y="1324"/>
                  <a:pt x="564" y="1323"/>
                  <a:pt x="564" y="1321"/>
                </a:cubicBezTo>
                <a:cubicBezTo>
                  <a:pt x="564" y="1320"/>
                  <a:pt x="564" y="1320"/>
                  <a:pt x="564" y="1319"/>
                </a:cubicBezTo>
                <a:cubicBezTo>
                  <a:pt x="564" y="1318"/>
                  <a:pt x="565" y="1317"/>
                  <a:pt x="565" y="1317"/>
                </a:cubicBezTo>
                <a:cubicBezTo>
                  <a:pt x="566" y="1318"/>
                  <a:pt x="566" y="1320"/>
                  <a:pt x="567" y="1320"/>
                </a:cubicBezTo>
                <a:cubicBezTo>
                  <a:pt x="567" y="1320"/>
                  <a:pt x="567" y="1319"/>
                  <a:pt x="567" y="1318"/>
                </a:cubicBezTo>
                <a:cubicBezTo>
                  <a:pt x="567" y="1318"/>
                  <a:pt x="566" y="1316"/>
                  <a:pt x="566" y="1316"/>
                </a:cubicBezTo>
                <a:cubicBezTo>
                  <a:pt x="566" y="1315"/>
                  <a:pt x="566" y="1315"/>
                  <a:pt x="567" y="1315"/>
                </a:cubicBezTo>
                <a:cubicBezTo>
                  <a:pt x="567" y="1315"/>
                  <a:pt x="567" y="1315"/>
                  <a:pt x="568" y="1315"/>
                </a:cubicBezTo>
                <a:cubicBezTo>
                  <a:pt x="569" y="1313"/>
                  <a:pt x="569" y="1311"/>
                  <a:pt x="570" y="1309"/>
                </a:cubicBezTo>
                <a:cubicBezTo>
                  <a:pt x="571" y="1306"/>
                  <a:pt x="572" y="1302"/>
                  <a:pt x="573" y="1298"/>
                </a:cubicBezTo>
                <a:cubicBezTo>
                  <a:pt x="573" y="1296"/>
                  <a:pt x="574" y="1295"/>
                  <a:pt x="574" y="1293"/>
                </a:cubicBezTo>
                <a:cubicBezTo>
                  <a:pt x="574" y="1291"/>
                  <a:pt x="574" y="1289"/>
                  <a:pt x="574" y="1288"/>
                </a:cubicBezTo>
                <a:cubicBezTo>
                  <a:pt x="574" y="1288"/>
                  <a:pt x="574" y="1287"/>
                  <a:pt x="574" y="1287"/>
                </a:cubicBezTo>
                <a:cubicBezTo>
                  <a:pt x="575" y="1287"/>
                  <a:pt x="575" y="1287"/>
                  <a:pt x="575" y="1287"/>
                </a:cubicBezTo>
                <a:cubicBezTo>
                  <a:pt x="576" y="1287"/>
                  <a:pt x="576" y="1286"/>
                  <a:pt x="576" y="1285"/>
                </a:cubicBezTo>
                <a:cubicBezTo>
                  <a:pt x="576" y="1285"/>
                  <a:pt x="576" y="1284"/>
                  <a:pt x="575" y="1284"/>
                </a:cubicBezTo>
                <a:cubicBezTo>
                  <a:pt x="575" y="1283"/>
                  <a:pt x="574" y="1283"/>
                  <a:pt x="574" y="1282"/>
                </a:cubicBezTo>
                <a:cubicBezTo>
                  <a:pt x="574" y="1282"/>
                  <a:pt x="575" y="1281"/>
                  <a:pt x="575" y="1280"/>
                </a:cubicBezTo>
                <a:cubicBezTo>
                  <a:pt x="576" y="1280"/>
                  <a:pt x="577" y="1279"/>
                  <a:pt x="577" y="1277"/>
                </a:cubicBezTo>
                <a:cubicBezTo>
                  <a:pt x="576" y="1277"/>
                  <a:pt x="576" y="1276"/>
                  <a:pt x="576" y="1275"/>
                </a:cubicBezTo>
                <a:cubicBezTo>
                  <a:pt x="576" y="1274"/>
                  <a:pt x="577" y="1273"/>
                  <a:pt x="577" y="1272"/>
                </a:cubicBezTo>
                <a:cubicBezTo>
                  <a:pt x="578" y="1270"/>
                  <a:pt x="579" y="1266"/>
                  <a:pt x="580" y="1264"/>
                </a:cubicBezTo>
                <a:cubicBezTo>
                  <a:pt x="581" y="1264"/>
                  <a:pt x="581" y="1263"/>
                  <a:pt x="582" y="1262"/>
                </a:cubicBezTo>
                <a:cubicBezTo>
                  <a:pt x="582" y="1262"/>
                  <a:pt x="582" y="1261"/>
                  <a:pt x="582" y="1260"/>
                </a:cubicBezTo>
                <a:cubicBezTo>
                  <a:pt x="582" y="1260"/>
                  <a:pt x="582" y="1259"/>
                  <a:pt x="583" y="1259"/>
                </a:cubicBezTo>
                <a:cubicBezTo>
                  <a:pt x="584" y="1258"/>
                  <a:pt x="582" y="1256"/>
                  <a:pt x="582" y="1255"/>
                </a:cubicBezTo>
                <a:cubicBezTo>
                  <a:pt x="582" y="1255"/>
                  <a:pt x="583" y="1254"/>
                  <a:pt x="583" y="1254"/>
                </a:cubicBezTo>
                <a:cubicBezTo>
                  <a:pt x="583" y="1254"/>
                  <a:pt x="584" y="1254"/>
                  <a:pt x="584" y="1253"/>
                </a:cubicBezTo>
                <a:cubicBezTo>
                  <a:pt x="585" y="1252"/>
                  <a:pt x="585" y="1252"/>
                  <a:pt x="585" y="1251"/>
                </a:cubicBezTo>
                <a:cubicBezTo>
                  <a:pt x="586" y="1250"/>
                  <a:pt x="586" y="1250"/>
                  <a:pt x="586" y="1250"/>
                </a:cubicBezTo>
                <a:cubicBezTo>
                  <a:pt x="586" y="1249"/>
                  <a:pt x="586" y="1249"/>
                  <a:pt x="586" y="1249"/>
                </a:cubicBezTo>
                <a:cubicBezTo>
                  <a:pt x="586" y="1249"/>
                  <a:pt x="586" y="1248"/>
                  <a:pt x="586" y="1248"/>
                </a:cubicBezTo>
                <a:cubicBezTo>
                  <a:pt x="586" y="1248"/>
                  <a:pt x="587" y="1248"/>
                  <a:pt x="587" y="1248"/>
                </a:cubicBezTo>
                <a:cubicBezTo>
                  <a:pt x="587" y="1247"/>
                  <a:pt x="587" y="1247"/>
                  <a:pt x="586" y="1246"/>
                </a:cubicBezTo>
                <a:cubicBezTo>
                  <a:pt x="586" y="1246"/>
                  <a:pt x="585" y="1246"/>
                  <a:pt x="585" y="1246"/>
                </a:cubicBezTo>
                <a:cubicBezTo>
                  <a:pt x="585" y="1245"/>
                  <a:pt x="585" y="1245"/>
                  <a:pt x="585" y="1244"/>
                </a:cubicBezTo>
                <a:cubicBezTo>
                  <a:pt x="586" y="1244"/>
                  <a:pt x="586" y="1243"/>
                  <a:pt x="586" y="1242"/>
                </a:cubicBezTo>
                <a:cubicBezTo>
                  <a:pt x="587" y="1240"/>
                  <a:pt x="588" y="1237"/>
                  <a:pt x="589" y="1235"/>
                </a:cubicBezTo>
                <a:cubicBezTo>
                  <a:pt x="590" y="1234"/>
                  <a:pt x="590" y="1233"/>
                  <a:pt x="591" y="1232"/>
                </a:cubicBezTo>
                <a:cubicBezTo>
                  <a:pt x="591" y="1231"/>
                  <a:pt x="592" y="1230"/>
                  <a:pt x="592" y="1230"/>
                </a:cubicBezTo>
                <a:cubicBezTo>
                  <a:pt x="593" y="1229"/>
                  <a:pt x="594" y="1228"/>
                  <a:pt x="594" y="1227"/>
                </a:cubicBezTo>
                <a:cubicBezTo>
                  <a:pt x="594" y="1226"/>
                  <a:pt x="595" y="1225"/>
                  <a:pt x="594" y="1224"/>
                </a:cubicBezTo>
                <a:cubicBezTo>
                  <a:pt x="594" y="1223"/>
                  <a:pt x="594" y="1223"/>
                  <a:pt x="594" y="1223"/>
                </a:cubicBezTo>
                <a:cubicBezTo>
                  <a:pt x="593" y="1222"/>
                  <a:pt x="593" y="1222"/>
                  <a:pt x="593" y="1222"/>
                </a:cubicBezTo>
                <a:cubicBezTo>
                  <a:pt x="593" y="1222"/>
                  <a:pt x="593" y="1221"/>
                  <a:pt x="593" y="1221"/>
                </a:cubicBezTo>
                <a:cubicBezTo>
                  <a:pt x="594" y="1218"/>
                  <a:pt x="598" y="1216"/>
                  <a:pt x="598" y="1213"/>
                </a:cubicBezTo>
                <a:cubicBezTo>
                  <a:pt x="598" y="1212"/>
                  <a:pt x="598" y="1212"/>
                  <a:pt x="598" y="1211"/>
                </a:cubicBezTo>
                <a:cubicBezTo>
                  <a:pt x="597" y="1210"/>
                  <a:pt x="597" y="1209"/>
                  <a:pt x="598" y="1207"/>
                </a:cubicBezTo>
                <a:cubicBezTo>
                  <a:pt x="598" y="1206"/>
                  <a:pt x="598" y="1205"/>
                  <a:pt x="598" y="1204"/>
                </a:cubicBezTo>
                <a:cubicBezTo>
                  <a:pt x="599" y="1204"/>
                  <a:pt x="598" y="1204"/>
                  <a:pt x="598" y="1203"/>
                </a:cubicBezTo>
                <a:cubicBezTo>
                  <a:pt x="598" y="1202"/>
                  <a:pt x="598" y="1202"/>
                  <a:pt x="598" y="1201"/>
                </a:cubicBezTo>
                <a:cubicBezTo>
                  <a:pt x="598" y="1200"/>
                  <a:pt x="598" y="1199"/>
                  <a:pt x="599" y="1198"/>
                </a:cubicBezTo>
                <a:cubicBezTo>
                  <a:pt x="599" y="1198"/>
                  <a:pt x="600" y="1197"/>
                  <a:pt x="600" y="1197"/>
                </a:cubicBezTo>
                <a:cubicBezTo>
                  <a:pt x="601" y="1196"/>
                  <a:pt x="601" y="1195"/>
                  <a:pt x="602" y="1194"/>
                </a:cubicBezTo>
                <a:cubicBezTo>
                  <a:pt x="602" y="1192"/>
                  <a:pt x="602" y="1191"/>
                  <a:pt x="603" y="1190"/>
                </a:cubicBezTo>
                <a:cubicBezTo>
                  <a:pt x="603" y="1189"/>
                  <a:pt x="603" y="1187"/>
                  <a:pt x="604" y="1186"/>
                </a:cubicBezTo>
                <a:cubicBezTo>
                  <a:pt x="604" y="1186"/>
                  <a:pt x="605" y="1184"/>
                  <a:pt x="605" y="1184"/>
                </a:cubicBezTo>
                <a:cubicBezTo>
                  <a:pt x="604" y="1183"/>
                  <a:pt x="603" y="1182"/>
                  <a:pt x="603" y="1181"/>
                </a:cubicBezTo>
                <a:cubicBezTo>
                  <a:pt x="603" y="1180"/>
                  <a:pt x="604" y="1179"/>
                  <a:pt x="605" y="1178"/>
                </a:cubicBezTo>
                <a:cubicBezTo>
                  <a:pt x="605" y="1176"/>
                  <a:pt x="606" y="1175"/>
                  <a:pt x="606" y="1174"/>
                </a:cubicBezTo>
                <a:cubicBezTo>
                  <a:pt x="607" y="1172"/>
                  <a:pt x="607" y="1170"/>
                  <a:pt x="608" y="1168"/>
                </a:cubicBezTo>
                <a:cubicBezTo>
                  <a:pt x="609" y="1164"/>
                  <a:pt x="610" y="1160"/>
                  <a:pt x="611" y="1156"/>
                </a:cubicBezTo>
                <a:cubicBezTo>
                  <a:pt x="612" y="1155"/>
                  <a:pt x="612" y="1154"/>
                  <a:pt x="613" y="1153"/>
                </a:cubicBezTo>
                <a:cubicBezTo>
                  <a:pt x="613" y="1152"/>
                  <a:pt x="614" y="1151"/>
                  <a:pt x="614" y="1150"/>
                </a:cubicBezTo>
                <a:cubicBezTo>
                  <a:pt x="614" y="1150"/>
                  <a:pt x="615" y="1150"/>
                  <a:pt x="614" y="1149"/>
                </a:cubicBezTo>
                <a:cubicBezTo>
                  <a:pt x="614" y="1149"/>
                  <a:pt x="614" y="1149"/>
                  <a:pt x="614" y="1149"/>
                </a:cubicBezTo>
                <a:cubicBezTo>
                  <a:pt x="614" y="1148"/>
                  <a:pt x="614" y="1147"/>
                  <a:pt x="615" y="1147"/>
                </a:cubicBezTo>
                <a:cubicBezTo>
                  <a:pt x="615" y="1146"/>
                  <a:pt x="615" y="1145"/>
                  <a:pt x="616" y="1144"/>
                </a:cubicBezTo>
                <a:cubicBezTo>
                  <a:pt x="616" y="1142"/>
                  <a:pt x="617" y="1140"/>
                  <a:pt x="617" y="1139"/>
                </a:cubicBezTo>
                <a:cubicBezTo>
                  <a:pt x="617" y="1138"/>
                  <a:pt x="617" y="1136"/>
                  <a:pt x="617" y="1136"/>
                </a:cubicBezTo>
                <a:cubicBezTo>
                  <a:pt x="618" y="1135"/>
                  <a:pt x="619" y="1136"/>
                  <a:pt x="619" y="1135"/>
                </a:cubicBezTo>
                <a:cubicBezTo>
                  <a:pt x="619" y="1135"/>
                  <a:pt x="619" y="1135"/>
                  <a:pt x="619" y="1134"/>
                </a:cubicBezTo>
                <a:cubicBezTo>
                  <a:pt x="619" y="1134"/>
                  <a:pt x="619" y="1134"/>
                  <a:pt x="618" y="1134"/>
                </a:cubicBezTo>
                <a:cubicBezTo>
                  <a:pt x="617" y="1135"/>
                  <a:pt x="616" y="1132"/>
                  <a:pt x="617" y="1131"/>
                </a:cubicBezTo>
                <a:cubicBezTo>
                  <a:pt x="617" y="1130"/>
                  <a:pt x="618" y="1131"/>
                  <a:pt x="619" y="1130"/>
                </a:cubicBezTo>
                <a:cubicBezTo>
                  <a:pt x="620" y="1130"/>
                  <a:pt x="619" y="1129"/>
                  <a:pt x="619" y="1129"/>
                </a:cubicBezTo>
                <a:cubicBezTo>
                  <a:pt x="620" y="1128"/>
                  <a:pt x="620" y="1127"/>
                  <a:pt x="621" y="1126"/>
                </a:cubicBezTo>
                <a:cubicBezTo>
                  <a:pt x="621" y="1126"/>
                  <a:pt x="622" y="1125"/>
                  <a:pt x="622" y="1124"/>
                </a:cubicBezTo>
                <a:cubicBezTo>
                  <a:pt x="622" y="1124"/>
                  <a:pt x="622" y="1123"/>
                  <a:pt x="622" y="1123"/>
                </a:cubicBezTo>
                <a:cubicBezTo>
                  <a:pt x="621" y="1122"/>
                  <a:pt x="622" y="1122"/>
                  <a:pt x="623" y="1121"/>
                </a:cubicBezTo>
                <a:cubicBezTo>
                  <a:pt x="623" y="1120"/>
                  <a:pt x="622" y="1119"/>
                  <a:pt x="622" y="1119"/>
                </a:cubicBezTo>
                <a:cubicBezTo>
                  <a:pt x="622" y="1118"/>
                  <a:pt x="622" y="1117"/>
                  <a:pt x="622" y="1117"/>
                </a:cubicBezTo>
                <a:cubicBezTo>
                  <a:pt x="622" y="1117"/>
                  <a:pt x="622" y="1116"/>
                  <a:pt x="622" y="1116"/>
                </a:cubicBezTo>
                <a:cubicBezTo>
                  <a:pt x="622" y="1116"/>
                  <a:pt x="623" y="1116"/>
                  <a:pt x="623" y="1115"/>
                </a:cubicBezTo>
                <a:cubicBezTo>
                  <a:pt x="625" y="1115"/>
                  <a:pt x="625" y="1113"/>
                  <a:pt x="625" y="1112"/>
                </a:cubicBezTo>
                <a:cubicBezTo>
                  <a:pt x="629" y="1096"/>
                  <a:pt x="631" y="1090"/>
                  <a:pt x="631" y="1089"/>
                </a:cubicBezTo>
                <a:cubicBezTo>
                  <a:pt x="631" y="1089"/>
                  <a:pt x="633" y="1080"/>
                  <a:pt x="634" y="1079"/>
                </a:cubicBezTo>
                <a:cubicBezTo>
                  <a:pt x="635" y="1078"/>
                  <a:pt x="636" y="1077"/>
                  <a:pt x="636" y="1076"/>
                </a:cubicBezTo>
                <a:cubicBezTo>
                  <a:pt x="637" y="1076"/>
                  <a:pt x="637" y="1075"/>
                  <a:pt x="638" y="1074"/>
                </a:cubicBezTo>
                <a:cubicBezTo>
                  <a:pt x="638" y="1074"/>
                  <a:pt x="638" y="1073"/>
                  <a:pt x="638" y="1073"/>
                </a:cubicBezTo>
                <a:cubicBezTo>
                  <a:pt x="638" y="1072"/>
                  <a:pt x="638" y="1072"/>
                  <a:pt x="639" y="1072"/>
                </a:cubicBezTo>
                <a:cubicBezTo>
                  <a:pt x="639" y="1071"/>
                  <a:pt x="639" y="1072"/>
                  <a:pt x="640" y="1072"/>
                </a:cubicBezTo>
                <a:cubicBezTo>
                  <a:pt x="640" y="1071"/>
                  <a:pt x="641" y="1070"/>
                  <a:pt x="641" y="1070"/>
                </a:cubicBezTo>
                <a:cubicBezTo>
                  <a:pt x="641" y="1069"/>
                  <a:pt x="641" y="1068"/>
                  <a:pt x="641" y="1067"/>
                </a:cubicBezTo>
                <a:cubicBezTo>
                  <a:pt x="641" y="1065"/>
                  <a:pt x="640" y="1063"/>
                  <a:pt x="642" y="1062"/>
                </a:cubicBezTo>
                <a:cubicBezTo>
                  <a:pt x="642" y="1062"/>
                  <a:pt x="643" y="1062"/>
                  <a:pt x="643" y="1062"/>
                </a:cubicBezTo>
                <a:cubicBezTo>
                  <a:pt x="644" y="1061"/>
                  <a:pt x="643" y="1060"/>
                  <a:pt x="643" y="1060"/>
                </a:cubicBezTo>
                <a:cubicBezTo>
                  <a:pt x="642" y="1059"/>
                  <a:pt x="643" y="1058"/>
                  <a:pt x="643" y="1057"/>
                </a:cubicBezTo>
                <a:cubicBezTo>
                  <a:pt x="643" y="1056"/>
                  <a:pt x="644" y="1054"/>
                  <a:pt x="644" y="1053"/>
                </a:cubicBezTo>
                <a:cubicBezTo>
                  <a:pt x="645" y="1048"/>
                  <a:pt x="647" y="1043"/>
                  <a:pt x="647" y="1042"/>
                </a:cubicBezTo>
                <a:cubicBezTo>
                  <a:pt x="647" y="1041"/>
                  <a:pt x="648" y="1039"/>
                  <a:pt x="648" y="1038"/>
                </a:cubicBezTo>
                <a:cubicBezTo>
                  <a:pt x="648" y="1037"/>
                  <a:pt x="648" y="1036"/>
                  <a:pt x="648" y="1035"/>
                </a:cubicBezTo>
                <a:cubicBezTo>
                  <a:pt x="648" y="1035"/>
                  <a:pt x="648" y="1034"/>
                  <a:pt x="647" y="1034"/>
                </a:cubicBezTo>
                <a:cubicBezTo>
                  <a:pt x="647" y="1032"/>
                  <a:pt x="648" y="1031"/>
                  <a:pt x="649" y="1030"/>
                </a:cubicBezTo>
                <a:cubicBezTo>
                  <a:pt x="650" y="1029"/>
                  <a:pt x="650" y="1028"/>
                  <a:pt x="651" y="1027"/>
                </a:cubicBezTo>
                <a:cubicBezTo>
                  <a:pt x="651" y="1027"/>
                  <a:pt x="651" y="1026"/>
                  <a:pt x="651" y="1025"/>
                </a:cubicBezTo>
                <a:cubicBezTo>
                  <a:pt x="652" y="1023"/>
                  <a:pt x="652" y="1021"/>
                  <a:pt x="653" y="1018"/>
                </a:cubicBezTo>
                <a:cubicBezTo>
                  <a:pt x="654" y="1014"/>
                  <a:pt x="656" y="1007"/>
                  <a:pt x="658" y="1000"/>
                </a:cubicBezTo>
                <a:cubicBezTo>
                  <a:pt x="663" y="987"/>
                  <a:pt x="667" y="972"/>
                  <a:pt x="668" y="968"/>
                </a:cubicBezTo>
                <a:cubicBezTo>
                  <a:pt x="668" y="966"/>
                  <a:pt x="669" y="965"/>
                  <a:pt x="669" y="963"/>
                </a:cubicBezTo>
                <a:cubicBezTo>
                  <a:pt x="669" y="962"/>
                  <a:pt x="670" y="961"/>
                  <a:pt x="670" y="960"/>
                </a:cubicBezTo>
                <a:cubicBezTo>
                  <a:pt x="669" y="960"/>
                  <a:pt x="669" y="959"/>
                  <a:pt x="669" y="959"/>
                </a:cubicBezTo>
                <a:cubicBezTo>
                  <a:pt x="669" y="958"/>
                  <a:pt x="670" y="958"/>
                  <a:pt x="670" y="958"/>
                </a:cubicBezTo>
                <a:cubicBezTo>
                  <a:pt x="670" y="958"/>
                  <a:pt x="670" y="958"/>
                  <a:pt x="670" y="958"/>
                </a:cubicBezTo>
                <a:cubicBezTo>
                  <a:pt x="671" y="957"/>
                  <a:pt x="671" y="955"/>
                  <a:pt x="671" y="954"/>
                </a:cubicBezTo>
                <a:cubicBezTo>
                  <a:pt x="672" y="953"/>
                  <a:pt x="672" y="952"/>
                  <a:pt x="672" y="951"/>
                </a:cubicBezTo>
                <a:cubicBezTo>
                  <a:pt x="673" y="949"/>
                  <a:pt x="673" y="948"/>
                  <a:pt x="674" y="947"/>
                </a:cubicBezTo>
                <a:cubicBezTo>
                  <a:pt x="674" y="947"/>
                  <a:pt x="674" y="947"/>
                  <a:pt x="674" y="946"/>
                </a:cubicBezTo>
                <a:cubicBezTo>
                  <a:pt x="673" y="944"/>
                  <a:pt x="673" y="943"/>
                  <a:pt x="674" y="941"/>
                </a:cubicBezTo>
                <a:cubicBezTo>
                  <a:pt x="674" y="941"/>
                  <a:pt x="674" y="941"/>
                  <a:pt x="675" y="941"/>
                </a:cubicBezTo>
                <a:cubicBezTo>
                  <a:pt x="675" y="941"/>
                  <a:pt x="675" y="941"/>
                  <a:pt x="676" y="941"/>
                </a:cubicBezTo>
                <a:cubicBezTo>
                  <a:pt x="677" y="940"/>
                  <a:pt x="677" y="938"/>
                  <a:pt x="677" y="936"/>
                </a:cubicBezTo>
                <a:cubicBezTo>
                  <a:pt x="678" y="934"/>
                  <a:pt x="678" y="933"/>
                  <a:pt x="679" y="931"/>
                </a:cubicBezTo>
                <a:cubicBezTo>
                  <a:pt x="680" y="929"/>
                  <a:pt x="681" y="927"/>
                  <a:pt x="681" y="925"/>
                </a:cubicBezTo>
                <a:cubicBezTo>
                  <a:pt x="681" y="924"/>
                  <a:pt x="683" y="919"/>
                  <a:pt x="684" y="914"/>
                </a:cubicBezTo>
                <a:cubicBezTo>
                  <a:pt x="684" y="913"/>
                  <a:pt x="685" y="911"/>
                  <a:pt x="685" y="909"/>
                </a:cubicBezTo>
                <a:cubicBezTo>
                  <a:pt x="686" y="908"/>
                  <a:pt x="686" y="907"/>
                  <a:pt x="686" y="905"/>
                </a:cubicBezTo>
                <a:cubicBezTo>
                  <a:pt x="686" y="905"/>
                  <a:pt x="686" y="904"/>
                  <a:pt x="686" y="904"/>
                </a:cubicBezTo>
                <a:cubicBezTo>
                  <a:pt x="686" y="903"/>
                  <a:pt x="687" y="902"/>
                  <a:pt x="687" y="901"/>
                </a:cubicBezTo>
                <a:cubicBezTo>
                  <a:pt x="689" y="899"/>
                  <a:pt x="689" y="897"/>
                  <a:pt x="690" y="894"/>
                </a:cubicBezTo>
                <a:cubicBezTo>
                  <a:pt x="691" y="892"/>
                  <a:pt x="691" y="889"/>
                  <a:pt x="692" y="887"/>
                </a:cubicBezTo>
                <a:cubicBezTo>
                  <a:pt x="693" y="884"/>
                  <a:pt x="694" y="881"/>
                  <a:pt x="695" y="878"/>
                </a:cubicBezTo>
                <a:cubicBezTo>
                  <a:pt x="695" y="877"/>
                  <a:pt x="696" y="876"/>
                  <a:pt x="696" y="875"/>
                </a:cubicBezTo>
                <a:cubicBezTo>
                  <a:pt x="696" y="874"/>
                  <a:pt x="697" y="873"/>
                  <a:pt x="697" y="871"/>
                </a:cubicBezTo>
                <a:cubicBezTo>
                  <a:pt x="697" y="870"/>
                  <a:pt x="696" y="868"/>
                  <a:pt x="697" y="867"/>
                </a:cubicBezTo>
                <a:cubicBezTo>
                  <a:pt x="697" y="864"/>
                  <a:pt x="698" y="863"/>
                  <a:pt x="699" y="861"/>
                </a:cubicBezTo>
                <a:cubicBezTo>
                  <a:pt x="700" y="859"/>
                  <a:pt x="701" y="857"/>
                  <a:pt x="702" y="855"/>
                </a:cubicBezTo>
                <a:cubicBezTo>
                  <a:pt x="703" y="850"/>
                  <a:pt x="705" y="845"/>
                  <a:pt x="706" y="841"/>
                </a:cubicBezTo>
                <a:cubicBezTo>
                  <a:pt x="707" y="837"/>
                  <a:pt x="708" y="834"/>
                  <a:pt x="709" y="831"/>
                </a:cubicBezTo>
                <a:cubicBezTo>
                  <a:pt x="710" y="828"/>
                  <a:pt x="710" y="825"/>
                  <a:pt x="711" y="822"/>
                </a:cubicBezTo>
                <a:cubicBezTo>
                  <a:pt x="711" y="821"/>
                  <a:pt x="711" y="820"/>
                  <a:pt x="712" y="819"/>
                </a:cubicBezTo>
                <a:cubicBezTo>
                  <a:pt x="712" y="819"/>
                  <a:pt x="712" y="819"/>
                  <a:pt x="712" y="818"/>
                </a:cubicBezTo>
                <a:cubicBezTo>
                  <a:pt x="712" y="818"/>
                  <a:pt x="712" y="817"/>
                  <a:pt x="712" y="816"/>
                </a:cubicBezTo>
                <a:cubicBezTo>
                  <a:pt x="712" y="816"/>
                  <a:pt x="712" y="816"/>
                  <a:pt x="712" y="816"/>
                </a:cubicBezTo>
                <a:cubicBezTo>
                  <a:pt x="714" y="816"/>
                  <a:pt x="714" y="813"/>
                  <a:pt x="715" y="812"/>
                </a:cubicBezTo>
                <a:cubicBezTo>
                  <a:pt x="715" y="811"/>
                  <a:pt x="717" y="809"/>
                  <a:pt x="716" y="808"/>
                </a:cubicBezTo>
                <a:cubicBezTo>
                  <a:pt x="716" y="808"/>
                  <a:pt x="716" y="808"/>
                  <a:pt x="716" y="808"/>
                </a:cubicBezTo>
                <a:cubicBezTo>
                  <a:pt x="716" y="807"/>
                  <a:pt x="716" y="807"/>
                  <a:pt x="716" y="807"/>
                </a:cubicBezTo>
                <a:cubicBezTo>
                  <a:pt x="716" y="806"/>
                  <a:pt x="717" y="805"/>
                  <a:pt x="717" y="803"/>
                </a:cubicBezTo>
                <a:cubicBezTo>
                  <a:pt x="718" y="801"/>
                  <a:pt x="719" y="797"/>
                  <a:pt x="720" y="795"/>
                </a:cubicBezTo>
                <a:cubicBezTo>
                  <a:pt x="721" y="791"/>
                  <a:pt x="724" y="780"/>
                  <a:pt x="726" y="774"/>
                </a:cubicBezTo>
                <a:cubicBezTo>
                  <a:pt x="727" y="773"/>
                  <a:pt x="728" y="770"/>
                  <a:pt x="728" y="767"/>
                </a:cubicBezTo>
                <a:cubicBezTo>
                  <a:pt x="729" y="766"/>
                  <a:pt x="729" y="764"/>
                  <a:pt x="730" y="762"/>
                </a:cubicBezTo>
                <a:cubicBezTo>
                  <a:pt x="731" y="762"/>
                  <a:pt x="731" y="761"/>
                  <a:pt x="731" y="761"/>
                </a:cubicBezTo>
                <a:cubicBezTo>
                  <a:pt x="732" y="760"/>
                  <a:pt x="732" y="759"/>
                  <a:pt x="732" y="758"/>
                </a:cubicBezTo>
                <a:cubicBezTo>
                  <a:pt x="732" y="756"/>
                  <a:pt x="733" y="753"/>
                  <a:pt x="734" y="752"/>
                </a:cubicBezTo>
                <a:cubicBezTo>
                  <a:pt x="734" y="751"/>
                  <a:pt x="735" y="750"/>
                  <a:pt x="735" y="749"/>
                </a:cubicBezTo>
                <a:cubicBezTo>
                  <a:pt x="735" y="749"/>
                  <a:pt x="735" y="749"/>
                  <a:pt x="735" y="748"/>
                </a:cubicBezTo>
                <a:cubicBezTo>
                  <a:pt x="735" y="748"/>
                  <a:pt x="735" y="748"/>
                  <a:pt x="735" y="748"/>
                </a:cubicBezTo>
                <a:cubicBezTo>
                  <a:pt x="735" y="747"/>
                  <a:pt x="735" y="746"/>
                  <a:pt x="736" y="745"/>
                </a:cubicBezTo>
                <a:cubicBezTo>
                  <a:pt x="736" y="744"/>
                  <a:pt x="736" y="742"/>
                  <a:pt x="737" y="741"/>
                </a:cubicBezTo>
                <a:cubicBezTo>
                  <a:pt x="738" y="738"/>
                  <a:pt x="738" y="736"/>
                  <a:pt x="739" y="733"/>
                </a:cubicBezTo>
                <a:cubicBezTo>
                  <a:pt x="741" y="729"/>
                  <a:pt x="742" y="724"/>
                  <a:pt x="744" y="720"/>
                </a:cubicBezTo>
                <a:cubicBezTo>
                  <a:pt x="743" y="719"/>
                  <a:pt x="743" y="718"/>
                  <a:pt x="743" y="717"/>
                </a:cubicBezTo>
                <a:cubicBezTo>
                  <a:pt x="743" y="717"/>
                  <a:pt x="743" y="716"/>
                  <a:pt x="743" y="716"/>
                </a:cubicBezTo>
                <a:cubicBezTo>
                  <a:pt x="743" y="716"/>
                  <a:pt x="743" y="715"/>
                  <a:pt x="743" y="715"/>
                </a:cubicBezTo>
                <a:cubicBezTo>
                  <a:pt x="743" y="714"/>
                  <a:pt x="744" y="714"/>
                  <a:pt x="744" y="713"/>
                </a:cubicBezTo>
                <a:cubicBezTo>
                  <a:pt x="745" y="713"/>
                  <a:pt x="746" y="712"/>
                  <a:pt x="746" y="711"/>
                </a:cubicBezTo>
                <a:cubicBezTo>
                  <a:pt x="746" y="710"/>
                  <a:pt x="748" y="708"/>
                  <a:pt x="747" y="707"/>
                </a:cubicBezTo>
                <a:cubicBezTo>
                  <a:pt x="747" y="706"/>
                  <a:pt x="746" y="706"/>
                  <a:pt x="746" y="706"/>
                </a:cubicBezTo>
                <a:cubicBezTo>
                  <a:pt x="746" y="706"/>
                  <a:pt x="746" y="705"/>
                  <a:pt x="746" y="705"/>
                </a:cubicBezTo>
                <a:cubicBezTo>
                  <a:pt x="746" y="705"/>
                  <a:pt x="746" y="704"/>
                  <a:pt x="747" y="704"/>
                </a:cubicBezTo>
                <a:cubicBezTo>
                  <a:pt x="749" y="704"/>
                  <a:pt x="749" y="702"/>
                  <a:pt x="749" y="701"/>
                </a:cubicBezTo>
                <a:cubicBezTo>
                  <a:pt x="750" y="699"/>
                  <a:pt x="751" y="698"/>
                  <a:pt x="752" y="697"/>
                </a:cubicBezTo>
                <a:cubicBezTo>
                  <a:pt x="752" y="697"/>
                  <a:pt x="752" y="697"/>
                  <a:pt x="752" y="696"/>
                </a:cubicBezTo>
                <a:cubicBezTo>
                  <a:pt x="752" y="696"/>
                  <a:pt x="752" y="695"/>
                  <a:pt x="752" y="695"/>
                </a:cubicBezTo>
                <a:cubicBezTo>
                  <a:pt x="752" y="695"/>
                  <a:pt x="751" y="694"/>
                  <a:pt x="751" y="694"/>
                </a:cubicBezTo>
                <a:cubicBezTo>
                  <a:pt x="751" y="694"/>
                  <a:pt x="751" y="693"/>
                  <a:pt x="751" y="693"/>
                </a:cubicBezTo>
                <a:cubicBezTo>
                  <a:pt x="752" y="692"/>
                  <a:pt x="752" y="692"/>
                  <a:pt x="752" y="692"/>
                </a:cubicBezTo>
                <a:cubicBezTo>
                  <a:pt x="752" y="692"/>
                  <a:pt x="753" y="692"/>
                  <a:pt x="754" y="692"/>
                </a:cubicBezTo>
                <a:cubicBezTo>
                  <a:pt x="754" y="692"/>
                  <a:pt x="754" y="692"/>
                  <a:pt x="754" y="691"/>
                </a:cubicBezTo>
                <a:cubicBezTo>
                  <a:pt x="754" y="690"/>
                  <a:pt x="753" y="689"/>
                  <a:pt x="753" y="688"/>
                </a:cubicBezTo>
                <a:cubicBezTo>
                  <a:pt x="754" y="688"/>
                  <a:pt x="754" y="687"/>
                  <a:pt x="754" y="686"/>
                </a:cubicBezTo>
                <a:cubicBezTo>
                  <a:pt x="754" y="685"/>
                  <a:pt x="755" y="684"/>
                  <a:pt x="755" y="682"/>
                </a:cubicBezTo>
                <a:cubicBezTo>
                  <a:pt x="756" y="679"/>
                  <a:pt x="758" y="674"/>
                  <a:pt x="759" y="673"/>
                </a:cubicBezTo>
                <a:cubicBezTo>
                  <a:pt x="759" y="672"/>
                  <a:pt x="759" y="671"/>
                  <a:pt x="760" y="670"/>
                </a:cubicBezTo>
                <a:cubicBezTo>
                  <a:pt x="760" y="670"/>
                  <a:pt x="760" y="670"/>
                  <a:pt x="761" y="670"/>
                </a:cubicBezTo>
                <a:cubicBezTo>
                  <a:pt x="761" y="670"/>
                  <a:pt x="762" y="670"/>
                  <a:pt x="762" y="669"/>
                </a:cubicBezTo>
                <a:cubicBezTo>
                  <a:pt x="761" y="668"/>
                  <a:pt x="760" y="668"/>
                  <a:pt x="760" y="667"/>
                </a:cubicBezTo>
                <a:cubicBezTo>
                  <a:pt x="760" y="666"/>
                  <a:pt x="761" y="665"/>
                  <a:pt x="762" y="664"/>
                </a:cubicBezTo>
                <a:cubicBezTo>
                  <a:pt x="763" y="661"/>
                  <a:pt x="764" y="657"/>
                  <a:pt x="765" y="654"/>
                </a:cubicBezTo>
                <a:cubicBezTo>
                  <a:pt x="766" y="653"/>
                  <a:pt x="766" y="651"/>
                  <a:pt x="766" y="650"/>
                </a:cubicBezTo>
                <a:cubicBezTo>
                  <a:pt x="766" y="650"/>
                  <a:pt x="766" y="649"/>
                  <a:pt x="767" y="648"/>
                </a:cubicBezTo>
                <a:cubicBezTo>
                  <a:pt x="767" y="648"/>
                  <a:pt x="767" y="648"/>
                  <a:pt x="768" y="648"/>
                </a:cubicBezTo>
                <a:cubicBezTo>
                  <a:pt x="768" y="647"/>
                  <a:pt x="768" y="647"/>
                  <a:pt x="768" y="647"/>
                </a:cubicBezTo>
                <a:cubicBezTo>
                  <a:pt x="768" y="646"/>
                  <a:pt x="768" y="646"/>
                  <a:pt x="768" y="645"/>
                </a:cubicBezTo>
                <a:cubicBezTo>
                  <a:pt x="768" y="645"/>
                  <a:pt x="768" y="645"/>
                  <a:pt x="767" y="644"/>
                </a:cubicBezTo>
                <a:cubicBezTo>
                  <a:pt x="767" y="644"/>
                  <a:pt x="767" y="643"/>
                  <a:pt x="767" y="643"/>
                </a:cubicBezTo>
                <a:cubicBezTo>
                  <a:pt x="767" y="641"/>
                  <a:pt x="767" y="639"/>
                  <a:pt x="768" y="637"/>
                </a:cubicBezTo>
                <a:cubicBezTo>
                  <a:pt x="768" y="636"/>
                  <a:pt x="769" y="634"/>
                  <a:pt x="770" y="633"/>
                </a:cubicBezTo>
                <a:cubicBezTo>
                  <a:pt x="770" y="632"/>
                  <a:pt x="771" y="631"/>
                  <a:pt x="771" y="631"/>
                </a:cubicBezTo>
                <a:cubicBezTo>
                  <a:pt x="772" y="630"/>
                  <a:pt x="772" y="630"/>
                  <a:pt x="773" y="629"/>
                </a:cubicBezTo>
                <a:cubicBezTo>
                  <a:pt x="773" y="629"/>
                  <a:pt x="773" y="629"/>
                  <a:pt x="773" y="629"/>
                </a:cubicBezTo>
                <a:cubicBezTo>
                  <a:pt x="773" y="629"/>
                  <a:pt x="773" y="628"/>
                  <a:pt x="773" y="628"/>
                </a:cubicBezTo>
                <a:cubicBezTo>
                  <a:pt x="773" y="628"/>
                  <a:pt x="773" y="628"/>
                  <a:pt x="773" y="628"/>
                </a:cubicBezTo>
                <a:cubicBezTo>
                  <a:pt x="773" y="628"/>
                  <a:pt x="773" y="627"/>
                  <a:pt x="773" y="627"/>
                </a:cubicBezTo>
                <a:cubicBezTo>
                  <a:pt x="773" y="626"/>
                  <a:pt x="775" y="624"/>
                  <a:pt x="775" y="623"/>
                </a:cubicBezTo>
                <a:cubicBezTo>
                  <a:pt x="775" y="623"/>
                  <a:pt x="775" y="623"/>
                  <a:pt x="775" y="622"/>
                </a:cubicBezTo>
                <a:cubicBezTo>
                  <a:pt x="776" y="622"/>
                  <a:pt x="775" y="620"/>
                  <a:pt x="775" y="619"/>
                </a:cubicBezTo>
                <a:cubicBezTo>
                  <a:pt x="775" y="618"/>
                  <a:pt x="775" y="617"/>
                  <a:pt x="775" y="616"/>
                </a:cubicBezTo>
                <a:cubicBezTo>
                  <a:pt x="775" y="616"/>
                  <a:pt x="774" y="615"/>
                  <a:pt x="774" y="614"/>
                </a:cubicBezTo>
                <a:cubicBezTo>
                  <a:pt x="774" y="613"/>
                  <a:pt x="775" y="613"/>
                  <a:pt x="776" y="612"/>
                </a:cubicBezTo>
                <a:cubicBezTo>
                  <a:pt x="776" y="611"/>
                  <a:pt x="777" y="610"/>
                  <a:pt x="778" y="610"/>
                </a:cubicBezTo>
                <a:cubicBezTo>
                  <a:pt x="778" y="608"/>
                  <a:pt x="779" y="606"/>
                  <a:pt x="780" y="604"/>
                </a:cubicBezTo>
                <a:cubicBezTo>
                  <a:pt x="780" y="603"/>
                  <a:pt x="781" y="601"/>
                  <a:pt x="782" y="600"/>
                </a:cubicBezTo>
                <a:cubicBezTo>
                  <a:pt x="782" y="599"/>
                  <a:pt x="783" y="598"/>
                  <a:pt x="784" y="597"/>
                </a:cubicBezTo>
                <a:cubicBezTo>
                  <a:pt x="784" y="597"/>
                  <a:pt x="784" y="597"/>
                  <a:pt x="784" y="597"/>
                </a:cubicBezTo>
                <a:cubicBezTo>
                  <a:pt x="784" y="596"/>
                  <a:pt x="784" y="596"/>
                  <a:pt x="784" y="596"/>
                </a:cubicBezTo>
                <a:cubicBezTo>
                  <a:pt x="784" y="596"/>
                  <a:pt x="784" y="595"/>
                  <a:pt x="784" y="595"/>
                </a:cubicBezTo>
                <a:cubicBezTo>
                  <a:pt x="784" y="595"/>
                  <a:pt x="784" y="595"/>
                  <a:pt x="784" y="595"/>
                </a:cubicBezTo>
                <a:cubicBezTo>
                  <a:pt x="785" y="595"/>
                  <a:pt x="785" y="595"/>
                  <a:pt x="784" y="594"/>
                </a:cubicBezTo>
                <a:cubicBezTo>
                  <a:pt x="784" y="594"/>
                  <a:pt x="784" y="594"/>
                  <a:pt x="784" y="594"/>
                </a:cubicBezTo>
                <a:cubicBezTo>
                  <a:pt x="784" y="593"/>
                  <a:pt x="784" y="593"/>
                  <a:pt x="784" y="593"/>
                </a:cubicBezTo>
                <a:cubicBezTo>
                  <a:pt x="785" y="593"/>
                  <a:pt x="785" y="592"/>
                  <a:pt x="785" y="591"/>
                </a:cubicBezTo>
                <a:cubicBezTo>
                  <a:pt x="786" y="587"/>
                  <a:pt x="786" y="583"/>
                  <a:pt x="787" y="580"/>
                </a:cubicBezTo>
                <a:cubicBezTo>
                  <a:pt x="788" y="578"/>
                  <a:pt x="788" y="577"/>
                  <a:pt x="789" y="575"/>
                </a:cubicBezTo>
                <a:cubicBezTo>
                  <a:pt x="789" y="574"/>
                  <a:pt x="790" y="573"/>
                  <a:pt x="791" y="573"/>
                </a:cubicBezTo>
                <a:cubicBezTo>
                  <a:pt x="791" y="572"/>
                  <a:pt x="792" y="572"/>
                  <a:pt x="793" y="572"/>
                </a:cubicBezTo>
                <a:cubicBezTo>
                  <a:pt x="793" y="571"/>
                  <a:pt x="793" y="570"/>
                  <a:pt x="794" y="569"/>
                </a:cubicBezTo>
                <a:cubicBezTo>
                  <a:pt x="794" y="568"/>
                  <a:pt x="795" y="567"/>
                  <a:pt x="795" y="566"/>
                </a:cubicBezTo>
                <a:cubicBezTo>
                  <a:pt x="793" y="565"/>
                  <a:pt x="795" y="563"/>
                  <a:pt x="795" y="563"/>
                </a:cubicBezTo>
                <a:cubicBezTo>
                  <a:pt x="796" y="561"/>
                  <a:pt x="797" y="560"/>
                  <a:pt x="798" y="558"/>
                </a:cubicBezTo>
                <a:cubicBezTo>
                  <a:pt x="798" y="557"/>
                  <a:pt x="798" y="556"/>
                  <a:pt x="798" y="555"/>
                </a:cubicBezTo>
                <a:cubicBezTo>
                  <a:pt x="798" y="555"/>
                  <a:pt x="798" y="554"/>
                  <a:pt x="798" y="553"/>
                </a:cubicBezTo>
                <a:cubicBezTo>
                  <a:pt x="798" y="553"/>
                  <a:pt x="797" y="552"/>
                  <a:pt x="798" y="551"/>
                </a:cubicBezTo>
                <a:cubicBezTo>
                  <a:pt x="798" y="551"/>
                  <a:pt x="798" y="551"/>
                  <a:pt x="799" y="551"/>
                </a:cubicBezTo>
                <a:cubicBezTo>
                  <a:pt x="799" y="552"/>
                  <a:pt x="800" y="550"/>
                  <a:pt x="800" y="550"/>
                </a:cubicBezTo>
                <a:cubicBezTo>
                  <a:pt x="800" y="549"/>
                  <a:pt x="800" y="549"/>
                  <a:pt x="800" y="548"/>
                </a:cubicBezTo>
                <a:cubicBezTo>
                  <a:pt x="801" y="548"/>
                  <a:pt x="801" y="546"/>
                  <a:pt x="801" y="546"/>
                </a:cubicBezTo>
                <a:cubicBezTo>
                  <a:pt x="801" y="546"/>
                  <a:pt x="800" y="546"/>
                  <a:pt x="800" y="546"/>
                </a:cubicBezTo>
                <a:cubicBezTo>
                  <a:pt x="800" y="545"/>
                  <a:pt x="800" y="545"/>
                  <a:pt x="800" y="545"/>
                </a:cubicBezTo>
                <a:cubicBezTo>
                  <a:pt x="799" y="544"/>
                  <a:pt x="800" y="543"/>
                  <a:pt x="800" y="542"/>
                </a:cubicBezTo>
                <a:cubicBezTo>
                  <a:pt x="801" y="541"/>
                  <a:pt x="801" y="540"/>
                  <a:pt x="802" y="538"/>
                </a:cubicBezTo>
                <a:cubicBezTo>
                  <a:pt x="803" y="535"/>
                  <a:pt x="806" y="527"/>
                  <a:pt x="808" y="521"/>
                </a:cubicBezTo>
                <a:cubicBezTo>
                  <a:pt x="809" y="519"/>
                  <a:pt x="810" y="517"/>
                  <a:pt x="810" y="515"/>
                </a:cubicBezTo>
                <a:cubicBezTo>
                  <a:pt x="811" y="513"/>
                  <a:pt x="811" y="511"/>
                  <a:pt x="812" y="509"/>
                </a:cubicBezTo>
                <a:cubicBezTo>
                  <a:pt x="813" y="509"/>
                  <a:pt x="813" y="508"/>
                  <a:pt x="814" y="507"/>
                </a:cubicBezTo>
                <a:cubicBezTo>
                  <a:pt x="814" y="507"/>
                  <a:pt x="814" y="507"/>
                  <a:pt x="814" y="507"/>
                </a:cubicBezTo>
                <a:cubicBezTo>
                  <a:pt x="814" y="507"/>
                  <a:pt x="814" y="506"/>
                  <a:pt x="814" y="506"/>
                </a:cubicBezTo>
                <a:cubicBezTo>
                  <a:pt x="814" y="506"/>
                  <a:pt x="813" y="505"/>
                  <a:pt x="813" y="505"/>
                </a:cubicBezTo>
                <a:cubicBezTo>
                  <a:pt x="813" y="505"/>
                  <a:pt x="813" y="505"/>
                  <a:pt x="813" y="504"/>
                </a:cubicBezTo>
                <a:cubicBezTo>
                  <a:pt x="813" y="503"/>
                  <a:pt x="813" y="503"/>
                  <a:pt x="814" y="502"/>
                </a:cubicBezTo>
                <a:cubicBezTo>
                  <a:pt x="815" y="501"/>
                  <a:pt x="816" y="498"/>
                  <a:pt x="817" y="497"/>
                </a:cubicBezTo>
                <a:cubicBezTo>
                  <a:pt x="817" y="496"/>
                  <a:pt x="817" y="495"/>
                  <a:pt x="818" y="494"/>
                </a:cubicBezTo>
                <a:cubicBezTo>
                  <a:pt x="818" y="494"/>
                  <a:pt x="818" y="493"/>
                  <a:pt x="819" y="493"/>
                </a:cubicBezTo>
                <a:cubicBezTo>
                  <a:pt x="819" y="493"/>
                  <a:pt x="819" y="492"/>
                  <a:pt x="819" y="492"/>
                </a:cubicBezTo>
                <a:cubicBezTo>
                  <a:pt x="818" y="492"/>
                  <a:pt x="818" y="492"/>
                  <a:pt x="817" y="492"/>
                </a:cubicBezTo>
                <a:cubicBezTo>
                  <a:pt x="817" y="492"/>
                  <a:pt x="817" y="492"/>
                  <a:pt x="817" y="492"/>
                </a:cubicBezTo>
                <a:cubicBezTo>
                  <a:pt x="817" y="491"/>
                  <a:pt x="817" y="491"/>
                  <a:pt x="817" y="491"/>
                </a:cubicBezTo>
                <a:cubicBezTo>
                  <a:pt x="817" y="490"/>
                  <a:pt x="818" y="488"/>
                  <a:pt x="818" y="487"/>
                </a:cubicBezTo>
                <a:cubicBezTo>
                  <a:pt x="819" y="485"/>
                  <a:pt x="821" y="481"/>
                  <a:pt x="821" y="479"/>
                </a:cubicBezTo>
                <a:cubicBezTo>
                  <a:pt x="821" y="477"/>
                  <a:pt x="823" y="473"/>
                  <a:pt x="824" y="469"/>
                </a:cubicBezTo>
                <a:cubicBezTo>
                  <a:pt x="825" y="466"/>
                  <a:pt x="828" y="457"/>
                  <a:pt x="830" y="449"/>
                </a:cubicBezTo>
                <a:cubicBezTo>
                  <a:pt x="831" y="447"/>
                  <a:pt x="832" y="444"/>
                  <a:pt x="833" y="442"/>
                </a:cubicBezTo>
                <a:cubicBezTo>
                  <a:pt x="833" y="440"/>
                  <a:pt x="833" y="439"/>
                  <a:pt x="834" y="438"/>
                </a:cubicBezTo>
                <a:cubicBezTo>
                  <a:pt x="834" y="437"/>
                  <a:pt x="834" y="435"/>
                  <a:pt x="835" y="435"/>
                </a:cubicBezTo>
                <a:cubicBezTo>
                  <a:pt x="835" y="435"/>
                  <a:pt x="836" y="435"/>
                  <a:pt x="836" y="435"/>
                </a:cubicBezTo>
                <a:cubicBezTo>
                  <a:pt x="837" y="435"/>
                  <a:pt x="837" y="433"/>
                  <a:pt x="838" y="432"/>
                </a:cubicBezTo>
                <a:cubicBezTo>
                  <a:pt x="838" y="430"/>
                  <a:pt x="838" y="429"/>
                  <a:pt x="839" y="428"/>
                </a:cubicBezTo>
                <a:cubicBezTo>
                  <a:pt x="839" y="428"/>
                  <a:pt x="839" y="428"/>
                  <a:pt x="839" y="427"/>
                </a:cubicBezTo>
                <a:cubicBezTo>
                  <a:pt x="839" y="427"/>
                  <a:pt x="840" y="427"/>
                  <a:pt x="840" y="427"/>
                </a:cubicBezTo>
                <a:cubicBezTo>
                  <a:pt x="840" y="426"/>
                  <a:pt x="840" y="426"/>
                  <a:pt x="840" y="426"/>
                </a:cubicBezTo>
                <a:cubicBezTo>
                  <a:pt x="840" y="426"/>
                  <a:pt x="840" y="426"/>
                  <a:pt x="840" y="425"/>
                </a:cubicBezTo>
                <a:cubicBezTo>
                  <a:pt x="838" y="424"/>
                  <a:pt x="839" y="422"/>
                  <a:pt x="839" y="421"/>
                </a:cubicBezTo>
                <a:cubicBezTo>
                  <a:pt x="840" y="420"/>
                  <a:pt x="840" y="417"/>
                  <a:pt x="841" y="415"/>
                </a:cubicBezTo>
                <a:cubicBezTo>
                  <a:pt x="841" y="414"/>
                  <a:pt x="841" y="413"/>
                  <a:pt x="841" y="413"/>
                </a:cubicBezTo>
                <a:cubicBezTo>
                  <a:pt x="841" y="412"/>
                  <a:pt x="841" y="411"/>
                  <a:pt x="841" y="411"/>
                </a:cubicBezTo>
                <a:cubicBezTo>
                  <a:pt x="842" y="411"/>
                  <a:pt x="842" y="411"/>
                  <a:pt x="842" y="410"/>
                </a:cubicBezTo>
                <a:cubicBezTo>
                  <a:pt x="843" y="410"/>
                  <a:pt x="843" y="408"/>
                  <a:pt x="844" y="407"/>
                </a:cubicBezTo>
                <a:cubicBezTo>
                  <a:pt x="844" y="406"/>
                  <a:pt x="844" y="405"/>
                  <a:pt x="844" y="404"/>
                </a:cubicBezTo>
                <a:cubicBezTo>
                  <a:pt x="845" y="404"/>
                  <a:pt x="845" y="403"/>
                  <a:pt x="846" y="403"/>
                </a:cubicBezTo>
                <a:cubicBezTo>
                  <a:pt x="846" y="402"/>
                  <a:pt x="847" y="402"/>
                  <a:pt x="847" y="401"/>
                </a:cubicBezTo>
                <a:cubicBezTo>
                  <a:pt x="847" y="401"/>
                  <a:pt x="847" y="400"/>
                  <a:pt x="847" y="400"/>
                </a:cubicBezTo>
                <a:cubicBezTo>
                  <a:pt x="847" y="399"/>
                  <a:pt x="847" y="398"/>
                  <a:pt x="847" y="397"/>
                </a:cubicBezTo>
                <a:cubicBezTo>
                  <a:pt x="848" y="395"/>
                  <a:pt x="848" y="393"/>
                  <a:pt x="848" y="392"/>
                </a:cubicBezTo>
                <a:cubicBezTo>
                  <a:pt x="847" y="390"/>
                  <a:pt x="848" y="389"/>
                  <a:pt x="849" y="387"/>
                </a:cubicBezTo>
                <a:cubicBezTo>
                  <a:pt x="849" y="385"/>
                  <a:pt x="850" y="383"/>
                  <a:pt x="851" y="382"/>
                </a:cubicBezTo>
                <a:cubicBezTo>
                  <a:pt x="852" y="381"/>
                  <a:pt x="853" y="380"/>
                  <a:pt x="853" y="380"/>
                </a:cubicBezTo>
                <a:cubicBezTo>
                  <a:pt x="853" y="379"/>
                  <a:pt x="853" y="379"/>
                  <a:pt x="853" y="378"/>
                </a:cubicBezTo>
                <a:cubicBezTo>
                  <a:pt x="852" y="378"/>
                  <a:pt x="852" y="378"/>
                  <a:pt x="852" y="377"/>
                </a:cubicBezTo>
                <a:cubicBezTo>
                  <a:pt x="852" y="377"/>
                  <a:pt x="852" y="377"/>
                  <a:pt x="852" y="376"/>
                </a:cubicBezTo>
                <a:cubicBezTo>
                  <a:pt x="852" y="376"/>
                  <a:pt x="852" y="375"/>
                  <a:pt x="853" y="374"/>
                </a:cubicBezTo>
                <a:cubicBezTo>
                  <a:pt x="853" y="374"/>
                  <a:pt x="854" y="374"/>
                  <a:pt x="854" y="374"/>
                </a:cubicBezTo>
                <a:cubicBezTo>
                  <a:pt x="855" y="374"/>
                  <a:pt x="855" y="374"/>
                  <a:pt x="856" y="373"/>
                </a:cubicBezTo>
                <a:cubicBezTo>
                  <a:pt x="856" y="373"/>
                  <a:pt x="857" y="373"/>
                  <a:pt x="857" y="373"/>
                </a:cubicBezTo>
                <a:cubicBezTo>
                  <a:pt x="858" y="372"/>
                  <a:pt x="857" y="371"/>
                  <a:pt x="856" y="371"/>
                </a:cubicBezTo>
                <a:cubicBezTo>
                  <a:pt x="856" y="370"/>
                  <a:pt x="857" y="371"/>
                  <a:pt x="857" y="371"/>
                </a:cubicBezTo>
                <a:cubicBezTo>
                  <a:pt x="857" y="371"/>
                  <a:pt x="857" y="371"/>
                  <a:pt x="858" y="371"/>
                </a:cubicBezTo>
                <a:cubicBezTo>
                  <a:pt x="858" y="371"/>
                  <a:pt x="858" y="371"/>
                  <a:pt x="858" y="371"/>
                </a:cubicBezTo>
                <a:cubicBezTo>
                  <a:pt x="858" y="370"/>
                  <a:pt x="859" y="370"/>
                  <a:pt x="858" y="369"/>
                </a:cubicBezTo>
                <a:cubicBezTo>
                  <a:pt x="858" y="369"/>
                  <a:pt x="858" y="369"/>
                  <a:pt x="858" y="369"/>
                </a:cubicBezTo>
                <a:cubicBezTo>
                  <a:pt x="858" y="369"/>
                  <a:pt x="857" y="369"/>
                  <a:pt x="857" y="369"/>
                </a:cubicBezTo>
                <a:cubicBezTo>
                  <a:pt x="857" y="369"/>
                  <a:pt x="856" y="369"/>
                  <a:pt x="856" y="369"/>
                </a:cubicBezTo>
                <a:cubicBezTo>
                  <a:pt x="855" y="369"/>
                  <a:pt x="855" y="369"/>
                  <a:pt x="855" y="368"/>
                </a:cubicBezTo>
                <a:cubicBezTo>
                  <a:pt x="855" y="368"/>
                  <a:pt x="855" y="367"/>
                  <a:pt x="855" y="367"/>
                </a:cubicBezTo>
                <a:cubicBezTo>
                  <a:pt x="855" y="367"/>
                  <a:pt x="856" y="367"/>
                  <a:pt x="856" y="366"/>
                </a:cubicBezTo>
                <a:cubicBezTo>
                  <a:pt x="857" y="366"/>
                  <a:pt x="858" y="366"/>
                  <a:pt x="858" y="365"/>
                </a:cubicBezTo>
                <a:cubicBezTo>
                  <a:pt x="859" y="365"/>
                  <a:pt x="859" y="364"/>
                  <a:pt x="859" y="364"/>
                </a:cubicBezTo>
                <a:cubicBezTo>
                  <a:pt x="860" y="362"/>
                  <a:pt x="861" y="359"/>
                  <a:pt x="862" y="356"/>
                </a:cubicBezTo>
                <a:cubicBezTo>
                  <a:pt x="862" y="356"/>
                  <a:pt x="863" y="355"/>
                  <a:pt x="863" y="354"/>
                </a:cubicBezTo>
                <a:cubicBezTo>
                  <a:pt x="863" y="354"/>
                  <a:pt x="864" y="352"/>
                  <a:pt x="864" y="352"/>
                </a:cubicBezTo>
                <a:cubicBezTo>
                  <a:pt x="863" y="351"/>
                  <a:pt x="863" y="351"/>
                  <a:pt x="863" y="351"/>
                </a:cubicBezTo>
                <a:cubicBezTo>
                  <a:pt x="863" y="350"/>
                  <a:pt x="863" y="350"/>
                  <a:pt x="863" y="349"/>
                </a:cubicBezTo>
                <a:cubicBezTo>
                  <a:pt x="863" y="348"/>
                  <a:pt x="863" y="347"/>
                  <a:pt x="863" y="346"/>
                </a:cubicBezTo>
                <a:cubicBezTo>
                  <a:pt x="863" y="345"/>
                  <a:pt x="863" y="343"/>
                  <a:pt x="864" y="342"/>
                </a:cubicBezTo>
                <a:cubicBezTo>
                  <a:pt x="865" y="342"/>
                  <a:pt x="866" y="342"/>
                  <a:pt x="866" y="341"/>
                </a:cubicBezTo>
                <a:cubicBezTo>
                  <a:pt x="866" y="341"/>
                  <a:pt x="866" y="341"/>
                  <a:pt x="867" y="341"/>
                </a:cubicBezTo>
                <a:cubicBezTo>
                  <a:pt x="867" y="341"/>
                  <a:pt x="867" y="341"/>
                  <a:pt x="868" y="341"/>
                </a:cubicBezTo>
                <a:cubicBezTo>
                  <a:pt x="868" y="340"/>
                  <a:pt x="868" y="339"/>
                  <a:pt x="868" y="338"/>
                </a:cubicBezTo>
                <a:cubicBezTo>
                  <a:pt x="869" y="337"/>
                  <a:pt x="869" y="337"/>
                  <a:pt x="869" y="336"/>
                </a:cubicBezTo>
                <a:cubicBezTo>
                  <a:pt x="869" y="335"/>
                  <a:pt x="869" y="335"/>
                  <a:pt x="869" y="335"/>
                </a:cubicBezTo>
                <a:cubicBezTo>
                  <a:pt x="869" y="334"/>
                  <a:pt x="869" y="334"/>
                  <a:pt x="869" y="334"/>
                </a:cubicBezTo>
                <a:cubicBezTo>
                  <a:pt x="869" y="333"/>
                  <a:pt x="869" y="332"/>
                  <a:pt x="868" y="332"/>
                </a:cubicBezTo>
                <a:cubicBezTo>
                  <a:pt x="868" y="331"/>
                  <a:pt x="868" y="331"/>
                  <a:pt x="868" y="331"/>
                </a:cubicBezTo>
                <a:cubicBezTo>
                  <a:pt x="868" y="331"/>
                  <a:pt x="868" y="330"/>
                  <a:pt x="868" y="330"/>
                </a:cubicBezTo>
                <a:cubicBezTo>
                  <a:pt x="868" y="330"/>
                  <a:pt x="869" y="330"/>
                  <a:pt x="869" y="330"/>
                </a:cubicBezTo>
                <a:cubicBezTo>
                  <a:pt x="870" y="330"/>
                  <a:pt x="870" y="329"/>
                  <a:pt x="870" y="329"/>
                </a:cubicBezTo>
                <a:cubicBezTo>
                  <a:pt x="870" y="327"/>
                  <a:pt x="871" y="325"/>
                  <a:pt x="871" y="324"/>
                </a:cubicBezTo>
                <a:cubicBezTo>
                  <a:pt x="871" y="323"/>
                  <a:pt x="871" y="321"/>
                  <a:pt x="872" y="320"/>
                </a:cubicBezTo>
                <a:cubicBezTo>
                  <a:pt x="872" y="320"/>
                  <a:pt x="873" y="317"/>
                  <a:pt x="874" y="314"/>
                </a:cubicBezTo>
                <a:cubicBezTo>
                  <a:pt x="875" y="312"/>
                  <a:pt x="875" y="311"/>
                  <a:pt x="876" y="310"/>
                </a:cubicBezTo>
                <a:cubicBezTo>
                  <a:pt x="876" y="309"/>
                  <a:pt x="877" y="308"/>
                  <a:pt x="876" y="307"/>
                </a:cubicBezTo>
                <a:cubicBezTo>
                  <a:pt x="876" y="306"/>
                  <a:pt x="876" y="306"/>
                  <a:pt x="876" y="305"/>
                </a:cubicBezTo>
                <a:cubicBezTo>
                  <a:pt x="875" y="304"/>
                  <a:pt x="875" y="303"/>
                  <a:pt x="876" y="303"/>
                </a:cubicBezTo>
                <a:cubicBezTo>
                  <a:pt x="876" y="302"/>
                  <a:pt x="876" y="302"/>
                  <a:pt x="877" y="301"/>
                </a:cubicBezTo>
                <a:cubicBezTo>
                  <a:pt x="877" y="301"/>
                  <a:pt x="877" y="301"/>
                  <a:pt x="878" y="301"/>
                </a:cubicBezTo>
                <a:cubicBezTo>
                  <a:pt x="878" y="300"/>
                  <a:pt x="879" y="300"/>
                  <a:pt x="879" y="299"/>
                </a:cubicBezTo>
                <a:cubicBezTo>
                  <a:pt x="879" y="298"/>
                  <a:pt x="880" y="297"/>
                  <a:pt x="880" y="296"/>
                </a:cubicBezTo>
                <a:cubicBezTo>
                  <a:pt x="880" y="295"/>
                  <a:pt x="881" y="293"/>
                  <a:pt x="880" y="291"/>
                </a:cubicBezTo>
                <a:cubicBezTo>
                  <a:pt x="880" y="290"/>
                  <a:pt x="879" y="288"/>
                  <a:pt x="880" y="287"/>
                </a:cubicBezTo>
                <a:cubicBezTo>
                  <a:pt x="880" y="286"/>
                  <a:pt x="881" y="286"/>
                  <a:pt x="882" y="285"/>
                </a:cubicBezTo>
                <a:cubicBezTo>
                  <a:pt x="882" y="285"/>
                  <a:pt x="883" y="285"/>
                  <a:pt x="883" y="285"/>
                </a:cubicBezTo>
                <a:cubicBezTo>
                  <a:pt x="884" y="284"/>
                  <a:pt x="884" y="282"/>
                  <a:pt x="884" y="281"/>
                </a:cubicBezTo>
                <a:cubicBezTo>
                  <a:pt x="885" y="279"/>
                  <a:pt x="886" y="277"/>
                  <a:pt x="887" y="276"/>
                </a:cubicBezTo>
                <a:cubicBezTo>
                  <a:pt x="887" y="275"/>
                  <a:pt x="889" y="271"/>
                  <a:pt x="889" y="268"/>
                </a:cubicBezTo>
                <a:cubicBezTo>
                  <a:pt x="890" y="266"/>
                  <a:pt x="890" y="264"/>
                  <a:pt x="891" y="262"/>
                </a:cubicBezTo>
                <a:cubicBezTo>
                  <a:pt x="891" y="262"/>
                  <a:pt x="891" y="262"/>
                  <a:pt x="891" y="262"/>
                </a:cubicBezTo>
                <a:cubicBezTo>
                  <a:pt x="891" y="261"/>
                  <a:pt x="891" y="261"/>
                  <a:pt x="890" y="261"/>
                </a:cubicBezTo>
                <a:cubicBezTo>
                  <a:pt x="890" y="261"/>
                  <a:pt x="890" y="261"/>
                  <a:pt x="890" y="261"/>
                </a:cubicBezTo>
                <a:cubicBezTo>
                  <a:pt x="890" y="260"/>
                  <a:pt x="890" y="260"/>
                  <a:pt x="890" y="260"/>
                </a:cubicBezTo>
                <a:cubicBezTo>
                  <a:pt x="890" y="259"/>
                  <a:pt x="889" y="258"/>
                  <a:pt x="889" y="257"/>
                </a:cubicBezTo>
                <a:cubicBezTo>
                  <a:pt x="889" y="256"/>
                  <a:pt x="890" y="256"/>
                  <a:pt x="890" y="255"/>
                </a:cubicBezTo>
                <a:cubicBezTo>
                  <a:pt x="890" y="254"/>
                  <a:pt x="891" y="253"/>
                  <a:pt x="891" y="251"/>
                </a:cubicBezTo>
                <a:cubicBezTo>
                  <a:pt x="892" y="250"/>
                  <a:pt x="893" y="248"/>
                  <a:pt x="894" y="246"/>
                </a:cubicBezTo>
                <a:cubicBezTo>
                  <a:pt x="894" y="245"/>
                  <a:pt x="894" y="244"/>
                  <a:pt x="894" y="243"/>
                </a:cubicBezTo>
                <a:cubicBezTo>
                  <a:pt x="894" y="243"/>
                  <a:pt x="894" y="242"/>
                  <a:pt x="895" y="242"/>
                </a:cubicBezTo>
                <a:cubicBezTo>
                  <a:pt x="895" y="242"/>
                  <a:pt x="895" y="242"/>
                  <a:pt x="896" y="242"/>
                </a:cubicBezTo>
                <a:cubicBezTo>
                  <a:pt x="896" y="242"/>
                  <a:pt x="896" y="241"/>
                  <a:pt x="896" y="241"/>
                </a:cubicBezTo>
                <a:cubicBezTo>
                  <a:pt x="897" y="241"/>
                  <a:pt x="897" y="240"/>
                  <a:pt x="897" y="239"/>
                </a:cubicBezTo>
                <a:cubicBezTo>
                  <a:pt x="898" y="237"/>
                  <a:pt x="899" y="235"/>
                  <a:pt x="899" y="233"/>
                </a:cubicBezTo>
                <a:cubicBezTo>
                  <a:pt x="900" y="232"/>
                  <a:pt x="901" y="231"/>
                  <a:pt x="900" y="230"/>
                </a:cubicBezTo>
                <a:cubicBezTo>
                  <a:pt x="900" y="230"/>
                  <a:pt x="900" y="229"/>
                  <a:pt x="899" y="229"/>
                </a:cubicBezTo>
                <a:cubicBezTo>
                  <a:pt x="899" y="229"/>
                  <a:pt x="899" y="229"/>
                  <a:pt x="899" y="229"/>
                </a:cubicBezTo>
                <a:cubicBezTo>
                  <a:pt x="899" y="229"/>
                  <a:pt x="898" y="228"/>
                  <a:pt x="899" y="228"/>
                </a:cubicBezTo>
                <a:cubicBezTo>
                  <a:pt x="899" y="226"/>
                  <a:pt x="900" y="224"/>
                  <a:pt x="900" y="222"/>
                </a:cubicBezTo>
                <a:cubicBezTo>
                  <a:pt x="901" y="221"/>
                  <a:pt x="901" y="219"/>
                  <a:pt x="902" y="217"/>
                </a:cubicBezTo>
                <a:cubicBezTo>
                  <a:pt x="902" y="217"/>
                  <a:pt x="902" y="216"/>
                  <a:pt x="902" y="216"/>
                </a:cubicBezTo>
                <a:cubicBezTo>
                  <a:pt x="902" y="216"/>
                  <a:pt x="903" y="217"/>
                  <a:pt x="903" y="216"/>
                </a:cubicBezTo>
                <a:cubicBezTo>
                  <a:pt x="903" y="216"/>
                  <a:pt x="903" y="216"/>
                  <a:pt x="903" y="216"/>
                </a:cubicBezTo>
                <a:cubicBezTo>
                  <a:pt x="903" y="215"/>
                  <a:pt x="902" y="212"/>
                  <a:pt x="903" y="211"/>
                </a:cubicBezTo>
                <a:cubicBezTo>
                  <a:pt x="904" y="211"/>
                  <a:pt x="904" y="211"/>
                  <a:pt x="904" y="212"/>
                </a:cubicBezTo>
                <a:cubicBezTo>
                  <a:pt x="905" y="212"/>
                  <a:pt x="905" y="212"/>
                  <a:pt x="905" y="212"/>
                </a:cubicBezTo>
                <a:cubicBezTo>
                  <a:pt x="905" y="212"/>
                  <a:pt x="906" y="212"/>
                  <a:pt x="906" y="212"/>
                </a:cubicBezTo>
                <a:cubicBezTo>
                  <a:pt x="907" y="211"/>
                  <a:pt x="907" y="211"/>
                  <a:pt x="907" y="211"/>
                </a:cubicBezTo>
                <a:cubicBezTo>
                  <a:pt x="907" y="210"/>
                  <a:pt x="907" y="210"/>
                  <a:pt x="907" y="210"/>
                </a:cubicBezTo>
                <a:cubicBezTo>
                  <a:pt x="907" y="209"/>
                  <a:pt x="907" y="209"/>
                  <a:pt x="907" y="209"/>
                </a:cubicBezTo>
                <a:cubicBezTo>
                  <a:pt x="906" y="209"/>
                  <a:pt x="908" y="209"/>
                  <a:pt x="908" y="208"/>
                </a:cubicBezTo>
                <a:cubicBezTo>
                  <a:pt x="909" y="207"/>
                  <a:pt x="909" y="206"/>
                  <a:pt x="909" y="205"/>
                </a:cubicBezTo>
                <a:cubicBezTo>
                  <a:pt x="910" y="202"/>
                  <a:pt x="911" y="199"/>
                  <a:pt x="912" y="197"/>
                </a:cubicBezTo>
                <a:cubicBezTo>
                  <a:pt x="912" y="194"/>
                  <a:pt x="913" y="192"/>
                  <a:pt x="914" y="190"/>
                </a:cubicBezTo>
                <a:cubicBezTo>
                  <a:pt x="914" y="189"/>
                  <a:pt x="914" y="188"/>
                  <a:pt x="915" y="187"/>
                </a:cubicBezTo>
                <a:cubicBezTo>
                  <a:pt x="915" y="186"/>
                  <a:pt x="915" y="185"/>
                  <a:pt x="915" y="184"/>
                </a:cubicBezTo>
                <a:cubicBezTo>
                  <a:pt x="914" y="184"/>
                  <a:pt x="914" y="183"/>
                  <a:pt x="914" y="183"/>
                </a:cubicBezTo>
                <a:cubicBezTo>
                  <a:pt x="914" y="182"/>
                  <a:pt x="914" y="181"/>
                  <a:pt x="913" y="180"/>
                </a:cubicBezTo>
                <a:cubicBezTo>
                  <a:pt x="913" y="179"/>
                  <a:pt x="912" y="179"/>
                  <a:pt x="913" y="177"/>
                </a:cubicBezTo>
                <a:cubicBezTo>
                  <a:pt x="913" y="176"/>
                  <a:pt x="913" y="175"/>
                  <a:pt x="914" y="174"/>
                </a:cubicBezTo>
                <a:cubicBezTo>
                  <a:pt x="914" y="173"/>
                  <a:pt x="915" y="171"/>
                  <a:pt x="915" y="170"/>
                </a:cubicBezTo>
                <a:cubicBezTo>
                  <a:pt x="915" y="170"/>
                  <a:pt x="916" y="169"/>
                  <a:pt x="916" y="169"/>
                </a:cubicBezTo>
                <a:cubicBezTo>
                  <a:pt x="916" y="169"/>
                  <a:pt x="915" y="168"/>
                  <a:pt x="915" y="168"/>
                </a:cubicBezTo>
                <a:cubicBezTo>
                  <a:pt x="915" y="168"/>
                  <a:pt x="915" y="167"/>
                  <a:pt x="916" y="167"/>
                </a:cubicBezTo>
                <a:cubicBezTo>
                  <a:pt x="916" y="167"/>
                  <a:pt x="916" y="166"/>
                  <a:pt x="916" y="165"/>
                </a:cubicBezTo>
                <a:cubicBezTo>
                  <a:pt x="916" y="164"/>
                  <a:pt x="917" y="163"/>
                  <a:pt x="917" y="162"/>
                </a:cubicBezTo>
                <a:cubicBezTo>
                  <a:pt x="917" y="162"/>
                  <a:pt x="917" y="162"/>
                  <a:pt x="918" y="162"/>
                </a:cubicBezTo>
                <a:cubicBezTo>
                  <a:pt x="918" y="162"/>
                  <a:pt x="919" y="162"/>
                  <a:pt x="919" y="162"/>
                </a:cubicBezTo>
                <a:cubicBezTo>
                  <a:pt x="919" y="162"/>
                  <a:pt x="920" y="161"/>
                  <a:pt x="920" y="161"/>
                </a:cubicBezTo>
                <a:cubicBezTo>
                  <a:pt x="920" y="160"/>
                  <a:pt x="920" y="160"/>
                  <a:pt x="920" y="160"/>
                </a:cubicBezTo>
                <a:cubicBezTo>
                  <a:pt x="920" y="159"/>
                  <a:pt x="920" y="159"/>
                  <a:pt x="920" y="159"/>
                </a:cubicBezTo>
                <a:cubicBezTo>
                  <a:pt x="920" y="159"/>
                  <a:pt x="919" y="159"/>
                  <a:pt x="919" y="159"/>
                </a:cubicBezTo>
                <a:cubicBezTo>
                  <a:pt x="918" y="160"/>
                  <a:pt x="918" y="158"/>
                  <a:pt x="918" y="157"/>
                </a:cubicBezTo>
                <a:cubicBezTo>
                  <a:pt x="919" y="156"/>
                  <a:pt x="919" y="155"/>
                  <a:pt x="920" y="155"/>
                </a:cubicBezTo>
                <a:cubicBezTo>
                  <a:pt x="921" y="154"/>
                  <a:pt x="921" y="153"/>
                  <a:pt x="922" y="152"/>
                </a:cubicBezTo>
                <a:cubicBezTo>
                  <a:pt x="922" y="151"/>
                  <a:pt x="922" y="151"/>
                  <a:pt x="922" y="150"/>
                </a:cubicBezTo>
                <a:cubicBezTo>
                  <a:pt x="922" y="150"/>
                  <a:pt x="922" y="150"/>
                  <a:pt x="922" y="150"/>
                </a:cubicBezTo>
                <a:cubicBezTo>
                  <a:pt x="922" y="150"/>
                  <a:pt x="922" y="150"/>
                  <a:pt x="921" y="150"/>
                </a:cubicBezTo>
                <a:cubicBezTo>
                  <a:pt x="921" y="150"/>
                  <a:pt x="921" y="149"/>
                  <a:pt x="921" y="149"/>
                </a:cubicBezTo>
                <a:cubicBezTo>
                  <a:pt x="921" y="147"/>
                  <a:pt x="922" y="145"/>
                  <a:pt x="922" y="144"/>
                </a:cubicBezTo>
                <a:cubicBezTo>
                  <a:pt x="923" y="142"/>
                  <a:pt x="923" y="140"/>
                  <a:pt x="924" y="138"/>
                </a:cubicBezTo>
                <a:cubicBezTo>
                  <a:pt x="924" y="136"/>
                  <a:pt x="925" y="134"/>
                  <a:pt x="925" y="131"/>
                </a:cubicBezTo>
                <a:cubicBezTo>
                  <a:pt x="926" y="130"/>
                  <a:pt x="926" y="129"/>
                  <a:pt x="927" y="128"/>
                </a:cubicBezTo>
                <a:cubicBezTo>
                  <a:pt x="927" y="128"/>
                  <a:pt x="927" y="128"/>
                  <a:pt x="927" y="127"/>
                </a:cubicBezTo>
                <a:cubicBezTo>
                  <a:pt x="928" y="127"/>
                  <a:pt x="928" y="128"/>
                  <a:pt x="929" y="128"/>
                </a:cubicBezTo>
                <a:cubicBezTo>
                  <a:pt x="929" y="127"/>
                  <a:pt x="929" y="124"/>
                  <a:pt x="930" y="124"/>
                </a:cubicBezTo>
                <a:cubicBezTo>
                  <a:pt x="930" y="124"/>
                  <a:pt x="930" y="124"/>
                  <a:pt x="930" y="124"/>
                </a:cubicBezTo>
                <a:cubicBezTo>
                  <a:pt x="930" y="124"/>
                  <a:pt x="931" y="124"/>
                  <a:pt x="931" y="124"/>
                </a:cubicBezTo>
                <a:cubicBezTo>
                  <a:pt x="931" y="124"/>
                  <a:pt x="931" y="124"/>
                  <a:pt x="931" y="123"/>
                </a:cubicBezTo>
                <a:cubicBezTo>
                  <a:pt x="932" y="120"/>
                  <a:pt x="933" y="116"/>
                  <a:pt x="934" y="112"/>
                </a:cubicBezTo>
                <a:cubicBezTo>
                  <a:pt x="934" y="111"/>
                  <a:pt x="934" y="110"/>
                  <a:pt x="934" y="109"/>
                </a:cubicBezTo>
                <a:cubicBezTo>
                  <a:pt x="934" y="108"/>
                  <a:pt x="934" y="108"/>
                  <a:pt x="933" y="107"/>
                </a:cubicBezTo>
                <a:cubicBezTo>
                  <a:pt x="933" y="106"/>
                  <a:pt x="932" y="105"/>
                  <a:pt x="932" y="104"/>
                </a:cubicBezTo>
                <a:cubicBezTo>
                  <a:pt x="932" y="103"/>
                  <a:pt x="933" y="102"/>
                  <a:pt x="933" y="102"/>
                </a:cubicBezTo>
                <a:cubicBezTo>
                  <a:pt x="933" y="101"/>
                  <a:pt x="933" y="100"/>
                  <a:pt x="934" y="99"/>
                </a:cubicBezTo>
                <a:cubicBezTo>
                  <a:pt x="934" y="99"/>
                  <a:pt x="934" y="99"/>
                  <a:pt x="934" y="99"/>
                </a:cubicBezTo>
                <a:cubicBezTo>
                  <a:pt x="935" y="100"/>
                  <a:pt x="935" y="99"/>
                  <a:pt x="936" y="99"/>
                </a:cubicBezTo>
                <a:cubicBezTo>
                  <a:pt x="936" y="98"/>
                  <a:pt x="936" y="98"/>
                  <a:pt x="936" y="97"/>
                </a:cubicBezTo>
                <a:cubicBezTo>
                  <a:pt x="936" y="96"/>
                  <a:pt x="937" y="96"/>
                  <a:pt x="938" y="95"/>
                </a:cubicBezTo>
                <a:cubicBezTo>
                  <a:pt x="939" y="95"/>
                  <a:pt x="940" y="94"/>
                  <a:pt x="940" y="93"/>
                </a:cubicBezTo>
                <a:cubicBezTo>
                  <a:pt x="940" y="92"/>
                  <a:pt x="940" y="92"/>
                  <a:pt x="941" y="91"/>
                </a:cubicBezTo>
                <a:cubicBezTo>
                  <a:pt x="941" y="90"/>
                  <a:pt x="942" y="88"/>
                  <a:pt x="942" y="87"/>
                </a:cubicBezTo>
                <a:cubicBezTo>
                  <a:pt x="941" y="86"/>
                  <a:pt x="941" y="86"/>
                  <a:pt x="940" y="85"/>
                </a:cubicBezTo>
                <a:cubicBezTo>
                  <a:pt x="940" y="85"/>
                  <a:pt x="941" y="84"/>
                  <a:pt x="941" y="83"/>
                </a:cubicBezTo>
                <a:cubicBezTo>
                  <a:pt x="942" y="82"/>
                  <a:pt x="943" y="78"/>
                  <a:pt x="944" y="74"/>
                </a:cubicBezTo>
                <a:cubicBezTo>
                  <a:pt x="945" y="73"/>
                  <a:pt x="945" y="71"/>
                  <a:pt x="945" y="70"/>
                </a:cubicBezTo>
                <a:cubicBezTo>
                  <a:pt x="948" y="58"/>
                  <a:pt x="955" y="49"/>
                  <a:pt x="958" y="34"/>
                </a:cubicBezTo>
                <a:cubicBezTo>
                  <a:pt x="960" y="26"/>
                  <a:pt x="967" y="16"/>
                  <a:pt x="961" y="8"/>
                </a:cubicBezTo>
                <a:cubicBezTo>
                  <a:pt x="957" y="3"/>
                  <a:pt x="948" y="3"/>
                  <a:pt x="943" y="2"/>
                </a:cubicBezTo>
                <a:cubicBezTo>
                  <a:pt x="938" y="0"/>
                  <a:pt x="936" y="1"/>
                  <a:pt x="932" y="1"/>
                </a:cubicBezTo>
                <a:cubicBezTo>
                  <a:pt x="930" y="1"/>
                  <a:pt x="926" y="0"/>
                  <a:pt x="925" y="0"/>
                </a:cubicBezTo>
                <a:cubicBezTo>
                  <a:pt x="923" y="0"/>
                  <a:pt x="922" y="2"/>
                  <a:pt x="921" y="3"/>
                </a:cubicBezTo>
                <a:cubicBezTo>
                  <a:pt x="918" y="7"/>
                  <a:pt x="916" y="8"/>
                  <a:pt x="914" y="13"/>
                </a:cubicBezTo>
                <a:cubicBezTo>
                  <a:pt x="911" y="17"/>
                  <a:pt x="909" y="21"/>
                  <a:pt x="907" y="26"/>
                </a:cubicBezTo>
                <a:cubicBezTo>
                  <a:pt x="906" y="30"/>
                  <a:pt x="904" y="35"/>
                  <a:pt x="903" y="39"/>
                </a:cubicBezTo>
                <a:cubicBezTo>
                  <a:pt x="903" y="40"/>
                  <a:pt x="902" y="42"/>
                  <a:pt x="902" y="43"/>
                </a:cubicBezTo>
                <a:cubicBezTo>
                  <a:pt x="902" y="44"/>
                  <a:pt x="902" y="45"/>
                  <a:pt x="902" y="46"/>
                </a:cubicBezTo>
                <a:cubicBezTo>
                  <a:pt x="901" y="48"/>
                  <a:pt x="900" y="49"/>
                  <a:pt x="899" y="50"/>
                </a:cubicBezTo>
                <a:cubicBezTo>
                  <a:pt x="899" y="52"/>
                  <a:pt x="899" y="53"/>
                  <a:pt x="898" y="54"/>
                </a:cubicBezTo>
                <a:cubicBezTo>
                  <a:pt x="898" y="56"/>
                  <a:pt x="896" y="58"/>
                  <a:pt x="896" y="60"/>
                </a:cubicBezTo>
                <a:cubicBezTo>
                  <a:pt x="895" y="62"/>
                  <a:pt x="895" y="64"/>
                  <a:pt x="894" y="66"/>
                </a:cubicBezTo>
                <a:cubicBezTo>
                  <a:pt x="894" y="68"/>
                  <a:pt x="893" y="71"/>
                  <a:pt x="892" y="73"/>
                </a:cubicBezTo>
                <a:cubicBezTo>
                  <a:pt x="892" y="74"/>
                  <a:pt x="892" y="76"/>
                  <a:pt x="893" y="77"/>
                </a:cubicBezTo>
                <a:cubicBezTo>
                  <a:pt x="893" y="79"/>
                  <a:pt x="892" y="81"/>
                  <a:pt x="891" y="83"/>
                </a:cubicBezTo>
                <a:cubicBezTo>
                  <a:pt x="879" y="117"/>
                  <a:pt x="852" y="203"/>
                  <a:pt x="848" y="220"/>
                </a:cubicBezTo>
                <a:cubicBezTo>
                  <a:pt x="847" y="224"/>
                  <a:pt x="845" y="231"/>
                  <a:pt x="843" y="237"/>
                </a:cubicBezTo>
                <a:cubicBezTo>
                  <a:pt x="842" y="243"/>
                  <a:pt x="839" y="252"/>
                  <a:pt x="838" y="257"/>
                </a:cubicBezTo>
                <a:cubicBezTo>
                  <a:pt x="830" y="286"/>
                  <a:pt x="827" y="297"/>
                  <a:pt x="818" y="325"/>
                </a:cubicBezTo>
                <a:cubicBezTo>
                  <a:pt x="818" y="327"/>
                  <a:pt x="817" y="329"/>
                  <a:pt x="816" y="332"/>
                </a:cubicBezTo>
                <a:cubicBezTo>
                  <a:pt x="816" y="333"/>
                  <a:pt x="815" y="336"/>
                  <a:pt x="815" y="338"/>
                </a:cubicBezTo>
                <a:cubicBezTo>
                  <a:pt x="815" y="338"/>
                  <a:pt x="815" y="338"/>
                  <a:pt x="815" y="339"/>
                </a:cubicBezTo>
                <a:cubicBezTo>
                  <a:pt x="815" y="339"/>
                  <a:pt x="814" y="340"/>
                  <a:pt x="814" y="340"/>
                </a:cubicBezTo>
                <a:cubicBezTo>
                  <a:pt x="813" y="341"/>
                  <a:pt x="813" y="341"/>
                  <a:pt x="812" y="342"/>
                </a:cubicBezTo>
                <a:cubicBezTo>
                  <a:pt x="812" y="343"/>
                  <a:pt x="813" y="343"/>
                  <a:pt x="813" y="343"/>
                </a:cubicBezTo>
                <a:cubicBezTo>
                  <a:pt x="813" y="344"/>
                  <a:pt x="813" y="345"/>
                  <a:pt x="813" y="347"/>
                </a:cubicBezTo>
                <a:cubicBezTo>
                  <a:pt x="812" y="348"/>
                  <a:pt x="812" y="350"/>
                  <a:pt x="811" y="352"/>
                </a:cubicBezTo>
                <a:cubicBezTo>
                  <a:pt x="810" y="355"/>
                  <a:pt x="809" y="359"/>
                  <a:pt x="808" y="363"/>
                </a:cubicBezTo>
                <a:cubicBezTo>
                  <a:pt x="807" y="366"/>
                  <a:pt x="805" y="370"/>
                  <a:pt x="804" y="374"/>
                </a:cubicBezTo>
                <a:cubicBezTo>
                  <a:pt x="804" y="375"/>
                  <a:pt x="803" y="377"/>
                  <a:pt x="803" y="378"/>
                </a:cubicBezTo>
                <a:cubicBezTo>
                  <a:pt x="803" y="380"/>
                  <a:pt x="802" y="382"/>
                  <a:pt x="801" y="383"/>
                </a:cubicBezTo>
                <a:cubicBezTo>
                  <a:pt x="800" y="384"/>
                  <a:pt x="799" y="384"/>
                  <a:pt x="799" y="386"/>
                </a:cubicBezTo>
                <a:cubicBezTo>
                  <a:pt x="800" y="386"/>
                  <a:pt x="800" y="386"/>
                  <a:pt x="800" y="387"/>
                </a:cubicBezTo>
                <a:cubicBezTo>
                  <a:pt x="800" y="387"/>
                  <a:pt x="800" y="387"/>
                  <a:pt x="800" y="387"/>
                </a:cubicBezTo>
                <a:cubicBezTo>
                  <a:pt x="800" y="391"/>
                  <a:pt x="798" y="395"/>
                  <a:pt x="797" y="399"/>
                </a:cubicBezTo>
                <a:cubicBezTo>
                  <a:pt x="795" y="403"/>
                  <a:pt x="794" y="407"/>
                  <a:pt x="793" y="411"/>
                </a:cubicBezTo>
                <a:cubicBezTo>
                  <a:pt x="790" y="420"/>
                  <a:pt x="787" y="428"/>
                  <a:pt x="785" y="436"/>
                </a:cubicBezTo>
                <a:cubicBezTo>
                  <a:pt x="783" y="443"/>
                  <a:pt x="780" y="450"/>
                  <a:pt x="778" y="457"/>
                </a:cubicBezTo>
                <a:cubicBezTo>
                  <a:pt x="773" y="474"/>
                  <a:pt x="768" y="490"/>
                  <a:pt x="763" y="507"/>
                </a:cubicBezTo>
                <a:cubicBezTo>
                  <a:pt x="762" y="510"/>
                  <a:pt x="760" y="514"/>
                  <a:pt x="759" y="517"/>
                </a:cubicBezTo>
                <a:cubicBezTo>
                  <a:pt x="759" y="519"/>
                  <a:pt x="758" y="521"/>
                  <a:pt x="758" y="523"/>
                </a:cubicBezTo>
                <a:cubicBezTo>
                  <a:pt x="757" y="524"/>
                  <a:pt x="756" y="526"/>
                  <a:pt x="757" y="527"/>
                </a:cubicBezTo>
                <a:cubicBezTo>
                  <a:pt x="757" y="529"/>
                  <a:pt x="756" y="528"/>
                  <a:pt x="756" y="529"/>
                </a:cubicBezTo>
                <a:cubicBezTo>
                  <a:pt x="756" y="530"/>
                  <a:pt x="755" y="532"/>
                  <a:pt x="755" y="532"/>
                </a:cubicBezTo>
                <a:cubicBezTo>
                  <a:pt x="755" y="532"/>
                  <a:pt x="754" y="534"/>
                  <a:pt x="754" y="534"/>
                </a:cubicBezTo>
                <a:cubicBezTo>
                  <a:pt x="754" y="536"/>
                  <a:pt x="754" y="537"/>
                  <a:pt x="753" y="539"/>
                </a:cubicBezTo>
                <a:cubicBezTo>
                  <a:pt x="752" y="542"/>
                  <a:pt x="751" y="546"/>
                  <a:pt x="750" y="549"/>
                </a:cubicBezTo>
                <a:cubicBezTo>
                  <a:pt x="750" y="550"/>
                  <a:pt x="749" y="550"/>
                  <a:pt x="750" y="550"/>
                </a:cubicBezTo>
                <a:cubicBezTo>
                  <a:pt x="750" y="551"/>
                  <a:pt x="750" y="551"/>
                  <a:pt x="750" y="551"/>
                </a:cubicBezTo>
                <a:cubicBezTo>
                  <a:pt x="750" y="553"/>
                  <a:pt x="750" y="555"/>
                  <a:pt x="750" y="556"/>
                </a:cubicBezTo>
                <a:cubicBezTo>
                  <a:pt x="750" y="557"/>
                  <a:pt x="750" y="558"/>
                  <a:pt x="749" y="558"/>
                </a:cubicBezTo>
                <a:cubicBezTo>
                  <a:pt x="749" y="558"/>
                  <a:pt x="748" y="556"/>
                  <a:pt x="747" y="558"/>
                </a:cubicBezTo>
                <a:cubicBezTo>
                  <a:pt x="747" y="558"/>
                  <a:pt x="747" y="559"/>
                  <a:pt x="747" y="559"/>
                </a:cubicBezTo>
                <a:cubicBezTo>
                  <a:pt x="748" y="560"/>
                  <a:pt x="747" y="561"/>
                  <a:pt x="746" y="561"/>
                </a:cubicBezTo>
                <a:cubicBezTo>
                  <a:pt x="746" y="561"/>
                  <a:pt x="746" y="561"/>
                  <a:pt x="746" y="561"/>
                </a:cubicBezTo>
                <a:cubicBezTo>
                  <a:pt x="745" y="563"/>
                  <a:pt x="745" y="565"/>
                  <a:pt x="744" y="568"/>
                </a:cubicBezTo>
                <a:cubicBezTo>
                  <a:pt x="744" y="570"/>
                  <a:pt x="742" y="573"/>
                  <a:pt x="743" y="575"/>
                </a:cubicBezTo>
                <a:cubicBezTo>
                  <a:pt x="743" y="575"/>
                  <a:pt x="743" y="576"/>
                  <a:pt x="743" y="576"/>
                </a:cubicBezTo>
                <a:cubicBezTo>
                  <a:pt x="743" y="577"/>
                  <a:pt x="743" y="578"/>
                  <a:pt x="742" y="579"/>
                </a:cubicBezTo>
                <a:cubicBezTo>
                  <a:pt x="742" y="580"/>
                  <a:pt x="741" y="582"/>
                  <a:pt x="740" y="583"/>
                </a:cubicBezTo>
                <a:cubicBezTo>
                  <a:pt x="740" y="584"/>
                  <a:pt x="738" y="586"/>
                  <a:pt x="739" y="587"/>
                </a:cubicBezTo>
                <a:cubicBezTo>
                  <a:pt x="739" y="588"/>
                  <a:pt x="739" y="588"/>
                  <a:pt x="739" y="588"/>
                </a:cubicBezTo>
                <a:cubicBezTo>
                  <a:pt x="739" y="588"/>
                  <a:pt x="739" y="588"/>
                  <a:pt x="739" y="589"/>
                </a:cubicBezTo>
                <a:cubicBezTo>
                  <a:pt x="739" y="589"/>
                  <a:pt x="739" y="590"/>
                  <a:pt x="738" y="590"/>
                </a:cubicBezTo>
                <a:cubicBezTo>
                  <a:pt x="737" y="590"/>
                  <a:pt x="736" y="595"/>
                  <a:pt x="736" y="595"/>
                </a:cubicBezTo>
                <a:cubicBezTo>
                  <a:pt x="735" y="598"/>
                  <a:pt x="734" y="600"/>
                  <a:pt x="734" y="602"/>
                </a:cubicBezTo>
                <a:cubicBezTo>
                  <a:pt x="732" y="608"/>
                  <a:pt x="730" y="613"/>
                  <a:pt x="728" y="619"/>
                </a:cubicBezTo>
                <a:cubicBezTo>
                  <a:pt x="727" y="621"/>
                  <a:pt x="727" y="623"/>
                  <a:pt x="726" y="626"/>
                </a:cubicBezTo>
                <a:cubicBezTo>
                  <a:pt x="726" y="627"/>
                  <a:pt x="725" y="628"/>
                  <a:pt x="725" y="629"/>
                </a:cubicBezTo>
                <a:cubicBezTo>
                  <a:pt x="725" y="630"/>
                  <a:pt x="725" y="631"/>
                  <a:pt x="725" y="632"/>
                </a:cubicBezTo>
                <a:cubicBezTo>
                  <a:pt x="725" y="633"/>
                  <a:pt x="724" y="634"/>
                  <a:pt x="724" y="635"/>
                </a:cubicBezTo>
                <a:cubicBezTo>
                  <a:pt x="724" y="636"/>
                  <a:pt x="723" y="636"/>
                  <a:pt x="723" y="637"/>
                </a:cubicBezTo>
                <a:cubicBezTo>
                  <a:pt x="723" y="637"/>
                  <a:pt x="724" y="638"/>
                  <a:pt x="723" y="639"/>
                </a:cubicBezTo>
                <a:cubicBezTo>
                  <a:pt x="723" y="639"/>
                  <a:pt x="722" y="640"/>
                  <a:pt x="722" y="641"/>
                </a:cubicBezTo>
                <a:cubicBezTo>
                  <a:pt x="720" y="643"/>
                  <a:pt x="720" y="645"/>
                  <a:pt x="719" y="647"/>
                </a:cubicBezTo>
                <a:cubicBezTo>
                  <a:pt x="718" y="651"/>
                  <a:pt x="717" y="654"/>
                  <a:pt x="717" y="654"/>
                </a:cubicBezTo>
                <a:cubicBezTo>
                  <a:pt x="717" y="655"/>
                  <a:pt x="715" y="660"/>
                  <a:pt x="714" y="665"/>
                </a:cubicBezTo>
                <a:cubicBezTo>
                  <a:pt x="713" y="667"/>
                  <a:pt x="712" y="669"/>
                  <a:pt x="712" y="671"/>
                </a:cubicBezTo>
                <a:cubicBezTo>
                  <a:pt x="712" y="672"/>
                  <a:pt x="711" y="673"/>
                  <a:pt x="711" y="673"/>
                </a:cubicBezTo>
                <a:cubicBezTo>
                  <a:pt x="711" y="674"/>
                  <a:pt x="710" y="675"/>
                  <a:pt x="711" y="675"/>
                </a:cubicBezTo>
                <a:cubicBezTo>
                  <a:pt x="711" y="676"/>
                  <a:pt x="711" y="676"/>
                  <a:pt x="711" y="676"/>
                </a:cubicBezTo>
                <a:cubicBezTo>
                  <a:pt x="711" y="676"/>
                  <a:pt x="711" y="676"/>
                  <a:pt x="710" y="676"/>
                </a:cubicBezTo>
                <a:cubicBezTo>
                  <a:pt x="710" y="677"/>
                  <a:pt x="710" y="678"/>
                  <a:pt x="710" y="679"/>
                </a:cubicBezTo>
                <a:cubicBezTo>
                  <a:pt x="709" y="680"/>
                  <a:pt x="709" y="682"/>
                  <a:pt x="708" y="683"/>
                </a:cubicBezTo>
                <a:cubicBezTo>
                  <a:pt x="706" y="689"/>
                  <a:pt x="705" y="692"/>
                  <a:pt x="703" y="696"/>
                </a:cubicBezTo>
                <a:cubicBezTo>
                  <a:pt x="701" y="699"/>
                  <a:pt x="697" y="712"/>
                  <a:pt x="696" y="719"/>
                </a:cubicBezTo>
                <a:cubicBezTo>
                  <a:pt x="695" y="721"/>
                  <a:pt x="694" y="725"/>
                  <a:pt x="695" y="727"/>
                </a:cubicBezTo>
                <a:cubicBezTo>
                  <a:pt x="695" y="727"/>
                  <a:pt x="695" y="728"/>
                  <a:pt x="695" y="728"/>
                </a:cubicBezTo>
                <a:cubicBezTo>
                  <a:pt x="694" y="729"/>
                  <a:pt x="694" y="728"/>
                  <a:pt x="693" y="729"/>
                </a:cubicBezTo>
                <a:cubicBezTo>
                  <a:pt x="693" y="730"/>
                  <a:pt x="693" y="731"/>
                  <a:pt x="692" y="732"/>
                </a:cubicBezTo>
                <a:cubicBezTo>
                  <a:pt x="692" y="733"/>
                  <a:pt x="691" y="735"/>
                  <a:pt x="692" y="736"/>
                </a:cubicBezTo>
                <a:cubicBezTo>
                  <a:pt x="692" y="736"/>
                  <a:pt x="692" y="736"/>
                  <a:pt x="693" y="737"/>
                </a:cubicBezTo>
                <a:cubicBezTo>
                  <a:pt x="693" y="737"/>
                  <a:pt x="692" y="737"/>
                  <a:pt x="692" y="738"/>
                </a:cubicBezTo>
                <a:cubicBezTo>
                  <a:pt x="692" y="738"/>
                  <a:pt x="692" y="739"/>
                  <a:pt x="692" y="740"/>
                </a:cubicBezTo>
                <a:cubicBezTo>
                  <a:pt x="692" y="740"/>
                  <a:pt x="691" y="740"/>
                  <a:pt x="691" y="740"/>
                </a:cubicBezTo>
                <a:cubicBezTo>
                  <a:pt x="691" y="739"/>
                  <a:pt x="691" y="739"/>
                  <a:pt x="690" y="739"/>
                </a:cubicBezTo>
                <a:cubicBezTo>
                  <a:pt x="690" y="739"/>
                  <a:pt x="690" y="739"/>
                  <a:pt x="690" y="740"/>
                </a:cubicBezTo>
                <a:cubicBezTo>
                  <a:pt x="690" y="740"/>
                  <a:pt x="690" y="741"/>
                  <a:pt x="690" y="741"/>
                </a:cubicBezTo>
                <a:cubicBezTo>
                  <a:pt x="690" y="742"/>
                  <a:pt x="690" y="744"/>
                  <a:pt x="690" y="745"/>
                </a:cubicBezTo>
                <a:cubicBezTo>
                  <a:pt x="690" y="746"/>
                  <a:pt x="690" y="747"/>
                  <a:pt x="689" y="748"/>
                </a:cubicBezTo>
                <a:cubicBezTo>
                  <a:pt x="689" y="749"/>
                  <a:pt x="689" y="750"/>
                  <a:pt x="688" y="751"/>
                </a:cubicBezTo>
                <a:cubicBezTo>
                  <a:pt x="686" y="751"/>
                  <a:pt x="686" y="750"/>
                  <a:pt x="686" y="752"/>
                </a:cubicBezTo>
                <a:cubicBezTo>
                  <a:pt x="686" y="753"/>
                  <a:pt x="686" y="753"/>
                  <a:pt x="686" y="754"/>
                </a:cubicBezTo>
                <a:cubicBezTo>
                  <a:pt x="685" y="755"/>
                  <a:pt x="684" y="757"/>
                  <a:pt x="684" y="759"/>
                </a:cubicBezTo>
                <a:cubicBezTo>
                  <a:pt x="683" y="761"/>
                  <a:pt x="682" y="763"/>
                  <a:pt x="682" y="765"/>
                </a:cubicBezTo>
                <a:cubicBezTo>
                  <a:pt x="683" y="766"/>
                  <a:pt x="683" y="766"/>
                  <a:pt x="683" y="767"/>
                </a:cubicBezTo>
                <a:cubicBezTo>
                  <a:pt x="684" y="768"/>
                  <a:pt x="683" y="771"/>
                  <a:pt x="681" y="771"/>
                </a:cubicBezTo>
                <a:cubicBezTo>
                  <a:pt x="681" y="771"/>
                  <a:pt x="681" y="771"/>
                  <a:pt x="681" y="771"/>
                </a:cubicBezTo>
                <a:cubicBezTo>
                  <a:pt x="680" y="771"/>
                  <a:pt x="679" y="772"/>
                  <a:pt x="678" y="773"/>
                </a:cubicBezTo>
                <a:cubicBezTo>
                  <a:pt x="678" y="773"/>
                  <a:pt x="679" y="773"/>
                  <a:pt x="679" y="773"/>
                </a:cubicBezTo>
                <a:cubicBezTo>
                  <a:pt x="679" y="774"/>
                  <a:pt x="680" y="774"/>
                  <a:pt x="679" y="775"/>
                </a:cubicBezTo>
                <a:cubicBezTo>
                  <a:pt x="679" y="775"/>
                  <a:pt x="678" y="775"/>
                  <a:pt x="678" y="775"/>
                </a:cubicBezTo>
                <a:cubicBezTo>
                  <a:pt x="678" y="776"/>
                  <a:pt x="678" y="776"/>
                  <a:pt x="678" y="776"/>
                </a:cubicBezTo>
                <a:cubicBezTo>
                  <a:pt x="676" y="784"/>
                  <a:pt x="673" y="792"/>
                  <a:pt x="670" y="799"/>
                </a:cubicBezTo>
                <a:cubicBezTo>
                  <a:pt x="670" y="800"/>
                  <a:pt x="669" y="802"/>
                  <a:pt x="669" y="804"/>
                </a:cubicBezTo>
                <a:cubicBezTo>
                  <a:pt x="668" y="806"/>
                  <a:pt x="667" y="809"/>
                  <a:pt x="666" y="811"/>
                </a:cubicBezTo>
                <a:cubicBezTo>
                  <a:pt x="665" y="813"/>
                  <a:pt x="664" y="816"/>
                  <a:pt x="663" y="818"/>
                </a:cubicBezTo>
                <a:cubicBezTo>
                  <a:pt x="662" y="820"/>
                  <a:pt x="662" y="821"/>
                  <a:pt x="661" y="823"/>
                </a:cubicBezTo>
                <a:cubicBezTo>
                  <a:pt x="661" y="824"/>
                  <a:pt x="659" y="825"/>
                  <a:pt x="660" y="826"/>
                </a:cubicBezTo>
                <a:cubicBezTo>
                  <a:pt x="660" y="828"/>
                  <a:pt x="660" y="829"/>
                  <a:pt x="660" y="831"/>
                </a:cubicBezTo>
                <a:cubicBezTo>
                  <a:pt x="659" y="833"/>
                  <a:pt x="658" y="835"/>
                  <a:pt x="658" y="837"/>
                </a:cubicBezTo>
                <a:cubicBezTo>
                  <a:pt x="657" y="840"/>
                  <a:pt x="656" y="843"/>
                  <a:pt x="655" y="847"/>
                </a:cubicBezTo>
                <a:cubicBezTo>
                  <a:pt x="654" y="850"/>
                  <a:pt x="653" y="852"/>
                  <a:pt x="653" y="855"/>
                </a:cubicBezTo>
                <a:cubicBezTo>
                  <a:pt x="653" y="856"/>
                  <a:pt x="653" y="856"/>
                  <a:pt x="653" y="857"/>
                </a:cubicBezTo>
                <a:cubicBezTo>
                  <a:pt x="653" y="857"/>
                  <a:pt x="653" y="858"/>
                  <a:pt x="653" y="858"/>
                </a:cubicBezTo>
                <a:cubicBezTo>
                  <a:pt x="652" y="858"/>
                  <a:pt x="651" y="861"/>
                  <a:pt x="651" y="862"/>
                </a:cubicBezTo>
                <a:cubicBezTo>
                  <a:pt x="651" y="863"/>
                  <a:pt x="650" y="865"/>
                  <a:pt x="650" y="866"/>
                </a:cubicBezTo>
                <a:cubicBezTo>
                  <a:pt x="650" y="867"/>
                  <a:pt x="651" y="868"/>
                  <a:pt x="650" y="868"/>
                </a:cubicBezTo>
                <a:cubicBezTo>
                  <a:pt x="650" y="868"/>
                  <a:pt x="649" y="868"/>
                  <a:pt x="649" y="868"/>
                </a:cubicBezTo>
                <a:cubicBezTo>
                  <a:pt x="649" y="869"/>
                  <a:pt x="648" y="869"/>
                  <a:pt x="648" y="870"/>
                </a:cubicBezTo>
                <a:cubicBezTo>
                  <a:pt x="648" y="871"/>
                  <a:pt x="648" y="873"/>
                  <a:pt x="647" y="873"/>
                </a:cubicBezTo>
                <a:cubicBezTo>
                  <a:pt x="646" y="874"/>
                  <a:pt x="644" y="873"/>
                  <a:pt x="645" y="875"/>
                </a:cubicBezTo>
                <a:cubicBezTo>
                  <a:pt x="645" y="876"/>
                  <a:pt x="645" y="876"/>
                  <a:pt x="646" y="877"/>
                </a:cubicBezTo>
                <a:cubicBezTo>
                  <a:pt x="647" y="878"/>
                  <a:pt x="646" y="880"/>
                  <a:pt x="645" y="881"/>
                </a:cubicBezTo>
                <a:cubicBezTo>
                  <a:pt x="644" y="884"/>
                  <a:pt x="644" y="886"/>
                  <a:pt x="643" y="888"/>
                </a:cubicBezTo>
                <a:cubicBezTo>
                  <a:pt x="641" y="893"/>
                  <a:pt x="640" y="897"/>
                  <a:pt x="639" y="902"/>
                </a:cubicBezTo>
                <a:cubicBezTo>
                  <a:pt x="634" y="915"/>
                  <a:pt x="630" y="929"/>
                  <a:pt x="629" y="931"/>
                </a:cubicBezTo>
                <a:cubicBezTo>
                  <a:pt x="629" y="934"/>
                  <a:pt x="625" y="945"/>
                  <a:pt x="622" y="955"/>
                </a:cubicBezTo>
                <a:cubicBezTo>
                  <a:pt x="619" y="966"/>
                  <a:pt x="614" y="983"/>
                  <a:pt x="611" y="993"/>
                </a:cubicBezTo>
                <a:cubicBezTo>
                  <a:pt x="607" y="1004"/>
                  <a:pt x="599" y="1031"/>
                  <a:pt x="592" y="1054"/>
                </a:cubicBezTo>
                <a:cubicBezTo>
                  <a:pt x="589" y="1062"/>
                  <a:pt x="587" y="1069"/>
                  <a:pt x="585" y="1076"/>
                </a:cubicBezTo>
                <a:cubicBezTo>
                  <a:pt x="584" y="1080"/>
                  <a:pt x="583" y="1083"/>
                  <a:pt x="582" y="1087"/>
                </a:cubicBezTo>
                <a:cubicBezTo>
                  <a:pt x="581" y="1090"/>
                  <a:pt x="579" y="1094"/>
                  <a:pt x="579" y="1097"/>
                </a:cubicBezTo>
                <a:cubicBezTo>
                  <a:pt x="579" y="1097"/>
                  <a:pt x="579" y="1098"/>
                  <a:pt x="579" y="1098"/>
                </a:cubicBezTo>
                <a:cubicBezTo>
                  <a:pt x="579" y="1099"/>
                  <a:pt x="578" y="1100"/>
                  <a:pt x="577" y="1102"/>
                </a:cubicBezTo>
                <a:cubicBezTo>
                  <a:pt x="577" y="1103"/>
                  <a:pt x="576" y="1105"/>
                  <a:pt x="576" y="1107"/>
                </a:cubicBezTo>
                <a:cubicBezTo>
                  <a:pt x="575" y="1111"/>
                  <a:pt x="574" y="1115"/>
                  <a:pt x="573" y="1118"/>
                </a:cubicBezTo>
                <a:cubicBezTo>
                  <a:pt x="572" y="1122"/>
                  <a:pt x="571" y="1125"/>
                  <a:pt x="570" y="1128"/>
                </a:cubicBezTo>
                <a:cubicBezTo>
                  <a:pt x="569" y="1130"/>
                  <a:pt x="569" y="1132"/>
                  <a:pt x="568" y="1133"/>
                </a:cubicBezTo>
                <a:cubicBezTo>
                  <a:pt x="568" y="1135"/>
                  <a:pt x="567" y="1136"/>
                  <a:pt x="567" y="1138"/>
                </a:cubicBezTo>
                <a:cubicBezTo>
                  <a:pt x="567" y="1138"/>
                  <a:pt x="566" y="1139"/>
                  <a:pt x="566" y="1139"/>
                </a:cubicBezTo>
                <a:cubicBezTo>
                  <a:pt x="566" y="1140"/>
                  <a:pt x="566" y="1141"/>
                  <a:pt x="566" y="1142"/>
                </a:cubicBezTo>
                <a:cubicBezTo>
                  <a:pt x="565" y="1144"/>
                  <a:pt x="565" y="1145"/>
                  <a:pt x="564" y="1146"/>
                </a:cubicBezTo>
                <a:cubicBezTo>
                  <a:pt x="563" y="1150"/>
                  <a:pt x="560" y="1160"/>
                  <a:pt x="558" y="1168"/>
                </a:cubicBezTo>
                <a:cubicBezTo>
                  <a:pt x="557" y="1171"/>
                  <a:pt x="556" y="1173"/>
                  <a:pt x="555" y="1176"/>
                </a:cubicBezTo>
                <a:cubicBezTo>
                  <a:pt x="555" y="1178"/>
                  <a:pt x="554" y="1181"/>
                  <a:pt x="553" y="1183"/>
                </a:cubicBezTo>
                <a:cubicBezTo>
                  <a:pt x="553" y="1183"/>
                  <a:pt x="553" y="1183"/>
                  <a:pt x="553" y="1183"/>
                </a:cubicBezTo>
                <a:cubicBezTo>
                  <a:pt x="553" y="1183"/>
                  <a:pt x="553" y="1183"/>
                  <a:pt x="552" y="1183"/>
                </a:cubicBezTo>
                <a:cubicBezTo>
                  <a:pt x="552" y="1183"/>
                  <a:pt x="551" y="1183"/>
                  <a:pt x="551" y="1184"/>
                </a:cubicBezTo>
                <a:cubicBezTo>
                  <a:pt x="551" y="1184"/>
                  <a:pt x="551" y="1185"/>
                  <a:pt x="551" y="1186"/>
                </a:cubicBezTo>
                <a:cubicBezTo>
                  <a:pt x="551" y="1187"/>
                  <a:pt x="550" y="1188"/>
                  <a:pt x="550" y="1190"/>
                </a:cubicBezTo>
                <a:cubicBezTo>
                  <a:pt x="550" y="1190"/>
                  <a:pt x="550" y="1191"/>
                  <a:pt x="550" y="1192"/>
                </a:cubicBezTo>
                <a:cubicBezTo>
                  <a:pt x="550" y="1192"/>
                  <a:pt x="550" y="1192"/>
                  <a:pt x="550" y="1193"/>
                </a:cubicBezTo>
                <a:cubicBezTo>
                  <a:pt x="550" y="1193"/>
                  <a:pt x="549" y="1193"/>
                  <a:pt x="549" y="1194"/>
                </a:cubicBezTo>
                <a:cubicBezTo>
                  <a:pt x="549" y="1194"/>
                  <a:pt x="549" y="1194"/>
                  <a:pt x="549" y="1194"/>
                </a:cubicBezTo>
                <a:cubicBezTo>
                  <a:pt x="550" y="1195"/>
                  <a:pt x="549" y="1198"/>
                  <a:pt x="548" y="1199"/>
                </a:cubicBezTo>
                <a:cubicBezTo>
                  <a:pt x="548" y="1200"/>
                  <a:pt x="547" y="1200"/>
                  <a:pt x="547" y="1202"/>
                </a:cubicBezTo>
                <a:cubicBezTo>
                  <a:pt x="546" y="1203"/>
                  <a:pt x="546" y="1206"/>
                  <a:pt x="546" y="1206"/>
                </a:cubicBezTo>
                <a:cubicBezTo>
                  <a:pt x="545" y="1208"/>
                  <a:pt x="545" y="1210"/>
                  <a:pt x="544" y="1211"/>
                </a:cubicBezTo>
                <a:cubicBezTo>
                  <a:pt x="544" y="1213"/>
                  <a:pt x="543" y="1215"/>
                  <a:pt x="543" y="1217"/>
                </a:cubicBezTo>
                <a:cubicBezTo>
                  <a:pt x="542" y="1218"/>
                  <a:pt x="542" y="1220"/>
                  <a:pt x="541" y="1221"/>
                </a:cubicBezTo>
                <a:cubicBezTo>
                  <a:pt x="540" y="1221"/>
                  <a:pt x="540" y="1221"/>
                  <a:pt x="540" y="1221"/>
                </a:cubicBezTo>
                <a:cubicBezTo>
                  <a:pt x="539" y="1222"/>
                  <a:pt x="539" y="1222"/>
                  <a:pt x="539" y="1223"/>
                </a:cubicBezTo>
                <a:cubicBezTo>
                  <a:pt x="539" y="1223"/>
                  <a:pt x="539" y="1224"/>
                  <a:pt x="539" y="1224"/>
                </a:cubicBezTo>
                <a:cubicBezTo>
                  <a:pt x="540" y="1226"/>
                  <a:pt x="539" y="1228"/>
                  <a:pt x="539" y="1230"/>
                </a:cubicBez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23" name="Freeform 6">
            <a:extLst>
              <a:ext uri="{FF2B5EF4-FFF2-40B4-BE49-F238E27FC236}">
                <a16:creationId xmlns:a16="http://schemas.microsoft.com/office/drawing/2014/main" id="{552BBAD0-AAE7-CF17-7C9D-23C0DBC47FE3}"/>
              </a:ext>
            </a:extLst>
          </p:cNvPr>
          <p:cNvSpPr>
            <a:spLocks noChangeAspect="1"/>
          </p:cNvSpPr>
          <p:nvPr userDrawn="1"/>
        </p:nvSpPr>
        <p:spPr bwMode="auto">
          <a:xfrm rot="907405">
            <a:off x="8555250" y="2872966"/>
            <a:ext cx="1340431" cy="2697584"/>
          </a:xfrm>
          <a:custGeom>
            <a:avLst/>
            <a:gdLst>
              <a:gd name="T0" fmla="*/ 635 w 1407"/>
              <a:gd name="T1" fmla="*/ 1617 h 2831"/>
              <a:gd name="T2" fmla="*/ 682 w 1407"/>
              <a:gd name="T3" fmla="*/ 1519 h 2831"/>
              <a:gd name="T4" fmla="*/ 746 w 1407"/>
              <a:gd name="T5" fmla="*/ 1386 h 2831"/>
              <a:gd name="T6" fmla="*/ 784 w 1407"/>
              <a:gd name="T7" fmla="*/ 1305 h 2831"/>
              <a:gd name="T8" fmla="*/ 819 w 1407"/>
              <a:gd name="T9" fmla="*/ 1245 h 2831"/>
              <a:gd name="T10" fmla="*/ 840 w 1407"/>
              <a:gd name="T11" fmla="*/ 1192 h 2831"/>
              <a:gd name="T12" fmla="*/ 859 w 1407"/>
              <a:gd name="T13" fmla="*/ 1151 h 2831"/>
              <a:gd name="T14" fmla="*/ 887 w 1407"/>
              <a:gd name="T15" fmla="*/ 1090 h 2831"/>
              <a:gd name="T16" fmla="*/ 929 w 1407"/>
              <a:gd name="T17" fmla="*/ 1012 h 2831"/>
              <a:gd name="T18" fmla="*/ 981 w 1407"/>
              <a:gd name="T19" fmla="*/ 892 h 2831"/>
              <a:gd name="T20" fmla="*/ 1015 w 1407"/>
              <a:gd name="T21" fmla="*/ 820 h 2831"/>
              <a:gd name="T22" fmla="*/ 1069 w 1407"/>
              <a:gd name="T23" fmla="*/ 711 h 2831"/>
              <a:gd name="T24" fmla="*/ 1097 w 1407"/>
              <a:gd name="T25" fmla="*/ 653 h 2831"/>
              <a:gd name="T26" fmla="*/ 1120 w 1407"/>
              <a:gd name="T27" fmla="*/ 606 h 2831"/>
              <a:gd name="T28" fmla="*/ 1151 w 1407"/>
              <a:gd name="T29" fmla="*/ 542 h 2831"/>
              <a:gd name="T30" fmla="*/ 1187 w 1407"/>
              <a:gd name="T31" fmla="*/ 474 h 2831"/>
              <a:gd name="T32" fmla="*/ 1239 w 1407"/>
              <a:gd name="T33" fmla="*/ 366 h 2831"/>
              <a:gd name="T34" fmla="*/ 1261 w 1407"/>
              <a:gd name="T35" fmla="*/ 325 h 2831"/>
              <a:gd name="T36" fmla="*/ 1290 w 1407"/>
              <a:gd name="T37" fmla="*/ 266 h 2831"/>
              <a:gd name="T38" fmla="*/ 1324 w 1407"/>
              <a:gd name="T39" fmla="*/ 200 h 2831"/>
              <a:gd name="T40" fmla="*/ 1343 w 1407"/>
              <a:gd name="T41" fmla="*/ 150 h 2831"/>
              <a:gd name="T42" fmla="*/ 1366 w 1407"/>
              <a:gd name="T43" fmla="*/ 96 h 2831"/>
              <a:gd name="T44" fmla="*/ 1377 w 1407"/>
              <a:gd name="T45" fmla="*/ 3 h 2831"/>
              <a:gd name="T46" fmla="*/ 1211 w 1407"/>
              <a:gd name="T47" fmla="*/ 317 h 2831"/>
              <a:gd name="T48" fmla="*/ 1118 w 1407"/>
              <a:gd name="T49" fmla="*/ 512 h 2831"/>
              <a:gd name="T50" fmla="*/ 1075 w 1407"/>
              <a:gd name="T51" fmla="*/ 600 h 2831"/>
              <a:gd name="T52" fmla="*/ 1028 w 1407"/>
              <a:gd name="T53" fmla="*/ 692 h 2831"/>
              <a:gd name="T54" fmla="*/ 990 w 1407"/>
              <a:gd name="T55" fmla="*/ 764 h 2831"/>
              <a:gd name="T56" fmla="*/ 953 w 1407"/>
              <a:gd name="T57" fmla="*/ 843 h 2831"/>
              <a:gd name="T58" fmla="*/ 818 w 1407"/>
              <a:gd name="T59" fmla="*/ 1124 h 2831"/>
              <a:gd name="T60" fmla="*/ 779 w 1407"/>
              <a:gd name="T61" fmla="*/ 1207 h 2831"/>
              <a:gd name="T62" fmla="*/ 725 w 1407"/>
              <a:gd name="T63" fmla="*/ 1318 h 2831"/>
              <a:gd name="T64" fmla="*/ 685 w 1407"/>
              <a:gd name="T65" fmla="*/ 1409 h 2831"/>
              <a:gd name="T66" fmla="*/ 648 w 1407"/>
              <a:gd name="T67" fmla="*/ 1476 h 2831"/>
              <a:gd name="T68" fmla="*/ 631 w 1407"/>
              <a:gd name="T69" fmla="*/ 1512 h 2831"/>
              <a:gd name="T70" fmla="*/ 604 w 1407"/>
              <a:gd name="T71" fmla="*/ 1567 h 2831"/>
              <a:gd name="T72" fmla="*/ 570 w 1407"/>
              <a:gd name="T73" fmla="*/ 1636 h 2831"/>
              <a:gd name="T74" fmla="*/ 547 w 1407"/>
              <a:gd name="T75" fmla="*/ 1684 h 2831"/>
              <a:gd name="T76" fmla="*/ 514 w 1407"/>
              <a:gd name="T77" fmla="*/ 1756 h 2831"/>
              <a:gd name="T78" fmla="*/ 480 w 1407"/>
              <a:gd name="T79" fmla="*/ 1824 h 2831"/>
              <a:gd name="T80" fmla="*/ 430 w 1407"/>
              <a:gd name="T81" fmla="*/ 1939 h 2831"/>
              <a:gd name="T82" fmla="*/ 374 w 1407"/>
              <a:gd name="T83" fmla="*/ 2057 h 2831"/>
              <a:gd name="T84" fmla="*/ 326 w 1407"/>
              <a:gd name="T85" fmla="*/ 2153 h 2831"/>
              <a:gd name="T86" fmla="*/ 296 w 1407"/>
              <a:gd name="T87" fmla="*/ 2209 h 2831"/>
              <a:gd name="T88" fmla="*/ 271 w 1407"/>
              <a:gd name="T89" fmla="*/ 2260 h 2831"/>
              <a:gd name="T90" fmla="*/ 244 w 1407"/>
              <a:gd name="T91" fmla="*/ 2310 h 2831"/>
              <a:gd name="T92" fmla="*/ 201 w 1407"/>
              <a:gd name="T93" fmla="*/ 2402 h 2831"/>
              <a:gd name="T94" fmla="*/ 169 w 1407"/>
              <a:gd name="T95" fmla="*/ 2465 h 2831"/>
              <a:gd name="T96" fmla="*/ 153 w 1407"/>
              <a:gd name="T97" fmla="*/ 2493 h 2831"/>
              <a:gd name="T98" fmla="*/ 132 w 1407"/>
              <a:gd name="T99" fmla="*/ 2541 h 2831"/>
              <a:gd name="T100" fmla="*/ 103 w 1407"/>
              <a:gd name="T101" fmla="*/ 2599 h 2831"/>
              <a:gd name="T102" fmla="*/ 77 w 1407"/>
              <a:gd name="T103" fmla="*/ 2652 h 2831"/>
              <a:gd name="T104" fmla="*/ 61 w 1407"/>
              <a:gd name="T105" fmla="*/ 2695 h 2831"/>
              <a:gd name="T106" fmla="*/ 31 w 1407"/>
              <a:gd name="T107" fmla="*/ 2755 h 2831"/>
              <a:gd name="T108" fmla="*/ 196 w 1407"/>
              <a:gd name="T109" fmla="*/ 2520 h 2831"/>
              <a:gd name="T110" fmla="*/ 288 w 1407"/>
              <a:gd name="T111" fmla="*/ 2331 h 2831"/>
              <a:gd name="T112" fmla="*/ 330 w 1407"/>
              <a:gd name="T113" fmla="*/ 2243 h 2831"/>
              <a:gd name="T114" fmla="*/ 381 w 1407"/>
              <a:gd name="T115" fmla="*/ 2138 h 2831"/>
              <a:gd name="T116" fmla="*/ 418 w 1407"/>
              <a:gd name="T117" fmla="*/ 2069 h 2831"/>
              <a:gd name="T118" fmla="*/ 528 w 1407"/>
              <a:gd name="T119" fmla="*/ 1840 h 2831"/>
              <a:gd name="T120" fmla="*/ 592 w 1407"/>
              <a:gd name="T121" fmla="*/ 1708 h 2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07" h="2831">
                <a:moveTo>
                  <a:pt x="607" y="1674"/>
                </a:moveTo>
                <a:lnTo>
                  <a:pt x="607" y="1674"/>
                </a:lnTo>
                <a:cubicBezTo>
                  <a:pt x="608" y="1674"/>
                  <a:pt x="608" y="1673"/>
                  <a:pt x="608" y="1672"/>
                </a:cubicBezTo>
                <a:cubicBezTo>
                  <a:pt x="610" y="1670"/>
                  <a:pt x="611" y="1668"/>
                  <a:pt x="613" y="1666"/>
                </a:cubicBezTo>
                <a:cubicBezTo>
                  <a:pt x="614" y="1665"/>
                  <a:pt x="615" y="1664"/>
                  <a:pt x="616" y="1663"/>
                </a:cubicBezTo>
                <a:cubicBezTo>
                  <a:pt x="616" y="1662"/>
                  <a:pt x="617" y="1662"/>
                  <a:pt x="617" y="1661"/>
                </a:cubicBezTo>
                <a:cubicBezTo>
                  <a:pt x="618" y="1660"/>
                  <a:pt x="617" y="1659"/>
                  <a:pt x="617" y="1658"/>
                </a:cubicBezTo>
                <a:cubicBezTo>
                  <a:pt x="617" y="1657"/>
                  <a:pt x="617" y="1656"/>
                  <a:pt x="617" y="1655"/>
                </a:cubicBezTo>
                <a:cubicBezTo>
                  <a:pt x="618" y="1654"/>
                  <a:pt x="619" y="1655"/>
                  <a:pt x="620" y="1654"/>
                </a:cubicBezTo>
                <a:cubicBezTo>
                  <a:pt x="621" y="1654"/>
                  <a:pt x="620" y="1652"/>
                  <a:pt x="621" y="1651"/>
                </a:cubicBezTo>
                <a:cubicBezTo>
                  <a:pt x="621" y="1651"/>
                  <a:pt x="621" y="1651"/>
                  <a:pt x="621" y="1651"/>
                </a:cubicBezTo>
                <a:cubicBezTo>
                  <a:pt x="622" y="1651"/>
                  <a:pt x="622" y="1651"/>
                  <a:pt x="623" y="1650"/>
                </a:cubicBezTo>
                <a:cubicBezTo>
                  <a:pt x="623" y="1650"/>
                  <a:pt x="623" y="1650"/>
                  <a:pt x="623" y="1650"/>
                </a:cubicBezTo>
                <a:cubicBezTo>
                  <a:pt x="623" y="1650"/>
                  <a:pt x="623" y="1650"/>
                  <a:pt x="624" y="1649"/>
                </a:cubicBezTo>
                <a:cubicBezTo>
                  <a:pt x="624" y="1649"/>
                  <a:pt x="624" y="1649"/>
                  <a:pt x="624" y="1648"/>
                </a:cubicBezTo>
                <a:cubicBezTo>
                  <a:pt x="625" y="1647"/>
                  <a:pt x="625" y="1646"/>
                  <a:pt x="625" y="1645"/>
                </a:cubicBezTo>
                <a:cubicBezTo>
                  <a:pt x="626" y="1644"/>
                  <a:pt x="626" y="1643"/>
                  <a:pt x="627" y="1642"/>
                </a:cubicBezTo>
                <a:cubicBezTo>
                  <a:pt x="628" y="1640"/>
                  <a:pt x="630" y="1637"/>
                  <a:pt x="630" y="1635"/>
                </a:cubicBezTo>
                <a:cubicBezTo>
                  <a:pt x="630" y="1633"/>
                  <a:pt x="628" y="1634"/>
                  <a:pt x="627" y="1633"/>
                </a:cubicBezTo>
                <a:cubicBezTo>
                  <a:pt x="627" y="1633"/>
                  <a:pt x="627" y="1633"/>
                  <a:pt x="627" y="1632"/>
                </a:cubicBezTo>
                <a:cubicBezTo>
                  <a:pt x="627" y="1632"/>
                  <a:pt x="628" y="1631"/>
                  <a:pt x="628" y="1631"/>
                </a:cubicBezTo>
                <a:cubicBezTo>
                  <a:pt x="629" y="1630"/>
                  <a:pt x="629" y="1629"/>
                  <a:pt x="629" y="1629"/>
                </a:cubicBezTo>
                <a:cubicBezTo>
                  <a:pt x="630" y="1627"/>
                  <a:pt x="631" y="1625"/>
                  <a:pt x="632" y="1623"/>
                </a:cubicBezTo>
                <a:cubicBezTo>
                  <a:pt x="633" y="1622"/>
                  <a:pt x="637" y="1619"/>
                  <a:pt x="635" y="1617"/>
                </a:cubicBezTo>
                <a:cubicBezTo>
                  <a:pt x="635" y="1617"/>
                  <a:pt x="634" y="1617"/>
                  <a:pt x="634" y="1617"/>
                </a:cubicBezTo>
                <a:cubicBezTo>
                  <a:pt x="633" y="1616"/>
                  <a:pt x="635" y="1614"/>
                  <a:pt x="636" y="1614"/>
                </a:cubicBezTo>
                <a:cubicBezTo>
                  <a:pt x="641" y="1606"/>
                  <a:pt x="644" y="1600"/>
                  <a:pt x="649" y="1591"/>
                </a:cubicBezTo>
                <a:cubicBezTo>
                  <a:pt x="649" y="1589"/>
                  <a:pt x="650" y="1586"/>
                  <a:pt x="651" y="1584"/>
                </a:cubicBezTo>
                <a:cubicBezTo>
                  <a:pt x="652" y="1583"/>
                  <a:pt x="653" y="1583"/>
                  <a:pt x="653" y="1583"/>
                </a:cubicBezTo>
                <a:cubicBezTo>
                  <a:pt x="654" y="1582"/>
                  <a:pt x="655" y="1582"/>
                  <a:pt x="655" y="1581"/>
                </a:cubicBezTo>
                <a:cubicBezTo>
                  <a:pt x="656" y="1579"/>
                  <a:pt x="656" y="1578"/>
                  <a:pt x="657" y="1577"/>
                </a:cubicBezTo>
                <a:cubicBezTo>
                  <a:pt x="657" y="1576"/>
                  <a:pt x="658" y="1576"/>
                  <a:pt x="659" y="1575"/>
                </a:cubicBezTo>
                <a:cubicBezTo>
                  <a:pt x="660" y="1574"/>
                  <a:pt x="659" y="1573"/>
                  <a:pt x="659" y="1572"/>
                </a:cubicBezTo>
                <a:cubicBezTo>
                  <a:pt x="658" y="1570"/>
                  <a:pt x="658" y="1570"/>
                  <a:pt x="659" y="1568"/>
                </a:cubicBezTo>
                <a:cubicBezTo>
                  <a:pt x="660" y="1567"/>
                  <a:pt x="661" y="1565"/>
                  <a:pt x="662" y="1563"/>
                </a:cubicBezTo>
                <a:cubicBezTo>
                  <a:pt x="664" y="1558"/>
                  <a:pt x="666" y="1554"/>
                  <a:pt x="666" y="1553"/>
                </a:cubicBezTo>
                <a:cubicBezTo>
                  <a:pt x="667" y="1552"/>
                  <a:pt x="667" y="1551"/>
                  <a:pt x="668" y="1551"/>
                </a:cubicBezTo>
                <a:cubicBezTo>
                  <a:pt x="668" y="1550"/>
                  <a:pt x="669" y="1550"/>
                  <a:pt x="670" y="1550"/>
                </a:cubicBezTo>
                <a:cubicBezTo>
                  <a:pt x="670" y="1549"/>
                  <a:pt x="671" y="1549"/>
                  <a:pt x="671" y="1548"/>
                </a:cubicBezTo>
                <a:cubicBezTo>
                  <a:pt x="672" y="1547"/>
                  <a:pt x="673" y="1545"/>
                  <a:pt x="674" y="1544"/>
                </a:cubicBezTo>
                <a:cubicBezTo>
                  <a:pt x="674" y="1544"/>
                  <a:pt x="674" y="1543"/>
                  <a:pt x="674" y="1543"/>
                </a:cubicBezTo>
                <a:cubicBezTo>
                  <a:pt x="674" y="1542"/>
                  <a:pt x="674" y="1542"/>
                  <a:pt x="674" y="1541"/>
                </a:cubicBezTo>
                <a:cubicBezTo>
                  <a:pt x="673" y="1538"/>
                  <a:pt x="675" y="1535"/>
                  <a:pt x="677" y="1533"/>
                </a:cubicBezTo>
                <a:cubicBezTo>
                  <a:pt x="678" y="1532"/>
                  <a:pt x="679" y="1530"/>
                  <a:pt x="680" y="1528"/>
                </a:cubicBezTo>
                <a:cubicBezTo>
                  <a:pt x="680" y="1528"/>
                  <a:pt x="680" y="1527"/>
                  <a:pt x="680" y="1526"/>
                </a:cubicBezTo>
                <a:cubicBezTo>
                  <a:pt x="680" y="1526"/>
                  <a:pt x="680" y="1526"/>
                  <a:pt x="680" y="1525"/>
                </a:cubicBezTo>
                <a:cubicBezTo>
                  <a:pt x="679" y="1524"/>
                  <a:pt x="680" y="1523"/>
                  <a:pt x="680" y="1522"/>
                </a:cubicBezTo>
                <a:cubicBezTo>
                  <a:pt x="681" y="1521"/>
                  <a:pt x="682" y="1520"/>
                  <a:pt x="682" y="1519"/>
                </a:cubicBezTo>
                <a:cubicBezTo>
                  <a:pt x="683" y="1517"/>
                  <a:pt x="684" y="1516"/>
                  <a:pt x="684" y="1514"/>
                </a:cubicBezTo>
                <a:cubicBezTo>
                  <a:pt x="685" y="1512"/>
                  <a:pt x="686" y="1510"/>
                  <a:pt x="687" y="1508"/>
                </a:cubicBezTo>
                <a:cubicBezTo>
                  <a:pt x="690" y="1502"/>
                  <a:pt x="692" y="1495"/>
                  <a:pt x="693" y="1493"/>
                </a:cubicBezTo>
                <a:cubicBezTo>
                  <a:pt x="694" y="1492"/>
                  <a:pt x="695" y="1490"/>
                  <a:pt x="695" y="1488"/>
                </a:cubicBezTo>
                <a:cubicBezTo>
                  <a:pt x="695" y="1488"/>
                  <a:pt x="695" y="1488"/>
                  <a:pt x="695" y="1487"/>
                </a:cubicBezTo>
                <a:cubicBezTo>
                  <a:pt x="695" y="1486"/>
                  <a:pt x="697" y="1485"/>
                  <a:pt x="698" y="1484"/>
                </a:cubicBezTo>
                <a:cubicBezTo>
                  <a:pt x="699" y="1483"/>
                  <a:pt x="699" y="1482"/>
                  <a:pt x="700" y="1480"/>
                </a:cubicBezTo>
                <a:cubicBezTo>
                  <a:pt x="701" y="1477"/>
                  <a:pt x="703" y="1474"/>
                  <a:pt x="704" y="1470"/>
                </a:cubicBezTo>
                <a:cubicBezTo>
                  <a:pt x="706" y="1468"/>
                  <a:pt x="707" y="1465"/>
                  <a:pt x="709" y="1462"/>
                </a:cubicBezTo>
                <a:cubicBezTo>
                  <a:pt x="710" y="1460"/>
                  <a:pt x="712" y="1457"/>
                  <a:pt x="712" y="1454"/>
                </a:cubicBezTo>
                <a:cubicBezTo>
                  <a:pt x="712" y="1454"/>
                  <a:pt x="712" y="1453"/>
                  <a:pt x="712" y="1453"/>
                </a:cubicBezTo>
                <a:cubicBezTo>
                  <a:pt x="712" y="1453"/>
                  <a:pt x="712" y="1453"/>
                  <a:pt x="712" y="1452"/>
                </a:cubicBezTo>
                <a:cubicBezTo>
                  <a:pt x="713" y="1451"/>
                  <a:pt x="713" y="1451"/>
                  <a:pt x="714" y="1450"/>
                </a:cubicBezTo>
                <a:cubicBezTo>
                  <a:pt x="715" y="1449"/>
                  <a:pt x="716" y="1448"/>
                  <a:pt x="717" y="1447"/>
                </a:cubicBezTo>
                <a:cubicBezTo>
                  <a:pt x="718" y="1445"/>
                  <a:pt x="718" y="1443"/>
                  <a:pt x="719" y="1440"/>
                </a:cubicBezTo>
                <a:cubicBezTo>
                  <a:pt x="720" y="1439"/>
                  <a:pt x="721" y="1437"/>
                  <a:pt x="722" y="1435"/>
                </a:cubicBezTo>
                <a:cubicBezTo>
                  <a:pt x="722" y="1434"/>
                  <a:pt x="722" y="1433"/>
                  <a:pt x="722" y="1433"/>
                </a:cubicBezTo>
                <a:cubicBezTo>
                  <a:pt x="722" y="1432"/>
                  <a:pt x="722" y="1431"/>
                  <a:pt x="722" y="1430"/>
                </a:cubicBezTo>
                <a:cubicBezTo>
                  <a:pt x="722" y="1430"/>
                  <a:pt x="722" y="1429"/>
                  <a:pt x="722" y="1428"/>
                </a:cubicBezTo>
                <a:cubicBezTo>
                  <a:pt x="724" y="1425"/>
                  <a:pt x="725" y="1422"/>
                  <a:pt x="726" y="1419"/>
                </a:cubicBezTo>
                <a:cubicBezTo>
                  <a:pt x="728" y="1416"/>
                  <a:pt x="730" y="1414"/>
                  <a:pt x="731" y="1411"/>
                </a:cubicBezTo>
                <a:cubicBezTo>
                  <a:pt x="733" y="1408"/>
                  <a:pt x="734" y="1405"/>
                  <a:pt x="736" y="1401"/>
                </a:cubicBezTo>
                <a:cubicBezTo>
                  <a:pt x="737" y="1398"/>
                  <a:pt x="740" y="1397"/>
                  <a:pt x="742" y="1394"/>
                </a:cubicBezTo>
                <a:cubicBezTo>
                  <a:pt x="743" y="1391"/>
                  <a:pt x="744" y="1389"/>
                  <a:pt x="746" y="1386"/>
                </a:cubicBezTo>
                <a:cubicBezTo>
                  <a:pt x="746" y="1385"/>
                  <a:pt x="747" y="1384"/>
                  <a:pt x="747" y="1382"/>
                </a:cubicBezTo>
                <a:cubicBezTo>
                  <a:pt x="748" y="1381"/>
                  <a:pt x="748" y="1380"/>
                  <a:pt x="748" y="1379"/>
                </a:cubicBezTo>
                <a:cubicBezTo>
                  <a:pt x="749" y="1378"/>
                  <a:pt x="749" y="1378"/>
                  <a:pt x="749" y="1378"/>
                </a:cubicBezTo>
                <a:cubicBezTo>
                  <a:pt x="751" y="1376"/>
                  <a:pt x="752" y="1374"/>
                  <a:pt x="753" y="1372"/>
                </a:cubicBezTo>
                <a:cubicBezTo>
                  <a:pt x="755" y="1370"/>
                  <a:pt x="756" y="1367"/>
                  <a:pt x="758" y="1364"/>
                </a:cubicBezTo>
                <a:cubicBezTo>
                  <a:pt x="759" y="1363"/>
                  <a:pt x="759" y="1361"/>
                  <a:pt x="760" y="1359"/>
                </a:cubicBezTo>
                <a:cubicBezTo>
                  <a:pt x="760" y="1358"/>
                  <a:pt x="760" y="1356"/>
                  <a:pt x="761" y="1355"/>
                </a:cubicBezTo>
                <a:cubicBezTo>
                  <a:pt x="761" y="1354"/>
                  <a:pt x="761" y="1354"/>
                  <a:pt x="761" y="1354"/>
                </a:cubicBezTo>
                <a:cubicBezTo>
                  <a:pt x="762" y="1354"/>
                  <a:pt x="762" y="1353"/>
                  <a:pt x="762" y="1352"/>
                </a:cubicBezTo>
                <a:cubicBezTo>
                  <a:pt x="763" y="1351"/>
                  <a:pt x="764" y="1349"/>
                  <a:pt x="764" y="1347"/>
                </a:cubicBezTo>
                <a:cubicBezTo>
                  <a:pt x="764" y="1347"/>
                  <a:pt x="764" y="1347"/>
                  <a:pt x="764" y="1346"/>
                </a:cubicBezTo>
                <a:cubicBezTo>
                  <a:pt x="764" y="1346"/>
                  <a:pt x="764" y="1345"/>
                  <a:pt x="764" y="1345"/>
                </a:cubicBezTo>
                <a:cubicBezTo>
                  <a:pt x="765" y="1343"/>
                  <a:pt x="766" y="1341"/>
                  <a:pt x="767" y="1340"/>
                </a:cubicBezTo>
                <a:cubicBezTo>
                  <a:pt x="769" y="1338"/>
                  <a:pt x="770" y="1336"/>
                  <a:pt x="771" y="1334"/>
                </a:cubicBezTo>
                <a:cubicBezTo>
                  <a:pt x="773" y="1332"/>
                  <a:pt x="774" y="1330"/>
                  <a:pt x="776" y="1328"/>
                </a:cubicBezTo>
                <a:cubicBezTo>
                  <a:pt x="777" y="1326"/>
                  <a:pt x="777" y="1324"/>
                  <a:pt x="778" y="1322"/>
                </a:cubicBezTo>
                <a:cubicBezTo>
                  <a:pt x="778" y="1322"/>
                  <a:pt x="778" y="1321"/>
                  <a:pt x="779" y="1321"/>
                </a:cubicBezTo>
                <a:cubicBezTo>
                  <a:pt x="779" y="1321"/>
                  <a:pt x="779" y="1321"/>
                  <a:pt x="779" y="1321"/>
                </a:cubicBezTo>
                <a:cubicBezTo>
                  <a:pt x="779" y="1321"/>
                  <a:pt x="780" y="1320"/>
                  <a:pt x="780" y="1320"/>
                </a:cubicBezTo>
                <a:cubicBezTo>
                  <a:pt x="781" y="1318"/>
                  <a:pt x="782" y="1317"/>
                  <a:pt x="783" y="1315"/>
                </a:cubicBezTo>
                <a:cubicBezTo>
                  <a:pt x="783" y="1314"/>
                  <a:pt x="784" y="1314"/>
                  <a:pt x="784" y="1313"/>
                </a:cubicBezTo>
                <a:cubicBezTo>
                  <a:pt x="785" y="1312"/>
                  <a:pt x="786" y="1311"/>
                  <a:pt x="785" y="1310"/>
                </a:cubicBezTo>
                <a:cubicBezTo>
                  <a:pt x="785" y="1309"/>
                  <a:pt x="784" y="1310"/>
                  <a:pt x="783" y="1309"/>
                </a:cubicBezTo>
                <a:cubicBezTo>
                  <a:pt x="782" y="1308"/>
                  <a:pt x="783" y="1306"/>
                  <a:pt x="784" y="1305"/>
                </a:cubicBezTo>
                <a:cubicBezTo>
                  <a:pt x="785" y="1304"/>
                  <a:pt x="785" y="1302"/>
                  <a:pt x="786" y="1300"/>
                </a:cubicBezTo>
                <a:cubicBezTo>
                  <a:pt x="787" y="1299"/>
                  <a:pt x="788" y="1297"/>
                  <a:pt x="789" y="1295"/>
                </a:cubicBezTo>
                <a:cubicBezTo>
                  <a:pt x="790" y="1294"/>
                  <a:pt x="790" y="1292"/>
                  <a:pt x="792" y="1293"/>
                </a:cubicBezTo>
                <a:cubicBezTo>
                  <a:pt x="793" y="1293"/>
                  <a:pt x="794" y="1293"/>
                  <a:pt x="794" y="1292"/>
                </a:cubicBezTo>
                <a:cubicBezTo>
                  <a:pt x="794" y="1292"/>
                  <a:pt x="794" y="1291"/>
                  <a:pt x="794" y="1291"/>
                </a:cubicBezTo>
                <a:cubicBezTo>
                  <a:pt x="794" y="1291"/>
                  <a:pt x="795" y="1291"/>
                  <a:pt x="795" y="1291"/>
                </a:cubicBezTo>
                <a:cubicBezTo>
                  <a:pt x="795" y="1291"/>
                  <a:pt x="795" y="1290"/>
                  <a:pt x="796" y="1290"/>
                </a:cubicBezTo>
                <a:cubicBezTo>
                  <a:pt x="796" y="1289"/>
                  <a:pt x="797" y="1288"/>
                  <a:pt x="797" y="1288"/>
                </a:cubicBezTo>
                <a:cubicBezTo>
                  <a:pt x="797" y="1287"/>
                  <a:pt x="797" y="1287"/>
                  <a:pt x="797" y="1287"/>
                </a:cubicBezTo>
                <a:cubicBezTo>
                  <a:pt x="797" y="1287"/>
                  <a:pt x="797" y="1286"/>
                  <a:pt x="798" y="1286"/>
                </a:cubicBezTo>
                <a:cubicBezTo>
                  <a:pt x="799" y="1285"/>
                  <a:pt x="799" y="1284"/>
                  <a:pt x="799" y="1283"/>
                </a:cubicBezTo>
                <a:cubicBezTo>
                  <a:pt x="800" y="1281"/>
                  <a:pt x="801" y="1280"/>
                  <a:pt x="801" y="1278"/>
                </a:cubicBezTo>
                <a:cubicBezTo>
                  <a:pt x="802" y="1276"/>
                  <a:pt x="803" y="1275"/>
                  <a:pt x="804" y="1274"/>
                </a:cubicBezTo>
                <a:cubicBezTo>
                  <a:pt x="805" y="1273"/>
                  <a:pt x="805" y="1272"/>
                  <a:pt x="805" y="1271"/>
                </a:cubicBezTo>
                <a:cubicBezTo>
                  <a:pt x="806" y="1271"/>
                  <a:pt x="805" y="1270"/>
                  <a:pt x="806" y="1270"/>
                </a:cubicBezTo>
                <a:cubicBezTo>
                  <a:pt x="806" y="1268"/>
                  <a:pt x="807" y="1266"/>
                  <a:pt x="807" y="1264"/>
                </a:cubicBezTo>
                <a:cubicBezTo>
                  <a:pt x="808" y="1263"/>
                  <a:pt x="809" y="1261"/>
                  <a:pt x="809" y="1259"/>
                </a:cubicBezTo>
                <a:cubicBezTo>
                  <a:pt x="810" y="1258"/>
                  <a:pt x="810" y="1256"/>
                  <a:pt x="811" y="1255"/>
                </a:cubicBezTo>
                <a:cubicBezTo>
                  <a:pt x="812" y="1253"/>
                  <a:pt x="813" y="1252"/>
                  <a:pt x="814" y="1250"/>
                </a:cubicBezTo>
                <a:cubicBezTo>
                  <a:pt x="814" y="1249"/>
                  <a:pt x="815" y="1248"/>
                  <a:pt x="815" y="1248"/>
                </a:cubicBezTo>
                <a:cubicBezTo>
                  <a:pt x="816" y="1247"/>
                  <a:pt x="816" y="1245"/>
                  <a:pt x="817" y="1245"/>
                </a:cubicBezTo>
                <a:cubicBezTo>
                  <a:pt x="817" y="1245"/>
                  <a:pt x="817" y="1245"/>
                  <a:pt x="817" y="1245"/>
                </a:cubicBezTo>
                <a:cubicBezTo>
                  <a:pt x="817" y="1246"/>
                  <a:pt x="818" y="1246"/>
                  <a:pt x="818" y="1246"/>
                </a:cubicBezTo>
                <a:cubicBezTo>
                  <a:pt x="818" y="1246"/>
                  <a:pt x="819" y="1246"/>
                  <a:pt x="819" y="1245"/>
                </a:cubicBezTo>
                <a:cubicBezTo>
                  <a:pt x="819" y="1245"/>
                  <a:pt x="819" y="1245"/>
                  <a:pt x="819" y="1244"/>
                </a:cubicBezTo>
                <a:cubicBezTo>
                  <a:pt x="819" y="1244"/>
                  <a:pt x="819" y="1244"/>
                  <a:pt x="819" y="1243"/>
                </a:cubicBezTo>
                <a:cubicBezTo>
                  <a:pt x="819" y="1243"/>
                  <a:pt x="819" y="1243"/>
                  <a:pt x="819" y="1243"/>
                </a:cubicBezTo>
                <a:cubicBezTo>
                  <a:pt x="819" y="1243"/>
                  <a:pt x="819" y="1243"/>
                  <a:pt x="819" y="1242"/>
                </a:cubicBezTo>
                <a:cubicBezTo>
                  <a:pt x="820" y="1242"/>
                  <a:pt x="820" y="1242"/>
                  <a:pt x="820" y="1242"/>
                </a:cubicBezTo>
                <a:cubicBezTo>
                  <a:pt x="820" y="1242"/>
                  <a:pt x="820" y="1241"/>
                  <a:pt x="820" y="1241"/>
                </a:cubicBezTo>
                <a:cubicBezTo>
                  <a:pt x="820" y="1241"/>
                  <a:pt x="821" y="1240"/>
                  <a:pt x="821" y="1239"/>
                </a:cubicBezTo>
                <a:cubicBezTo>
                  <a:pt x="822" y="1238"/>
                  <a:pt x="823" y="1236"/>
                  <a:pt x="823" y="1235"/>
                </a:cubicBezTo>
                <a:cubicBezTo>
                  <a:pt x="825" y="1232"/>
                  <a:pt x="826" y="1229"/>
                  <a:pt x="828" y="1226"/>
                </a:cubicBezTo>
                <a:cubicBezTo>
                  <a:pt x="828" y="1224"/>
                  <a:pt x="829" y="1222"/>
                  <a:pt x="829" y="1220"/>
                </a:cubicBezTo>
                <a:cubicBezTo>
                  <a:pt x="830" y="1220"/>
                  <a:pt x="830" y="1219"/>
                  <a:pt x="830" y="1218"/>
                </a:cubicBezTo>
                <a:cubicBezTo>
                  <a:pt x="830" y="1217"/>
                  <a:pt x="830" y="1216"/>
                  <a:pt x="830" y="1215"/>
                </a:cubicBezTo>
                <a:cubicBezTo>
                  <a:pt x="830" y="1215"/>
                  <a:pt x="830" y="1215"/>
                  <a:pt x="831" y="1215"/>
                </a:cubicBezTo>
                <a:cubicBezTo>
                  <a:pt x="831" y="1215"/>
                  <a:pt x="831" y="1215"/>
                  <a:pt x="831" y="1215"/>
                </a:cubicBezTo>
                <a:cubicBezTo>
                  <a:pt x="832" y="1215"/>
                  <a:pt x="833" y="1214"/>
                  <a:pt x="833" y="1214"/>
                </a:cubicBezTo>
                <a:cubicBezTo>
                  <a:pt x="833" y="1213"/>
                  <a:pt x="833" y="1213"/>
                  <a:pt x="833" y="1213"/>
                </a:cubicBezTo>
                <a:cubicBezTo>
                  <a:pt x="833" y="1212"/>
                  <a:pt x="833" y="1212"/>
                  <a:pt x="833" y="1211"/>
                </a:cubicBezTo>
                <a:cubicBezTo>
                  <a:pt x="832" y="1211"/>
                  <a:pt x="833" y="1210"/>
                  <a:pt x="833" y="1209"/>
                </a:cubicBezTo>
                <a:cubicBezTo>
                  <a:pt x="833" y="1209"/>
                  <a:pt x="833" y="1208"/>
                  <a:pt x="833" y="1207"/>
                </a:cubicBezTo>
                <a:cubicBezTo>
                  <a:pt x="833" y="1206"/>
                  <a:pt x="834" y="1206"/>
                  <a:pt x="835" y="1205"/>
                </a:cubicBezTo>
                <a:cubicBezTo>
                  <a:pt x="835" y="1204"/>
                  <a:pt x="834" y="1204"/>
                  <a:pt x="834" y="1203"/>
                </a:cubicBezTo>
                <a:cubicBezTo>
                  <a:pt x="834" y="1202"/>
                  <a:pt x="835" y="1200"/>
                  <a:pt x="836" y="1199"/>
                </a:cubicBezTo>
                <a:cubicBezTo>
                  <a:pt x="837" y="1197"/>
                  <a:pt x="838" y="1196"/>
                  <a:pt x="839" y="1194"/>
                </a:cubicBezTo>
                <a:cubicBezTo>
                  <a:pt x="839" y="1194"/>
                  <a:pt x="840" y="1193"/>
                  <a:pt x="840" y="1192"/>
                </a:cubicBezTo>
                <a:cubicBezTo>
                  <a:pt x="841" y="1192"/>
                  <a:pt x="842" y="1192"/>
                  <a:pt x="842" y="1191"/>
                </a:cubicBezTo>
                <a:cubicBezTo>
                  <a:pt x="843" y="1191"/>
                  <a:pt x="843" y="1190"/>
                  <a:pt x="843" y="1189"/>
                </a:cubicBezTo>
                <a:cubicBezTo>
                  <a:pt x="843" y="1189"/>
                  <a:pt x="842" y="1189"/>
                  <a:pt x="842" y="1188"/>
                </a:cubicBezTo>
                <a:cubicBezTo>
                  <a:pt x="842" y="1188"/>
                  <a:pt x="842" y="1188"/>
                  <a:pt x="843" y="1188"/>
                </a:cubicBezTo>
                <a:cubicBezTo>
                  <a:pt x="843" y="1188"/>
                  <a:pt x="844" y="1188"/>
                  <a:pt x="844" y="1188"/>
                </a:cubicBezTo>
                <a:cubicBezTo>
                  <a:pt x="844" y="1187"/>
                  <a:pt x="845" y="1187"/>
                  <a:pt x="844" y="1187"/>
                </a:cubicBezTo>
                <a:cubicBezTo>
                  <a:pt x="844" y="1186"/>
                  <a:pt x="843" y="1185"/>
                  <a:pt x="843" y="1185"/>
                </a:cubicBezTo>
                <a:cubicBezTo>
                  <a:pt x="843" y="1184"/>
                  <a:pt x="844" y="1184"/>
                  <a:pt x="844" y="1183"/>
                </a:cubicBezTo>
                <a:cubicBezTo>
                  <a:pt x="844" y="1183"/>
                  <a:pt x="845" y="1183"/>
                  <a:pt x="845" y="1183"/>
                </a:cubicBezTo>
                <a:cubicBezTo>
                  <a:pt x="845" y="1182"/>
                  <a:pt x="846" y="1181"/>
                  <a:pt x="847" y="1181"/>
                </a:cubicBezTo>
                <a:cubicBezTo>
                  <a:pt x="847" y="1180"/>
                  <a:pt x="848" y="1180"/>
                  <a:pt x="849" y="1180"/>
                </a:cubicBezTo>
                <a:cubicBezTo>
                  <a:pt x="849" y="1179"/>
                  <a:pt x="849" y="1179"/>
                  <a:pt x="850" y="1178"/>
                </a:cubicBezTo>
                <a:cubicBezTo>
                  <a:pt x="850" y="1178"/>
                  <a:pt x="850" y="1177"/>
                  <a:pt x="850" y="1177"/>
                </a:cubicBezTo>
                <a:cubicBezTo>
                  <a:pt x="850" y="1176"/>
                  <a:pt x="849" y="1176"/>
                  <a:pt x="849" y="1175"/>
                </a:cubicBezTo>
                <a:cubicBezTo>
                  <a:pt x="849" y="1175"/>
                  <a:pt x="849" y="1175"/>
                  <a:pt x="849" y="1175"/>
                </a:cubicBezTo>
                <a:cubicBezTo>
                  <a:pt x="849" y="1175"/>
                  <a:pt x="849" y="1174"/>
                  <a:pt x="849" y="1174"/>
                </a:cubicBezTo>
                <a:cubicBezTo>
                  <a:pt x="848" y="1174"/>
                  <a:pt x="849" y="1174"/>
                  <a:pt x="849" y="1173"/>
                </a:cubicBezTo>
                <a:cubicBezTo>
                  <a:pt x="849" y="1173"/>
                  <a:pt x="849" y="1172"/>
                  <a:pt x="849" y="1171"/>
                </a:cubicBezTo>
                <a:cubicBezTo>
                  <a:pt x="850" y="1171"/>
                  <a:pt x="850" y="1170"/>
                  <a:pt x="851" y="1169"/>
                </a:cubicBezTo>
                <a:cubicBezTo>
                  <a:pt x="852" y="1168"/>
                  <a:pt x="853" y="1166"/>
                  <a:pt x="854" y="1164"/>
                </a:cubicBezTo>
                <a:cubicBezTo>
                  <a:pt x="854" y="1163"/>
                  <a:pt x="856" y="1160"/>
                  <a:pt x="858" y="1160"/>
                </a:cubicBezTo>
                <a:cubicBezTo>
                  <a:pt x="858" y="1160"/>
                  <a:pt x="859" y="1159"/>
                  <a:pt x="859" y="1157"/>
                </a:cubicBezTo>
                <a:cubicBezTo>
                  <a:pt x="860" y="1157"/>
                  <a:pt x="860" y="1156"/>
                  <a:pt x="860" y="1155"/>
                </a:cubicBezTo>
                <a:cubicBezTo>
                  <a:pt x="861" y="1154"/>
                  <a:pt x="859" y="1152"/>
                  <a:pt x="859" y="1151"/>
                </a:cubicBezTo>
                <a:cubicBezTo>
                  <a:pt x="860" y="1150"/>
                  <a:pt x="861" y="1149"/>
                  <a:pt x="861" y="1149"/>
                </a:cubicBezTo>
                <a:cubicBezTo>
                  <a:pt x="863" y="1148"/>
                  <a:pt x="864" y="1146"/>
                  <a:pt x="865" y="1146"/>
                </a:cubicBezTo>
                <a:cubicBezTo>
                  <a:pt x="865" y="1145"/>
                  <a:pt x="867" y="1144"/>
                  <a:pt x="866" y="1143"/>
                </a:cubicBezTo>
                <a:cubicBezTo>
                  <a:pt x="866" y="1143"/>
                  <a:pt x="866" y="1143"/>
                  <a:pt x="865" y="1142"/>
                </a:cubicBezTo>
                <a:cubicBezTo>
                  <a:pt x="865" y="1142"/>
                  <a:pt x="865" y="1141"/>
                  <a:pt x="865" y="1140"/>
                </a:cubicBezTo>
                <a:cubicBezTo>
                  <a:pt x="866" y="1140"/>
                  <a:pt x="866" y="1139"/>
                  <a:pt x="866" y="1138"/>
                </a:cubicBezTo>
                <a:cubicBezTo>
                  <a:pt x="867" y="1137"/>
                  <a:pt x="868" y="1135"/>
                  <a:pt x="867" y="1134"/>
                </a:cubicBezTo>
                <a:cubicBezTo>
                  <a:pt x="867" y="1133"/>
                  <a:pt x="867" y="1133"/>
                  <a:pt x="867" y="1133"/>
                </a:cubicBezTo>
                <a:cubicBezTo>
                  <a:pt x="867" y="1133"/>
                  <a:pt x="868" y="1132"/>
                  <a:pt x="868" y="1131"/>
                </a:cubicBezTo>
                <a:cubicBezTo>
                  <a:pt x="868" y="1131"/>
                  <a:pt x="868" y="1131"/>
                  <a:pt x="868" y="1131"/>
                </a:cubicBezTo>
                <a:cubicBezTo>
                  <a:pt x="868" y="1131"/>
                  <a:pt x="869" y="1130"/>
                  <a:pt x="869" y="1130"/>
                </a:cubicBezTo>
                <a:cubicBezTo>
                  <a:pt x="869" y="1130"/>
                  <a:pt x="870" y="1130"/>
                  <a:pt x="870" y="1129"/>
                </a:cubicBezTo>
                <a:cubicBezTo>
                  <a:pt x="870" y="1129"/>
                  <a:pt x="871" y="1127"/>
                  <a:pt x="872" y="1126"/>
                </a:cubicBezTo>
                <a:cubicBezTo>
                  <a:pt x="872" y="1125"/>
                  <a:pt x="873" y="1123"/>
                  <a:pt x="874" y="1122"/>
                </a:cubicBezTo>
                <a:cubicBezTo>
                  <a:pt x="875" y="1120"/>
                  <a:pt x="875" y="1119"/>
                  <a:pt x="876" y="1118"/>
                </a:cubicBezTo>
                <a:cubicBezTo>
                  <a:pt x="876" y="1117"/>
                  <a:pt x="876" y="1116"/>
                  <a:pt x="876" y="1115"/>
                </a:cubicBezTo>
                <a:cubicBezTo>
                  <a:pt x="876" y="1115"/>
                  <a:pt x="876" y="1114"/>
                  <a:pt x="877" y="1114"/>
                </a:cubicBezTo>
                <a:cubicBezTo>
                  <a:pt x="877" y="1113"/>
                  <a:pt x="876" y="1113"/>
                  <a:pt x="877" y="1112"/>
                </a:cubicBezTo>
                <a:cubicBezTo>
                  <a:pt x="877" y="1112"/>
                  <a:pt x="877" y="1112"/>
                  <a:pt x="877" y="1112"/>
                </a:cubicBezTo>
                <a:cubicBezTo>
                  <a:pt x="877" y="1112"/>
                  <a:pt x="877" y="1111"/>
                  <a:pt x="877" y="1111"/>
                </a:cubicBezTo>
                <a:cubicBezTo>
                  <a:pt x="877" y="1111"/>
                  <a:pt x="878" y="1111"/>
                  <a:pt x="878" y="1111"/>
                </a:cubicBezTo>
                <a:cubicBezTo>
                  <a:pt x="879" y="1110"/>
                  <a:pt x="879" y="1108"/>
                  <a:pt x="880" y="1106"/>
                </a:cubicBezTo>
                <a:cubicBezTo>
                  <a:pt x="881" y="1105"/>
                  <a:pt x="881" y="1103"/>
                  <a:pt x="882" y="1101"/>
                </a:cubicBezTo>
                <a:cubicBezTo>
                  <a:pt x="884" y="1098"/>
                  <a:pt x="885" y="1094"/>
                  <a:pt x="887" y="1090"/>
                </a:cubicBezTo>
                <a:cubicBezTo>
                  <a:pt x="888" y="1088"/>
                  <a:pt x="889" y="1086"/>
                  <a:pt x="891" y="1085"/>
                </a:cubicBezTo>
                <a:cubicBezTo>
                  <a:pt x="891" y="1085"/>
                  <a:pt x="892" y="1084"/>
                  <a:pt x="892" y="1084"/>
                </a:cubicBezTo>
                <a:cubicBezTo>
                  <a:pt x="892" y="1083"/>
                  <a:pt x="892" y="1082"/>
                  <a:pt x="892" y="1082"/>
                </a:cubicBezTo>
                <a:cubicBezTo>
                  <a:pt x="892" y="1080"/>
                  <a:pt x="893" y="1079"/>
                  <a:pt x="894" y="1078"/>
                </a:cubicBezTo>
                <a:cubicBezTo>
                  <a:pt x="895" y="1076"/>
                  <a:pt x="896" y="1074"/>
                  <a:pt x="897" y="1071"/>
                </a:cubicBezTo>
                <a:cubicBezTo>
                  <a:pt x="897" y="1071"/>
                  <a:pt x="898" y="1071"/>
                  <a:pt x="898" y="1071"/>
                </a:cubicBezTo>
                <a:cubicBezTo>
                  <a:pt x="899" y="1071"/>
                  <a:pt x="899" y="1070"/>
                  <a:pt x="900" y="1069"/>
                </a:cubicBezTo>
                <a:cubicBezTo>
                  <a:pt x="900" y="1068"/>
                  <a:pt x="900" y="1068"/>
                  <a:pt x="900" y="1067"/>
                </a:cubicBezTo>
                <a:cubicBezTo>
                  <a:pt x="900" y="1066"/>
                  <a:pt x="899" y="1067"/>
                  <a:pt x="898" y="1066"/>
                </a:cubicBezTo>
                <a:cubicBezTo>
                  <a:pt x="898" y="1066"/>
                  <a:pt x="899" y="1066"/>
                  <a:pt x="900" y="1065"/>
                </a:cubicBezTo>
                <a:cubicBezTo>
                  <a:pt x="900" y="1064"/>
                  <a:pt x="899" y="1064"/>
                  <a:pt x="900" y="1063"/>
                </a:cubicBezTo>
                <a:cubicBezTo>
                  <a:pt x="901" y="1062"/>
                  <a:pt x="903" y="1062"/>
                  <a:pt x="903" y="1061"/>
                </a:cubicBezTo>
                <a:cubicBezTo>
                  <a:pt x="904" y="1060"/>
                  <a:pt x="903" y="1059"/>
                  <a:pt x="903" y="1058"/>
                </a:cubicBezTo>
                <a:cubicBezTo>
                  <a:pt x="904" y="1058"/>
                  <a:pt x="904" y="1058"/>
                  <a:pt x="904" y="1057"/>
                </a:cubicBezTo>
                <a:cubicBezTo>
                  <a:pt x="905" y="1056"/>
                  <a:pt x="904" y="1055"/>
                  <a:pt x="904" y="1055"/>
                </a:cubicBezTo>
                <a:cubicBezTo>
                  <a:pt x="904" y="1054"/>
                  <a:pt x="904" y="1054"/>
                  <a:pt x="905" y="1053"/>
                </a:cubicBezTo>
                <a:cubicBezTo>
                  <a:pt x="905" y="1053"/>
                  <a:pt x="906" y="1053"/>
                  <a:pt x="906" y="1053"/>
                </a:cubicBezTo>
                <a:cubicBezTo>
                  <a:pt x="907" y="1051"/>
                  <a:pt x="907" y="1049"/>
                  <a:pt x="908" y="1048"/>
                </a:cubicBezTo>
                <a:cubicBezTo>
                  <a:pt x="914" y="1033"/>
                  <a:pt x="917" y="1027"/>
                  <a:pt x="917" y="1026"/>
                </a:cubicBezTo>
                <a:cubicBezTo>
                  <a:pt x="917" y="1026"/>
                  <a:pt x="921" y="1018"/>
                  <a:pt x="922" y="1017"/>
                </a:cubicBezTo>
                <a:cubicBezTo>
                  <a:pt x="923" y="1015"/>
                  <a:pt x="925" y="1014"/>
                  <a:pt x="926" y="1013"/>
                </a:cubicBezTo>
                <a:cubicBezTo>
                  <a:pt x="926" y="1012"/>
                  <a:pt x="927" y="1011"/>
                  <a:pt x="927" y="1010"/>
                </a:cubicBezTo>
                <a:cubicBezTo>
                  <a:pt x="928" y="1010"/>
                  <a:pt x="928" y="1011"/>
                  <a:pt x="928" y="1012"/>
                </a:cubicBezTo>
                <a:cubicBezTo>
                  <a:pt x="929" y="1012"/>
                  <a:pt x="929" y="1012"/>
                  <a:pt x="929" y="1012"/>
                </a:cubicBezTo>
                <a:cubicBezTo>
                  <a:pt x="930" y="1012"/>
                  <a:pt x="930" y="1011"/>
                  <a:pt x="930" y="1010"/>
                </a:cubicBezTo>
                <a:cubicBezTo>
                  <a:pt x="930" y="1009"/>
                  <a:pt x="930" y="1008"/>
                  <a:pt x="930" y="1007"/>
                </a:cubicBezTo>
                <a:cubicBezTo>
                  <a:pt x="930" y="1006"/>
                  <a:pt x="931" y="1005"/>
                  <a:pt x="931" y="1003"/>
                </a:cubicBezTo>
                <a:cubicBezTo>
                  <a:pt x="932" y="1003"/>
                  <a:pt x="932" y="1002"/>
                  <a:pt x="932" y="1002"/>
                </a:cubicBezTo>
                <a:cubicBezTo>
                  <a:pt x="932" y="1002"/>
                  <a:pt x="933" y="1002"/>
                  <a:pt x="934" y="1002"/>
                </a:cubicBezTo>
                <a:cubicBezTo>
                  <a:pt x="934" y="1002"/>
                  <a:pt x="935" y="1001"/>
                  <a:pt x="935" y="1001"/>
                </a:cubicBezTo>
                <a:cubicBezTo>
                  <a:pt x="935" y="1001"/>
                  <a:pt x="934" y="1000"/>
                  <a:pt x="934" y="1000"/>
                </a:cubicBezTo>
                <a:cubicBezTo>
                  <a:pt x="932" y="998"/>
                  <a:pt x="935" y="994"/>
                  <a:pt x="936" y="992"/>
                </a:cubicBezTo>
                <a:cubicBezTo>
                  <a:pt x="938" y="988"/>
                  <a:pt x="940" y="984"/>
                  <a:pt x="940" y="982"/>
                </a:cubicBezTo>
                <a:cubicBezTo>
                  <a:pt x="941" y="980"/>
                  <a:pt x="942" y="978"/>
                  <a:pt x="942" y="975"/>
                </a:cubicBezTo>
                <a:cubicBezTo>
                  <a:pt x="942" y="974"/>
                  <a:pt x="943" y="972"/>
                  <a:pt x="944" y="971"/>
                </a:cubicBezTo>
                <a:cubicBezTo>
                  <a:pt x="945" y="970"/>
                  <a:pt x="946" y="970"/>
                  <a:pt x="946" y="968"/>
                </a:cubicBezTo>
                <a:cubicBezTo>
                  <a:pt x="947" y="968"/>
                  <a:pt x="947" y="967"/>
                  <a:pt x="947" y="966"/>
                </a:cubicBezTo>
                <a:cubicBezTo>
                  <a:pt x="949" y="962"/>
                  <a:pt x="950" y="959"/>
                  <a:pt x="952" y="955"/>
                </a:cubicBezTo>
                <a:cubicBezTo>
                  <a:pt x="954" y="951"/>
                  <a:pt x="956" y="947"/>
                  <a:pt x="958" y="943"/>
                </a:cubicBezTo>
                <a:cubicBezTo>
                  <a:pt x="964" y="930"/>
                  <a:pt x="970" y="916"/>
                  <a:pt x="972" y="912"/>
                </a:cubicBezTo>
                <a:cubicBezTo>
                  <a:pt x="973" y="911"/>
                  <a:pt x="973" y="909"/>
                  <a:pt x="974" y="908"/>
                </a:cubicBezTo>
                <a:cubicBezTo>
                  <a:pt x="974" y="907"/>
                  <a:pt x="976" y="906"/>
                  <a:pt x="975" y="904"/>
                </a:cubicBezTo>
                <a:cubicBezTo>
                  <a:pt x="975" y="904"/>
                  <a:pt x="976" y="904"/>
                  <a:pt x="976" y="905"/>
                </a:cubicBezTo>
                <a:cubicBezTo>
                  <a:pt x="976" y="905"/>
                  <a:pt x="977" y="904"/>
                  <a:pt x="977" y="904"/>
                </a:cubicBezTo>
                <a:cubicBezTo>
                  <a:pt x="977" y="903"/>
                  <a:pt x="977" y="903"/>
                  <a:pt x="977" y="902"/>
                </a:cubicBezTo>
                <a:cubicBezTo>
                  <a:pt x="977" y="902"/>
                  <a:pt x="976" y="902"/>
                  <a:pt x="976" y="902"/>
                </a:cubicBezTo>
                <a:cubicBezTo>
                  <a:pt x="976" y="900"/>
                  <a:pt x="978" y="897"/>
                  <a:pt x="979" y="896"/>
                </a:cubicBezTo>
                <a:cubicBezTo>
                  <a:pt x="980" y="895"/>
                  <a:pt x="981" y="893"/>
                  <a:pt x="981" y="892"/>
                </a:cubicBezTo>
                <a:cubicBezTo>
                  <a:pt x="981" y="892"/>
                  <a:pt x="981" y="892"/>
                  <a:pt x="981" y="892"/>
                </a:cubicBezTo>
                <a:cubicBezTo>
                  <a:pt x="981" y="891"/>
                  <a:pt x="981" y="891"/>
                  <a:pt x="981" y="890"/>
                </a:cubicBezTo>
                <a:cubicBezTo>
                  <a:pt x="981" y="890"/>
                  <a:pt x="981" y="889"/>
                  <a:pt x="981" y="889"/>
                </a:cubicBezTo>
                <a:cubicBezTo>
                  <a:pt x="981" y="888"/>
                  <a:pt x="982" y="887"/>
                  <a:pt x="983" y="888"/>
                </a:cubicBezTo>
                <a:cubicBezTo>
                  <a:pt x="983" y="888"/>
                  <a:pt x="983" y="889"/>
                  <a:pt x="984" y="889"/>
                </a:cubicBezTo>
                <a:cubicBezTo>
                  <a:pt x="984" y="889"/>
                  <a:pt x="984" y="889"/>
                  <a:pt x="985" y="888"/>
                </a:cubicBezTo>
                <a:cubicBezTo>
                  <a:pt x="985" y="888"/>
                  <a:pt x="985" y="888"/>
                  <a:pt x="985" y="887"/>
                </a:cubicBezTo>
                <a:cubicBezTo>
                  <a:pt x="984" y="886"/>
                  <a:pt x="986" y="884"/>
                  <a:pt x="986" y="883"/>
                </a:cubicBezTo>
                <a:cubicBezTo>
                  <a:pt x="987" y="881"/>
                  <a:pt x="987" y="878"/>
                  <a:pt x="988" y="877"/>
                </a:cubicBezTo>
                <a:cubicBezTo>
                  <a:pt x="988" y="877"/>
                  <a:pt x="989" y="877"/>
                  <a:pt x="989" y="877"/>
                </a:cubicBezTo>
                <a:cubicBezTo>
                  <a:pt x="989" y="876"/>
                  <a:pt x="989" y="876"/>
                  <a:pt x="990" y="876"/>
                </a:cubicBezTo>
                <a:cubicBezTo>
                  <a:pt x="990" y="875"/>
                  <a:pt x="991" y="873"/>
                  <a:pt x="992" y="872"/>
                </a:cubicBezTo>
                <a:cubicBezTo>
                  <a:pt x="992" y="871"/>
                  <a:pt x="994" y="866"/>
                  <a:pt x="996" y="862"/>
                </a:cubicBezTo>
                <a:cubicBezTo>
                  <a:pt x="997" y="860"/>
                  <a:pt x="998" y="858"/>
                  <a:pt x="998" y="857"/>
                </a:cubicBezTo>
                <a:cubicBezTo>
                  <a:pt x="999" y="856"/>
                  <a:pt x="1000" y="855"/>
                  <a:pt x="1000" y="854"/>
                </a:cubicBezTo>
                <a:cubicBezTo>
                  <a:pt x="1000" y="853"/>
                  <a:pt x="999" y="853"/>
                  <a:pt x="999" y="852"/>
                </a:cubicBezTo>
                <a:cubicBezTo>
                  <a:pt x="999" y="851"/>
                  <a:pt x="1000" y="851"/>
                  <a:pt x="1000" y="850"/>
                </a:cubicBezTo>
                <a:cubicBezTo>
                  <a:pt x="1000" y="850"/>
                  <a:pt x="1001" y="850"/>
                  <a:pt x="1001" y="850"/>
                </a:cubicBezTo>
                <a:cubicBezTo>
                  <a:pt x="1002" y="849"/>
                  <a:pt x="1002" y="849"/>
                  <a:pt x="1002" y="848"/>
                </a:cubicBezTo>
                <a:cubicBezTo>
                  <a:pt x="1003" y="847"/>
                  <a:pt x="1004" y="846"/>
                  <a:pt x="1004" y="844"/>
                </a:cubicBezTo>
                <a:cubicBezTo>
                  <a:pt x="1006" y="842"/>
                  <a:pt x="1007" y="839"/>
                  <a:pt x="1008" y="836"/>
                </a:cubicBezTo>
                <a:cubicBezTo>
                  <a:pt x="1010" y="833"/>
                  <a:pt x="1011" y="831"/>
                  <a:pt x="1012" y="828"/>
                </a:cubicBezTo>
                <a:cubicBezTo>
                  <a:pt x="1014" y="826"/>
                  <a:pt x="1016" y="823"/>
                  <a:pt x="1015" y="821"/>
                </a:cubicBezTo>
                <a:cubicBezTo>
                  <a:pt x="1015" y="820"/>
                  <a:pt x="1015" y="820"/>
                  <a:pt x="1015" y="820"/>
                </a:cubicBezTo>
                <a:cubicBezTo>
                  <a:pt x="1015" y="819"/>
                  <a:pt x="1016" y="819"/>
                  <a:pt x="1016" y="819"/>
                </a:cubicBezTo>
                <a:cubicBezTo>
                  <a:pt x="1016" y="819"/>
                  <a:pt x="1016" y="818"/>
                  <a:pt x="1016" y="818"/>
                </a:cubicBezTo>
                <a:cubicBezTo>
                  <a:pt x="1016" y="818"/>
                  <a:pt x="1016" y="817"/>
                  <a:pt x="1016" y="817"/>
                </a:cubicBezTo>
                <a:cubicBezTo>
                  <a:pt x="1017" y="815"/>
                  <a:pt x="1018" y="813"/>
                  <a:pt x="1019" y="811"/>
                </a:cubicBezTo>
                <a:cubicBezTo>
                  <a:pt x="1020" y="809"/>
                  <a:pt x="1022" y="807"/>
                  <a:pt x="1023" y="806"/>
                </a:cubicBezTo>
                <a:cubicBezTo>
                  <a:pt x="1025" y="801"/>
                  <a:pt x="1027" y="797"/>
                  <a:pt x="1029" y="792"/>
                </a:cubicBezTo>
                <a:cubicBezTo>
                  <a:pt x="1032" y="785"/>
                  <a:pt x="1036" y="777"/>
                  <a:pt x="1039" y="769"/>
                </a:cubicBezTo>
                <a:cubicBezTo>
                  <a:pt x="1039" y="769"/>
                  <a:pt x="1039" y="769"/>
                  <a:pt x="1039" y="769"/>
                </a:cubicBezTo>
                <a:cubicBezTo>
                  <a:pt x="1040" y="769"/>
                  <a:pt x="1040" y="769"/>
                  <a:pt x="1040" y="769"/>
                </a:cubicBezTo>
                <a:cubicBezTo>
                  <a:pt x="1040" y="769"/>
                  <a:pt x="1040" y="769"/>
                  <a:pt x="1040" y="769"/>
                </a:cubicBezTo>
                <a:cubicBezTo>
                  <a:pt x="1041" y="768"/>
                  <a:pt x="1041" y="767"/>
                  <a:pt x="1042" y="766"/>
                </a:cubicBezTo>
                <a:cubicBezTo>
                  <a:pt x="1042" y="765"/>
                  <a:pt x="1043" y="764"/>
                  <a:pt x="1044" y="763"/>
                </a:cubicBezTo>
                <a:cubicBezTo>
                  <a:pt x="1044" y="763"/>
                  <a:pt x="1045" y="763"/>
                  <a:pt x="1045" y="762"/>
                </a:cubicBezTo>
                <a:cubicBezTo>
                  <a:pt x="1045" y="761"/>
                  <a:pt x="1044" y="760"/>
                  <a:pt x="1044" y="760"/>
                </a:cubicBezTo>
                <a:cubicBezTo>
                  <a:pt x="1044" y="759"/>
                  <a:pt x="1045" y="758"/>
                  <a:pt x="1046" y="757"/>
                </a:cubicBezTo>
                <a:cubicBezTo>
                  <a:pt x="1047" y="755"/>
                  <a:pt x="1049" y="751"/>
                  <a:pt x="1050" y="749"/>
                </a:cubicBezTo>
                <a:cubicBezTo>
                  <a:pt x="1052" y="745"/>
                  <a:pt x="1056" y="735"/>
                  <a:pt x="1059" y="730"/>
                </a:cubicBezTo>
                <a:cubicBezTo>
                  <a:pt x="1060" y="729"/>
                  <a:pt x="1061" y="726"/>
                  <a:pt x="1062" y="723"/>
                </a:cubicBezTo>
                <a:cubicBezTo>
                  <a:pt x="1063" y="722"/>
                  <a:pt x="1063" y="721"/>
                  <a:pt x="1064" y="719"/>
                </a:cubicBezTo>
                <a:cubicBezTo>
                  <a:pt x="1064" y="719"/>
                  <a:pt x="1065" y="719"/>
                  <a:pt x="1065" y="719"/>
                </a:cubicBezTo>
                <a:cubicBezTo>
                  <a:pt x="1065" y="719"/>
                  <a:pt x="1066" y="719"/>
                  <a:pt x="1066" y="718"/>
                </a:cubicBezTo>
                <a:cubicBezTo>
                  <a:pt x="1066" y="718"/>
                  <a:pt x="1067" y="717"/>
                  <a:pt x="1067" y="716"/>
                </a:cubicBezTo>
                <a:cubicBezTo>
                  <a:pt x="1067" y="716"/>
                  <a:pt x="1067" y="716"/>
                  <a:pt x="1067" y="715"/>
                </a:cubicBezTo>
                <a:cubicBezTo>
                  <a:pt x="1067" y="714"/>
                  <a:pt x="1068" y="712"/>
                  <a:pt x="1069" y="711"/>
                </a:cubicBezTo>
                <a:cubicBezTo>
                  <a:pt x="1069" y="709"/>
                  <a:pt x="1071" y="709"/>
                  <a:pt x="1073" y="709"/>
                </a:cubicBezTo>
                <a:cubicBezTo>
                  <a:pt x="1073" y="709"/>
                  <a:pt x="1074" y="709"/>
                  <a:pt x="1073" y="708"/>
                </a:cubicBezTo>
                <a:cubicBezTo>
                  <a:pt x="1073" y="707"/>
                  <a:pt x="1073" y="706"/>
                  <a:pt x="1073" y="705"/>
                </a:cubicBezTo>
                <a:cubicBezTo>
                  <a:pt x="1073" y="704"/>
                  <a:pt x="1073" y="704"/>
                  <a:pt x="1073" y="704"/>
                </a:cubicBezTo>
                <a:cubicBezTo>
                  <a:pt x="1073" y="704"/>
                  <a:pt x="1073" y="703"/>
                  <a:pt x="1073" y="703"/>
                </a:cubicBezTo>
                <a:cubicBezTo>
                  <a:pt x="1073" y="703"/>
                  <a:pt x="1073" y="703"/>
                  <a:pt x="1073" y="702"/>
                </a:cubicBezTo>
                <a:cubicBezTo>
                  <a:pt x="1073" y="701"/>
                  <a:pt x="1074" y="699"/>
                  <a:pt x="1075" y="698"/>
                </a:cubicBezTo>
                <a:cubicBezTo>
                  <a:pt x="1076" y="696"/>
                  <a:pt x="1077" y="694"/>
                  <a:pt x="1078" y="691"/>
                </a:cubicBezTo>
                <a:cubicBezTo>
                  <a:pt x="1080" y="687"/>
                  <a:pt x="1083" y="683"/>
                  <a:pt x="1085" y="678"/>
                </a:cubicBezTo>
                <a:cubicBezTo>
                  <a:pt x="1085" y="678"/>
                  <a:pt x="1085" y="677"/>
                  <a:pt x="1085" y="677"/>
                </a:cubicBezTo>
                <a:cubicBezTo>
                  <a:pt x="1085" y="677"/>
                  <a:pt x="1085" y="676"/>
                  <a:pt x="1085" y="676"/>
                </a:cubicBezTo>
                <a:cubicBezTo>
                  <a:pt x="1085" y="676"/>
                  <a:pt x="1085" y="676"/>
                  <a:pt x="1085" y="676"/>
                </a:cubicBezTo>
                <a:cubicBezTo>
                  <a:pt x="1085" y="675"/>
                  <a:pt x="1085" y="675"/>
                  <a:pt x="1085" y="675"/>
                </a:cubicBezTo>
                <a:cubicBezTo>
                  <a:pt x="1085" y="675"/>
                  <a:pt x="1086" y="673"/>
                  <a:pt x="1086" y="672"/>
                </a:cubicBezTo>
                <a:cubicBezTo>
                  <a:pt x="1087" y="672"/>
                  <a:pt x="1088" y="671"/>
                  <a:pt x="1088" y="670"/>
                </a:cubicBezTo>
                <a:cubicBezTo>
                  <a:pt x="1089" y="669"/>
                  <a:pt x="1090" y="668"/>
                  <a:pt x="1090" y="667"/>
                </a:cubicBezTo>
                <a:cubicBezTo>
                  <a:pt x="1090" y="666"/>
                  <a:pt x="1091" y="666"/>
                  <a:pt x="1091" y="666"/>
                </a:cubicBezTo>
                <a:cubicBezTo>
                  <a:pt x="1091" y="666"/>
                  <a:pt x="1090" y="666"/>
                  <a:pt x="1090" y="666"/>
                </a:cubicBezTo>
                <a:cubicBezTo>
                  <a:pt x="1090" y="665"/>
                  <a:pt x="1091" y="664"/>
                  <a:pt x="1091" y="664"/>
                </a:cubicBezTo>
                <a:cubicBezTo>
                  <a:pt x="1091" y="664"/>
                  <a:pt x="1092" y="664"/>
                  <a:pt x="1092" y="664"/>
                </a:cubicBezTo>
                <a:cubicBezTo>
                  <a:pt x="1092" y="663"/>
                  <a:pt x="1093" y="662"/>
                  <a:pt x="1093" y="661"/>
                </a:cubicBezTo>
                <a:cubicBezTo>
                  <a:pt x="1094" y="660"/>
                  <a:pt x="1094" y="659"/>
                  <a:pt x="1095" y="658"/>
                </a:cubicBezTo>
                <a:cubicBezTo>
                  <a:pt x="1096" y="658"/>
                  <a:pt x="1097" y="658"/>
                  <a:pt x="1097" y="657"/>
                </a:cubicBezTo>
                <a:cubicBezTo>
                  <a:pt x="1098" y="656"/>
                  <a:pt x="1095" y="653"/>
                  <a:pt x="1097" y="653"/>
                </a:cubicBezTo>
                <a:cubicBezTo>
                  <a:pt x="1097" y="653"/>
                  <a:pt x="1098" y="653"/>
                  <a:pt x="1098" y="653"/>
                </a:cubicBezTo>
                <a:cubicBezTo>
                  <a:pt x="1098" y="653"/>
                  <a:pt x="1098" y="653"/>
                  <a:pt x="1098" y="653"/>
                </a:cubicBezTo>
                <a:cubicBezTo>
                  <a:pt x="1099" y="653"/>
                  <a:pt x="1099" y="653"/>
                  <a:pt x="1099" y="653"/>
                </a:cubicBezTo>
                <a:cubicBezTo>
                  <a:pt x="1099" y="653"/>
                  <a:pt x="1100" y="652"/>
                  <a:pt x="1099" y="651"/>
                </a:cubicBezTo>
                <a:cubicBezTo>
                  <a:pt x="1099" y="651"/>
                  <a:pt x="1099" y="651"/>
                  <a:pt x="1099" y="650"/>
                </a:cubicBezTo>
                <a:cubicBezTo>
                  <a:pt x="1099" y="648"/>
                  <a:pt x="1101" y="645"/>
                  <a:pt x="1102" y="643"/>
                </a:cubicBezTo>
                <a:cubicBezTo>
                  <a:pt x="1103" y="641"/>
                  <a:pt x="1104" y="639"/>
                  <a:pt x="1105" y="637"/>
                </a:cubicBezTo>
                <a:cubicBezTo>
                  <a:pt x="1105" y="636"/>
                  <a:pt x="1106" y="635"/>
                  <a:pt x="1106" y="635"/>
                </a:cubicBezTo>
                <a:cubicBezTo>
                  <a:pt x="1107" y="633"/>
                  <a:pt x="1107" y="634"/>
                  <a:pt x="1108" y="634"/>
                </a:cubicBezTo>
                <a:cubicBezTo>
                  <a:pt x="1109" y="634"/>
                  <a:pt x="1110" y="634"/>
                  <a:pt x="1110" y="634"/>
                </a:cubicBezTo>
                <a:cubicBezTo>
                  <a:pt x="1110" y="633"/>
                  <a:pt x="1111" y="633"/>
                  <a:pt x="1111" y="633"/>
                </a:cubicBezTo>
                <a:cubicBezTo>
                  <a:pt x="1111" y="633"/>
                  <a:pt x="1111" y="632"/>
                  <a:pt x="1110" y="632"/>
                </a:cubicBezTo>
                <a:cubicBezTo>
                  <a:pt x="1110" y="631"/>
                  <a:pt x="1110" y="631"/>
                  <a:pt x="1109" y="630"/>
                </a:cubicBezTo>
                <a:cubicBezTo>
                  <a:pt x="1110" y="629"/>
                  <a:pt x="1110" y="628"/>
                  <a:pt x="1111" y="626"/>
                </a:cubicBezTo>
                <a:cubicBezTo>
                  <a:pt x="1111" y="625"/>
                  <a:pt x="1113" y="624"/>
                  <a:pt x="1113" y="623"/>
                </a:cubicBezTo>
                <a:cubicBezTo>
                  <a:pt x="1114" y="621"/>
                  <a:pt x="1115" y="619"/>
                  <a:pt x="1116" y="617"/>
                </a:cubicBezTo>
                <a:cubicBezTo>
                  <a:pt x="1116" y="616"/>
                  <a:pt x="1117" y="615"/>
                  <a:pt x="1117" y="614"/>
                </a:cubicBezTo>
                <a:cubicBezTo>
                  <a:pt x="1117" y="613"/>
                  <a:pt x="1117" y="613"/>
                  <a:pt x="1118" y="613"/>
                </a:cubicBezTo>
                <a:cubicBezTo>
                  <a:pt x="1118" y="612"/>
                  <a:pt x="1118" y="612"/>
                  <a:pt x="1119" y="612"/>
                </a:cubicBezTo>
                <a:cubicBezTo>
                  <a:pt x="1119" y="612"/>
                  <a:pt x="1119" y="612"/>
                  <a:pt x="1120" y="611"/>
                </a:cubicBezTo>
                <a:cubicBezTo>
                  <a:pt x="1120" y="611"/>
                  <a:pt x="1120" y="611"/>
                  <a:pt x="1120" y="611"/>
                </a:cubicBezTo>
                <a:cubicBezTo>
                  <a:pt x="1120" y="611"/>
                  <a:pt x="1120" y="611"/>
                  <a:pt x="1120" y="611"/>
                </a:cubicBezTo>
                <a:cubicBezTo>
                  <a:pt x="1120" y="610"/>
                  <a:pt x="1120" y="609"/>
                  <a:pt x="1120" y="608"/>
                </a:cubicBezTo>
                <a:cubicBezTo>
                  <a:pt x="1120" y="608"/>
                  <a:pt x="1119" y="607"/>
                  <a:pt x="1120" y="606"/>
                </a:cubicBezTo>
                <a:cubicBezTo>
                  <a:pt x="1120" y="605"/>
                  <a:pt x="1120" y="605"/>
                  <a:pt x="1120" y="604"/>
                </a:cubicBezTo>
                <a:cubicBezTo>
                  <a:pt x="1121" y="602"/>
                  <a:pt x="1122" y="599"/>
                  <a:pt x="1124" y="597"/>
                </a:cubicBezTo>
                <a:cubicBezTo>
                  <a:pt x="1125" y="595"/>
                  <a:pt x="1126" y="595"/>
                  <a:pt x="1128" y="594"/>
                </a:cubicBezTo>
                <a:cubicBezTo>
                  <a:pt x="1128" y="594"/>
                  <a:pt x="1128" y="594"/>
                  <a:pt x="1129" y="593"/>
                </a:cubicBezTo>
                <a:cubicBezTo>
                  <a:pt x="1129" y="593"/>
                  <a:pt x="1128" y="592"/>
                  <a:pt x="1128" y="591"/>
                </a:cubicBezTo>
                <a:cubicBezTo>
                  <a:pt x="1128" y="590"/>
                  <a:pt x="1129" y="590"/>
                  <a:pt x="1129" y="590"/>
                </a:cubicBezTo>
                <a:cubicBezTo>
                  <a:pt x="1131" y="588"/>
                  <a:pt x="1131" y="586"/>
                  <a:pt x="1131" y="584"/>
                </a:cubicBezTo>
                <a:cubicBezTo>
                  <a:pt x="1131" y="583"/>
                  <a:pt x="1131" y="582"/>
                  <a:pt x="1131" y="581"/>
                </a:cubicBezTo>
                <a:cubicBezTo>
                  <a:pt x="1132" y="579"/>
                  <a:pt x="1133" y="578"/>
                  <a:pt x="1134" y="576"/>
                </a:cubicBezTo>
                <a:cubicBezTo>
                  <a:pt x="1134" y="576"/>
                  <a:pt x="1135" y="575"/>
                  <a:pt x="1135" y="575"/>
                </a:cubicBezTo>
                <a:cubicBezTo>
                  <a:pt x="1136" y="573"/>
                  <a:pt x="1137" y="572"/>
                  <a:pt x="1138" y="570"/>
                </a:cubicBezTo>
                <a:cubicBezTo>
                  <a:pt x="1139" y="569"/>
                  <a:pt x="1140" y="567"/>
                  <a:pt x="1140" y="566"/>
                </a:cubicBezTo>
                <a:cubicBezTo>
                  <a:pt x="1141" y="565"/>
                  <a:pt x="1143" y="564"/>
                  <a:pt x="1144" y="564"/>
                </a:cubicBezTo>
                <a:cubicBezTo>
                  <a:pt x="1144" y="563"/>
                  <a:pt x="1145" y="563"/>
                  <a:pt x="1145" y="563"/>
                </a:cubicBezTo>
                <a:cubicBezTo>
                  <a:pt x="1145" y="563"/>
                  <a:pt x="1145" y="562"/>
                  <a:pt x="1145" y="562"/>
                </a:cubicBezTo>
                <a:cubicBezTo>
                  <a:pt x="1145" y="562"/>
                  <a:pt x="1145" y="562"/>
                  <a:pt x="1145" y="562"/>
                </a:cubicBezTo>
                <a:cubicBezTo>
                  <a:pt x="1144" y="562"/>
                  <a:pt x="1144" y="561"/>
                  <a:pt x="1145" y="561"/>
                </a:cubicBezTo>
                <a:cubicBezTo>
                  <a:pt x="1145" y="561"/>
                  <a:pt x="1145" y="562"/>
                  <a:pt x="1145" y="561"/>
                </a:cubicBezTo>
                <a:cubicBezTo>
                  <a:pt x="1145" y="561"/>
                  <a:pt x="1145" y="560"/>
                  <a:pt x="1145" y="560"/>
                </a:cubicBezTo>
                <a:cubicBezTo>
                  <a:pt x="1145" y="560"/>
                  <a:pt x="1145" y="560"/>
                  <a:pt x="1145" y="559"/>
                </a:cubicBezTo>
                <a:cubicBezTo>
                  <a:pt x="1145" y="559"/>
                  <a:pt x="1146" y="559"/>
                  <a:pt x="1146" y="559"/>
                </a:cubicBezTo>
                <a:cubicBezTo>
                  <a:pt x="1147" y="559"/>
                  <a:pt x="1147" y="558"/>
                  <a:pt x="1146" y="557"/>
                </a:cubicBezTo>
                <a:cubicBezTo>
                  <a:pt x="1145" y="554"/>
                  <a:pt x="1148" y="550"/>
                  <a:pt x="1149" y="547"/>
                </a:cubicBezTo>
                <a:cubicBezTo>
                  <a:pt x="1150" y="545"/>
                  <a:pt x="1150" y="543"/>
                  <a:pt x="1151" y="542"/>
                </a:cubicBezTo>
                <a:cubicBezTo>
                  <a:pt x="1152" y="542"/>
                  <a:pt x="1152" y="541"/>
                  <a:pt x="1152" y="541"/>
                </a:cubicBezTo>
                <a:cubicBezTo>
                  <a:pt x="1153" y="541"/>
                  <a:pt x="1153" y="540"/>
                  <a:pt x="1154" y="540"/>
                </a:cubicBezTo>
                <a:cubicBezTo>
                  <a:pt x="1154" y="540"/>
                  <a:pt x="1154" y="540"/>
                  <a:pt x="1155" y="540"/>
                </a:cubicBezTo>
                <a:cubicBezTo>
                  <a:pt x="1156" y="540"/>
                  <a:pt x="1157" y="538"/>
                  <a:pt x="1157" y="537"/>
                </a:cubicBezTo>
                <a:cubicBezTo>
                  <a:pt x="1158" y="536"/>
                  <a:pt x="1160" y="535"/>
                  <a:pt x="1159" y="533"/>
                </a:cubicBezTo>
                <a:cubicBezTo>
                  <a:pt x="1159" y="533"/>
                  <a:pt x="1160" y="531"/>
                  <a:pt x="1161" y="530"/>
                </a:cubicBezTo>
                <a:cubicBezTo>
                  <a:pt x="1161" y="529"/>
                  <a:pt x="1162" y="528"/>
                  <a:pt x="1163" y="526"/>
                </a:cubicBezTo>
                <a:cubicBezTo>
                  <a:pt x="1163" y="525"/>
                  <a:pt x="1164" y="525"/>
                  <a:pt x="1164" y="524"/>
                </a:cubicBezTo>
                <a:cubicBezTo>
                  <a:pt x="1164" y="523"/>
                  <a:pt x="1163" y="522"/>
                  <a:pt x="1163" y="521"/>
                </a:cubicBezTo>
                <a:cubicBezTo>
                  <a:pt x="1163" y="521"/>
                  <a:pt x="1164" y="520"/>
                  <a:pt x="1165" y="520"/>
                </a:cubicBezTo>
                <a:cubicBezTo>
                  <a:pt x="1165" y="520"/>
                  <a:pt x="1165" y="521"/>
                  <a:pt x="1165" y="521"/>
                </a:cubicBezTo>
                <a:cubicBezTo>
                  <a:pt x="1166" y="521"/>
                  <a:pt x="1167" y="518"/>
                  <a:pt x="1167" y="518"/>
                </a:cubicBezTo>
                <a:cubicBezTo>
                  <a:pt x="1167" y="517"/>
                  <a:pt x="1169" y="514"/>
                  <a:pt x="1168" y="514"/>
                </a:cubicBezTo>
                <a:cubicBezTo>
                  <a:pt x="1168" y="514"/>
                  <a:pt x="1167" y="514"/>
                  <a:pt x="1167" y="513"/>
                </a:cubicBezTo>
                <a:cubicBezTo>
                  <a:pt x="1167" y="513"/>
                  <a:pt x="1168" y="511"/>
                  <a:pt x="1168" y="511"/>
                </a:cubicBezTo>
                <a:cubicBezTo>
                  <a:pt x="1169" y="510"/>
                  <a:pt x="1169" y="509"/>
                  <a:pt x="1170" y="508"/>
                </a:cubicBezTo>
                <a:cubicBezTo>
                  <a:pt x="1172" y="505"/>
                  <a:pt x="1176" y="498"/>
                  <a:pt x="1179" y="492"/>
                </a:cubicBezTo>
                <a:cubicBezTo>
                  <a:pt x="1180" y="490"/>
                  <a:pt x="1181" y="488"/>
                  <a:pt x="1182" y="486"/>
                </a:cubicBezTo>
                <a:cubicBezTo>
                  <a:pt x="1182" y="484"/>
                  <a:pt x="1183" y="482"/>
                  <a:pt x="1185" y="481"/>
                </a:cubicBezTo>
                <a:cubicBezTo>
                  <a:pt x="1185" y="480"/>
                  <a:pt x="1185" y="480"/>
                  <a:pt x="1185" y="480"/>
                </a:cubicBezTo>
                <a:cubicBezTo>
                  <a:pt x="1186" y="480"/>
                  <a:pt x="1186" y="479"/>
                  <a:pt x="1186" y="478"/>
                </a:cubicBezTo>
                <a:cubicBezTo>
                  <a:pt x="1186" y="477"/>
                  <a:pt x="1186" y="476"/>
                  <a:pt x="1186" y="476"/>
                </a:cubicBezTo>
                <a:cubicBezTo>
                  <a:pt x="1186" y="475"/>
                  <a:pt x="1186" y="475"/>
                  <a:pt x="1186" y="475"/>
                </a:cubicBezTo>
                <a:cubicBezTo>
                  <a:pt x="1186" y="475"/>
                  <a:pt x="1187" y="474"/>
                  <a:pt x="1187" y="474"/>
                </a:cubicBezTo>
                <a:cubicBezTo>
                  <a:pt x="1189" y="472"/>
                  <a:pt x="1192" y="469"/>
                  <a:pt x="1192" y="466"/>
                </a:cubicBezTo>
                <a:cubicBezTo>
                  <a:pt x="1193" y="465"/>
                  <a:pt x="1193" y="465"/>
                  <a:pt x="1192" y="465"/>
                </a:cubicBezTo>
                <a:cubicBezTo>
                  <a:pt x="1191" y="464"/>
                  <a:pt x="1193" y="461"/>
                  <a:pt x="1194" y="460"/>
                </a:cubicBezTo>
                <a:cubicBezTo>
                  <a:pt x="1195" y="458"/>
                  <a:pt x="1197" y="454"/>
                  <a:pt x="1198" y="453"/>
                </a:cubicBezTo>
                <a:cubicBezTo>
                  <a:pt x="1198" y="451"/>
                  <a:pt x="1200" y="447"/>
                  <a:pt x="1202" y="443"/>
                </a:cubicBezTo>
                <a:cubicBezTo>
                  <a:pt x="1204" y="440"/>
                  <a:pt x="1208" y="431"/>
                  <a:pt x="1211" y="424"/>
                </a:cubicBezTo>
                <a:cubicBezTo>
                  <a:pt x="1213" y="422"/>
                  <a:pt x="1214" y="420"/>
                  <a:pt x="1215" y="417"/>
                </a:cubicBezTo>
                <a:cubicBezTo>
                  <a:pt x="1215" y="417"/>
                  <a:pt x="1217" y="412"/>
                  <a:pt x="1218" y="412"/>
                </a:cubicBezTo>
                <a:cubicBezTo>
                  <a:pt x="1218" y="412"/>
                  <a:pt x="1218" y="412"/>
                  <a:pt x="1218" y="413"/>
                </a:cubicBezTo>
                <a:cubicBezTo>
                  <a:pt x="1219" y="413"/>
                  <a:pt x="1219" y="413"/>
                  <a:pt x="1220" y="412"/>
                </a:cubicBezTo>
                <a:cubicBezTo>
                  <a:pt x="1220" y="412"/>
                  <a:pt x="1220" y="411"/>
                  <a:pt x="1220" y="411"/>
                </a:cubicBezTo>
                <a:cubicBezTo>
                  <a:pt x="1221" y="410"/>
                  <a:pt x="1221" y="409"/>
                  <a:pt x="1221" y="408"/>
                </a:cubicBezTo>
                <a:cubicBezTo>
                  <a:pt x="1222" y="407"/>
                  <a:pt x="1222" y="406"/>
                  <a:pt x="1223" y="405"/>
                </a:cubicBezTo>
                <a:cubicBezTo>
                  <a:pt x="1224" y="404"/>
                  <a:pt x="1225" y="403"/>
                  <a:pt x="1225" y="402"/>
                </a:cubicBezTo>
                <a:cubicBezTo>
                  <a:pt x="1225" y="401"/>
                  <a:pt x="1224" y="401"/>
                  <a:pt x="1224" y="400"/>
                </a:cubicBezTo>
                <a:cubicBezTo>
                  <a:pt x="1224" y="399"/>
                  <a:pt x="1224" y="399"/>
                  <a:pt x="1225" y="398"/>
                </a:cubicBezTo>
                <a:cubicBezTo>
                  <a:pt x="1225" y="397"/>
                  <a:pt x="1226" y="394"/>
                  <a:pt x="1227" y="392"/>
                </a:cubicBezTo>
                <a:cubicBezTo>
                  <a:pt x="1228" y="391"/>
                  <a:pt x="1228" y="389"/>
                  <a:pt x="1229" y="388"/>
                </a:cubicBezTo>
                <a:cubicBezTo>
                  <a:pt x="1230" y="387"/>
                  <a:pt x="1230" y="386"/>
                  <a:pt x="1231" y="385"/>
                </a:cubicBezTo>
                <a:cubicBezTo>
                  <a:pt x="1231" y="384"/>
                  <a:pt x="1232" y="382"/>
                  <a:pt x="1233" y="381"/>
                </a:cubicBezTo>
                <a:cubicBezTo>
                  <a:pt x="1234" y="381"/>
                  <a:pt x="1234" y="381"/>
                  <a:pt x="1235" y="380"/>
                </a:cubicBezTo>
                <a:cubicBezTo>
                  <a:pt x="1236" y="379"/>
                  <a:pt x="1236" y="376"/>
                  <a:pt x="1236" y="375"/>
                </a:cubicBezTo>
                <a:cubicBezTo>
                  <a:pt x="1237" y="373"/>
                  <a:pt x="1237" y="371"/>
                  <a:pt x="1237" y="369"/>
                </a:cubicBezTo>
                <a:cubicBezTo>
                  <a:pt x="1238" y="368"/>
                  <a:pt x="1238" y="367"/>
                  <a:pt x="1239" y="366"/>
                </a:cubicBezTo>
                <a:cubicBezTo>
                  <a:pt x="1240" y="364"/>
                  <a:pt x="1241" y="363"/>
                  <a:pt x="1242" y="362"/>
                </a:cubicBezTo>
                <a:cubicBezTo>
                  <a:pt x="1243" y="361"/>
                  <a:pt x="1244" y="360"/>
                  <a:pt x="1244" y="358"/>
                </a:cubicBezTo>
                <a:cubicBezTo>
                  <a:pt x="1244" y="358"/>
                  <a:pt x="1244" y="358"/>
                  <a:pt x="1244" y="358"/>
                </a:cubicBezTo>
                <a:cubicBezTo>
                  <a:pt x="1243" y="357"/>
                  <a:pt x="1244" y="356"/>
                  <a:pt x="1244" y="355"/>
                </a:cubicBezTo>
                <a:cubicBezTo>
                  <a:pt x="1245" y="355"/>
                  <a:pt x="1246" y="352"/>
                  <a:pt x="1247" y="354"/>
                </a:cubicBezTo>
                <a:cubicBezTo>
                  <a:pt x="1247" y="354"/>
                  <a:pt x="1247" y="354"/>
                  <a:pt x="1247" y="354"/>
                </a:cubicBezTo>
                <a:cubicBezTo>
                  <a:pt x="1248" y="354"/>
                  <a:pt x="1248" y="354"/>
                  <a:pt x="1249" y="354"/>
                </a:cubicBezTo>
                <a:cubicBezTo>
                  <a:pt x="1249" y="354"/>
                  <a:pt x="1249" y="354"/>
                  <a:pt x="1250" y="353"/>
                </a:cubicBezTo>
                <a:cubicBezTo>
                  <a:pt x="1250" y="353"/>
                  <a:pt x="1249" y="353"/>
                  <a:pt x="1249" y="352"/>
                </a:cubicBezTo>
                <a:cubicBezTo>
                  <a:pt x="1250" y="352"/>
                  <a:pt x="1250" y="352"/>
                  <a:pt x="1251" y="352"/>
                </a:cubicBezTo>
                <a:cubicBezTo>
                  <a:pt x="1251" y="351"/>
                  <a:pt x="1252" y="351"/>
                  <a:pt x="1252" y="350"/>
                </a:cubicBezTo>
                <a:cubicBezTo>
                  <a:pt x="1252" y="350"/>
                  <a:pt x="1251" y="349"/>
                  <a:pt x="1251" y="349"/>
                </a:cubicBezTo>
                <a:cubicBezTo>
                  <a:pt x="1250" y="349"/>
                  <a:pt x="1250" y="349"/>
                  <a:pt x="1250" y="349"/>
                </a:cubicBezTo>
                <a:cubicBezTo>
                  <a:pt x="1249" y="349"/>
                  <a:pt x="1250" y="348"/>
                  <a:pt x="1250" y="348"/>
                </a:cubicBezTo>
                <a:cubicBezTo>
                  <a:pt x="1250" y="347"/>
                  <a:pt x="1250" y="347"/>
                  <a:pt x="1251" y="347"/>
                </a:cubicBezTo>
                <a:cubicBezTo>
                  <a:pt x="1251" y="347"/>
                  <a:pt x="1251" y="347"/>
                  <a:pt x="1251" y="347"/>
                </a:cubicBezTo>
                <a:cubicBezTo>
                  <a:pt x="1252" y="346"/>
                  <a:pt x="1253" y="345"/>
                  <a:pt x="1254" y="344"/>
                </a:cubicBezTo>
                <a:cubicBezTo>
                  <a:pt x="1254" y="342"/>
                  <a:pt x="1255" y="341"/>
                  <a:pt x="1256" y="340"/>
                </a:cubicBezTo>
                <a:cubicBezTo>
                  <a:pt x="1256" y="339"/>
                  <a:pt x="1257" y="338"/>
                  <a:pt x="1257" y="337"/>
                </a:cubicBezTo>
                <a:cubicBezTo>
                  <a:pt x="1258" y="336"/>
                  <a:pt x="1258" y="335"/>
                  <a:pt x="1258" y="334"/>
                </a:cubicBezTo>
                <a:cubicBezTo>
                  <a:pt x="1258" y="334"/>
                  <a:pt x="1259" y="333"/>
                  <a:pt x="1259" y="332"/>
                </a:cubicBezTo>
                <a:cubicBezTo>
                  <a:pt x="1259" y="331"/>
                  <a:pt x="1259" y="331"/>
                  <a:pt x="1259" y="331"/>
                </a:cubicBezTo>
                <a:cubicBezTo>
                  <a:pt x="1259" y="330"/>
                  <a:pt x="1259" y="330"/>
                  <a:pt x="1260" y="329"/>
                </a:cubicBezTo>
                <a:cubicBezTo>
                  <a:pt x="1260" y="328"/>
                  <a:pt x="1260" y="326"/>
                  <a:pt x="1261" y="325"/>
                </a:cubicBezTo>
                <a:cubicBezTo>
                  <a:pt x="1261" y="325"/>
                  <a:pt x="1261" y="324"/>
                  <a:pt x="1261" y="324"/>
                </a:cubicBezTo>
                <a:cubicBezTo>
                  <a:pt x="1261" y="324"/>
                  <a:pt x="1262" y="324"/>
                  <a:pt x="1262" y="324"/>
                </a:cubicBezTo>
                <a:cubicBezTo>
                  <a:pt x="1262" y="324"/>
                  <a:pt x="1262" y="324"/>
                  <a:pt x="1263" y="325"/>
                </a:cubicBezTo>
                <a:cubicBezTo>
                  <a:pt x="1263" y="325"/>
                  <a:pt x="1264" y="325"/>
                  <a:pt x="1264" y="325"/>
                </a:cubicBezTo>
                <a:cubicBezTo>
                  <a:pt x="1264" y="324"/>
                  <a:pt x="1265" y="324"/>
                  <a:pt x="1265" y="323"/>
                </a:cubicBezTo>
                <a:cubicBezTo>
                  <a:pt x="1266" y="323"/>
                  <a:pt x="1266" y="321"/>
                  <a:pt x="1266" y="320"/>
                </a:cubicBezTo>
                <a:cubicBezTo>
                  <a:pt x="1266" y="319"/>
                  <a:pt x="1267" y="318"/>
                  <a:pt x="1267" y="316"/>
                </a:cubicBezTo>
                <a:cubicBezTo>
                  <a:pt x="1268" y="316"/>
                  <a:pt x="1267" y="315"/>
                  <a:pt x="1267" y="315"/>
                </a:cubicBezTo>
                <a:cubicBezTo>
                  <a:pt x="1267" y="314"/>
                  <a:pt x="1267" y="314"/>
                  <a:pt x="1267" y="314"/>
                </a:cubicBezTo>
                <a:cubicBezTo>
                  <a:pt x="1267" y="313"/>
                  <a:pt x="1267" y="313"/>
                  <a:pt x="1268" y="313"/>
                </a:cubicBezTo>
                <a:cubicBezTo>
                  <a:pt x="1270" y="312"/>
                  <a:pt x="1270" y="309"/>
                  <a:pt x="1270" y="308"/>
                </a:cubicBezTo>
                <a:cubicBezTo>
                  <a:pt x="1271" y="306"/>
                  <a:pt x="1272" y="304"/>
                  <a:pt x="1272" y="303"/>
                </a:cubicBezTo>
                <a:cubicBezTo>
                  <a:pt x="1272" y="303"/>
                  <a:pt x="1274" y="300"/>
                  <a:pt x="1276" y="297"/>
                </a:cubicBezTo>
                <a:cubicBezTo>
                  <a:pt x="1276" y="296"/>
                  <a:pt x="1277" y="295"/>
                  <a:pt x="1278" y="293"/>
                </a:cubicBezTo>
                <a:cubicBezTo>
                  <a:pt x="1278" y="293"/>
                  <a:pt x="1279" y="292"/>
                  <a:pt x="1279" y="291"/>
                </a:cubicBezTo>
                <a:cubicBezTo>
                  <a:pt x="1279" y="290"/>
                  <a:pt x="1278" y="290"/>
                  <a:pt x="1278" y="289"/>
                </a:cubicBezTo>
                <a:cubicBezTo>
                  <a:pt x="1278" y="289"/>
                  <a:pt x="1278" y="288"/>
                  <a:pt x="1278" y="288"/>
                </a:cubicBezTo>
                <a:cubicBezTo>
                  <a:pt x="1278" y="287"/>
                  <a:pt x="1279" y="287"/>
                  <a:pt x="1279" y="286"/>
                </a:cubicBezTo>
                <a:cubicBezTo>
                  <a:pt x="1280" y="285"/>
                  <a:pt x="1281" y="284"/>
                  <a:pt x="1281" y="284"/>
                </a:cubicBezTo>
                <a:cubicBezTo>
                  <a:pt x="1283" y="284"/>
                  <a:pt x="1285" y="278"/>
                  <a:pt x="1285" y="276"/>
                </a:cubicBezTo>
                <a:cubicBezTo>
                  <a:pt x="1285" y="274"/>
                  <a:pt x="1284" y="272"/>
                  <a:pt x="1286" y="271"/>
                </a:cubicBezTo>
                <a:cubicBezTo>
                  <a:pt x="1286" y="271"/>
                  <a:pt x="1286" y="271"/>
                  <a:pt x="1287" y="271"/>
                </a:cubicBezTo>
                <a:cubicBezTo>
                  <a:pt x="1287" y="271"/>
                  <a:pt x="1287" y="271"/>
                  <a:pt x="1288" y="271"/>
                </a:cubicBezTo>
                <a:cubicBezTo>
                  <a:pt x="1289" y="269"/>
                  <a:pt x="1289" y="268"/>
                  <a:pt x="1290" y="266"/>
                </a:cubicBezTo>
                <a:cubicBezTo>
                  <a:pt x="1291" y="264"/>
                  <a:pt x="1293" y="262"/>
                  <a:pt x="1294" y="261"/>
                </a:cubicBezTo>
                <a:cubicBezTo>
                  <a:pt x="1294" y="261"/>
                  <a:pt x="1296" y="257"/>
                  <a:pt x="1298" y="254"/>
                </a:cubicBezTo>
                <a:cubicBezTo>
                  <a:pt x="1299" y="252"/>
                  <a:pt x="1301" y="248"/>
                  <a:pt x="1299" y="246"/>
                </a:cubicBezTo>
                <a:cubicBezTo>
                  <a:pt x="1299" y="245"/>
                  <a:pt x="1299" y="245"/>
                  <a:pt x="1299" y="245"/>
                </a:cubicBezTo>
                <a:cubicBezTo>
                  <a:pt x="1299" y="245"/>
                  <a:pt x="1299" y="244"/>
                  <a:pt x="1299" y="244"/>
                </a:cubicBezTo>
                <a:cubicBezTo>
                  <a:pt x="1300" y="243"/>
                  <a:pt x="1299" y="242"/>
                  <a:pt x="1300" y="241"/>
                </a:cubicBezTo>
                <a:cubicBezTo>
                  <a:pt x="1301" y="240"/>
                  <a:pt x="1301" y="239"/>
                  <a:pt x="1302" y="238"/>
                </a:cubicBezTo>
                <a:cubicBezTo>
                  <a:pt x="1303" y="237"/>
                  <a:pt x="1304" y="235"/>
                  <a:pt x="1305" y="233"/>
                </a:cubicBezTo>
                <a:cubicBezTo>
                  <a:pt x="1305" y="233"/>
                  <a:pt x="1306" y="230"/>
                  <a:pt x="1307" y="230"/>
                </a:cubicBezTo>
                <a:cubicBezTo>
                  <a:pt x="1307" y="230"/>
                  <a:pt x="1307" y="230"/>
                  <a:pt x="1307" y="230"/>
                </a:cubicBezTo>
                <a:cubicBezTo>
                  <a:pt x="1308" y="229"/>
                  <a:pt x="1309" y="228"/>
                  <a:pt x="1309" y="227"/>
                </a:cubicBezTo>
                <a:cubicBezTo>
                  <a:pt x="1310" y="225"/>
                  <a:pt x="1312" y="223"/>
                  <a:pt x="1312" y="221"/>
                </a:cubicBezTo>
                <a:cubicBezTo>
                  <a:pt x="1313" y="220"/>
                  <a:pt x="1314" y="219"/>
                  <a:pt x="1313" y="218"/>
                </a:cubicBezTo>
                <a:cubicBezTo>
                  <a:pt x="1313" y="217"/>
                  <a:pt x="1313" y="216"/>
                  <a:pt x="1313" y="215"/>
                </a:cubicBezTo>
                <a:cubicBezTo>
                  <a:pt x="1314" y="213"/>
                  <a:pt x="1315" y="212"/>
                  <a:pt x="1315" y="211"/>
                </a:cubicBezTo>
                <a:cubicBezTo>
                  <a:pt x="1316" y="209"/>
                  <a:pt x="1317" y="207"/>
                  <a:pt x="1318" y="205"/>
                </a:cubicBezTo>
                <a:cubicBezTo>
                  <a:pt x="1318" y="206"/>
                  <a:pt x="1318" y="206"/>
                  <a:pt x="1318" y="206"/>
                </a:cubicBezTo>
                <a:cubicBezTo>
                  <a:pt x="1319" y="206"/>
                  <a:pt x="1319" y="206"/>
                  <a:pt x="1319" y="206"/>
                </a:cubicBezTo>
                <a:cubicBezTo>
                  <a:pt x="1319" y="206"/>
                  <a:pt x="1319" y="205"/>
                  <a:pt x="1319" y="205"/>
                </a:cubicBezTo>
                <a:cubicBezTo>
                  <a:pt x="1319" y="204"/>
                  <a:pt x="1318" y="201"/>
                  <a:pt x="1320" y="201"/>
                </a:cubicBezTo>
                <a:cubicBezTo>
                  <a:pt x="1321" y="201"/>
                  <a:pt x="1321" y="201"/>
                  <a:pt x="1321" y="201"/>
                </a:cubicBezTo>
                <a:cubicBezTo>
                  <a:pt x="1322" y="202"/>
                  <a:pt x="1322" y="202"/>
                  <a:pt x="1322" y="202"/>
                </a:cubicBezTo>
                <a:cubicBezTo>
                  <a:pt x="1322" y="202"/>
                  <a:pt x="1323" y="202"/>
                  <a:pt x="1323" y="201"/>
                </a:cubicBezTo>
                <a:cubicBezTo>
                  <a:pt x="1324" y="201"/>
                  <a:pt x="1324" y="201"/>
                  <a:pt x="1324" y="200"/>
                </a:cubicBezTo>
                <a:cubicBezTo>
                  <a:pt x="1324" y="199"/>
                  <a:pt x="1323" y="199"/>
                  <a:pt x="1323" y="198"/>
                </a:cubicBezTo>
                <a:cubicBezTo>
                  <a:pt x="1323" y="198"/>
                  <a:pt x="1324" y="198"/>
                  <a:pt x="1324" y="198"/>
                </a:cubicBezTo>
                <a:cubicBezTo>
                  <a:pt x="1324" y="198"/>
                  <a:pt x="1324" y="198"/>
                  <a:pt x="1324" y="198"/>
                </a:cubicBezTo>
                <a:cubicBezTo>
                  <a:pt x="1326" y="199"/>
                  <a:pt x="1327" y="195"/>
                  <a:pt x="1327" y="194"/>
                </a:cubicBezTo>
                <a:cubicBezTo>
                  <a:pt x="1328" y="192"/>
                  <a:pt x="1329" y="190"/>
                  <a:pt x="1330" y="187"/>
                </a:cubicBezTo>
                <a:cubicBezTo>
                  <a:pt x="1331" y="185"/>
                  <a:pt x="1332" y="183"/>
                  <a:pt x="1333" y="181"/>
                </a:cubicBezTo>
                <a:cubicBezTo>
                  <a:pt x="1334" y="179"/>
                  <a:pt x="1336" y="177"/>
                  <a:pt x="1335" y="176"/>
                </a:cubicBezTo>
                <a:cubicBezTo>
                  <a:pt x="1335" y="175"/>
                  <a:pt x="1335" y="175"/>
                  <a:pt x="1335" y="175"/>
                </a:cubicBezTo>
                <a:cubicBezTo>
                  <a:pt x="1334" y="174"/>
                  <a:pt x="1335" y="174"/>
                  <a:pt x="1335" y="173"/>
                </a:cubicBezTo>
                <a:cubicBezTo>
                  <a:pt x="1335" y="172"/>
                  <a:pt x="1335" y="171"/>
                  <a:pt x="1335" y="170"/>
                </a:cubicBezTo>
                <a:cubicBezTo>
                  <a:pt x="1334" y="169"/>
                  <a:pt x="1334" y="169"/>
                  <a:pt x="1334" y="168"/>
                </a:cubicBezTo>
                <a:cubicBezTo>
                  <a:pt x="1335" y="167"/>
                  <a:pt x="1335" y="166"/>
                  <a:pt x="1336" y="165"/>
                </a:cubicBezTo>
                <a:cubicBezTo>
                  <a:pt x="1336" y="165"/>
                  <a:pt x="1337" y="161"/>
                  <a:pt x="1338" y="161"/>
                </a:cubicBezTo>
                <a:cubicBezTo>
                  <a:pt x="1338" y="161"/>
                  <a:pt x="1339" y="162"/>
                  <a:pt x="1339" y="162"/>
                </a:cubicBezTo>
                <a:cubicBezTo>
                  <a:pt x="1339" y="162"/>
                  <a:pt x="1340" y="161"/>
                  <a:pt x="1340" y="161"/>
                </a:cubicBezTo>
                <a:cubicBezTo>
                  <a:pt x="1340" y="160"/>
                  <a:pt x="1340" y="160"/>
                  <a:pt x="1339" y="160"/>
                </a:cubicBezTo>
                <a:cubicBezTo>
                  <a:pt x="1339" y="160"/>
                  <a:pt x="1339" y="159"/>
                  <a:pt x="1339" y="159"/>
                </a:cubicBezTo>
                <a:cubicBezTo>
                  <a:pt x="1339" y="157"/>
                  <a:pt x="1340" y="155"/>
                  <a:pt x="1341" y="154"/>
                </a:cubicBezTo>
                <a:cubicBezTo>
                  <a:pt x="1341" y="154"/>
                  <a:pt x="1341" y="154"/>
                  <a:pt x="1341" y="154"/>
                </a:cubicBezTo>
                <a:cubicBezTo>
                  <a:pt x="1341" y="154"/>
                  <a:pt x="1342" y="154"/>
                  <a:pt x="1342" y="154"/>
                </a:cubicBezTo>
                <a:cubicBezTo>
                  <a:pt x="1343" y="154"/>
                  <a:pt x="1347" y="154"/>
                  <a:pt x="1346" y="152"/>
                </a:cubicBezTo>
                <a:cubicBezTo>
                  <a:pt x="1345" y="151"/>
                  <a:pt x="1345" y="152"/>
                  <a:pt x="1344" y="151"/>
                </a:cubicBezTo>
                <a:cubicBezTo>
                  <a:pt x="1344" y="151"/>
                  <a:pt x="1344" y="151"/>
                  <a:pt x="1343" y="151"/>
                </a:cubicBezTo>
                <a:cubicBezTo>
                  <a:pt x="1343" y="150"/>
                  <a:pt x="1343" y="150"/>
                  <a:pt x="1343" y="150"/>
                </a:cubicBezTo>
                <a:cubicBezTo>
                  <a:pt x="1342" y="149"/>
                  <a:pt x="1343" y="148"/>
                  <a:pt x="1344" y="148"/>
                </a:cubicBezTo>
                <a:cubicBezTo>
                  <a:pt x="1345" y="147"/>
                  <a:pt x="1345" y="148"/>
                  <a:pt x="1346" y="147"/>
                </a:cubicBezTo>
                <a:cubicBezTo>
                  <a:pt x="1346" y="147"/>
                  <a:pt x="1346" y="146"/>
                  <a:pt x="1347" y="145"/>
                </a:cubicBezTo>
                <a:cubicBezTo>
                  <a:pt x="1347" y="144"/>
                  <a:pt x="1348" y="143"/>
                  <a:pt x="1348" y="142"/>
                </a:cubicBezTo>
                <a:cubicBezTo>
                  <a:pt x="1348" y="141"/>
                  <a:pt x="1348" y="140"/>
                  <a:pt x="1348" y="139"/>
                </a:cubicBezTo>
                <a:cubicBezTo>
                  <a:pt x="1348" y="137"/>
                  <a:pt x="1350" y="134"/>
                  <a:pt x="1351" y="131"/>
                </a:cubicBezTo>
                <a:cubicBezTo>
                  <a:pt x="1352" y="130"/>
                  <a:pt x="1354" y="122"/>
                  <a:pt x="1356" y="122"/>
                </a:cubicBezTo>
                <a:cubicBezTo>
                  <a:pt x="1356" y="123"/>
                  <a:pt x="1356" y="123"/>
                  <a:pt x="1356" y="123"/>
                </a:cubicBezTo>
                <a:cubicBezTo>
                  <a:pt x="1357" y="123"/>
                  <a:pt x="1357" y="122"/>
                  <a:pt x="1357" y="122"/>
                </a:cubicBezTo>
                <a:cubicBezTo>
                  <a:pt x="1357" y="122"/>
                  <a:pt x="1358" y="118"/>
                  <a:pt x="1359" y="121"/>
                </a:cubicBezTo>
                <a:cubicBezTo>
                  <a:pt x="1359" y="121"/>
                  <a:pt x="1359" y="121"/>
                  <a:pt x="1359" y="121"/>
                </a:cubicBezTo>
                <a:cubicBezTo>
                  <a:pt x="1360" y="121"/>
                  <a:pt x="1360" y="121"/>
                  <a:pt x="1360" y="120"/>
                </a:cubicBezTo>
                <a:cubicBezTo>
                  <a:pt x="1360" y="120"/>
                  <a:pt x="1360" y="119"/>
                  <a:pt x="1360" y="119"/>
                </a:cubicBezTo>
                <a:cubicBezTo>
                  <a:pt x="1360" y="118"/>
                  <a:pt x="1361" y="118"/>
                  <a:pt x="1361" y="117"/>
                </a:cubicBezTo>
                <a:cubicBezTo>
                  <a:pt x="1361" y="117"/>
                  <a:pt x="1361" y="116"/>
                  <a:pt x="1362" y="115"/>
                </a:cubicBezTo>
                <a:cubicBezTo>
                  <a:pt x="1362" y="113"/>
                  <a:pt x="1363" y="111"/>
                  <a:pt x="1364" y="110"/>
                </a:cubicBezTo>
                <a:cubicBezTo>
                  <a:pt x="1364" y="109"/>
                  <a:pt x="1364" y="108"/>
                  <a:pt x="1365" y="107"/>
                </a:cubicBezTo>
                <a:cubicBezTo>
                  <a:pt x="1365" y="107"/>
                  <a:pt x="1366" y="106"/>
                  <a:pt x="1366" y="105"/>
                </a:cubicBezTo>
                <a:cubicBezTo>
                  <a:pt x="1366" y="105"/>
                  <a:pt x="1366" y="104"/>
                  <a:pt x="1366" y="104"/>
                </a:cubicBezTo>
                <a:cubicBezTo>
                  <a:pt x="1366" y="103"/>
                  <a:pt x="1366" y="103"/>
                  <a:pt x="1366" y="102"/>
                </a:cubicBezTo>
                <a:cubicBezTo>
                  <a:pt x="1365" y="101"/>
                  <a:pt x="1366" y="100"/>
                  <a:pt x="1365" y="100"/>
                </a:cubicBezTo>
                <a:cubicBezTo>
                  <a:pt x="1365" y="100"/>
                  <a:pt x="1365" y="99"/>
                  <a:pt x="1365" y="99"/>
                </a:cubicBezTo>
                <a:cubicBezTo>
                  <a:pt x="1365" y="99"/>
                  <a:pt x="1365" y="99"/>
                  <a:pt x="1365" y="98"/>
                </a:cubicBezTo>
                <a:cubicBezTo>
                  <a:pt x="1365" y="98"/>
                  <a:pt x="1365" y="97"/>
                  <a:pt x="1366" y="96"/>
                </a:cubicBezTo>
                <a:cubicBezTo>
                  <a:pt x="1366" y="96"/>
                  <a:pt x="1366" y="95"/>
                  <a:pt x="1367" y="95"/>
                </a:cubicBezTo>
                <a:cubicBezTo>
                  <a:pt x="1368" y="95"/>
                  <a:pt x="1368" y="95"/>
                  <a:pt x="1369" y="95"/>
                </a:cubicBezTo>
                <a:cubicBezTo>
                  <a:pt x="1370" y="95"/>
                  <a:pt x="1369" y="93"/>
                  <a:pt x="1370" y="92"/>
                </a:cubicBezTo>
                <a:cubicBezTo>
                  <a:pt x="1371" y="91"/>
                  <a:pt x="1373" y="91"/>
                  <a:pt x="1374" y="90"/>
                </a:cubicBezTo>
                <a:cubicBezTo>
                  <a:pt x="1375" y="89"/>
                  <a:pt x="1375" y="87"/>
                  <a:pt x="1376" y="86"/>
                </a:cubicBezTo>
                <a:cubicBezTo>
                  <a:pt x="1376" y="85"/>
                  <a:pt x="1376" y="84"/>
                  <a:pt x="1376" y="83"/>
                </a:cubicBezTo>
                <a:cubicBezTo>
                  <a:pt x="1377" y="83"/>
                  <a:pt x="1376" y="82"/>
                  <a:pt x="1376" y="82"/>
                </a:cubicBezTo>
                <a:cubicBezTo>
                  <a:pt x="1376" y="80"/>
                  <a:pt x="1378" y="78"/>
                  <a:pt x="1379" y="77"/>
                </a:cubicBezTo>
                <a:cubicBezTo>
                  <a:pt x="1380" y="75"/>
                  <a:pt x="1380" y="73"/>
                  <a:pt x="1381" y="71"/>
                </a:cubicBezTo>
                <a:cubicBezTo>
                  <a:pt x="1382" y="70"/>
                  <a:pt x="1382" y="68"/>
                  <a:pt x="1383" y="67"/>
                </a:cubicBezTo>
                <a:cubicBezTo>
                  <a:pt x="1388" y="54"/>
                  <a:pt x="1399" y="44"/>
                  <a:pt x="1404" y="31"/>
                </a:cubicBezTo>
                <a:cubicBezTo>
                  <a:pt x="1406" y="27"/>
                  <a:pt x="1406" y="23"/>
                  <a:pt x="1407" y="20"/>
                </a:cubicBezTo>
                <a:cubicBezTo>
                  <a:pt x="1407" y="18"/>
                  <a:pt x="1407" y="16"/>
                  <a:pt x="1407" y="14"/>
                </a:cubicBezTo>
                <a:cubicBezTo>
                  <a:pt x="1406" y="13"/>
                  <a:pt x="1405" y="12"/>
                  <a:pt x="1403" y="12"/>
                </a:cubicBezTo>
                <a:cubicBezTo>
                  <a:pt x="1403" y="13"/>
                  <a:pt x="1403" y="13"/>
                  <a:pt x="1402" y="12"/>
                </a:cubicBezTo>
                <a:cubicBezTo>
                  <a:pt x="1402" y="12"/>
                  <a:pt x="1402" y="12"/>
                  <a:pt x="1401" y="11"/>
                </a:cubicBezTo>
                <a:cubicBezTo>
                  <a:pt x="1401" y="11"/>
                  <a:pt x="1400" y="12"/>
                  <a:pt x="1399" y="11"/>
                </a:cubicBezTo>
                <a:cubicBezTo>
                  <a:pt x="1399" y="11"/>
                  <a:pt x="1398" y="10"/>
                  <a:pt x="1398" y="9"/>
                </a:cubicBezTo>
                <a:cubicBezTo>
                  <a:pt x="1397" y="8"/>
                  <a:pt x="1395" y="9"/>
                  <a:pt x="1395" y="8"/>
                </a:cubicBezTo>
                <a:cubicBezTo>
                  <a:pt x="1395" y="8"/>
                  <a:pt x="1394" y="7"/>
                  <a:pt x="1394" y="7"/>
                </a:cubicBezTo>
                <a:cubicBezTo>
                  <a:pt x="1393" y="7"/>
                  <a:pt x="1392" y="6"/>
                  <a:pt x="1391" y="6"/>
                </a:cubicBezTo>
                <a:cubicBezTo>
                  <a:pt x="1390" y="5"/>
                  <a:pt x="1389" y="5"/>
                  <a:pt x="1388" y="4"/>
                </a:cubicBezTo>
                <a:cubicBezTo>
                  <a:pt x="1385" y="4"/>
                  <a:pt x="1382" y="3"/>
                  <a:pt x="1380" y="3"/>
                </a:cubicBezTo>
                <a:cubicBezTo>
                  <a:pt x="1379" y="3"/>
                  <a:pt x="1378" y="3"/>
                  <a:pt x="1377" y="3"/>
                </a:cubicBezTo>
                <a:cubicBezTo>
                  <a:pt x="1376" y="3"/>
                  <a:pt x="1375" y="3"/>
                  <a:pt x="1375" y="3"/>
                </a:cubicBezTo>
                <a:cubicBezTo>
                  <a:pt x="1374" y="3"/>
                  <a:pt x="1374" y="4"/>
                  <a:pt x="1373" y="4"/>
                </a:cubicBezTo>
                <a:cubicBezTo>
                  <a:pt x="1371" y="3"/>
                  <a:pt x="1370" y="2"/>
                  <a:pt x="1368" y="1"/>
                </a:cubicBezTo>
                <a:cubicBezTo>
                  <a:pt x="1367" y="1"/>
                  <a:pt x="1365" y="0"/>
                  <a:pt x="1363" y="1"/>
                </a:cubicBezTo>
                <a:cubicBezTo>
                  <a:pt x="1363" y="1"/>
                  <a:pt x="1363" y="1"/>
                  <a:pt x="1362" y="1"/>
                </a:cubicBezTo>
                <a:cubicBezTo>
                  <a:pt x="1362" y="1"/>
                  <a:pt x="1362" y="1"/>
                  <a:pt x="1361" y="2"/>
                </a:cubicBezTo>
                <a:cubicBezTo>
                  <a:pt x="1355" y="8"/>
                  <a:pt x="1353" y="16"/>
                  <a:pt x="1348" y="23"/>
                </a:cubicBezTo>
                <a:cubicBezTo>
                  <a:pt x="1346" y="28"/>
                  <a:pt x="1343" y="32"/>
                  <a:pt x="1341" y="37"/>
                </a:cubicBezTo>
                <a:cubicBezTo>
                  <a:pt x="1340" y="39"/>
                  <a:pt x="1339" y="41"/>
                  <a:pt x="1338" y="43"/>
                </a:cubicBezTo>
                <a:cubicBezTo>
                  <a:pt x="1337" y="46"/>
                  <a:pt x="1336" y="48"/>
                  <a:pt x="1335" y="50"/>
                </a:cubicBezTo>
                <a:cubicBezTo>
                  <a:pt x="1334" y="52"/>
                  <a:pt x="1334" y="54"/>
                  <a:pt x="1333" y="55"/>
                </a:cubicBezTo>
                <a:cubicBezTo>
                  <a:pt x="1332" y="58"/>
                  <a:pt x="1330" y="61"/>
                  <a:pt x="1330" y="64"/>
                </a:cubicBezTo>
                <a:cubicBezTo>
                  <a:pt x="1330" y="65"/>
                  <a:pt x="1330" y="66"/>
                  <a:pt x="1329" y="68"/>
                </a:cubicBezTo>
                <a:cubicBezTo>
                  <a:pt x="1329" y="69"/>
                  <a:pt x="1328" y="70"/>
                  <a:pt x="1327" y="71"/>
                </a:cubicBezTo>
                <a:cubicBezTo>
                  <a:pt x="1310" y="104"/>
                  <a:pt x="1271" y="185"/>
                  <a:pt x="1264" y="200"/>
                </a:cubicBezTo>
                <a:cubicBezTo>
                  <a:pt x="1262" y="204"/>
                  <a:pt x="1259" y="211"/>
                  <a:pt x="1257" y="217"/>
                </a:cubicBezTo>
                <a:cubicBezTo>
                  <a:pt x="1254" y="222"/>
                  <a:pt x="1250" y="231"/>
                  <a:pt x="1248" y="236"/>
                </a:cubicBezTo>
                <a:cubicBezTo>
                  <a:pt x="1236" y="263"/>
                  <a:pt x="1231" y="273"/>
                  <a:pt x="1219" y="300"/>
                </a:cubicBezTo>
                <a:cubicBezTo>
                  <a:pt x="1217" y="302"/>
                  <a:pt x="1216" y="304"/>
                  <a:pt x="1215" y="307"/>
                </a:cubicBezTo>
                <a:cubicBezTo>
                  <a:pt x="1215" y="308"/>
                  <a:pt x="1214" y="308"/>
                  <a:pt x="1214" y="309"/>
                </a:cubicBezTo>
                <a:cubicBezTo>
                  <a:pt x="1213" y="310"/>
                  <a:pt x="1214" y="311"/>
                  <a:pt x="1214" y="312"/>
                </a:cubicBezTo>
                <a:cubicBezTo>
                  <a:pt x="1214" y="313"/>
                  <a:pt x="1213" y="313"/>
                  <a:pt x="1212" y="314"/>
                </a:cubicBezTo>
                <a:cubicBezTo>
                  <a:pt x="1211" y="315"/>
                  <a:pt x="1210" y="315"/>
                  <a:pt x="1211" y="317"/>
                </a:cubicBezTo>
                <a:cubicBezTo>
                  <a:pt x="1211" y="317"/>
                  <a:pt x="1211" y="317"/>
                  <a:pt x="1211" y="317"/>
                </a:cubicBezTo>
                <a:cubicBezTo>
                  <a:pt x="1211" y="319"/>
                  <a:pt x="1210" y="320"/>
                  <a:pt x="1209" y="322"/>
                </a:cubicBezTo>
                <a:cubicBezTo>
                  <a:pt x="1208" y="323"/>
                  <a:pt x="1208" y="325"/>
                  <a:pt x="1207" y="326"/>
                </a:cubicBezTo>
                <a:cubicBezTo>
                  <a:pt x="1205" y="329"/>
                  <a:pt x="1204" y="332"/>
                  <a:pt x="1202" y="335"/>
                </a:cubicBezTo>
                <a:cubicBezTo>
                  <a:pt x="1198" y="345"/>
                  <a:pt x="1194" y="353"/>
                  <a:pt x="1194" y="354"/>
                </a:cubicBezTo>
                <a:cubicBezTo>
                  <a:pt x="1193" y="355"/>
                  <a:pt x="1193" y="355"/>
                  <a:pt x="1193" y="356"/>
                </a:cubicBezTo>
                <a:cubicBezTo>
                  <a:pt x="1192" y="356"/>
                  <a:pt x="1191" y="356"/>
                  <a:pt x="1191" y="358"/>
                </a:cubicBezTo>
                <a:cubicBezTo>
                  <a:pt x="1191" y="359"/>
                  <a:pt x="1190" y="360"/>
                  <a:pt x="1190" y="362"/>
                </a:cubicBezTo>
                <a:cubicBezTo>
                  <a:pt x="1189" y="364"/>
                  <a:pt x="1188" y="365"/>
                  <a:pt x="1187" y="367"/>
                </a:cubicBezTo>
                <a:cubicBezTo>
                  <a:pt x="1185" y="371"/>
                  <a:pt x="1184" y="374"/>
                  <a:pt x="1182" y="378"/>
                </a:cubicBezTo>
                <a:cubicBezTo>
                  <a:pt x="1174" y="393"/>
                  <a:pt x="1166" y="409"/>
                  <a:pt x="1159" y="424"/>
                </a:cubicBezTo>
                <a:cubicBezTo>
                  <a:pt x="1155" y="431"/>
                  <a:pt x="1152" y="438"/>
                  <a:pt x="1149" y="445"/>
                </a:cubicBezTo>
                <a:cubicBezTo>
                  <a:pt x="1146" y="450"/>
                  <a:pt x="1144" y="455"/>
                  <a:pt x="1141" y="460"/>
                </a:cubicBezTo>
                <a:cubicBezTo>
                  <a:pt x="1139" y="465"/>
                  <a:pt x="1136" y="470"/>
                  <a:pt x="1134" y="475"/>
                </a:cubicBezTo>
                <a:cubicBezTo>
                  <a:pt x="1133" y="477"/>
                  <a:pt x="1132" y="479"/>
                  <a:pt x="1131" y="481"/>
                </a:cubicBezTo>
                <a:cubicBezTo>
                  <a:pt x="1130" y="482"/>
                  <a:pt x="1130" y="483"/>
                  <a:pt x="1129" y="484"/>
                </a:cubicBezTo>
                <a:cubicBezTo>
                  <a:pt x="1129" y="485"/>
                  <a:pt x="1128" y="486"/>
                  <a:pt x="1128" y="487"/>
                </a:cubicBezTo>
                <a:cubicBezTo>
                  <a:pt x="1128" y="487"/>
                  <a:pt x="1128" y="488"/>
                  <a:pt x="1128" y="488"/>
                </a:cubicBezTo>
                <a:cubicBezTo>
                  <a:pt x="1128" y="488"/>
                  <a:pt x="1128" y="488"/>
                  <a:pt x="1128" y="489"/>
                </a:cubicBezTo>
                <a:cubicBezTo>
                  <a:pt x="1127" y="490"/>
                  <a:pt x="1128" y="491"/>
                  <a:pt x="1128" y="492"/>
                </a:cubicBezTo>
                <a:cubicBezTo>
                  <a:pt x="1127" y="492"/>
                  <a:pt x="1126" y="493"/>
                  <a:pt x="1125" y="493"/>
                </a:cubicBezTo>
                <a:cubicBezTo>
                  <a:pt x="1124" y="494"/>
                  <a:pt x="1124" y="496"/>
                  <a:pt x="1123" y="497"/>
                </a:cubicBezTo>
                <a:cubicBezTo>
                  <a:pt x="1122" y="500"/>
                  <a:pt x="1121" y="502"/>
                  <a:pt x="1120" y="504"/>
                </a:cubicBezTo>
                <a:cubicBezTo>
                  <a:pt x="1120" y="505"/>
                  <a:pt x="1116" y="511"/>
                  <a:pt x="1117" y="512"/>
                </a:cubicBezTo>
                <a:cubicBezTo>
                  <a:pt x="1118" y="512"/>
                  <a:pt x="1118" y="512"/>
                  <a:pt x="1118" y="512"/>
                </a:cubicBezTo>
                <a:cubicBezTo>
                  <a:pt x="1119" y="513"/>
                  <a:pt x="1118" y="515"/>
                  <a:pt x="1117" y="516"/>
                </a:cubicBezTo>
                <a:cubicBezTo>
                  <a:pt x="1117" y="516"/>
                  <a:pt x="1116" y="520"/>
                  <a:pt x="1115" y="519"/>
                </a:cubicBezTo>
                <a:cubicBezTo>
                  <a:pt x="1114" y="519"/>
                  <a:pt x="1114" y="520"/>
                  <a:pt x="1114" y="520"/>
                </a:cubicBezTo>
                <a:cubicBezTo>
                  <a:pt x="1114" y="521"/>
                  <a:pt x="1115" y="521"/>
                  <a:pt x="1114" y="522"/>
                </a:cubicBezTo>
                <a:cubicBezTo>
                  <a:pt x="1114" y="523"/>
                  <a:pt x="1114" y="524"/>
                  <a:pt x="1113" y="524"/>
                </a:cubicBezTo>
                <a:cubicBezTo>
                  <a:pt x="1113" y="525"/>
                  <a:pt x="1112" y="524"/>
                  <a:pt x="1111" y="525"/>
                </a:cubicBezTo>
                <a:cubicBezTo>
                  <a:pt x="1109" y="526"/>
                  <a:pt x="1108" y="529"/>
                  <a:pt x="1107" y="530"/>
                </a:cubicBezTo>
                <a:cubicBezTo>
                  <a:pt x="1107" y="532"/>
                  <a:pt x="1106" y="534"/>
                  <a:pt x="1106" y="536"/>
                </a:cubicBezTo>
                <a:cubicBezTo>
                  <a:pt x="1107" y="537"/>
                  <a:pt x="1106" y="538"/>
                  <a:pt x="1105" y="539"/>
                </a:cubicBezTo>
                <a:cubicBezTo>
                  <a:pt x="1104" y="540"/>
                  <a:pt x="1103" y="541"/>
                  <a:pt x="1102" y="543"/>
                </a:cubicBezTo>
                <a:cubicBezTo>
                  <a:pt x="1101" y="544"/>
                  <a:pt x="1101" y="545"/>
                  <a:pt x="1101" y="547"/>
                </a:cubicBezTo>
                <a:cubicBezTo>
                  <a:pt x="1101" y="548"/>
                  <a:pt x="1101" y="549"/>
                  <a:pt x="1101" y="550"/>
                </a:cubicBezTo>
                <a:cubicBezTo>
                  <a:pt x="1100" y="550"/>
                  <a:pt x="1100" y="551"/>
                  <a:pt x="1099" y="551"/>
                </a:cubicBezTo>
                <a:cubicBezTo>
                  <a:pt x="1099" y="552"/>
                  <a:pt x="1098" y="552"/>
                  <a:pt x="1098" y="552"/>
                </a:cubicBezTo>
                <a:cubicBezTo>
                  <a:pt x="1097" y="553"/>
                  <a:pt x="1096" y="555"/>
                  <a:pt x="1095" y="556"/>
                </a:cubicBezTo>
                <a:cubicBezTo>
                  <a:pt x="1094" y="557"/>
                  <a:pt x="1094" y="559"/>
                  <a:pt x="1093" y="561"/>
                </a:cubicBezTo>
                <a:cubicBezTo>
                  <a:pt x="1090" y="566"/>
                  <a:pt x="1087" y="571"/>
                  <a:pt x="1085" y="576"/>
                </a:cubicBezTo>
                <a:cubicBezTo>
                  <a:pt x="1084" y="578"/>
                  <a:pt x="1083" y="580"/>
                  <a:pt x="1082" y="582"/>
                </a:cubicBezTo>
                <a:cubicBezTo>
                  <a:pt x="1081" y="584"/>
                  <a:pt x="1080" y="585"/>
                  <a:pt x="1080" y="587"/>
                </a:cubicBezTo>
                <a:cubicBezTo>
                  <a:pt x="1080" y="588"/>
                  <a:pt x="1081" y="590"/>
                  <a:pt x="1081" y="591"/>
                </a:cubicBezTo>
                <a:cubicBezTo>
                  <a:pt x="1081" y="592"/>
                  <a:pt x="1080" y="593"/>
                  <a:pt x="1080" y="593"/>
                </a:cubicBezTo>
                <a:cubicBezTo>
                  <a:pt x="1079" y="594"/>
                  <a:pt x="1078" y="595"/>
                  <a:pt x="1077" y="597"/>
                </a:cubicBezTo>
                <a:cubicBezTo>
                  <a:pt x="1077" y="598"/>
                  <a:pt x="1077" y="599"/>
                  <a:pt x="1076" y="600"/>
                </a:cubicBezTo>
                <a:cubicBezTo>
                  <a:pt x="1076" y="600"/>
                  <a:pt x="1076" y="600"/>
                  <a:pt x="1075" y="600"/>
                </a:cubicBezTo>
                <a:cubicBezTo>
                  <a:pt x="1075" y="600"/>
                  <a:pt x="1075" y="600"/>
                  <a:pt x="1075" y="600"/>
                </a:cubicBezTo>
                <a:cubicBezTo>
                  <a:pt x="1074" y="599"/>
                  <a:pt x="1074" y="600"/>
                  <a:pt x="1074" y="600"/>
                </a:cubicBezTo>
                <a:cubicBezTo>
                  <a:pt x="1073" y="601"/>
                  <a:pt x="1072" y="602"/>
                  <a:pt x="1072" y="603"/>
                </a:cubicBezTo>
                <a:cubicBezTo>
                  <a:pt x="1070" y="606"/>
                  <a:pt x="1068" y="609"/>
                  <a:pt x="1068" y="610"/>
                </a:cubicBezTo>
                <a:cubicBezTo>
                  <a:pt x="1068" y="611"/>
                  <a:pt x="1066" y="615"/>
                  <a:pt x="1063" y="620"/>
                </a:cubicBezTo>
                <a:cubicBezTo>
                  <a:pt x="1062" y="622"/>
                  <a:pt x="1062" y="624"/>
                  <a:pt x="1061" y="625"/>
                </a:cubicBezTo>
                <a:cubicBezTo>
                  <a:pt x="1061" y="626"/>
                  <a:pt x="1059" y="628"/>
                  <a:pt x="1060" y="629"/>
                </a:cubicBezTo>
                <a:cubicBezTo>
                  <a:pt x="1060" y="630"/>
                  <a:pt x="1061" y="630"/>
                  <a:pt x="1060" y="631"/>
                </a:cubicBezTo>
                <a:cubicBezTo>
                  <a:pt x="1060" y="631"/>
                  <a:pt x="1060" y="632"/>
                  <a:pt x="1059" y="632"/>
                </a:cubicBezTo>
                <a:cubicBezTo>
                  <a:pt x="1059" y="632"/>
                  <a:pt x="1059" y="632"/>
                  <a:pt x="1059" y="632"/>
                </a:cubicBezTo>
                <a:cubicBezTo>
                  <a:pt x="1057" y="632"/>
                  <a:pt x="1056" y="636"/>
                  <a:pt x="1055" y="637"/>
                </a:cubicBezTo>
                <a:cubicBezTo>
                  <a:pt x="1052" y="643"/>
                  <a:pt x="1051" y="645"/>
                  <a:pt x="1048" y="649"/>
                </a:cubicBezTo>
                <a:cubicBezTo>
                  <a:pt x="1046" y="652"/>
                  <a:pt x="1040" y="664"/>
                  <a:pt x="1037" y="671"/>
                </a:cubicBezTo>
                <a:cubicBezTo>
                  <a:pt x="1037" y="672"/>
                  <a:pt x="1037" y="673"/>
                  <a:pt x="1036" y="674"/>
                </a:cubicBezTo>
                <a:cubicBezTo>
                  <a:pt x="1036" y="674"/>
                  <a:pt x="1036" y="675"/>
                  <a:pt x="1036" y="676"/>
                </a:cubicBezTo>
                <a:cubicBezTo>
                  <a:pt x="1036" y="676"/>
                  <a:pt x="1036" y="676"/>
                  <a:pt x="1036" y="677"/>
                </a:cubicBezTo>
                <a:cubicBezTo>
                  <a:pt x="1035" y="677"/>
                  <a:pt x="1035" y="677"/>
                  <a:pt x="1035" y="677"/>
                </a:cubicBezTo>
                <a:cubicBezTo>
                  <a:pt x="1035" y="678"/>
                  <a:pt x="1035" y="678"/>
                  <a:pt x="1035" y="679"/>
                </a:cubicBezTo>
                <a:cubicBezTo>
                  <a:pt x="1035" y="679"/>
                  <a:pt x="1034" y="680"/>
                  <a:pt x="1033" y="680"/>
                </a:cubicBezTo>
                <a:cubicBezTo>
                  <a:pt x="1033" y="681"/>
                  <a:pt x="1033" y="682"/>
                  <a:pt x="1032" y="683"/>
                </a:cubicBezTo>
                <a:cubicBezTo>
                  <a:pt x="1032" y="684"/>
                  <a:pt x="1031" y="685"/>
                  <a:pt x="1031" y="687"/>
                </a:cubicBezTo>
                <a:cubicBezTo>
                  <a:pt x="1031" y="688"/>
                  <a:pt x="1032" y="689"/>
                  <a:pt x="1031" y="690"/>
                </a:cubicBezTo>
                <a:cubicBezTo>
                  <a:pt x="1030" y="691"/>
                  <a:pt x="1029" y="691"/>
                  <a:pt x="1028" y="691"/>
                </a:cubicBezTo>
                <a:cubicBezTo>
                  <a:pt x="1028" y="692"/>
                  <a:pt x="1028" y="692"/>
                  <a:pt x="1028" y="692"/>
                </a:cubicBezTo>
                <a:cubicBezTo>
                  <a:pt x="1028" y="692"/>
                  <a:pt x="1028" y="692"/>
                  <a:pt x="1028" y="692"/>
                </a:cubicBezTo>
                <a:cubicBezTo>
                  <a:pt x="1028" y="693"/>
                  <a:pt x="1028" y="693"/>
                  <a:pt x="1028" y="693"/>
                </a:cubicBezTo>
                <a:cubicBezTo>
                  <a:pt x="1029" y="695"/>
                  <a:pt x="1028" y="697"/>
                  <a:pt x="1027" y="698"/>
                </a:cubicBezTo>
                <a:cubicBezTo>
                  <a:pt x="1027" y="699"/>
                  <a:pt x="1026" y="700"/>
                  <a:pt x="1026" y="700"/>
                </a:cubicBezTo>
                <a:cubicBezTo>
                  <a:pt x="1025" y="700"/>
                  <a:pt x="1024" y="700"/>
                  <a:pt x="1024" y="700"/>
                </a:cubicBezTo>
                <a:cubicBezTo>
                  <a:pt x="1023" y="700"/>
                  <a:pt x="1024" y="701"/>
                  <a:pt x="1024" y="701"/>
                </a:cubicBezTo>
                <a:cubicBezTo>
                  <a:pt x="1024" y="703"/>
                  <a:pt x="1022" y="703"/>
                  <a:pt x="1021" y="705"/>
                </a:cubicBezTo>
                <a:cubicBezTo>
                  <a:pt x="1020" y="706"/>
                  <a:pt x="1020" y="707"/>
                  <a:pt x="1019" y="708"/>
                </a:cubicBezTo>
                <a:cubicBezTo>
                  <a:pt x="1019" y="709"/>
                  <a:pt x="1016" y="713"/>
                  <a:pt x="1017" y="714"/>
                </a:cubicBezTo>
                <a:cubicBezTo>
                  <a:pt x="1017" y="715"/>
                  <a:pt x="1017" y="715"/>
                  <a:pt x="1018" y="715"/>
                </a:cubicBezTo>
                <a:cubicBezTo>
                  <a:pt x="1019" y="716"/>
                  <a:pt x="1017" y="717"/>
                  <a:pt x="1017" y="718"/>
                </a:cubicBezTo>
                <a:cubicBezTo>
                  <a:pt x="1016" y="719"/>
                  <a:pt x="1016" y="720"/>
                  <a:pt x="1015" y="721"/>
                </a:cubicBezTo>
                <a:cubicBezTo>
                  <a:pt x="1014" y="721"/>
                  <a:pt x="1014" y="721"/>
                  <a:pt x="1013" y="722"/>
                </a:cubicBezTo>
                <a:cubicBezTo>
                  <a:pt x="1013" y="722"/>
                  <a:pt x="1013" y="723"/>
                  <a:pt x="1013" y="723"/>
                </a:cubicBezTo>
                <a:cubicBezTo>
                  <a:pt x="1013" y="723"/>
                  <a:pt x="1013" y="723"/>
                  <a:pt x="1014" y="724"/>
                </a:cubicBezTo>
                <a:cubicBezTo>
                  <a:pt x="1014" y="724"/>
                  <a:pt x="1014" y="724"/>
                  <a:pt x="1014" y="724"/>
                </a:cubicBezTo>
                <a:cubicBezTo>
                  <a:pt x="1013" y="725"/>
                  <a:pt x="1013" y="725"/>
                  <a:pt x="1013" y="726"/>
                </a:cubicBezTo>
                <a:cubicBezTo>
                  <a:pt x="1012" y="726"/>
                  <a:pt x="1012" y="727"/>
                  <a:pt x="1011" y="727"/>
                </a:cubicBezTo>
                <a:cubicBezTo>
                  <a:pt x="1011" y="727"/>
                  <a:pt x="1011" y="727"/>
                  <a:pt x="1010" y="727"/>
                </a:cubicBezTo>
                <a:cubicBezTo>
                  <a:pt x="1010" y="728"/>
                  <a:pt x="1009" y="728"/>
                  <a:pt x="1009" y="729"/>
                </a:cubicBezTo>
                <a:cubicBezTo>
                  <a:pt x="1007" y="733"/>
                  <a:pt x="1001" y="744"/>
                  <a:pt x="1000" y="746"/>
                </a:cubicBezTo>
                <a:cubicBezTo>
                  <a:pt x="999" y="747"/>
                  <a:pt x="999" y="749"/>
                  <a:pt x="998" y="750"/>
                </a:cubicBezTo>
                <a:cubicBezTo>
                  <a:pt x="997" y="752"/>
                  <a:pt x="995" y="755"/>
                  <a:pt x="994" y="757"/>
                </a:cubicBezTo>
                <a:cubicBezTo>
                  <a:pt x="993" y="759"/>
                  <a:pt x="991" y="762"/>
                  <a:pt x="990" y="764"/>
                </a:cubicBezTo>
                <a:cubicBezTo>
                  <a:pt x="988" y="767"/>
                  <a:pt x="985" y="770"/>
                  <a:pt x="985" y="773"/>
                </a:cubicBezTo>
                <a:cubicBezTo>
                  <a:pt x="985" y="774"/>
                  <a:pt x="985" y="775"/>
                  <a:pt x="985" y="776"/>
                </a:cubicBezTo>
                <a:cubicBezTo>
                  <a:pt x="984" y="778"/>
                  <a:pt x="983" y="780"/>
                  <a:pt x="982" y="782"/>
                </a:cubicBezTo>
                <a:cubicBezTo>
                  <a:pt x="980" y="786"/>
                  <a:pt x="977" y="792"/>
                  <a:pt x="976" y="794"/>
                </a:cubicBezTo>
                <a:cubicBezTo>
                  <a:pt x="976" y="796"/>
                  <a:pt x="975" y="797"/>
                  <a:pt x="974" y="799"/>
                </a:cubicBezTo>
                <a:cubicBezTo>
                  <a:pt x="974" y="799"/>
                  <a:pt x="974" y="800"/>
                  <a:pt x="975" y="800"/>
                </a:cubicBezTo>
                <a:cubicBezTo>
                  <a:pt x="975" y="800"/>
                  <a:pt x="976" y="800"/>
                  <a:pt x="976" y="800"/>
                </a:cubicBezTo>
                <a:cubicBezTo>
                  <a:pt x="976" y="801"/>
                  <a:pt x="976" y="801"/>
                  <a:pt x="975" y="802"/>
                </a:cubicBezTo>
                <a:cubicBezTo>
                  <a:pt x="975" y="802"/>
                  <a:pt x="975" y="802"/>
                  <a:pt x="974" y="802"/>
                </a:cubicBezTo>
                <a:cubicBezTo>
                  <a:pt x="974" y="802"/>
                  <a:pt x="974" y="802"/>
                  <a:pt x="974" y="802"/>
                </a:cubicBezTo>
                <a:cubicBezTo>
                  <a:pt x="974" y="802"/>
                  <a:pt x="974" y="802"/>
                  <a:pt x="973" y="802"/>
                </a:cubicBezTo>
                <a:cubicBezTo>
                  <a:pt x="973" y="803"/>
                  <a:pt x="972" y="804"/>
                  <a:pt x="972" y="806"/>
                </a:cubicBezTo>
                <a:cubicBezTo>
                  <a:pt x="971" y="806"/>
                  <a:pt x="971" y="808"/>
                  <a:pt x="970" y="808"/>
                </a:cubicBezTo>
                <a:cubicBezTo>
                  <a:pt x="970" y="809"/>
                  <a:pt x="970" y="810"/>
                  <a:pt x="970" y="810"/>
                </a:cubicBezTo>
                <a:cubicBezTo>
                  <a:pt x="971" y="811"/>
                  <a:pt x="972" y="812"/>
                  <a:pt x="970" y="812"/>
                </a:cubicBezTo>
                <a:cubicBezTo>
                  <a:pt x="970" y="812"/>
                  <a:pt x="970" y="813"/>
                  <a:pt x="969" y="813"/>
                </a:cubicBezTo>
                <a:cubicBezTo>
                  <a:pt x="969" y="813"/>
                  <a:pt x="968" y="813"/>
                  <a:pt x="968" y="813"/>
                </a:cubicBezTo>
                <a:cubicBezTo>
                  <a:pt x="967" y="814"/>
                  <a:pt x="966" y="816"/>
                  <a:pt x="965" y="816"/>
                </a:cubicBezTo>
                <a:cubicBezTo>
                  <a:pt x="965" y="816"/>
                  <a:pt x="965" y="816"/>
                  <a:pt x="965" y="816"/>
                </a:cubicBezTo>
                <a:cubicBezTo>
                  <a:pt x="964" y="816"/>
                  <a:pt x="964" y="816"/>
                  <a:pt x="964" y="817"/>
                </a:cubicBezTo>
                <a:cubicBezTo>
                  <a:pt x="964" y="818"/>
                  <a:pt x="964" y="819"/>
                  <a:pt x="964" y="820"/>
                </a:cubicBezTo>
                <a:cubicBezTo>
                  <a:pt x="964" y="821"/>
                  <a:pt x="963" y="822"/>
                  <a:pt x="963" y="823"/>
                </a:cubicBezTo>
                <a:cubicBezTo>
                  <a:pt x="962" y="825"/>
                  <a:pt x="961" y="827"/>
                  <a:pt x="960" y="829"/>
                </a:cubicBezTo>
                <a:cubicBezTo>
                  <a:pt x="957" y="834"/>
                  <a:pt x="955" y="838"/>
                  <a:pt x="953" y="843"/>
                </a:cubicBezTo>
                <a:cubicBezTo>
                  <a:pt x="947" y="855"/>
                  <a:pt x="941" y="868"/>
                  <a:pt x="940" y="870"/>
                </a:cubicBezTo>
                <a:cubicBezTo>
                  <a:pt x="938" y="873"/>
                  <a:pt x="934" y="883"/>
                  <a:pt x="929" y="893"/>
                </a:cubicBezTo>
                <a:cubicBezTo>
                  <a:pt x="925" y="903"/>
                  <a:pt x="917" y="919"/>
                  <a:pt x="912" y="929"/>
                </a:cubicBezTo>
                <a:cubicBezTo>
                  <a:pt x="907" y="939"/>
                  <a:pt x="894" y="964"/>
                  <a:pt x="884" y="986"/>
                </a:cubicBezTo>
                <a:cubicBezTo>
                  <a:pt x="880" y="994"/>
                  <a:pt x="876" y="1001"/>
                  <a:pt x="873" y="1009"/>
                </a:cubicBezTo>
                <a:cubicBezTo>
                  <a:pt x="871" y="1012"/>
                  <a:pt x="869" y="1016"/>
                  <a:pt x="867" y="1020"/>
                </a:cubicBezTo>
                <a:cubicBezTo>
                  <a:pt x="867" y="1022"/>
                  <a:pt x="865" y="1023"/>
                  <a:pt x="865" y="1025"/>
                </a:cubicBezTo>
                <a:cubicBezTo>
                  <a:pt x="864" y="1027"/>
                  <a:pt x="866" y="1028"/>
                  <a:pt x="864" y="1028"/>
                </a:cubicBezTo>
                <a:cubicBezTo>
                  <a:pt x="863" y="1029"/>
                  <a:pt x="862" y="1031"/>
                  <a:pt x="862" y="1032"/>
                </a:cubicBezTo>
                <a:cubicBezTo>
                  <a:pt x="861" y="1034"/>
                  <a:pt x="860" y="1035"/>
                  <a:pt x="859" y="1037"/>
                </a:cubicBezTo>
                <a:cubicBezTo>
                  <a:pt x="858" y="1040"/>
                  <a:pt x="856" y="1043"/>
                  <a:pt x="855" y="1047"/>
                </a:cubicBezTo>
                <a:cubicBezTo>
                  <a:pt x="853" y="1050"/>
                  <a:pt x="852" y="1053"/>
                  <a:pt x="850" y="1057"/>
                </a:cubicBezTo>
                <a:cubicBezTo>
                  <a:pt x="849" y="1059"/>
                  <a:pt x="847" y="1062"/>
                  <a:pt x="847" y="1065"/>
                </a:cubicBezTo>
                <a:cubicBezTo>
                  <a:pt x="847" y="1066"/>
                  <a:pt x="846" y="1066"/>
                  <a:pt x="846" y="1067"/>
                </a:cubicBezTo>
                <a:cubicBezTo>
                  <a:pt x="844" y="1068"/>
                  <a:pt x="844" y="1071"/>
                  <a:pt x="843" y="1073"/>
                </a:cubicBezTo>
                <a:cubicBezTo>
                  <a:pt x="841" y="1076"/>
                  <a:pt x="836" y="1086"/>
                  <a:pt x="833" y="1094"/>
                </a:cubicBezTo>
                <a:cubicBezTo>
                  <a:pt x="830" y="1098"/>
                  <a:pt x="828" y="1103"/>
                  <a:pt x="826" y="1107"/>
                </a:cubicBezTo>
                <a:cubicBezTo>
                  <a:pt x="826" y="1107"/>
                  <a:pt x="825" y="1108"/>
                  <a:pt x="825" y="1108"/>
                </a:cubicBezTo>
                <a:cubicBezTo>
                  <a:pt x="825" y="1108"/>
                  <a:pt x="824" y="1109"/>
                  <a:pt x="824" y="1109"/>
                </a:cubicBezTo>
                <a:cubicBezTo>
                  <a:pt x="823" y="1109"/>
                  <a:pt x="823" y="1112"/>
                  <a:pt x="822" y="1113"/>
                </a:cubicBezTo>
                <a:cubicBezTo>
                  <a:pt x="822" y="1114"/>
                  <a:pt x="821" y="1115"/>
                  <a:pt x="821" y="1116"/>
                </a:cubicBezTo>
                <a:cubicBezTo>
                  <a:pt x="821" y="1117"/>
                  <a:pt x="820" y="1118"/>
                  <a:pt x="820" y="1119"/>
                </a:cubicBezTo>
                <a:cubicBezTo>
                  <a:pt x="820" y="1120"/>
                  <a:pt x="820" y="1121"/>
                  <a:pt x="820" y="1121"/>
                </a:cubicBezTo>
                <a:cubicBezTo>
                  <a:pt x="820" y="1122"/>
                  <a:pt x="818" y="1123"/>
                  <a:pt x="818" y="1124"/>
                </a:cubicBezTo>
                <a:cubicBezTo>
                  <a:pt x="817" y="1125"/>
                  <a:pt x="818" y="1126"/>
                  <a:pt x="817" y="1127"/>
                </a:cubicBezTo>
                <a:cubicBezTo>
                  <a:pt x="817" y="1128"/>
                  <a:pt x="817" y="1128"/>
                  <a:pt x="816" y="1128"/>
                </a:cubicBezTo>
                <a:cubicBezTo>
                  <a:pt x="814" y="1129"/>
                  <a:pt x="814" y="1132"/>
                  <a:pt x="813" y="1134"/>
                </a:cubicBezTo>
                <a:cubicBezTo>
                  <a:pt x="812" y="1136"/>
                  <a:pt x="811" y="1138"/>
                  <a:pt x="810" y="1140"/>
                </a:cubicBezTo>
                <a:cubicBezTo>
                  <a:pt x="810" y="1141"/>
                  <a:pt x="809" y="1143"/>
                  <a:pt x="808" y="1143"/>
                </a:cubicBezTo>
                <a:cubicBezTo>
                  <a:pt x="807" y="1144"/>
                  <a:pt x="806" y="1143"/>
                  <a:pt x="806" y="1143"/>
                </a:cubicBezTo>
                <a:cubicBezTo>
                  <a:pt x="805" y="1143"/>
                  <a:pt x="805" y="1143"/>
                  <a:pt x="805" y="1144"/>
                </a:cubicBezTo>
                <a:cubicBezTo>
                  <a:pt x="804" y="1144"/>
                  <a:pt x="803" y="1145"/>
                  <a:pt x="803" y="1146"/>
                </a:cubicBezTo>
                <a:cubicBezTo>
                  <a:pt x="803" y="1147"/>
                  <a:pt x="803" y="1147"/>
                  <a:pt x="803" y="1147"/>
                </a:cubicBezTo>
                <a:cubicBezTo>
                  <a:pt x="803" y="1148"/>
                  <a:pt x="804" y="1148"/>
                  <a:pt x="805" y="1148"/>
                </a:cubicBezTo>
                <a:cubicBezTo>
                  <a:pt x="805" y="1148"/>
                  <a:pt x="805" y="1149"/>
                  <a:pt x="805" y="1149"/>
                </a:cubicBezTo>
                <a:cubicBezTo>
                  <a:pt x="806" y="1151"/>
                  <a:pt x="804" y="1153"/>
                  <a:pt x="804" y="1154"/>
                </a:cubicBezTo>
                <a:cubicBezTo>
                  <a:pt x="802" y="1156"/>
                  <a:pt x="801" y="1158"/>
                  <a:pt x="799" y="1160"/>
                </a:cubicBezTo>
                <a:cubicBezTo>
                  <a:pt x="798" y="1161"/>
                  <a:pt x="795" y="1163"/>
                  <a:pt x="795" y="1166"/>
                </a:cubicBezTo>
                <a:cubicBezTo>
                  <a:pt x="795" y="1168"/>
                  <a:pt x="795" y="1169"/>
                  <a:pt x="794" y="1171"/>
                </a:cubicBezTo>
                <a:cubicBezTo>
                  <a:pt x="793" y="1172"/>
                  <a:pt x="793" y="1173"/>
                  <a:pt x="792" y="1174"/>
                </a:cubicBezTo>
                <a:cubicBezTo>
                  <a:pt x="792" y="1175"/>
                  <a:pt x="791" y="1175"/>
                  <a:pt x="790" y="1176"/>
                </a:cubicBezTo>
                <a:cubicBezTo>
                  <a:pt x="789" y="1177"/>
                  <a:pt x="788" y="1178"/>
                  <a:pt x="788" y="1179"/>
                </a:cubicBezTo>
                <a:cubicBezTo>
                  <a:pt x="787" y="1180"/>
                  <a:pt x="786" y="1182"/>
                  <a:pt x="785" y="1184"/>
                </a:cubicBezTo>
                <a:cubicBezTo>
                  <a:pt x="784" y="1186"/>
                  <a:pt x="782" y="1188"/>
                  <a:pt x="783" y="1190"/>
                </a:cubicBezTo>
                <a:cubicBezTo>
                  <a:pt x="783" y="1192"/>
                  <a:pt x="784" y="1192"/>
                  <a:pt x="785" y="1193"/>
                </a:cubicBezTo>
                <a:cubicBezTo>
                  <a:pt x="785" y="1195"/>
                  <a:pt x="783" y="1196"/>
                  <a:pt x="783" y="1197"/>
                </a:cubicBezTo>
                <a:cubicBezTo>
                  <a:pt x="782" y="1198"/>
                  <a:pt x="777" y="1205"/>
                  <a:pt x="779" y="1206"/>
                </a:cubicBezTo>
                <a:cubicBezTo>
                  <a:pt x="779" y="1206"/>
                  <a:pt x="779" y="1207"/>
                  <a:pt x="779" y="1207"/>
                </a:cubicBezTo>
                <a:cubicBezTo>
                  <a:pt x="778" y="1209"/>
                  <a:pt x="777" y="1211"/>
                  <a:pt x="776" y="1212"/>
                </a:cubicBezTo>
                <a:cubicBezTo>
                  <a:pt x="771" y="1220"/>
                  <a:pt x="768" y="1226"/>
                  <a:pt x="763" y="1235"/>
                </a:cubicBezTo>
                <a:cubicBezTo>
                  <a:pt x="762" y="1238"/>
                  <a:pt x="761" y="1242"/>
                  <a:pt x="759" y="1245"/>
                </a:cubicBezTo>
                <a:cubicBezTo>
                  <a:pt x="759" y="1245"/>
                  <a:pt x="759" y="1245"/>
                  <a:pt x="759" y="1245"/>
                </a:cubicBezTo>
                <a:cubicBezTo>
                  <a:pt x="758" y="1245"/>
                  <a:pt x="758" y="1245"/>
                  <a:pt x="758" y="1245"/>
                </a:cubicBezTo>
                <a:cubicBezTo>
                  <a:pt x="757" y="1245"/>
                  <a:pt x="757" y="1246"/>
                  <a:pt x="758" y="1247"/>
                </a:cubicBezTo>
                <a:cubicBezTo>
                  <a:pt x="758" y="1248"/>
                  <a:pt x="756" y="1248"/>
                  <a:pt x="755" y="1250"/>
                </a:cubicBezTo>
                <a:cubicBezTo>
                  <a:pt x="754" y="1250"/>
                  <a:pt x="753" y="1252"/>
                  <a:pt x="754" y="1253"/>
                </a:cubicBezTo>
                <a:cubicBezTo>
                  <a:pt x="754" y="1254"/>
                  <a:pt x="754" y="1254"/>
                  <a:pt x="754" y="1254"/>
                </a:cubicBezTo>
                <a:cubicBezTo>
                  <a:pt x="755" y="1255"/>
                  <a:pt x="753" y="1257"/>
                  <a:pt x="753" y="1258"/>
                </a:cubicBezTo>
                <a:cubicBezTo>
                  <a:pt x="752" y="1260"/>
                  <a:pt x="751" y="1261"/>
                  <a:pt x="750" y="1263"/>
                </a:cubicBezTo>
                <a:cubicBezTo>
                  <a:pt x="748" y="1267"/>
                  <a:pt x="746" y="1272"/>
                  <a:pt x="746" y="1273"/>
                </a:cubicBezTo>
                <a:cubicBezTo>
                  <a:pt x="745" y="1275"/>
                  <a:pt x="744" y="1277"/>
                  <a:pt x="743" y="1278"/>
                </a:cubicBezTo>
                <a:cubicBezTo>
                  <a:pt x="742" y="1279"/>
                  <a:pt x="742" y="1279"/>
                  <a:pt x="742" y="1279"/>
                </a:cubicBezTo>
                <a:cubicBezTo>
                  <a:pt x="741" y="1279"/>
                  <a:pt x="741" y="1279"/>
                  <a:pt x="740" y="1280"/>
                </a:cubicBezTo>
                <a:cubicBezTo>
                  <a:pt x="739" y="1281"/>
                  <a:pt x="739" y="1282"/>
                  <a:pt x="738" y="1283"/>
                </a:cubicBezTo>
                <a:cubicBezTo>
                  <a:pt x="738" y="1284"/>
                  <a:pt x="738" y="1284"/>
                  <a:pt x="738" y="1284"/>
                </a:cubicBezTo>
                <a:cubicBezTo>
                  <a:pt x="738" y="1285"/>
                  <a:pt x="739" y="1285"/>
                  <a:pt x="739" y="1285"/>
                </a:cubicBezTo>
                <a:cubicBezTo>
                  <a:pt x="739" y="1286"/>
                  <a:pt x="738" y="1287"/>
                  <a:pt x="738" y="1288"/>
                </a:cubicBezTo>
                <a:cubicBezTo>
                  <a:pt x="737" y="1291"/>
                  <a:pt x="736" y="1292"/>
                  <a:pt x="735" y="1294"/>
                </a:cubicBezTo>
                <a:cubicBezTo>
                  <a:pt x="733" y="1296"/>
                  <a:pt x="733" y="1297"/>
                  <a:pt x="733" y="1300"/>
                </a:cubicBezTo>
                <a:cubicBezTo>
                  <a:pt x="733" y="1301"/>
                  <a:pt x="733" y="1302"/>
                  <a:pt x="733" y="1303"/>
                </a:cubicBezTo>
                <a:cubicBezTo>
                  <a:pt x="732" y="1304"/>
                  <a:pt x="731" y="1305"/>
                  <a:pt x="730" y="1306"/>
                </a:cubicBezTo>
                <a:cubicBezTo>
                  <a:pt x="728" y="1310"/>
                  <a:pt x="727" y="1314"/>
                  <a:pt x="725" y="1318"/>
                </a:cubicBezTo>
                <a:cubicBezTo>
                  <a:pt x="722" y="1324"/>
                  <a:pt x="720" y="1331"/>
                  <a:pt x="719" y="1333"/>
                </a:cubicBezTo>
                <a:cubicBezTo>
                  <a:pt x="718" y="1334"/>
                  <a:pt x="717" y="1336"/>
                  <a:pt x="718" y="1338"/>
                </a:cubicBezTo>
                <a:cubicBezTo>
                  <a:pt x="718" y="1338"/>
                  <a:pt x="718" y="1338"/>
                  <a:pt x="718" y="1338"/>
                </a:cubicBezTo>
                <a:cubicBezTo>
                  <a:pt x="718" y="1338"/>
                  <a:pt x="718" y="1338"/>
                  <a:pt x="718" y="1339"/>
                </a:cubicBezTo>
                <a:cubicBezTo>
                  <a:pt x="718" y="1339"/>
                  <a:pt x="717" y="1339"/>
                  <a:pt x="717" y="1340"/>
                </a:cubicBezTo>
                <a:cubicBezTo>
                  <a:pt x="717" y="1340"/>
                  <a:pt x="716" y="1340"/>
                  <a:pt x="716" y="1340"/>
                </a:cubicBezTo>
                <a:cubicBezTo>
                  <a:pt x="713" y="1342"/>
                  <a:pt x="713" y="1345"/>
                  <a:pt x="711" y="1347"/>
                </a:cubicBezTo>
                <a:cubicBezTo>
                  <a:pt x="710" y="1350"/>
                  <a:pt x="709" y="1353"/>
                  <a:pt x="708" y="1356"/>
                </a:cubicBezTo>
                <a:cubicBezTo>
                  <a:pt x="706" y="1359"/>
                  <a:pt x="705" y="1362"/>
                  <a:pt x="703" y="1365"/>
                </a:cubicBezTo>
                <a:cubicBezTo>
                  <a:pt x="702" y="1366"/>
                  <a:pt x="701" y="1368"/>
                  <a:pt x="701" y="1369"/>
                </a:cubicBezTo>
                <a:cubicBezTo>
                  <a:pt x="700" y="1370"/>
                  <a:pt x="700" y="1371"/>
                  <a:pt x="700" y="1372"/>
                </a:cubicBezTo>
                <a:cubicBezTo>
                  <a:pt x="700" y="1373"/>
                  <a:pt x="700" y="1373"/>
                  <a:pt x="700" y="1373"/>
                </a:cubicBezTo>
                <a:cubicBezTo>
                  <a:pt x="700" y="1374"/>
                  <a:pt x="700" y="1374"/>
                  <a:pt x="700" y="1374"/>
                </a:cubicBezTo>
                <a:cubicBezTo>
                  <a:pt x="698" y="1376"/>
                  <a:pt x="696" y="1377"/>
                  <a:pt x="695" y="1379"/>
                </a:cubicBezTo>
                <a:cubicBezTo>
                  <a:pt x="694" y="1381"/>
                  <a:pt x="694" y="1383"/>
                  <a:pt x="693" y="1385"/>
                </a:cubicBezTo>
                <a:cubicBezTo>
                  <a:pt x="692" y="1387"/>
                  <a:pt x="691" y="1389"/>
                  <a:pt x="691" y="1391"/>
                </a:cubicBezTo>
                <a:cubicBezTo>
                  <a:pt x="690" y="1392"/>
                  <a:pt x="690" y="1393"/>
                  <a:pt x="690" y="1395"/>
                </a:cubicBezTo>
                <a:cubicBezTo>
                  <a:pt x="690" y="1396"/>
                  <a:pt x="690" y="1396"/>
                  <a:pt x="690" y="1397"/>
                </a:cubicBezTo>
                <a:cubicBezTo>
                  <a:pt x="689" y="1398"/>
                  <a:pt x="689" y="1400"/>
                  <a:pt x="688" y="1401"/>
                </a:cubicBezTo>
                <a:cubicBezTo>
                  <a:pt x="687" y="1403"/>
                  <a:pt x="687" y="1404"/>
                  <a:pt x="686" y="1405"/>
                </a:cubicBezTo>
                <a:cubicBezTo>
                  <a:pt x="686" y="1406"/>
                  <a:pt x="686" y="1406"/>
                  <a:pt x="686" y="1407"/>
                </a:cubicBezTo>
                <a:cubicBezTo>
                  <a:pt x="686" y="1407"/>
                  <a:pt x="686" y="1407"/>
                  <a:pt x="686" y="1407"/>
                </a:cubicBezTo>
                <a:cubicBezTo>
                  <a:pt x="686" y="1408"/>
                  <a:pt x="686" y="1408"/>
                  <a:pt x="686" y="1408"/>
                </a:cubicBezTo>
                <a:cubicBezTo>
                  <a:pt x="686" y="1409"/>
                  <a:pt x="685" y="1409"/>
                  <a:pt x="685" y="1409"/>
                </a:cubicBezTo>
                <a:cubicBezTo>
                  <a:pt x="684" y="1410"/>
                  <a:pt x="683" y="1411"/>
                  <a:pt x="682" y="1412"/>
                </a:cubicBezTo>
                <a:cubicBezTo>
                  <a:pt x="682" y="1413"/>
                  <a:pt x="681" y="1414"/>
                  <a:pt x="680" y="1416"/>
                </a:cubicBezTo>
                <a:cubicBezTo>
                  <a:pt x="680" y="1416"/>
                  <a:pt x="680" y="1416"/>
                  <a:pt x="680" y="1416"/>
                </a:cubicBezTo>
                <a:cubicBezTo>
                  <a:pt x="679" y="1418"/>
                  <a:pt x="678" y="1420"/>
                  <a:pt x="677" y="1422"/>
                </a:cubicBezTo>
                <a:cubicBezTo>
                  <a:pt x="677" y="1423"/>
                  <a:pt x="676" y="1424"/>
                  <a:pt x="675" y="1425"/>
                </a:cubicBezTo>
                <a:cubicBezTo>
                  <a:pt x="675" y="1427"/>
                  <a:pt x="674" y="1428"/>
                  <a:pt x="673" y="1428"/>
                </a:cubicBezTo>
                <a:cubicBezTo>
                  <a:pt x="672" y="1429"/>
                  <a:pt x="672" y="1429"/>
                  <a:pt x="671" y="1430"/>
                </a:cubicBezTo>
                <a:cubicBezTo>
                  <a:pt x="670" y="1432"/>
                  <a:pt x="669" y="1433"/>
                  <a:pt x="669" y="1435"/>
                </a:cubicBezTo>
                <a:cubicBezTo>
                  <a:pt x="666" y="1440"/>
                  <a:pt x="665" y="1444"/>
                  <a:pt x="663" y="1449"/>
                </a:cubicBezTo>
                <a:cubicBezTo>
                  <a:pt x="663" y="1449"/>
                  <a:pt x="662" y="1449"/>
                  <a:pt x="662" y="1450"/>
                </a:cubicBezTo>
                <a:cubicBezTo>
                  <a:pt x="662" y="1450"/>
                  <a:pt x="662" y="1450"/>
                  <a:pt x="661" y="1451"/>
                </a:cubicBezTo>
                <a:cubicBezTo>
                  <a:pt x="661" y="1451"/>
                  <a:pt x="660" y="1452"/>
                  <a:pt x="659" y="1452"/>
                </a:cubicBezTo>
                <a:cubicBezTo>
                  <a:pt x="659" y="1453"/>
                  <a:pt x="658" y="1454"/>
                  <a:pt x="658" y="1454"/>
                </a:cubicBezTo>
                <a:cubicBezTo>
                  <a:pt x="657" y="1456"/>
                  <a:pt x="656" y="1458"/>
                  <a:pt x="656" y="1459"/>
                </a:cubicBezTo>
                <a:cubicBezTo>
                  <a:pt x="655" y="1461"/>
                  <a:pt x="654" y="1462"/>
                  <a:pt x="653" y="1464"/>
                </a:cubicBezTo>
                <a:cubicBezTo>
                  <a:pt x="653" y="1464"/>
                  <a:pt x="653" y="1465"/>
                  <a:pt x="652" y="1465"/>
                </a:cubicBezTo>
                <a:cubicBezTo>
                  <a:pt x="652" y="1466"/>
                  <a:pt x="652" y="1467"/>
                  <a:pt x="652" y="1467"/>
                </a:cubicBezTo>
                <a:cubicBezTo>
                  <a:pt x="652" y="1468"/>
                  <a:pt x="654" y="1471"/>
                  <a:pt x="652" y="1472"/>
                </a:cubicBezTo>
                <a:cubicBezTo>
                  <a:pt x="651" y="1472"/>
                  <a:pt x="651" y="1471"/>
                  <a:pt x="650" y="1471"/>
                </a:cubicBezTo>
                <a:cubicBezTo>
                  <a:pt x="649" y="1471"/>
                  <a:pt x="647" y="1473"/>
                  <a:pt x="648" y="1474"/>
                </a:cubicBezTo>
                <a:cubicBezTo>
                  <a:pt x="648" y="1474"/>
                  <a:pt x="648" y="1474"/>
                  <a:pt x="648" y="1473"/>
                </a:cubicBezTo>
                <a:cubicBezTo>
                  <a:pt x="649" y="1473"/>
                  <a:pt x="649" y="1473"/>
                  <a:pt x="649" y="1473"/>
                </a:cubicBezTo>
                <a:cubicBezTo>
                  <a:pt x="650" y="1473"/>
                  <a:pt x="650" y="1473"/>
                  <a:pt x="650" y="1473"/>
                </a:cubicBezTo>
                <a:cubicBezTo>
                  <a:pt x="650" y="1474"/>
                  <a:pt x="649" y="1475"/>
                  <a:pt x="648" y="1476"/>
                </a:cubicBezTo>
                <a:cubicBezTo>
                  <a:pt x="648" y="1477"/>
                  <a:pt x="648" y="1478"/>
                  <a:pt x="647" y="1478"/>
                </a:cubicBezTo>
                <a:cubicBezTo>
                  <a:pt x="647" y="1479"/>
                  <a:pt x="647" y="1479"/>
                  <a:pt x="647" y="1480"/>
                </a:cubicBezTo>
                <a:cubicBezTo>
                  <a:pt x="646" y="1479"/>
                  <a:pt x="646" y="1480"/>
                  <a:pt x="646" y="1480"/>
                </a:cubicBezTo>
                <a:cubicBezTo>
                  <a:pt x="646" y="1480"/>
                  <a:pt x="646" y="1481"/>
                  <a:pt x="646" y="1481"/>
                </a:cubicBezTo>
                <a:cubicBezTo>
                  <a:pt x="646" y="1481"/>
                  <a:pt x="647" y="1481"/>
                  <a:pt x="647" y="1481"/>
                </a:cubicBezTo>
                <a:cubicBezTo>
                  <a:pt x="649" y="1482"/>
                  <a:pt x="647" y="1483"/>
                  <a:pt x="646" y="1484"/>
                </a:cubicBezTo>
                <a:cubicBezTo>
                  <a:pt x="645" y="1486"/>
                  <a:pt x="643" y="1488"/>
                  <a:pt x="642" y="1488"/>
                </a:cubicBezTo>
                <a:cubicBezTo>
                  <a:pt x="640" y="1490"/>
                  <a:pt x="639" y="1491"/>
                  <a:pt x="638" y="1493"/>
                </a:cubicBezTo>
                <a:cubicBezTo>
                  <a:pt x="638" y="1494"/>
                  <a:pt x="637" y="1495"/>
                  <a:pt x="636" y="1497"/>
                </a:cubicBezTo>
                <a:cubicBezTo>
                  <a:pt x="636" y="1498"/>
                  <a:pt x="635" y="1499"/>
                  <a:pt x="634" y="1501"/>
                </a:cubicBezTo>
                <a:cubicBezTo>
                  <a:pt x="634" y="1501"/>
                  <a:pt x="633" y="1503"/>
                  <a:pt x="634" y="1503"/>
                </a:cubicBezTo>
                <a:cubicBezTo>
                  <a:pt x="634" y="1504"/>
                  <a:pt x="633" y="1504"/>
                  <a:pt x="633" y="1504"/>
                </a:cubicBezTo>
                <a:cubicBezTo>
                  <a:pt x="633" y="1504"/>
                  <a:pt x="634" y="1505"/>
                  <a:pt x="634" y="1505"/>
                </a:cubicBezTo>
                <a:cubicBezTo>
                  <a:pt x="634" y="1505"/>
                  <a:pt x="634" y="1505"/>
                  <a:pt x="634" y="1505"/>
                </a:cubicBezTo>
                <a:cubicBezTo>
                  <a:pt x="635" y="1505"/>
                  <a:pt x="634" y="1507"/>
                  <a:pt x="634" y="1507"/>
                </a:cubicBezTo>
                <a:cubicBezTo>
                  <a:pt x="633" y="1507"/>
                  <a:pt x="633" y="1506"/>
                  <a:pt x="633" y="1506"/>
                </a:cubicBezTo>
                <a:cubicBezTo>
                  <a:pt x="632" y="1506"/>
                  <a:pt x="631" y="1508"/>
                  <a:pt x="631" y="1509"/>
                </a:cubicBezTo>
                <a:cubicBezTo>
                  <a:pt x="630" y="1510"/>
                  <a:pt x="630" y="1510"/>
                  <a:pt x="629" y="1511"/>
                </a:cubicBezTo>
                <a:cubicBezTo>
                  <a:pt x="629" y="1511"/>
                  <a:pt x="629" y="1512"/>
                  <a:pt x="629" y="1512"/>
                </a:cubicBezTo>
                <a:cubicBezTo>
                  <a:pt x="629" y="1512"/>
                  <a:pt x="629" y="1513"/>
                  <a:pt x="629" y="1513"/>
                </a:cubicBezTo>
                <a:cubicBezTo>
                  <a:pt x="628" y="1513"/>
                  <a:pt x="628" y="1514"/>
                  <a:pt x="628" y="1514"/>
                </a:cubicBezTo>
                <a:cubicBezTo>
                  <a:pt x="628" y="1514"/>
                  <a:pt x="628" y="1515"/>
                  <a:pt x="628" y="1515"/>
                </a:cubicBezTo>
                <a:cubicBezTo>
                  <a:pt x="629" y="1516"/>
                  <a:pt x="630" y="1513"/>
                  <a:pt x="630" y="1513"/>
                </a:cubicBezTo>
                <a:cubicBezTo>
                  <a:pt x="631" y="1513"/>
                  <a:pt x="630" y="1511"/>
                  <a:pt x="631" y="1512"/>
                </a:cubicBezTo>
                <a:cubicBezTo>
                  <a:pt x="632" y="1512"/>
                  <a:pt x="633" y="1513"/>
                  <a:pt x="632" y="1514"/>
                </a:cubicBezTo>
                <a:cubicBezTo>
                  <a:pt x="631" y="1515"/>
                  <a:pt x="631" y="1516"/>
                  <a:pt x="630" y="1517"/>
                </a:cubicBezTo>
                <a:cubicBezTo>
                  <a:pt x="629" y="1519"/>
                  <a:pt x="628" y="1521"/>
                  <a:pt x="627" y="1523"/>
                </a:cubicBezTo>
                <a:cubicBezTo>
                  <a:pt x="626" y="1526"/>
                  <a:pt x="624" y="1528"/>
                  <a:pt x="623" y="1530"/>
                </a:cubicBezTo>
                <a:cubicBezTo>
                  <a:pt x="622" y="1531"/>
                  <a:pt x="622" y="1532"/>
                  <a:pt x="622" y="1533"/>
                </a:cubicBezTo>
                <a:cubicBezTo>
                  <a:pt x="621" y="1534"/>
                  <a:pt x="621" y="1535"/>
                  <a:pt x="621" y="1535"/>
                </a:cubicBezTo>
                <a:cubicBezTo>
                  <a:pt x="620" y="1535"/>
                  <a:pt x="620" y="1535"/>
                  <a:pt x="620" y="1535"/>
                </a:cubicBezTo>
                <a:cubicBezTo>
                  <a:pt x="620" y="1536"/>
                  <a:pt x="620" y="1536"/>
                  <a:pt x="619" y="1536"/>
                </a:cubicBezTo>
                <a:cubicBezTo>
                  <a:pt x="619" y="1536"/>
                  <a:pt x="619" y="1534"/>
                  <a:pt x="619" y="1534"/>
                </a:cubicBezTo>
                <a:cubicBezTo>
                  <a:pt x="618" y="1533"/>
                  <a:pt x="617" y="1534"/>
                  <a:pt x="617" y="1535"/>
                </a:cubicBezTo>
                <a:cubicBezTo>
                  <a:pt x="617" y="1535"/>
                  <a:pt x="618" y="1536"/>
                  <a:pt x="618" y="1537"/>
                </a:cubicBezTo>
                <a:cubicBezTo>
                  <a:pt x="618" y="1537"/>
                  <a:pt x="617" y="1537"/>
                  <a:pt x="617" y="1537"/>
                </a:cubicBezTo>
                <a:cubicBezTo>
                  <a:pt x="616" y="1538"/>
                  <a:pt x="616" y="1539"/>
                  <a:pt x="615" y="1539"/>
                </a:cubicBezTo>
                <a:cubicBezTo>
                  <a:pt x="614" y="1540"/>
                  <a:pt x="614" y="1542"/>
                  <a:pt x="613" y="1543"/>
                </a:cubicBezTo>
                <a:cubicBezTo>
                  <a:pt x="611" y="1546"/>
                  <a:pt x="610" y="1549"/>
                  <a:pt x="610" y="1550"/>
                </a:cubicBezTo>
                <a:cubicBezTo>
                  <a:pt x="610" y="1551"/>
                  <a:pt x="608" y="1553"/>
                  <a:pt x="607" y="1554"/>
                </a:cubicBezTo>
                <a:cubicBezTo>
                  <a:pt x="607" y="1554"/>
                  <a:pt x="607" y="1555"/>
                  <a:pt x="607" y="1555"/>
                </a:cubicBezTo>
                <a:cubicBezTo>
                  <a:pt x="607" y="1555"/>
                  <a:pt x="608" y="1556"/>
                  <a:pt x="608" y="1556"/>
                </a:cubicBezTo>
                <a:cubicBezTo>
                  <a:pt x="609" y="1556"/>
                  <a:pt x="609" y="1556"/>
                  <a:pt x="609" y="1557"/>
                </a:cubicBezTo>
                <a:cubicBezTo>
                  <a:pt x="608" y="1557"/>
                  <a:pt x="607" y="1558"/>
                  <a:pt x="607" y="1558"/>
                </a:cubicBezTo>
                <a:cubicBezTo>
                  <a:pt x="606" y="1559"/>
                  <a:pt x="606" y="1559"/>
                  <a:pt x="605" y="1560"/>
                </a:cubicBezTo>
                <a:cubicBezTo>
                  <a:pt x="604" y="1561"/>
                  <a:pt x="604" y="1563"/>
                  <a:pt x="603" y="1564"/>
                </a:cubicBezTo>
                <a:cubicBezTo>
                  <a:pt x="603" y="1565"/>
                  <a:pt x="603" y="1565"/>
                  <a:pt x="603" y="1566"/>
                </a:cubicBezTo>
                <a:cubicBezTo>
                  <a:pt x="603" y="1567"/>
                  <a:pt x="603" y="1567"/>
                  <a:pt x="604" y="1567"/>
                </a:cubicBezTo>
                <a:cubicBezTo>
                  <a:pt x="602" y="1570"/>
                  <a:pt x="600" y="1572"/>
                  <a:pt x="598" y="1575"/>
                </a:cubicBezTo>
                <a:cubicBezTo>
                  <a:pt x="597" y="1577"/>
                  <a:pt x="596" y="1579"/>
                  <a:pt x="596" y="1581"/>
                </a:cubicBezTo>
                <a:cubicBezTo>
                  <a:pt x="596" y="1581"/>
                  <a:pt x="596" y="1582"/>
                  <a:pt x="596" y="1582"/>
                </a:cubicBezTo>
                <a:cubicBezTo>
                  <a:pt x="596" y="1583"/>
                  <a:pt x="595" y="1585"/>
                  <a:pt x="594" y="1584"/>
                </a:cubicBezTo>
                <a:cubicBezTo>
                  <a:pt x="594" y="1583"/>
                  <a:pt x="594" y="1581"/>
                  <a:pt x="594" y="1581"/>
                </a:cubicBezTo>
                <a:cubicBezTo>
                  <a:pt x="593" y="1581"/>
                  <a:pt x="593" y="1582"/>
                  <a:pt x="593" y="1583"/>
                </a:cubicBezTo>
                <a:cubicBezTo>
                  <a:pt x="593" y="1583"/>
                  <a:pt x="594" y="1585"/>
                  <a:pt x="594" y="1585"/>
                </a:cubicBezTo>
                <a:cubicBezTo>
                  <a:pt x="593" y="1586"/>
                  <a:pt x="593" y="1586"/>
                  <a:pt x="593" y="1586"/>
                </a:cubicBezTo>
                <a:cubicBezTo>
                  <a:pt x="592" y="1586"/>
                  <a:pt x="592" y="1586"/>
                  <a:pt x="592" y="1586"/>
                </a:cubicBezTo>
                <a:cubicBezTo>
                  <a:pt x="590" y="1587"/>
                  <a:pt x="590" y="1589"/>
                  <a:pt x="589" y="1591"/>
                </a:cubicBezTo>
                <a:cubicBezTo>
                  <a:pt x="587" y="1594"/>
                  <a:pt x="585" y="1598"/>
                  <a:pt x="584" y="1601"/>
                </a:cubicBezTo>
                <a:cubicBezTo>
                  <a:pt x="583" y="1603"/>
                  <a:pt x="583" y="1605"/>
                  <a:pt x="582" y="1607"/>
                </a:cubicBezTo>
                <a:cubicBezTo>
                  <a:pt x="582" y="1608"/>
                  <a:pt x="582" y="1610"/>
                  <a:pt x="581" y="1612"/>
                </a:cubicBezTo>
                <a:cubicBezTo>
                  <a:pt x="581" y="1612"/>
                  <a:pt x="581" y="1612"/>
                  <a:pt x="581" y="1612"/>
                </a:cubicBezTo>
                <a:cubicBezTo>
                  <a:pt x="581" y="1612"/>
                  <a:pt x="581" y="1612"/>
                  <a:pt x="580" y="1612"/>
                </a:cubicBezTo>
                <a:cubicBezTo>
                  <a:pt x="579" y="1613"/>
                  <a:pt x="579" y="1613"/>
                  <a:pt x="579" y="1614"/>
                </a:cubicBezTo>
                <a:cubicBezTo>
                  <a:pt x="579" y="1615"/>
                  <a:pt x="579" y="1615"/>
                  <a:pt x="579" y="1616"/>
                </a:cubicBezTo>
                <a:cubicBezTo>
                  <a:pt x="580" y="1616"/>
                  <a:pt x="580" y="1616"/>
                  <a:pt x="580" y="1617"/>
                </a:cubicBezTo>
                <a:cubicBezTo>
                  <a:pt x="580" y="1618"/>
                  <a:pt x="579" y="1618"/>
                  <a:pt x="579" y="1619"/>
                </a:cubicBezTo>
                <a:cubicBezTo>
                  <a:pt x="578" y="1619"/>
                  <a:pt x="578" y="1620"/>
                  <a:pt x="577" y="1622"/>
                </a:cubicBezTo>
                <a:cubicBezTo>
                  <a:pt x="578" y="1622"/>
                  <a:pt x="578" y="1623"/>
                  <a:pt x="578" y="1624"/>
                </a:cubicBezTo>
                <a:cubicBezTo>
                  <a:pt x="577" y="1625"/>
                  <a:pt x="577" y="1626"/>
                  <a:pt x="576" y="1627"/>
                </a:cubicBezTo>
                <a:cubicBezTo>
                  <a:pt x="575" y="1629"/>
                  <a:pt x="573" y="1632"/>
                  <a:pt x="572" y="1634"/>
                </a:cubicBezTo>
                <a:cubicBezTo>
                  <a:pt x="571" y="1635"/>
                  <a:pt x="570" y="1635"/>
                  <a:pt x="570" y="1636"/>
                </a:cubicBezTo>
                <a:cubicBezTo>
                  <a:pt x="570" y="1636"/>
                  <a:pt x="569" y="1637"/>
                  <a:pt x="569" y="1638"/>
                </a:cubicBezTo>
                <a:cubicBezTo>
                  <a:pt x="569" y="1638"/>
                  <a:pt x="569" y="1638"/>
                  <a:pt x="569" y="1639"/>
                </a:cubicBezTo>
                <a:cubicBezTo>
                  <a:pt x="567" y="1640"/>
                  <a:pt x="568" y="1641"/>
                  <a:pt x="569" y="1643"/>
                </a:cubicBezTo>
                <a:cubicBezTo>
                  <a:pt x="569" y="1643"/>
                  <a:pt x="568" y="1644"/>
                  <a:pt x="568" y="1644"/>
                </a:cubicBezTo>
                <a:cubicBezTo>
                  <a:pt x="567" y="1644"/>
                  <a:pt x="567" y="1644"/>
                  <a:pt x="566" y="1644"/>
                </a:cubicBezTo>
                <a:cubicBezTo>
                  <a:pt x="566" y="1645"/>
                  <a:pt x="565" y="1646"/>
                  <a:pt x="565" y="1647"/>
                </a:cubicBezTo>
                <a:cubicBezTo>
                  <a:pt x="564" y="1647"/>
                  <a:pt x="564" y="1647"/>
                  <a:pt x="564" y="1647"/>
                </a:cubicBezTo>
                <a:cubicBezTo>
                  <a:pt x="563" y="1648"/>
                  <a:pt x="564" y="1648"/>
                  <a:pt x="564" y="1648"/>
                </a:cubicBezTo>
                <a:cubicBezTo>
                  <a:pt x="564" y="1649"/>
                  <a:pt x="563" y="1649"/>
                  <a:pt x="563" y="1649"/>
                </a:cubicBezTo>
                <a:cubicBezTo>
                  <a:pt x="563" y="1649"/>
                  <a:pt x="563" y="1649"/>
                  <a:pt x="563" y="1649"/>
                </a:cubicBezTo>
                <a:cubicBezTo>
                  <a:pt x="562" y="1650"/>
                  <a:pt x="563" y="1651"/>
                  <a:pt x="563" y="1651"/>
                </a:cubicBezTo>
                <a:cubicBezTo>
                  <a:pt x="563" y="1651"/>
                  <a:pt x="564" y="1652"/>
                  <a:pt x="564" y="1651"/>
                </a:cubicBezTo>
                <a:cubicBezTo>
                  <a:pt x="564" y="1652"/>
                  <a:pt x="564" y="1652"/>
                  <a:pt x="564" y="1653"/>
                </a:cubicBezTo>
                <a:cubicBezTo>
                  <a:pt x="563" y="1654"/>
                  <a:pt x="563" y="1654"/>
                  <a:pt x="562" y="1655"/>
                </a:cubicBezTo>
                <a:cubicBezTo>
                  <a:pt x="561" y="1657"/>
                  <a:pt x="560" y="1659"/>
                  <a:pt x="558" y="1662"/>
                </a:cubicBezTo>
                <a:cubicBezTo>
                  <a:pt x="558" y="1662"/>
                  <a:pt x="557" y="1663"/>
                  <a:pt x="556" y="1664"/>
                </a:cubicBezTo>
                <a:cubicBezTo>
                  <a:pt x="556" y="1665"/>
                  <a:pt x="555" y="1666"/>
                  <a:pt x="555" y="1666"/>
                </a:cubicBezTo>
                <a:cubicBezTo>
                  <a:pt x="553" y="1667"/>
                  <a:pt x="553" y="1667"/>
                  <a:pt x="553" y="1668"/>
                </a:cubicBezTo>
                <a:cubicBezTo>
                  <a:pt x="552" y="1669"/>
                  <a:pt x="551" y="1671"/>
                  <a:pt x="552" y="1672"/>
                </a:cubicBezTo>
                <a:cubicBezTo>
                  <a:pt x="552" y="1672"/>
                  <a:pt x="552" y="1673"/>
                  <a:pt x="552" y="1673"/>
                </a:cubicBezTo>
                <a:cubicBezTo>
                  <a:pt x="552" y="1673"/>
                  <a:pt x="552" y="1674"/>
                  <a:pt x="553" y="1674"/>
                </a:cubicBezTo>
                <a:cubicBezTo>
                  <a:pt x="553" y="1674"/>
                  <a:pt x="553" y="1675"/>
                  <a:pt x="552" y="1675"/>
                </a:cubicBezTo>
                <a:cubicBezTo>
                  <a:pt x="551" y="1678"/>
                  <a:pt x="547" y="1679"/>
                  <a:pt x="546" y="1682"/>
                </a:cubicBezTo>
                <a:cubicBezTo>
                  <a:pt x="546" y="1683"/>
                  <a:pt x="546" y="1683"/>
                  <a:pt x="547" y="1684"/>
                </a:cubicBezTo>
                <a:cubicBezTo>
                  <a:pt x="547" y="1685"/>
                  <a:pt x="546" y="1686"/>
                  <a:pt x="546" y="1688"/>
                </a:cubicBezTo>
                <a:cubicBezTo>
                  <a:pt x="545" y="1689"/>
                  <a:pt x="545" y="1689"/>
                  <a:pt x="545" y="1690"/>
                </a:cubicBezTo>
                <a:cubicBezTo>
                  <a:pt x="544" y="1691"/>
                  <a:pt x="545" y="1691"/>
                  <a:pt x="545" y="1692"/>
                </a:cubicBezTo>
                <a:cubicBezTo>
                  <a:pt x="545" y="1692"/>
                  <a:pt x="545" y="1693"/>
                  <a:pt x="545" y="1693"/>
                </a:cubicBezTo>
                <a:cubicBezTo>
                  <a:pt x="544" y="1695"/>
                  <a:pt x="544" y="1696"/>
                  <a:pt x="543" y="1697"/>
                </a:cubicBezTo>
                <a:cubicBezTo>
                  <a:pt x="543" y="1697"/>
                  <a:pt x="542" y="1697"/>
                  <a:pt x="542" y="1698"/>
                </a:cubicBezTo>
                <a:cubicBezTo>
                  <a:pt x="541" y="1698"/>
                  <a:pt x="540" y="1700"/>
                  <a:pt x="540" y="1701"/>
                </a:cubicBezTo>
                <a:cubicBezTo>
                  <a:pt x="539" y="1702"/>
                  <a:pt x="539" y="1703"/>
                  <a:pt x="538" y="1704"/>
                </a:cubicBezTo>
                <a:cubicBezTo>
                  <a:pt x="538" y="1705"/>
                  <a:pt x="537" y="1706"/>
                  <a:pt x="536" y="1708"/>
                </a:cubicBezTo>
                <a:cubicBezTo>
                  <a:pt x="536" y="1708"/>
                  <a:pt x="535" y="1709"/>
                  <a:pt x="535" y="1710"/>
                </a:cubicBezTo>
                <a:cubicBezTo>
                  <a:pt x="535" y="1711"/>
                  <a:pt x="537" y="1712"/>
                  <a:pt x="537" y="1713"/>
                </a:cubicBezTo>
                <a:cubicBezTo>
                  <a:pt x="536" y="1714"/>
                  <a:pt x="535" y="1715"/>
                  <a:pt x="534" y="1716"/>
                </a:cubicBezTo>
                <a:cubicBezTo>
                  <a:pt x="533" y="1717"/>
                  <a:pt x="533" y="1718"/>
                  <a:pt x="532" y="1720"/>
                </a:cubicBezTo>
                <a:cubicBezTo>
                  <a:pt x="531" y="1721"/>
                  <a:pt x="531" y="1723"/>
                  <a:pt x="530" y="1725"/>
                </a:cubicBezTo>
                <a:cubicBezTo>
                  <a:pt x="528" y="1729"/>
                  <a:pt x="527" y="1733"/>
                  <a:pt x="525" y="1736"/>
                </a:cubicBezTo>
                <a:cubicBezTo>
                  <a:pt x="524" y="1737"/>
                  <a:pt x="523" y="1738"/>
                  <a:pt x="523" y="1739"/>
                </a:cubicBezTo>
                <a:cubicBezTo>
                  <a:pt x="522" y="1740"/>
                  <a:pt x="521" y="1741"/>
                  <a:pt x="521" y="1742"/>
                </a:cubicBezTo>
                <a:cubicBezTo>
                  <a:pt x="520" y="1742"/>
                  <a:pt x="520" y="1742"/>
                  <a:pt x="520" y="1742"/>
                </a:cubicBezTo>
                <a:cubicBezTo>
                  <a:pt x="520" y="1742"/>
                  <a:pt x="521" y="1743"/>
                  <a:pt x="521" y="1743"/>
                </a:cubicBezTo>
                <a:cubicBezTo>
                  <a:pt x="521" y="1744"/>
                  <a:pt x="520" y="1744"/>
                  <a:pt x="520" y="1745"/>
                </a:cubicBezTo>
                <a:cubicBezTo>
                  <a:pt x="519" y="1746"/>
                  <a:pt x="519" y="1747"/>
                  <a:pt x="518" y="1748"/>
                </a:cubicBezTo>
                <a:cubicBezTo>
                  <a:pt x="518" y="1749"/>
                  <a:pt x="517" y="1751"/>
                  <a:pt x="516" y="1752"/>
                </a:cubicBezTo>
                <a:cubicBezTo>
                  <a:pt x="516" y="1753"/>
                  <a:pt x="516" y="1755"/>
                  <a:pt x="515" y="1756"/>
                </a:cubicBezTo>
                <a:cubicBezTo>
                  <a:pt x="515" y="1756"/>
                  <a:pt x="514" y="1755"/>
                  <a:pt x="514" y="1756"/>
                </a:cubicBezTo>
                <a:cubicBezTo>
                  <a:pt x="514" y="1756"/>
                  <a:pt x="514" y="1756"/>
                  <a:pt x="514" y="1757"/>
                </a:cubicBezTo>
                <a:cubicBezTo>
                  <a:pt x="514" y="1757"/>
                  <a:pt x="514" y="1757"/>
                  <a:pt x="514" y="1757"/>
                </a:cubicBezTo>
                <a:cubicBezTo>
                  <a:pt x="516" y="1756"/>
                  <a:pt x="516" y="1760"/>
                  <a:pt x="515" y="1760"/>
                </a:cubicBezTo>
                <a:cubicBezTo>
                  <a:pt x="515" y="1761"/>
                  <a:pt x="514" y="1760"/>
                  <a:pt x="513" y="1761"/>
                </a:cubicBezTo>
                <a:cubicBezTo>
                  <a:pt x="512" y="1761"/>
                  <a:pt x="513" y="1761"/>
                  <a:pt x="512" y="1762"/>
                </a:cubicBezTo>
                <a:cubicBezTo>
                  <a:pt x="512" y="1763"/>
                  <a:pt x="511" y="1764"/>
                  <a:pt x="511" y="1764"/>
                </a:cubicBezTo>
                <a:cubicBezTo>
                  <a:pt x="510" y="1765"/>
                  <a:pt x="509" y="1766"/>
                  <a:pt x="509" y="1766"/>
                </a:cubicBezTo>
                <a:cubicBezTo>
                  <a:pt x="509" y="1767"/>
                  <a:pt x="509" y="1767"/>
                  <a:pt x="509" y="1767"/>
                </a:cubicBezTo>
                <a:cubicBezTo>
                  <a:pt x="510" y="1768"/>
                  <a:pt x="509" y="1768"/>
                  <a:pt x="508" y="1769"/>
                </a:cubicBezTo>
                <a:cubicBezTo>
                  <a:pt x="508" y="1770"/>
                  <a:pt x="508" y="1771"/>
                  <a:pt x="508" y="1772"/>
                </a:cubicBezTo>
                <a:cubicBezTo>
                  <a:pt x="508" y="1772"/>
                  <a:pt x="508" y="1773"/>
                  <a:pt x="508" y="1773"/>
                </a:cubicBezTo>
                <a:cubicBezTo>
                  <a:pt x="508" y="1774"/>
                  <a:pt x="508" y="1774"/>
                  <a:pt x="508" y="1774"/>
                </a:cubicBezTo>
                <a:cubicBezTo>
                  <a:pt x="507" y="1774"/>
                  <a:pt x="507" y="1774"/>
                  <a:pt x="506" y="1774"/>
                </a:cubicBezTo>
                <a:cubicBezTo>
                  <a:pt x="505" y="1775"/>
                  <a:pt x="505" y="1777"/>
                  <a:pt x="504" y="1778"/>
                </a:cubicBezTo>
                <a:cubicBezTo>
                  <a:pt x="498" y="1792"/>
                  <a:pt x="495" y="1799"/>
                  <a:pt x="495" y="1800"/>
                </a:cubicBezTo>
                <a:cubicBezTo>
                  <a:pt x="495" y="1800"/>
                  <a:pt x="491" y="1808"/>
                  <a:pt x="490" y="1809"/>
                </a:cubicBezTo>
                <a:cubicBezTo>
                  <a:pt x="490" y="1810"/>
                  <a:pt x="488" y="1811"/>
                  <a:pt x="488" y="1811"/>
                </a:cubicBezTo>
                <a:cubicBezTo>
                  <a:pt x="487" y="1812"/>
                  <a:pt x="487" y="1812"/>
                  <a:pt x="486" y="1813"/>
                </a:cubicBezTo>
                <a:cubicBezTo>
                  <a:pt x="486" y="1814"/>
                  <a:pt x="486" y="1814"/>
                  <a:pt x="485" y="1815"/>
                </a:cubicBezTo>
                <a:cubicBezTo>
                  <a:pt x="485" y="1815"/>
                  <a:pt x="485" y="1815"/>
                  <a:pt x="485" y="1816"/>
                </a:cubicBezTo>
                <a:cubicBezTo>
                  <a:pt x="484" y="1816"/>
                  <a:pt x="484" y="1815"/>
                  <a:pt x="484" y="1815"/>
                </a:cubicBezTo>
                <a:cubicBezTo>
                  <a:pt x="483" y="1816"/>
                  <a:pt x="482" y="1816"/>
                  <a:pt x="482" y="1817"/>
                </a:cubicBezTo>
                <a:cubicBezTo>
                  <a:pt x="482" y="1818"/>
                  <a:pt x="482" y="1819"/>
                  <a:pt x="482" y="1820"/>
                </a:cubicBezTo>
                <a:cubicBezTo>
                  <a:pt x="481" y="1822"/>
                  <a:pt x="482" y="1823"/>
                  <a:pt x="480" y="1824"/>
                </a:cubicBezTo>
                <a:cubicBezTo>
                  <a:pt x="479" y="1824"/>
                  <a:pt x="479" y="1824"/>
                  <a:pt x="479" y="1825"/>
                </a:cubicBezTo>
                <a:cubicBezTo>
                  <a:pt x="478" y="1825"/>
                  <a:pt x="479" y="1826"/>
                  <a:pt x="479" y="1827"/>
                </a:cubicBezTo>
                <a:cubicBezTo>
                  <a:pt x="479" y="1828"/>
                  <a:pt x="479" y="1828"/>
                  <a:pt x="478" y="1829"/>
                </a:cubicBezTo>
                <a:cubicBezTo>
                  <a:pt x="478" y="1831"/>
                  <a:pt x="477" y="1832"/>
                  <a:pt x="476" y="1834"/>
                </a:cubicBezTo>
                <a:cubicBezTo>
                  <a:pt x="474" y="1838"/>
                  <a:pt x="472" y="1842"/>
                  <a:pt x="472" y="1843"/>
                </a:cubicBezTo>
                <a:cubicBezTo>
                  <a:pt x="471" y="1845"/>
                  <a:pt x="471" y="1847"/>
                  <a:pt x="470" y="1848"/>
                </a:cubicBezTo>
                <a:cubicBezTo>
                  <a:pt x="470" y="1848"/>
                  <a:pt x="470" y="1849"/>
                  <a:pt x="470" y="1850"/>
                </a:cubicBezTo>
                <a:cubicBezTo>
                  <a:pt x="470" y="1850"/>
                  <a:pt x="470" y="1851"/>
                  <a:pt x="470" y="1851"/>
                </a:cubicBezTo>
                <a:cubicBezTo>
                  <a:pt x="471" y="1853"/>
                  <a:pt x="469" y="1854"/>
                  <a:pt x="468" y="1855"/>
                </a:cubicBezTo>
                <a:cubicBezTo>
                  <a:pt x="467" y="1856"/>
                  <a:pt x="467" y="1857"/>
                  <a:pt x="466" y="1858"/>
                </a:cubicBezTo>
                <a:cubicBezTo>
                  <a:pt x="466" y="1858"/>
                  <a:pt x="465" y="1859"/>
                  <a:pt x="465" y="1860"/>
                </a:cubicBezTo>
                <a:cubicBezTo>
                  <a:pt x="464" y="1862"/>
                  <a:pt x="463" y="1864"/>
                  <a:pt x="462" y="1866"/>
                </a:cubicBezTo>
                <a:cubicBezTo>
                  <a:pt x="460" y="1870"/>
                  <a:pt x="458" y="1876"/>
                  <a:pt x="454" y="1883"/>
                </a:cubicBezTo>
                <a:cubicBezTo>
                  <a:pt x="448" y="1896"/>
                  <a:pt x="442" y="1910"/>
                  <a:pt x="440" y="1913"/>
                </a:cubicBezTo>
                <a:cubicBezTo>
                  <a:pt x="439" y="1915"/>
                  <a:pt x="439" y="1916"/>
                  <a:pt x="438" y="1918"/>
                </a:cubicBezTo>
                <a:cubicBezTo>
                  <a:pt x="438" y="1919"/>
                  <a:pt x="437" y="1920"/>
                  <a:pt x="437" y="1921"/>
                </a:cubicBezTo>
                <a:cubicBezTo>
                  <a:pt x="437" y="1922"/>
                  <a:pt x="437" y="1922"/>
                  <a:pt x="437" y="1922"/>
                </a:cubicBezTo>
                <a:cubicBezTo>
                  <a:pt x="437" y="1923"/>
                  <a:pt x="437" y="1923"/>
                  <a:pt x="436" y="1923"/>
                </a:cubicBezTo>
                <a:cubicBezTo>
                  <a:pt x="436" y="1923"/>
                  <a:pt x="436" y="1923"/>
                  <a:pt x="436" y="1923"/>
                </a:cubicBezTo>
                <a:cubicBezTo>
                  <a:pt x="436" y="1924"/>
                  <a:pt x="435" y="1926"/>
                  <a:pt x="435" y="1927"/>
                </a:cubicBezTo>
                <a:cubicBezTo>
                  <a:pt x="434" y="1928"/>
                  <a:pt x="433" y="1929"/>
                  <a:pt x="433" y="1930"/>
                </a:cubicBezTo>
                <a:cubicBezTo>
                  <a:pt x="432" y="1931"/>
                  <a:pt x="432" y="1932"/>
                  <a:pt x="431" y="1933"/>
                </a:cubicBezTo>
                <a:cubicBezTo>
                  <a:pt x="431" y="1934"/>
                  <a:pt x="431" y="1934"/>
                  <a:pt x="431" y="1934"/>
                </a:cubicBezTo>
                <a:cubicBezTo>
                  <a:pt x="432" y="1936"/>
                  <a:pt x="431" y="1937"/>
                  <a:pt x="430" y="1939"/>
                </a:cubicBezTo>
                <a:cubicBezTo>
                  <a:pt x="430" y="1939"/>
                  <a:pt x="429" y="1939"/>
                  <a:pt x="429" y="1939"/>
                </a:cubicBezTo>
                <a:cubicBezTo>
                  <a:pt x="429" y="1939"/>
                  <a:pt x="428" y="1939"/>
                  <a:pt x="428" y="1939"/>
                </a:cubicBezTo>
                <a:cubicBezTo>
                  <a:pt x="427" y="1940"/>
                  <a:pt x="426" y="1942"/>
                  <a:pt x="426" y="1943"/>
                </a:cubicBezTo>
                <a:cubicBezTo>
                  <a:pt x="425" y="1945"/>
                  <a:pt x="425" y="1947"/>
                  <a:pt x="424" y="1949"/>
                </a:cubicBezTo>
                <a:cubicBezTo>
                  <a:pt x="423" y="1950"/>
                  <a:pt x="421" y="1952"/>
                  <a:pt x="420" y="1954"/>
                </a:cubicBezTo>
                <a:cubicBezTo>
                  <a:pt x="420" y="1955"/>
                  <a:pt x="418" y="1960"/>
                  <a:pt x="416" y="1964"/>
                </a:cubicBezTo>
                <a:cubicBezTo>
                  <a:pt x="415" y="1966"/>
                  <a:pt x="415" y="1967"/>
                  <a:pt x="414" y="1969"/>
                </a:cubicBezTo>
                <a:cubicBezTo>
                  <a:pt x="413" y="1970"/>
                  <a:pt x="413" y="1971"/>
                  <a:pt x="413" y="1973"/>
                </a:cubicBezTo>
                <a:cubicBezTo>
                  <a:pt x="413" y="1973"/>
                  <a:pt x="413" y="1974"/>
                  <a:pt x="413" y="1974"/>
                </a:cubicBezTo>
                <a:cubicBezTo>
                  <a:pt x="412" y="1975"/>
                  <a:pt x="412" y="1976"/>
                  <a:pt x="411" y="1976"/>
                </a:cubicBezTo>
                <a:cubicBezTo>
                  <a:pt x="409" y="1978"/>
                  <a:pt x="408" y="1981"/>
                  <a:pt x="407" y="1983"/>
                </a:cubicBezTo>
                <a:cubicBezTo>
                  <a:pt x="406" y="1985"/>
                  <a:pt x="405" y="1988"/>
                  <a:pt x="404" y="1990"/>
                </a:cubicBezTo>
                <a:cubicBezTo>
                  <a:pt x="402" y="1993"/>
                  <a:pt x="401" y="1995"/>
                  <a:pt x="400" y="1998"/>
                </a:cubicBezTo>
                <a:cubicBezTo>
                  <a:pt x="399" y="1999"/>
                  <a:pt x="399" y="2000"/>
                  <a:pt x="398" y="2001"/>
                </a:cubicBezTo>
                <a:cubicBezTo>
                  <a:pt x="398" y="2002"/>
                  <a:pt x="397" y="2003"/>
                  <a:pt x="397" y="2005"/>
                </a:cubicBezTo>
                <a:cubicBezTo>
                  <a:pt x="397" y="2006"/>
                  <a:pt x="397" y="2008"/>
                  <a:pt x="396" y="2009"/>
                </a:cubicBezTo>
                <a:cubicBezTo>
                  <a:pt x="395" y="2011"/>
                  <a:pt x="394" y="2013"/>
                  <a:pt x="393" y="2015"/>
                </a:cubicBezTo>
                <a:cubicBezTo>
                  <a:pt x="392" y="2017"/>
                  <a:pt x="390" y="2018"/>
                  <a:pt x="389" y="2020"/>
                </a:cubicBezTo>
                <a:cubicBezTo>
                  <a:pt x="387" y="2025"/>
                  <a:pt x="385" y="2029"/>
                  <a:pt x="383" y="2033"/>
                </a:cubicBezTo>
                <a:cubicBezTo>
                  <a:pt x="382" y="2037"/>
                  <a:pt x="380" y="2040"/>
                  <a:pt x="379" y="2043"/>
                </a:cubicBezTo>
                <a:cubicBezTo>
                  <a:pt x="377" y="2046"/>
                  <a:pt x="376" y="2049"/>
                  <a:pt x="375" y="2051"/>
                </a:cubicBezTo>
                <a:cubicBezTo>
                  <a:pt x="375" y="2052"/>
                  <a:pt x="374" y="2053"/>
                  <a:pt x="374" y="2054"/>
                </a:cubicBezTo>
                <a:cubicBezTo>
                  <a:pt x="374" y="2054"/>
                  <a:pt x="374" y="2054"/>
                  <a:pt x="374" y="2055"/>
                </a:cubicBezTo>
                <a:cubicBezTo>
                  <a:pt x="374" y="2055"/>
                  <a:pt x="374" y="2056"/>
                  <a:pt x="374" y="2057"/>
                </a:cubicBezTo>
                <a:cubicBezTo>
                  <a:pt x="374" y="2057"/>
                  <a:pt x="373" y="2057"/>
                  <a:pt x="373" y="2057"/>
                </a:cubicBezTo>
                <a:cubicBezTo>
                  <a:pt x="372" y="2057"/>
                  <a:pt x="370" y="2060"/>
                  <a:pt x="370" y="2060"/>
                </a:cubicBezTo>
                <a:cubicBezTo>
                  <a:pt x="369" y="2061"/>
                  <a:pt x="367" y="2063"/>
                  <a:pt x="368" y="2064"/>
                </a:cubicBezTo>
                <a:cubicBezTo>
                  <a:pt x="368" y="2064"/>
                  <a:pt x="368" y="2064"/>
                  <a:pt x="368" y="2065"/>
                </a:cubicBezTo>
                <a:cubicBezTo>
                  <a:pt x="368" y="2065"/>
                  <a:pt x="368" y="2065"/>
                  <a:pt x="368" y="2065"/>
                </a:cubicBezTo>
                <a:cubicBezTo>
                  <a:pt x="368" y="2067"/>
                  <a:pt x="367" y="2068"/>
                  <a:pt x="366" y="2069"/>
                </a:cubicBezTo>
                <a:cubicBezTo>
                  <a:pt x="365" y="2071"/>
                  <a:pt x="363" y="2075"/>
                  <a:pt x="362" y="2077"/>
                </a:cubicBezTo>
                <a:cubicBezTo>
                  <a:pt x="360" y="2081"/>
                  <a:pt x="356" y="2091"/>
                  <a:pt x="353" y="2096"/>
                </a:cubicBezTo>
                <a:cubicBezTo>
                  <a:pt x="352" y="2097"/>
                  <a:pt x="351" y="2100"/>
                  <a:pt x="350" y="2103"/>
                </a:cubicBezTo>
                <a:cubicBezTo>
                  <a:pt x="349" y="2104"/>
                  <a:pt x="349" y="2106"/>
                  <a:pt x="347" y="2107"/>
                </a:cubicBezTo>
                <a:cubicBezTo>
                  <a:pt x="347" y="2108"/>
                  <a:pt x="346" y="2108"/>
                  <a:pt x="346" y="2109"/>
                </a:cubicBezTo>
                <a:cubicBezTo>
                  <a:pt x="345" y="2110"/>
                  <a:pt x="345" y="2111"/>
                  <a:pt x="345" y="2112"/>
                </a:cubicBezTo>
                <a:cubicBezTo>
                  <a:pt x="344" y="2113"/>
                  <a:pt x="343" y="2116"/>
                  <a:pt x="342" y="2117"/>
                </a:cubicBezTo>
                <a:cubicBezTo>
                  <a:pt x="341" y="2118"/>
                  <a:pt x="341" y="2119"/>
                  <a:pt x="340" y="2119"/>
                </a:cubicBezTo>
                <a:cubicBezTo>
                  <a:pt x="340" y="2120"/>
                  <a:pt x="340" y="2120"/>
                  <a:pt x="340" y="2120"/>
                </a:cubicBezTo>
                <a:cubicBezTo>
                  <a:pt x="340" y="2120"/>
                  <a:pt x="340" y="2121"/>
                  <a:pt x="340" y="2121"/>
                </a:cubicBezTo>
                <a:cubicBezTo>
                  <a:pt x="340" y="2122"/>
                  <a:pt x="340" y="2123"/>
                  <a:pt x="339" y="2124"/>
                </a:cubicBezTo>
                <a:cubicBezTo>
                  <a:pt x="338" y="2125"/>
                  <a:pt x="338" y="2126"/>
                  <a:pt x="337" y="2127"/>
                </a:cubicBezTo>
                <a:cubicBezTo>
                  <a:pt x="336" y="2130"/>
                  <a:pt x="335" y="2132"/>
                  <a:pt x="334" y="2134"/>
                </a:cubicBezTo>
                <a:cubicBezTo>
                  <a:pt x="332" y="2139"/>
                  <a:pt x="330" y="2143"/>
                  <a:pt x="327" y="2147"/>
                </a:cubicBezTo>
                <a:cubicBezTo>
                  <a:pt x="328" y="2148"/>
                  <a:pt x="328" y="2149"/>
                  <a:pt x="328" y="2150"/>
                </a:cubicBezTo>
                <a:cubicBezTo>
                  <a:pt x="328" y="2150"/>
                  <a:pt x="328" y="2151"/>
                  <a:pt x="328" y="2151"/>
                </a:cubicBezTo>
                <a:cubicBezTo>
                  <a:pt x="328" y="2151"/>
                  <a:pt x="328" y="2152"/>
                  <a:pt x="328" y="2152"/>
                </a:cubicBezTo>
                <a:cubicBezTo>
                  <a:pt x="327" y="2153"/>
                  <a:pt x="326" y="2153"/>
                  <a:pt x="326" y="2153"/>
                </a:cubicBezTo>
                <a:cubicBezTo>
                  <a:pt x="325" y="2154"/>
                  <a:pt x="324" y="2155"/>
                  <a:pt x="324" y="2156"/>
                </a:cubicBezTo>
                <a:cubicBezTo>
                  <a:pt x="323" y="2157"/>
                  <a:pt x="322" y="2159"/>
                  <a:pt x="322" y="2160"/>
                </a:cubicBezTo>
                <a:cubicBezTo>
                  <a:pt x="322" y="2160"/>
                  <a:pt x="323" y="2160"/>
                  <a:pt x="323" y="2161"/>
                </a:cubicBezTo>
                <a:cubicBezTo>
                  <a:pt x="323" y="2161"/>
                  <a:pt x="323" y="2161"/>
                  <a:pt x="323" y="2161"/>
                </a:cubicBezTo>
                <a:cubicBezTo>
                  <a:pt x="323" y="2162"/>
                  <a:pt x="322" y="2162"/>
                  <a:pt x="322" y="2162"/>
                </a:cubicBezTo>
                <a:cubicBezTo>
                  <a:pt x="320" y="2162"/>
                  <a:pt x="319" y="2164"/>
                  <a:pt x="319" y="2165"/>
                </a:cubicBezTo>
                <a:cubicBezTo>
                  <a:pt x="318" y="2166"/>
                  <a:pt x="317" y="2168"/>
                  <a:pt x="316" y="2169"/>
                </a:cubicBezTo>
                <a:cubicBezTo>
                  <a:pt x="316" y="2169"/>
                  <a:pt x="316" y="2169"/>
                  <a:pt x="316" y="2169"/>
                </a:cubicBezTo>
                <a:cubicBezTo>
                  <a:pt x="315" y="2170"/>
                  <a:pt x="315" y="2170"/>
                  <a:pt x="315" y="2171"/>
                </a:cubicBezTo>
                <a:cubicBezTo>
                  <a:pt x="315" y="2171"/>
                  <a:pt x="316" y="2172"/>
                  <a:pt x="316" y="2172"/>
                </a:cubicBezTo>
                <a:cubicBezTo>
                  <a:pt x="316" y="2172"/>
                  <a:pt x="316" y="2172"/>
                  <a:pt x="316" y="2173"/>
                </a:cubicBezTo>
                <a:cubicBezTo>
                  <a:pt x="315" y="2173"/>
                  <a:pt x="315" y="2173"/>
                  <a:pt x="315" y="2173"/>
                </a:cubicBezTo>
                <a:cubicBezTo>
                  <a:pt x="314" y="2173"/>
                  <a:pt x="314" y="2173"/>
                  <a:pt x="313" y="2173"/>
                </a:cubicBezTo>
                <a:cubicBezTo>
                  <a:pt x="313" y="2173"/>
                  <a:pt x="313" y="2173"/>
                  <a:pt x="313" y="2174"/>
                </a:cubicBezTo>
                <a:cubicBezTo>
                  <a:pt x="312" y="2175"/>
                  <a:pt x="313" y="2176"/>
                  <a:pt x="313" y="2177"/>
                </a:cubicBezTo>
                <a:cubicBezTo>
                  <a:pt x="313" y="2178"/>
                  <a:pt x="312" y="2178"/>
                  <a:pt x="312" y="2179"/>
                </a:cubicBezTo>
                <a:cubicBezTo>
                  <a:pt x="311" y="2180"/>
                  <a:pt x="311" y="2181"/>
                  <a:pt x="310" y="2183"/>
                </a:cubicBezTo>
                <a:cubicBezTo>
                  <a:pt x="309" y="2186"/>
                  <a:pt x="307" y="2190"/>
                  <a:pt x="306" y="2191"/>
                </a:cubicBezTo>
                <a:cubicBezTo>
                  <a:pt x="305" y="2192"/>
                  <a:pt x="304" y="2193"/>
                  <a:pt x="304" y="2194"/>
                </a:cubicBezTo>
                <a:cubicBezTo>
                  <a:pt x="303" y="2194"/>
                  <a:pt x="303" y="2194"/>
                  <a:pt x="303" y="2194"/>
                </a:cubicBezTo>
                <a:cubicBezTo>
                  <a:pt x="302" y="2194"/>
                  <a:pt x="302" y="2194"/>
                  <a:pt x="302" y="2195"/>
                </a:cubicBezTo>
                <a:cubicBezTo>
                  <a:pt x="302" y="2196"/>
                  <a:pt x="303" y="2195"/>
                  <a:pt x="303" y="2196"/>
                </a:cubicBezTo>
                <a:cubicBezTo>
                  <a:pt x="303" y="2198"/>
                  <a:pt x="302" y="2199"/>
                  <a:pt x="301" y="2200"/>
                </a:cubicBezTo>
                <a:cubicBezTo>
                  <a:pt x="299" y="2203"/>
                  <a:pt x="297" y="2206"/>
                  <a:pt x="296" y="2209"/>
                </a:cubicBezTo>
                <a:cubicBezTo>
                  <a:pt x="296" y="2210"/>
                  <a:pt x="295" y="2211"/>
                  <a:pt x="294" y="2213"/>
                </a:cubicBezTo>
                <a:cubicBezTo>
                  <a:pt x="294" y="2213"/>
                  <a:pt x="294" y="2214"/>
                  <a:pt x="294" y="2214"/>
                </a:cubicBezTo>
                <a:cubicBezTo>
                  <a:pt x="294" y="2215"/>
                  <a:pt x="293" y="2215"/>
                  <a:pt x="293" y="2215"/>
                </a:cubicBezTo>
                <a:cubicBezTo>
                  <a:pt x="293" y="2215"/>
                  <a:pt x="292" y="2216"/>
                  <a:pt x="292" y="2216"/>
                </a:cubicBezTo>
                <a:cubicBezTo>
                  <a:pt x="292" y="2216"/>
                  <a:pt x="292" y="2217"/>
                  <a:pt x="292" y="2217"/>
                </a:cubicBezTo>
                <a:cubicBezTo>
                  <a:pt x="292" y="2218"/>
                  <a:pt x="292" y="2218"/>
                  <a:pt x="292" y="2218"/>
                </a:cubicBezTo>
                <a:cubicBezTo>
                  <a:pt x="293" y="2219"/>
                  <a:pt x="293" y="2219"/>
                  <a:pt x="292" y="2220"/>
                </a:cubicBezTo>
                <a:cubicBezTo>
                  <a:pt x="292" y="2222"/>
                  <a:pt x="292" y="2224"/>
                  <a:pt x="291" y="2226"/>
                </a:cubicBezTo>
                <a:cubicBezTo>
                  <a:pt x="290" y="2227"/>
                  <a:pt x="289" y="2228"/>
                  <a:pt x="289" y="2229"/>
                </a:cubicBezTo>
                <a:cubicBezTo>
                  <a:pt x="288" y="2230"/>
                  <a:pt x="287" y="2230"/>
                  <a:pt x="286" y="2231"/>
                </a:cubicBezTo>
                <a:cubicBezTo>
                  <a:pt x="286" y="2231"/>
                  <a:pt x="285" y="2232"/>
                  <a:pt x="285" y="2232"/>
                </a:cubicBezTo>
                <a:cubicBezTo>
                  <a:pt x="285" y="2232"/>
                  <a:pt x="285" y="2232"/>
                  <a:pt x="285" y="2232"/>
                </a:cubicBezTo>
                <a:cubicBezTo>
                  <a:pt x="284" y="2233"/>
                  <a:pt x="284" y="2233"/>
                  <a:pt x="284" y="2233"/>
                </a:cubicBezTo>
                <a:cubicBezTo>
                  <a:pt x="284" y="2234"/>
                  <a:pt x="284" y="2234"/>
                  <a:pt x="284" y="2234"/>
                </a:cubicBezTo>
                <a:cubicBezTo>
                  <a:pt x="285" y="2234"/>
                  <a:pt x="285" y="2234"/>
                  <a:pt x="284" y="2234"/>
                </a:cubicBezTo>
                <a:cubicBezTo>
                  <a:pt x="284" y="2236"/>
                  <a:pt x="282" y="2237"/>
                  <a:pt x="282" y="2238"/>
                </a:cubicBezTo>
                <a:cubicBezTo>
                  <a:pt x="282" y="2238"/>
                  <a:pt x="282" y="2238"/>
                  <a:pt x="281" y="2239"/>
                </a:cubicBezTo>
                <a:cubicBezTo>
                  <a:pt x="281" y="2240"/>
                  <a:pt x="281" y="2241"/>
                  <a:pt x="281" y="2242"/>
                </a:cubicBezTo>
                <a:cubicBezTo>
                  <a:pt x="281" y="2243"/>
                  <a:pt x="281" y="2244"/>
                  <a:pt x="281" y="2245"/>
                </a:cubicBezTo>
                <a:cubicBezTo>
                  <a:pt x="281" y="2245"/>
                  <a:pt x="281" y="2246"/>
                  <a:pt x="281" y="2247"/>
                </a:cubicBezTo>
                <a:cubicBezTo>
                  <a:pt x="281" y="2248"/>
                  <a:pt x="280" y="2248"/>
                  <a:pt x="279" y="2249"/>
                </a:cubicBezTo>
                <a:cubicBezTo>
                  <a:pt x="279" y="2250"/>
                  <a:pt x="278" y="2250"/>
                  <a:pt x="277" y="2251"/>
                </a:cubicBezTo>
                <a:cubicBezTo>
                  <a:pt x="276" y="2253"/>
                  <a:pt x="275" y="2254"/>
                  <a:pt x="274" y="2256"/>
                </a:cubicBezTo>
                <a:cubicBezTo>
                  <a:pt x="273" y="2257"/>
                  <a:pt x="272" y="2259"/>
                  <a:pt x="271" y="2260"/>
                </a:cubicBezTo>
                <a:cubicBezTo>
                  <a:pt x="271" y="2261"/>
                  <a:pt x="270" y="2262"/>
                  <a:pt x="269" y="2262"/>
                </a:cubicBezTo>
                <a:cubicBezTo>
                  <a:pt x="269" y="2263"/>
                  <a:pt x="269" y="2263"/>
                  <a:pt x="269" y="2263"/>
                </a:cubicBezTo>
                <a:cubicBezTo>
                  <a:pt x="268" y="2263"/>
                  <a:pt x="268" y="2263"/>
                  <a:pt x="269" y="2264"/>
                </a:cubicBezTo>
                <a:cubicBezTo>
                  <a:pt x="269" y="2264"/>
                  <a:pt x="269" y="2264"/>
                  <a:pt x="269" y="2264"/>
                </a:cubicBezTo>
                <a:cubicBezTo>
                  <a:pt x="269" y="2264"/>
                  <a:pt x="268" y="2264"/>
                  <a:pt x="268" y="2264"/>
                </a:cubicBezTo>
                <a:cubicBezTo>
                  <a:pt x="268" y="2264"/>
                  <a:pt x="268" y="2265"/>
                  <a:pt x="268" y="2265"/>
                </a:cubicBezTo>
                <a:cubicBezTo>
                  <a:pt x="269" y="2265"/>
                  <a:pt x="268" y="2266"/>
                  <a:pt x="268" y="2266"/>
                </a:cubicBezTo>
                <a:cubicBezTo>
                  <a:pt x="268" y="2266"/>
                  <a:pt x="268" y="2266"/>
                  <a:pt x="268" y="2267"/>
                </a:cubicBezTo>
                <a:cubicBezTo>
                  <a:pt x="268" y="2267"/>
                  <a:pt x="267" y="2267"/>
                  <a:pt x="267" y="2268"/>
                </a:cubicBezTo>
                <a:cubicBezTo>
                  <a:pt x="265" y="2272"/>
                  <a:pt x="264" y="2276"/>
                  <a:pt x="263" y="2279"/>
                </a:cubicBezTo>
                <a:cubicBezTo>
                  <a:pt x="262" y="2281"/>
                  <a:pt x="262" y="2282"/>
                  <a:pt x="261" y="2284"/>
                </a:cubicBezTo>
                <a:cubicBezTo>
                  <a:pt x="260" y="2285"/>
                  <a:pt x="260" y="2285"/>
                  <a:pt x="258" y="2286"/>
                </a:cubicBezTo>
                <a:cubicBezTo>
                  <a:pt x="258" y="2286"/>
                  <a:pt x="257" y="2286"/>
                  <a:pt x="257" y="2286"/>
                </a:cubicBezTo>
                <a:cubicBezTo>
                  <a:pt x="256" y="2287"/>
                  <a:pt x="255" y="2288"/>
                  <a:pt x="255" y="2289"/>
                </a:cubicBezTo>
                <a:cubicBezTo>
                  <a:pt x="254" y="2289"/>
                  <a:pt x="253" y="2291"/>
                  <a:pt x="253" y="2292"/>
                </a:cubicBezTo>
                <a:cubicBezTo>
                  <a:pt x="255" y="2292"/>
                  <a:pt x="253" y="2294"/>
                  <a:pt x="252" y="2294"/>
                </a:cubicBezTo>
                <a:cubicBezTo>
                  <a:pt x="251" y="2296"/>
                  <a:pt x="250" y="2297"/>
                  <a:pt x="249" y="2299"/>
                </a:cubicBezTo>
                <a:cubicBezTo>
                  <a:pt x="249" y="2300"/>
                  <a:pt x="249" y="2301"/>
                  <a:pt x="249" y="2301"/>
                </a:cubicBezTo>
                <a:cubicBezTo>
                  <a:pt x="248" y="2302"/>
                  <a:pt x="249" y="2303"/>
                  <a:pt x="249" y="2304"/>
                </a:cubicBezTo>
                <a:cubicBezTo>
                  <a:pt x="249" y="2304"/>
                  <a:pt x="249" y="2305"/>
                  <a:pt x="248" y="2306"/>
                </a:cubicBezTo>
                <a:cubicBezTo>
                  <a:pt x="248" y="2305"/>
                  <a:pt x="248" y="2306"/>
                  <a:pt x="247" y="2306"/>
                </a:cubicBezTo>
                <a:cubicBezTo>
                  <a:pt x="247" y="2305"/>
                  <a:pt x="246" y="2306"/>
                  <a:pt x="246" y="2307"/>
                </a:cubicBezTo>
                <a:cubicBezTo>
                  <a:pt x="245" y="2307"/>
                  <a:pt x="245" y="2308"/>
                  <a:pt x="245" y="2308"/>
                </a:cubicBezTo>
                <a:cubicBezTo>
                  <a:pt x="245" y="2309"/>
                  <a:pt x="244" y="2310"/>
                  <a:pt x="244" y="2310"/>
                </a:cubicBezTo>
                <a:cubicBezTo>
                  <a:pt x="244" y="2311"/>
                  <a:pt x="245" y="2311"/>
                  <a:pt x="245" y="2311"/>
                </a:cubicBezTo>
                <a:cubicBezTo>
                  <a:pt x="245" y="2311"/>
                  <a:pt x="245" y="2311"/>
                  <a:pt x="245" y="2312"/>
                </a:cubicBezTo>
                <a:cubicBezTo>
                  <a:pt x="245" y="2313"/>
                  <a:pt x="245" y="2314"/>
                  <a:pt x="244" y="2314"/>
                </a:cubicBezTo>
                <a:cubicBezTo>
                  <a:pt x="244" y="2316"/>
                  <a:pt x="243" y="2317"/>
                  <a:pt x="242" y="2318"/>
                </a:cubicBezTo>
                <a:cubicBezTo>
                  <a:pt x="240" y="2321"/>
                  <a:pt x="236" y="2328"/>
                  <a:pt x="233" y="2334"/>
                </a:cubicBezTo>
                <a:cubicBezTo>
                  <a:pt x="232" y="2336"/>
                  <a:pt x="231" y="2338"/>
                  <a:pt x="230" y="2340"/>
                </a:cubicBezTo>
                <a:cubicBezTo>
                  <a:pt x="230" y="2342"/>
                  <a:pt x="229" y="2343"/>
                  <a:pt x="228" y="2345"/>
                </a:cubicBezTo>
                <a:cubicBezTo>
                  <a:pt x="227" y="2346"/>
                  <a:pt x="227" y="2346"/>
                  <a:pt x="226" y="2347"/>
                </a:cubicBezTo>
                <a:cubicBezTo>
                  <a:pt x="226" y="2347"/>
                  <a:pt x="226" y="2347"/>
                  <a:pt x="226" y="2347"/>
                </a:cubicBezTo>
                <a:cubicBezTo>
                  <a:pt x="225" y="2347"/>
                  <a:pt x="225" y="2348"/>
                  <a:pt x="226" y="2348"/>
                </a:cubicBezTo>
                <a:cubicBezTo>
                  <a:pt x="226" y="2348"/>
                  <a:pt x="226" y="2349"/>
                  <a:pt x="226" y="2349"/>
                </a:cubicBezTo>
                <a:cubicBezTo>
                  <a:pt x="226" y="2349"/>
                  <a:pt x="227" y="2349"/>
                  <a:pt x="226" y="2350"/>
                </a:cubicBezTo>
                <a:cubicBezTo>
                  <a:pt x="226" y="2351"/>
                  <a:pt x="225" y="2351"/>
                  <a:pt x="225" y="2352"/>
                </a:cubicBezTo>
                <a:cubicBezTo>
                  <a:pt x="224" y="2353"/>
                  <a:pt x="222" y="2355"/>
                  <a:pt x="221" y="2357"/>
                </a:cubicBezTo>
                <a:cubicBezTo>
                  <a:pt x="221" y="2357"/>
                  <a:pt x="220" y="2358"/>
                  <a:pt x="220" y="2359"/>
                </a:cubicBezTo>
                <a:cubicBezTo>
                  <a:pt x="220" y="2359"/>
                  <a:pt x="219" y="2360"/>
                  <a:pt x="219" y="2360"/>
                </a:cubicBezTo>
                <a:cubicBezTo>
                  <a:pt x="218" y="2360"/>
                  <a:pt x="218" y="2361"/>
                  <a:pt x="219" y="2361"/>
                </a:cubicBezTo>
                <a:cubicBezTo>
                  <a:pt x="219" y="2361"/>
                  <a:pt x="219" y="2361"/>
                  <a:pt x="220" y="2361"/>
                </a:cubicBezTo>
                <a:cubicBezTo>
                  <a:pt x="220" y="2361"/>
                  <a:pt x="220" y="2361"/>
                  <a:pt x="220" y="2362"/>
                </a:cubicBezTo>
                <a:cubicBezTo>
                  <a:pt x="220" y="2362"/>
                  <a:pt x="220" y="2362"/>
                  <a:pt x="220" y="2362"/>
                </a:cubicBezTo>
                <a:cubicBezTo>
                  <a:pt x="219" y="2363"/>
                  <a:pt x="219" y="2365"/>
                  <a:pt x="218" y="2366"/>
                </a:cubicBezTo>
                <a:cubicBezTo>
                  <a:pt x="217" y="2368"/>
                  <a:pt x="215" y="2372"/>
                  <a:pt x="214" y="2373"/>
                </a:cubicBezTo>
                <a:cubicBezTo>
                  <a:pt x="214" y="2375"/>
                  <a:pt x="212" y="2379"/>
                  <a:pt x="210" y="2383"/>
                </a:cubicBezTo>
                <a:cubicBezTo>
                  <a:pt x="208" y="2386"/>
                  <a:pt x="204" y="2395"/>
                  <a:pt x="201" y="2402"/>
                </a:cubicBezTo>
                <a:cubicBezTo>
                  <a:pt x="199" y="2404"/>
                  <a:pt x="198" y="2406"/>
                  <a:pt x="197" y="2409"/>
                </a:cubicBezTo>
                <a:cubicBezTo>
                  <a:pt x="197" y="2410"/>
                  <a:pt x="196" y="2411"/>
                  <a:pt x="195" y="2412"/>
                </a:cubicBezTo>
                <a:cubicBezTo>
                  <a:pt x="195" y="2413"/>
                  <a:pt x="195" y="2415"/>
                  <a:pt x="194" y="2415"/>
                </a:cubicBezTo>
                <a:cubicBezTo>
                  <a:pt x="193" y="2415"/>
                  <a:pt x="193" y="2414"/>
                  <a:pt x="193" y="2415"/>
                </a:cubicBezTo>
                <a:cubicBezTo>
                  <a:pt x="191" y="2415"/>
                  <a:pt x="191" y="2417"/>
                  <a:pt x="191" y="2418"/>
                </a:cubicBezTo>
                <a:cubicBezTo>
                  <a:pt x="190" y="2419"/>
                  <a:pt x="190" y="2420"/>
                  <a:pt x="189" y="2421"/>
                </a:cubicBezTo>
                <a:cubicBezTo>
                  <a:pt x="189" y="2421"/>
                  <a:pt x="189" y="2422"/>
                  <a:pt x="189" y="2422"/>
                </a:cubicBezTo>
                <a:cubicBezTo>
                  <a:pt x="188" y="2422"/>
                  <a:pt x="188" y="2422"/>
                  <a:pt x="188" y="2422"/>
                </a:cubicBezTo>
                <a:cubicBezTo>
                  <a:pt x="188" y="2423"/>
                  <a:pt x="188" y="2423"/>
                  <a:pt x="187" y="2423"/>
                </a:cubicBezTo>
                <a:cubicBezTo>
                  <a:pt x="187" y="2423"/>
                  <a:pt x="187" y="2423"/>
                  <a:pt x="188" y="2424"/>
                </a:cubicBezTo>
                <a:cubicBezTo>
                  <a:pt x="189" y="2425"/>
                  <a:pt x="188" y="2427"/>
                  <a:pt x="187" y="2428"/>
                </a:cubicBezTo>
                <a:cubicBezTo>
                  <a:pt x="187" y="2429"/>
                  <a:pt x="186" y="2432"/>
                  <a:pt x="185" y="2434"/>
                </a:cubicBezTo>
                <a:cubicBezTo>
                  <a:pt x="185" y="2435"/>
                  <a:pt x="184" y="2435"/>
                  <a:pt x="184" y="2436"/>
                </a:cubicBezTo>
                <a:cubicBezTo>
                  <a:pt x="184" y="2437"/>
                  <a:pt x="184" y="2437"/>
                  <a:pt x="184" y="2438"/>
                </a:cubicBezTo>
                <a:cubicBezTo>
                  <a:pt x="183" y="2438"/>
                  <a:pt x="183" y="2438"/>
                  <a:pt x="183" y="2438"/>
                </a:cubicBezTo>
                <a:cubicBezTo>
                  <a:pt x="182" y="2439"/>
                  <a:pt x="181" y="2440"/>
                  <a:pt x="181" y="2441"/>
                </a:cubicBezTo>
                <a:cubicBezTo>
                  <a:pt x="181" y="2442"/>
                  <a:pt x="181" y="2443"/>
                  <a:pt x="180" y="2444"/>
                </a:cubicBezTo>
                <a:cubicBezTo>
                  <a:pt x="180" y="2444"/>
                  <a:pt x="179" y="2445"/>
                  <a:pt x="178" y="2445"/>
                </a:cubicBezTo>
                <a:cubicBezTo>
                  <a:pt x="177" y="2446"/>
                  <a:pt x="177" y="2446"/>
                  <a:pt x="176" y="2446"/>
                </a:cubicBezTo>
                <a:cubicBezTo>
                  <a:pt x="176" y="2447"/>
                  <a:pt x="177" y="2447"/>
                  <a:pt x="177" y="2448"/>
                </a:cubicBezTo>
                <a:cubicBezTo>
                  <a:pt x="177" y="2449"/>
                  <a:pt x="176" y="2450"/>
                  <a:pt x="176" y="2451"/>
                </a:cubicBezTo>
                <a:cubicBezTo>
                  <a:pt x="175" y="2452"/>
                  <a:pt x="175" y="2454"/>
                  <a:pt x="175" y="2455"/>
                </a:cubicBezTo>
                <a:cubicBezTo>
                  <a:pt x="175" y="2457"/>
                  <a:pt x="174" y="2458"/>
                  <a:pt x="173" y="2460"/>
                </a:cubicBezTo>
                <a:cubicBezTo>
                  <a:pt x="172" y="2462"/>
                  <a:pt x="171" y="2464"/>
                  <a:pt x="169" y="2465"/>
                </a:cubicBezTo>
                <a:cubicBezTo>
                  <a:pt x="169" y="2466"/>
                  <a:pt x="168" y="2466"/>
                  <a:pt x="168" y="2467"/>
                </a:cubicBezTo>
                <a:cubicBezTo>
                  <a:pt x="168" y="2467"/>
                  <a:pt x="167" y="2468"/>
                  <a:pt x="168" y="2468"/>
                </a:cubicBezTo>
                <a:cubicBezTo>
                  <a:pt x="168" y="2469"/>
                  <a:pt x="168" y="2469"/>
                  <a:pt x="168" y="2469"/>
                </a:cubicBezTo>
                <a:cubicBezTo>
                  <a:pt x="168" y="2470"/>
                  <a:pt x="168" y="2470"/>
                  <a:pt x="168" y="2470"/>
                </a:cubicBezTo>
                <a:cubicBezTo>
                  <a:pt x="168" y="2471"/>
                  <a:pt x="167" y="2472"/>
                  <a:pt x="167" y="2472"/>
                </a:cubicBezTo>
                <a:cubicBezTo>
                  <a:pt x="167" y="2472"/>
                  <a:pt x="166" y="2472"/>
                  <a:pt x="165" y="2472"/>
                </a:cubicBezTo>
                <a:cubicBezTo>
                  <a:pt x="165" y="2472"/>
                  <a:pt x="165" y="2472"/>
                  <a:pt x="164" y="2473"/>
                </a:cubicBezTo>
                <a:cubicBezTo>
                  <a:pt x="164" y="2473"/>
                  <a:pt x="163" y="2473"/>
                  <a:pt x="162" y="2473"/>
                </a:cubicBezTo>
                <a:cubicBezTo>
                  <a:pt x="162" y="2474"/>
                  <a:pt x="163" y="2474"/>
                  <a:pt x="163" y="2475"/>
                </a:cubicBezTo>
                <a:cubicBezTo>
                  <a:pt x="163" y="2475"/>
                  <a:pt x="163" y="2475"/>
                  <a:pt x="162" y="2475"/>
                </a:cubicBezTo>
                <a:cubicBezTo>
                  <a:pt x="162" y="2475"/>
                  <a:pt x="162" y="2475"/>
                  <a:pt x="161" y="2475"/>
                </a:cubicBezTo>
                <a:cubicBezTo>
                  <a:pt x="161" y="2475"/>
                  <a:pt x="161" y="2475"/>
                  <a:pt x="161" y="2475"/>
                </a:cubicBezTo>
                <a:cubicBezTo>
                  <a:pt x="161" y="2475"/>
                  <a:pt x="160" y="2476"/>
                  <a:pt x="161" y="2476"/>
                </a:cubicBezTo>
                <a:cubicBezTo>
                  <a:pt x="161" y="2476"/>
                  <a:pt x="161" y="2476"/>
                  <a:pt x="161" y="2477"/>
                </a:cubicBezTo>
                <a:cubicBezTo>
                  <a:pt x="161" y="2477"/>
                  <a:pt x="162" y="2477"/>
                  <a:pt x="162" y="2477"/>
                </a:cubicBezTo>
                <a:cubicBezTo>
                  <a:pt x="162" y="2477"/>
                  <a:pt x="163" y="2477"/>
                  <a:pt x="163" y="2477"/>
                </a:cubicBezTo>
                <a:cubicBezTo>
                  <a:pt x="164" y="2477"/>
                  <a:pt x="164" y="2477"/>
                  <a:pt x="164" y="2478"/>
                </a:cubicBezTo>
                <a:cubicBezTo>
                  <a:pt x="164" y="2478"/>
                  <a:pt x="164" y="2479"/>
                  <a:pt x="164" y="2479"/>
                </a:cubicBezTo>
                <a:cubicBezTo>
                  <a:pt x="163" y="2479"/>
                  <a:pt x="163" y="2479"/>
                  <a:pt x="162" y="2479"/>
                </a:cubicBezTo>
                <a:cubicBezTo>
                  <a:pt x="161" y="2480"/>
                  <a:pt x="161" y="2480"/>
                  <a:pt x="160" y="2480"/>
                </a:cubicBezTo>
                <a:cubicBezTo>
                  <a:pt x="160" y="2481"/>
                  <a:pt x="159" y="2481"/>
                  <a:pt x="159" y="2482"/>
                </a:cubicBezTo>
                <a:cubicBezTo>
                  <a:pt x="158" y="2483"/>
                  <a:pt x="156" y="2486"/>
                  <a:pt x="155" y="2488"/>
                </a:cubicBezTo>
                <a:cubicBezTo>
                  <a:pt x="155" y="2489"/>
                  <a:pt x="154" y="2490"/>
                  <a:pt x="154" y="2491"/>
                </a:cubicBezTo>
                <a:cubicBezTo>
                  <a:pt x="154" y="2491"/>
                  <a:pt x="153" y="2492"/>
                  <a:pt x="153" y="2493"/>
                </a:cubicBezTo>
                <a:cubicBezTo>
                  <a:pt x="153" y="2493"/>
                  <a:pt x="153" y="2494"/>
                  <a:pt x="154" y="2494"/>
                </a:cubicBezTo>
                <a:cubicBezTo>
                  <a:pt x="154" y="2494"/>
                  <a:pt x="153" y="2495"/>
                  <a:pt x="153" y="2496"/>
                </a:cubicBezTo>
                <a:cubicBezTo>
                  <a:pt x="153" y="2497"/>
                  <a:pt x="152" y="2498"/>
                  <a:pt x="152" y="2498"/>
                </a:cubicBezTo>
                <a:cubicBezTo>
                  <a:pt x="152" y="2500"/>
                  <a:pt x="152" y="2502"/>
                  <a:pt x="151" y="2502"/>
                </a:cubicBezTo>
                <a:cubicBezTo>
                  <a:pt x="150" y="2503"/>
                  <a:pt x="149" y="2503"/>
                  <a:pt x="149" y="2503"/>
                </a:cubicBezTo>
                <a:cubicBezTo>
                  <a:pt x="149" y="2503"/>
                  <a:pt x="148" y="2503"/>
                  <a:pt x="148" y="2503"/>
                </a:cubicBezTo>
                <a:cubicBezTo>
                  <a:pt x="148" y="2503"/>
                  <a:pt x="148" y="2503"/>
                  <a:pt x="147" y="2503"/>
                </a:cubicBezTo>
                <a:cubicBezTo>
                  <a:pt x="147" y="2504"/>
                  <a:pt x="146" y="2505"/>
                  <a:pt x="146" y="2506"/>
                </a:cubicBezTo>
                <a:cubicBezTo>
                  <a:pt x="146" y="2506"/>
                  <a:pt x="145" y="2507"/>
                  <a:pt x="145" y="2508"/>
                </a:cubicBezTo>
                <a:cubicBezTo>
                  <a:pt x="145" y="2508"/>
                  <a:pt x="145" y="2509"/>
                  <a:pt x="145" y="2509"/>
                </a:cubicBezTo>
                <a:cubicBezTo>
                  <a:pt x="145" y="2509"/>
                  <a:pt x="145" y="2509"/>
                  <a:pt x="145" y="2509"/>
                </a:cubicBezTo>
                <a:cubicBezTo>
                  <a:pt x="145" y="2510"/>
                  <a:pt x="145" y="2511"/>
                  <a:pt x="145" y="2512"/>
                </a:cubicBezTo>
                <a:cubicBezTo>
                  <a:pt x="145" y="2512"/>
                  <a:pt x="146" y="2513"/>
                  <a:pt x="146" y="2513"/>
                </a:cubicBezTo>
                <a:cubicBezTo>
                  <a:pt x="146" y="2513"/>
                  <a:pt x="145" y="2514"/>
                  <a:pt x="145" y="2514"/>
                </a:cubicBezTo>
                <a:cubicBezTo>
                  <a:pt x="145" y="2514"/>
                  <a:pt x="145" y="2514"/>
                  <a:pt x="144" y="2514"/>
                </a:cubicBezTo>
                <a:cubicBezTo>
                  <a:pt x="144" y="2514"/>
                  <a:pt x="143" y="2514"/>
                  <a:pt x="143" y="2515"/>
                </a:cubicBezTo>
                <a:cubicBezTo>
                  <a:pt x="143" y="2516"/>
                  <a:pt x="142" y="2518"/>
                  <a:pt x="141" y="2519"/>
                </a:cubicBezTo>
                <a:cubicBezTo>
                  <a:pt x="141" y="2520"/>
                  <a:pt x="141" y="2522"/>
                  <a:pt x="140" y="2522"/>
                </a:cubicBezTo>
                <a:cubicBezTo>
                  <a:pt x="140" y="2523"/>
                  <a:pt x="138" y="2526"/>
                  <a:pt x="136" y="2529"/>
                </a:cubicBezTo>
                <a:cubicBezTo>
                  <a:pt x="136" y="2530"/>
                  <a:pt x="135" y="2531"/>
                  <a:pt x="135" y="2532"/>
                </a:cubicBezTo>
                <a:cubicBezTo>
                  <a:pt x="134" y="2533"/>
                  <a:pt x="133" y="2534"/>
                  <a:pt x="133" y="2535"/>
                </a:cubicBezTo>
                <a:cubicBezTo>
                  <a:pt x="133" y="2536"/>
                  <a:pt x="133" y="2536"/>
                  <a:pt x="134" y="2537"/>
                </a:cubicBezTo>
                <a:cubicBezTo>
                  <a:pt x="134" y="2538"/>
                  <a:pt x="134" y="2539"/>
                  <a:pt x="133" y="2540"/>
                </a:cubicBezTo>
                <a:cubicBezTo>
                  <a:pt x="133" y="2540"/>
                  <a:pt x="133" y="2540"/>
                  <a:pt x="132" y="2541"/>
                </a:cubicBezTo>
                <a:cubicBezTo>
                  <a:pt x="132" y="2541"/>
                  <a:pt x="131" y="2541"/>
                  <a:pt x="131" y="2541"/>
                </a:cubicBezTo>
                <a:cubicBezTo>
                  <a:pt x="130" y="2542"/>
                  <a:pt x="130" y="2542"/>
                  <a:pt x="130" y="2543"/>
                </a:cubicBezTo>
                <a:cubicBezTo>
                  <a:pt x="129" y="2543"/>
                  <a:pt x="129" y="2544"/>
                  <a:pt x="128" y="2545"/>
                </a:cubicBezTo>
                <a:cubicBezTo>
                  <a:pt x="128" y="2547"/>
                  <a:pt x="127" y="2549"/>
                  <a:pt x="127" y="2550"/>
                </a:cubicBezTo>
                <a:cubicBezTo>
                  <a:pt x="127" y="2551"/>
                  <a:pt x="128" y="2553"/>
                  <a:pt x="127" y="2554"/>
                </a:cubicBezTo>
                <a:cubicBezTo>
                  <a:pt x="127" y="2555"/>
                  <a:pt x="126" y="2555"/>
                  <a:pt x="125" y="2556"/>
                </a:cubicBezTo>
                <a:cubicBezTo>
                  <a:pt x="124" y="2556"/>
                  <a:pt x="124" y="2556"/>
                  <a:pt x="123" y="2556"/>
                </a:cubicBezTo>
                <a:cubicBezTo>
                  <a:pt x="123" y="2557"/>
                  <a:pt x="122" y="2558"/>
                  <a:pt x="122" y="2559"/>
                </a:cubicBezTo>
                <a:cubicBezTo>
                  <a:pt x="121" y="2561"/>
                  <a:pt x="119" y="2564"/>
                  <a:pt x="119" y="2565"/>
                </a:cubicBezTo>
                <a:cubicBezTo>
                  <a:pt x="118" y="2565"/>
                  <a:pt x="116" y="2569"/>
                  <a:pt x="114" y="2572"/>
                </a:cubicBezTo>
                <a:cubicBezTo>
                  <a:pt x="114" y="2574"/>
                  <a:pt x="113" y="2576"/>
                  <a:pt x="112" y="2577"/>
                </a:cubicBezTo>
                <a:cubicBezTo>
                  <a:pt x="112" y="2577"/>
                  <a:pt x="112" y="2578"/>
                  <a:pt x="112" y="2578"/>
                </a:cubicBezTo>
                <a:cubicBezTo>
                  <a:pt x="112" y="2578"/>
                  <a:pt x="112" y="2578"/>
                  <a:pt x="113" y="2578"/>
                </a:cubicBezTo>
                <a:cubicBezTo>
                  <a:pt x="113" y="2578"/>
                  <a:pt x="113" y="2578"/>
                  <a:pt x="113" y="2579"/>
                </a:cubicBezTo>
                <a:cubicBezTo>
                  <a:pt x="113" y="2579"/>
                  <a:pt x="112" y="2579"/>
                  <a:pt x="112" y="2580"/>
                </a:cubicBezTo>
                <a:cubicBezTo>
                  <a:pt x="112" y="2581"/>
                  <a:pt x="113" y="2581"/>
                  <a:pt x="113" y="2583"/>
                </a:cubicBezTo>
                <a:cubicBezTo>
                  <a:pt x="113" y="2583"/>
                  <a:pt x="112" y="2584"/>
                  <a:pt x="112" y="2584"/>
                </a:cubicBezTo>
                <a:cubicBezTo>
                  <a:pt x="111" y="2585"/>
                  <a:pt x="111" y="2587"/>
                  <a:pt x="110" y="2588"/>
                </a:cubicBezTo>
                <a:cubicBezTo>
                  <a:pt x="109" y="2589"/>
                  <a:pt x="108" y="2591"/>
                  <a:pt x="107" y="2593"/>
                </a:cubicBezTo>
                <a:cubicBezTo>
                  <a:pt x="107" y="2594"/>
                  <a:pt x="106" y="2595"/>
                  <a:pt x="106" y="2596"/>
                </a:cubicBezTo>
                <a:cubicBezTo>
                  <a:pt x="106" y="2596"/>
                  <a:pt x="106" y="2597"/>
                  <a:pt x="105" y="2597"/>
                </a:cubicBezTo>
                <a:cubicBezTo>
                  <a:pt x="105" y="2597"/>
                  <a:pt x="105" y="2597"/>
                  <a:pt x="105" y="2597"/>
                </a:cubicBezTo>
                <a:cubicBezTo>
                  <a:pt x="104" y="2597"/>
                  <a:pt x="104" y="2597"/>
                  <a:pt x="104" y="2597"/>
                </a:cubicBezTo>
                <a:cubicBezTo>
                  <a:pt x="103" y="2598"/>
                  <a:pt x="103" y="2598"/>
                  <a:pt x="103" y="2599"/>
                </a:cubicBezTo>
                <a:cubicBezTo>
                  <a:pt x="102" y="2601"/>
                  <a:pt x="100" y="2603"/>
                  <a:pt x="100" y="2604"/>
                </a:cubicBezTo>
                <a:cubicBezTo>
                  <a:pt x="99" y="2605"/>
                  <a:pt x="98" y="2607"/>
                  <a:pt x="98" y="2608"/>
                </a:cubicBezTo>
                <a:cubicBezTo>
                  <a:pt x="98" y="2608"/>
                  <a:pt x="99" y="2608"/>
                  <a:pt x="99" y="2608"/>
                </a:cubicBezTo>
                <a:cubicBezTo>
                  <a:pt x="99" y="2609"/>
                  <a:pt x="99" y="2609"/>
                  <a:pt x="99" y="2609"/>
                </a:cubicBezTo>
                <a:cubicBezTo>
                  <a:pt x="100" y="2609"/>
                  <a:pt x="100" y="2609"/>
                  <a:pt x="99" y="2610"/>
                </a:cubicBezTo>
                <a:cubicBezTo>
                  <a:pt x="99" y="2612"/>
                  <a:pt x="98" y="2613"/>
                  <a:pt x="97" y="2615"/>
                </a:cubicBezTo>
                <a:cubicBezTo>
                  <a:pt x="96" y="2617"/>
                  <a:pt x="95" y="2618"/>
                  <a:pt x="95" y="2620"/>
                </a:cubicBezTo>
                <a:cubicBezTo>
                  <a:pt x="95" y="2620"/>
                  <a:pt x="95" y="2621"/>
                  <a:pt x="94" y="2621"/>
                </a:cubicBezTo>
                <a:cubicBezTo>
                  <a:pt x="94" y="2621"/>
                  <a:pt x="94" y="2621"/>
                  <a:pt x="93" y="2621"/>
                </a:cubicBezTo>
                <a:cubicBezTo>
                  <a:pt x="93" y="2621"/>
                  <a:pt x="93" y="2621"/>
                  <a:pt x="93" y="2621"/>
                </a:cubicBezTo>
                <a:cubicBezTo>
                  <a:pt x="93" y="2622"/>
                  <a:pt x="94" y="2625"/>
                  <a:pt x="92" y="2626"/>
                </a:cubicBezTo>
                <a:cubicBezTo>
                  <a:pt x="92" y="2625"/>
                  <a:pt x="92" y="2625"/>
                  <a:pt x="91" y="2625"/>
                </a:cubicBezTo>
                <a:cubicBezTo>
                  <a:pt x="91" y="2625"/>
                  <a:pt x="91" y="2625"/>
                  <a:pt x="91" y="2625"/>
                </a:cubicBezTo>
                <a:cubicBezTo>
                  <a:pt x="90" y="2625"/>
                  <a:pt x="90" y="2625"/>
                  <a:pt x="89" y="2625"/>
                </a:cubicBezTo>
                <a:cubicBezTo>
                  <a:pt x="89" y="2625"/>
                  <a:pt x="89" y="2625"/>
                  <a:pt x="89" y="2626"/>
                </a:cubicBezTo>
                <a:cubicBezTo>
                  <a:pt x="88" y="2626"/>
                  <a:pt x="88" y="2626"/>
                  <a:pt x="88" y="2627"/>
                </a:cubicBezTo>
                <a:cubicBezTo>
                  <a:pt x="88" y="2627"/>
                  <a:pt x="88" y="2627"/>
                  <a:pt x="89" y="2627"/>
                </a:cubicBezTo>
                <a:cubicBezTo>
                  <a:pt x="89" y="2628"/>
                  <a:pt x="87" y="2628"/>
                  <a:pt x="87" y="2628"/>
                </a:cubicBezTo>
                <a:cubicBezTo>
                  <a:pt x="86" y="2629"/>
                  <a:pt x="86" y="2630"/>
                  <a:pt x="85" y="2631"/>
                </a:cubicBezTo>
                <a:cubicBezTo>
                  <a:pt x="84" y="2634"/>
                  <a:pt x="83" y="2636"/>
                  <a:pt x="82" y="2639"/>
                </a:cubicBezTo>
                <a:cubicBezTo>
                  <a:pt x="81" y="2641"/>
                  <a:pt x="80" y="2643"/>
                  <a:pt x="79" y="2645"/>
                </a:cubicBezTo>
                <a:cubicBezTo>
                  <a:pt x="78" y="2646"/>
                  <a:pt x="78" y="2647"/>
                  <a:pt x="77" y="2648"/>
                </a:cubicBezTo>
                <a:cubicBezTo>
                  <a:pt x="77" y="2649"/>
                  <a:pt x="76" y="2650"/>
                  <a:pt x="77" y="2651"/>
                </a:cubicBezTo>
                <a:cubicBezTo>
                  <a:pt x="77" y="2651"/>
                  <a:pt x="78" y="2651"/>
                  <a:pt x="77" y="2652"/>
                </a:cubicBezTo>
                <a:cubicBezTo>
                  <a:pt x="77" y="2653"/>
                  <a:pt x="77" y="2654"/>
                  <a:pt x="78" y="2655"/>
                </a:cubicBezTo>
                <a:cubicBezTo>
                  <a:pt x="78" y="2656"/>
                  <a:pt x="78" y="2656"/>
                  <a:pt x="78" y="2658"/>
                </a:cubicBezTo>
                <a:cubicBezTo>
                  <a:pt x="77" y="2659"/>
                  <a:pt x="77" y="2660"/>
                  <a:pt x="76" y="2661"/>
                </a:cubicBezTo>
                <a:cubicBezTo>
                  <a:pt x="76" y="2662"/>
                  <a:pt x="75" y="2663"/>
                  <a:pt x="74" y="2665"/>
                </a:cubicBezTo>
                <a:cubicBezTo>
                  <a:pt x="74" y="2665"/>
                  <a:pt x="74" y="2665"/>
                  <a:pt x="74" y="2666"/>
                </a:cubicBezTo>
                <a:cubicBezTo>
                  <a:pt x="73" y="2666"/>
                  <a:pt x="74" y="2666"/>
                  <a:pt x="74" y="2666"/>
                </a:cubicBezTo>
                <a:cubicBezTo>
                  <a:pt x="74" y="2667"/>
                  <a:pt x="74" y="2667"/>
                  <a:pt x="73" y="2667"/>
                </a:cubicBezTo>
                <a:cubicBezTo>
                  <a:pt x="73" y="2668"/>
                  <a:pt x="73" y="2669"/>
                  <a:pt x="73" y="2669"/>
                </a:cubicBezTo>
                <a:cubicBezTo>
                  <a:pt x="72" y="2670"/>
                  <a:pt x="72" y="2671"/>
                  <a:pt x="71" y="2672"/>
                </a:cubicBezTo>
                <a:cubicBezTo>
                  <a:pt x="71" y="2672"/>
                  <a:pt x="71" y="2672"/>
                  <a:pt x="71" y="2672"/>
                </a:cubicBezTo>
                <a:cubicBezTo>
                  <a:pt x="70" y="2672"/>
                  <a:pt x="70" y="2672"/>
                  <a:pt x="69" y="2672"/>
                </a:cubicBezTo>
                <a:cubicBezTo>
                  <a:pt x="69" y="2672"/>
                  <a:pt x="69" y="2673"/>
                  <a:pt x="68" y="2673"/>
                </a:cubicBezTo>
                <a:cubicBezTo>
                  <a:pt x="68" y="2673"/>
                  <a:pt x="68" y="2674"/>
                  <a:pt x="68" y="2674"/>
                </a:cubicBezTo>
                <a:cubicBezTo>
                  <a:pt x="68" y="2674"/>
                  <a:pt x="68" y="2674"/>
                  <a:pt x="68" y="2675"/>
                </a:cubicBezTo>
                <a:cubicBezTo>
                  <a:pt x="68" y="2675"/>
                  <a:pt x="68" y="2675"/>
                  <a:pt x="69" y="2675"/>
                </a:cubicBezTo>
                <a:cubicBezTo>
                  <a:pt x="70" y="2674"/>
                  <a:pt x="70" y="2676"/>
                  <a:pt x="69" y="2677"/>
                </a:cubicBezTo>
                <a:cubicBezTo>
                  <a:pt x="69" y="2678"/>
                  <a:pt x="68" y="2678"/>
                  <a:pt x="67" y="2679"/>
                </a:cubicBezTo>
                <a:cubicBezTo>
                  <a:pt x="66" y="2679"/>
                  <a:pt x="66" y="2680"/>
                  <a:pt x="65" y="2682"/>
                </a:cubicBezTo>
                <a:cubicBezTo>
                  <a:pt x="65" y="2682"/>
                  <a:pt x="65" y="2683"/>
                  <a:pt x="65" y="2683"/>
                </a:cubicBezTo>
                <a:cubicBezTo>
                  <a:pt x="65" y="2683"/>
                  <a:pt x="64" y="2683"/>
                  <a:pt x="65" y="2683"/>
                </a:cubicBezTo>
                <a:cubicBezTo>
                  <a:pt x="65" y="2684"/>
                  <a:pt x="65" y="2684"/>
                  <a:pt x="65" y="2684"/>
                </a:cubicBezTo>
                <a:cubicBezTo>
                  <a:pt x="65" y="2684"/>
                  <a:pt x="65" y="2684"/>
                  <a:pt x="65" y="2684"/>
                </a:cubicBezTo>
                <a:cubicBezTo>
                  <a:pt x="65" y="2686"/>
                  <a:pt x="64" y="2688"/>
                  <a:pt x="63" y="2689"/>
                </a:cubicBezTo>
                <a:cubicBezTo>
                  <a:pt x="62" y="2691"/>
                  <a:pt x="62" y="2693"/>
                  <a:pt x="61" y="2695"/>
                </a:cubicBezTo>
                <a:cubicBezTo>
                  <a:pt x="60" y="2697"/>
                  <a:pt x="59" y="2699"/>
                  <a:pt x="58" y="2701"/>
                </a:cubicBezTo>
                <a:cubicBezTo>
                  <a:pt x="58" y="2702"/>
                  <a:pt x="57" y="2703"/>
                  <a:pt x="57" y="2704"/>
                </a:cubicBezTo>
                <a:cubicBezTo>
                  <a:pt x="56" y="2705"/>
                  <a:pt x="56" y="2705"/>
                  <a:pt x="56" y="2705"/>
                </a:cubicBezTo>
                <a:cubicBezTo>
                  <a:pt x="55" y="2705"/>
                  <a:pt x="55" y="2704"/>
                  <a:pt x="55" y="2704"/>
                </a:cubicBezTo>
                <a:cubicBezTo>
                  <a:pt x="54" y="2705"/>
                  <a:pt x="54" y="2708"/>
                  <a:pt x="53" y="2708"/>
                </a:cubicBezTo>
                <a:cubicBezTo>
                  <a:pt x="53" y="2708"/>
                  <a:pt x="52" y="2708"/>
                  <a:pt x="52" y="2708"/>
                </a:cubicBezTo>
                <a:cubicBezTo>
                  <a:pt x="52" y="2707"/>
                  <a:pt x="52" y="2708"/>
                  <a:pt x="52" y="2708"/>
                </a:cubicBezTo>
                <a:cubicBezTo>
                  <a:pt x="51" y="2708"/>
                  <a:pt x="51" y="2708"/>
                  <a:pt x="51" y="2708"/>
                </a:cubicBezTo>
                <a:cubicBezTo>
                  <a:pt x="50" y="2712"/>
                  <a:pt x="49" y="2716"/>
                  <a:pt x="47" y="2719"/>
                </a:cubicBezTo>
                <a:cubicBezTo>
                  <a:pt x="47" y="2720"/>
                  <a:pt x="46" y="2721"/>
                  <a:pt x="46" y="2722"/>
                </a:cubicBezTo>
                <a:cubicBezTo>
                  <a:pt x="46" y="2723"/>
                  <a:pt x="46" y="2723"/>
                  <a:pt x="47" y="2724"/>
                </a:cubicBezTo>
                <a:cubicBezTo>
                  <a:pt x="47" y="2725"/>
                  <a:pt x="47" y="2726"/>
                  <a:pt x="47" y="2727"/>
                </a:cubicBezTo>
                <a:cubicBezTo>
                  <a:pt x="47" y="2728"/>
                  <a:pt x="47" y="2729"/>
                  <a:pt x="46" y="2729"/>
                </a:cubicBezTo>
                <a:cubicBezTo>
                  <a:pt x="46" y="2730"/>
                  <a:pt x="46" y="2731"/>
                  <a:pt x="45" y="2731"/>
                </a:cubicBezTo>
                <a:cubicBezTo>
                  <a:pt x="45" y="2732"/>
                  <a:pt x="45" y="2732"/>
                  <a:pt x="44" y="2732"/>
                </a:cubicBezTo>
                <a:cubicBezTo>
                  <a:pt x="44" y="2731"/>
                  <a:pt x="44" y="2731"/>
                  <a:pt x="43" y="2731"/>
                </a:cubicBezTo>
                <a:cubicBezTo>
                  <a:pt x="43" y="2732"/>
                  <a:pt x="43" y="2733"/>
                  <a:pt x="42" y="2734"/>
                </a:cubicBezTo>
                <a:cubicBezTo>
                  <a:pt x="42" y="2735"/>
                  <a:pt x="41" y="2735"/>
                  <a:pt x="40" y="2735"/>
                </a:cubicBezTo>
                <a:cubicBezTo>
                  <a:pt x="39" y="2735"/>
                  <a:pt x="39" y="2736"/>
                  <a:pt x="38" y="2737"/>
                </a:cubicBezTo>
                <a:cubicBezTo>
                  <a:pt x="38" y="2737"/>
                  <a:pt x="37" y="2738"/>
                  <a:pt x="37" y="2739"/>
                </a:cubicBezTo>
                <a:cubicBezTo>
                  <a:pt x="37" y="2740"/>
                  <a:pt x="36" y="2741"/>
                  <a:pt x="36" y="2742"/>
                </a:cubicBezTo>
                <a:cubicBezTo>
                  <a:pt x="36" y="2743"/>
                  <a:pt x="36" y="2744"/>
                  <a:pt x="36" y="2744"/>
                </a:cubicBezTo>
                <a:cubicBezTo>
                  <a:pt x="36" y="2745"/>
                  <a:pt x="36" y="2746"/>
                  <a:pt x="35" y="2746"/>
                </a:cubicBezTo>
                <a:cubicBezTo>
                  <a:pt x="34" y="2747"/>
                  <a:pt x="32" y="2751"/>
                  <a:pt x="31" y="2755"/>
                </a:cubicBezTo>
                <a:cubicBezTo>
                  <a:pt x="30" y="2756"/>
                  <a:pt x="30" y="2757"/>
                  <a:pt x="29" y="2759"/>
                </a:cubicBezTo>
                <a:cubicBezTo>
                  <a:pt x="24" y="2770"/>
                  <a:pt x="17" y="2778"/>
                  <a:pt x="11" y="2792"/>
                </a:cubicBezTo>
                <a:cubicBezTo>
                  <a:pt x="8" y="2800"/>
                  <a:pt x="0" y="2809"/>
                  <a:pt x="4" y="2817"/>
                </a:cubicBezTo>
                <a:cubicBezTo>
                  <a:pt x="7" y="2823"/>
                  <a:pt x="16" y="2824"/>
                  <a:pt x="21" y="2827"/>
                </a:cubicBezTo>
                <a:cubicBezTo>
                  <a:pt x="26" y="2829"/>
                  <a:pt x="28" y="2828"/>
                  <a:pt x="32" y="2829"/>
                </a:cubicBezTo>
                <a:cubicBezTo>
                  <a:pt x="34" y="2829"/>
                  <a:pt x="37" y="2831"/>
                  <a:pt x="39" y="2831"/>
                </a:cubicBezTo>
                <a:cubicBezTo>
                  <a:pt x="40" y="2831"/>
                  <a:pt x="42" y="2830"/>
                  <a:pt x="43" y="2829"/>
                </a:cubicBezTo>
                <a:cubicBezTo>
                  <a:pt x="47" y="2826"/>
                  <a:pt x="48" y="2825"/>
                  <a:pt x="52" y="2820"/>
                </a:cubicBezTo>
                <a:cubicBezTo>
                  <a:pt x="55" y="2816"/>
                  <a:pt x="58" y="2812"/>
                  <a:pt x="60" y="2808"/>
                </a:cubicBezTo>
                <a:cubicBezTo>
                  <a:pt x="62" y="2804"/>
                  <a:pt x="64" y="2800"/>
                  <a:pt x="66" y="2796"/>
                </a:cubicBezTo>
                <a:cubicBezTo>
                  <a:pt x="67" y="2795"/>
                  <a:pt x="68" y="2793"/>
                  <a:pt x="68" y="2792"/>
                </a:cubicBezTo>
                <a:cubicBezTo>
                  <a:pt x="68" y="2791"/>
                  <a:pt x="68" y="2790"/>
                  <a:pt x="69" y="2789"/>
                </a:cubicBezTo>
                <a:cubicBezTo>
                  <a:pt x="69" y="2788"/>
                  <a:pt x="71" y="2787"/>
                  <a:pt x="72" y="2785"/>
                </a:cubicBezTo>
                <a:cubicBezTo>
                  <a:pt x="72" y="2784"/>
                  <a:pt x="73" y="2783"/>
                  <a:pt x="73" y="2782"/>
                </a:cubicBezTo>
                <a:cubicBezTo>
                  <a:pt x="74" y="2780"/>
                  <a:pt x="76" y="2778"/>
                  <a:pt x="77" y="2776"/>
                </a:cubicBezTo>
                <a:cubicBezTo>
                  <a:pt x="78" y="2774"/>
                  <a:pt x="78" y="2772"/>
                  <a:pt x="79" y="2770"/>
                </a:cubicBezTo>
                <a:cubicBezTo>
                  <a:pt x="80" y="2768"/>
                  <a:pt x="81" y="2766"/>
                  <a:pt x="82" y="2764"/>
                </a:cubicBezTo>
                <a:cubicBezTo>
                  <a:pt x="83" y="2763"/>
                  <a:pt x="82" y="2761"/>
                  <a:pt x="82" y="2760"/>
                </a:cubicBezTo>
                <a:cubicBezTo>
                  <a:pt x="83" y="2758"/>
                  <a:pt x="84" y="2756"/>
                  <a:pt x="85" y="2755"/>
                </a:cubicBezTo>
                <a:cubicBezTo>
                  <a:pt x="102" y="2722"/>
                  <a:pt x="141" y="2641"/>
                  <a:pt x="148" y="2625"/>
                </a:cubicBezTo>
                <a:cubicBezTo>
                  <a:pt x="150" y="2622"/>
                  <a:pt x="153" y="2615"/>
                  <a:pt x="156" y="2609"/>
                </a:cubicBezTo>
                <a:cubicBezTo>
                  <a:pt x="158" y="2604"/>
                  <a:pt x="162" y="2595"/>
                  <a:pt x="164" y="2590"/>
                </a:cubicBezTo>
                <a:cubicBezTo>
                  <a:pt x="176" y="2563"/>
                  <a:pt x="181" y="2553"/>
                  <a:pt x="193" y="2526"/>
                </a:cubicBezTo>
                <a:cubicBezTo>
                  <a:pt x="194" y="2524"/>
                  <a:pt x="195" y="2522"/>
                  <a:pt x="196" y="2520"/>
                </a:cubicBezTo>
                <a:cubicBezTo>
                  <a:pt x="197" y="2518"/>
                  <a:pt x="199" y="2516"/>
                  <a:pt x="199" y="2514"/>
                </a:cubicBezTo>
                <a:cubicBezTo>
                  <a:pt x="199" y="2514"/>
                  <a:pt x="199" y="2513"/>
                  <a:pt x="199" y="2513"/>
                </a:cubicBezTo>
                <a:cubicBezTo>
                  <a:pt x="199" y="2513"/>
                  <a:pt x="200" y="2512"/>
                  <a:pt x="200" y="2512"/>
                </a:cubicBezTo>
                <a:cubicBezTo>
                  <a:pt x="201" y="2511"/>
                  <a:pt x="202" y="2511"/>
                  <a:pt x="202" y="2510"/>
                </a:cubicBezTo>
                <a:cubicBezTo>
                  <a:pt x="202" y="2510"/>
                  <a:pt x="202" y="2509"/>
                  <a:pt x="202" y="2509"/>
                </a:cubicBezTo>
                <a:cubicBezTo>
                  <a:pt x="201" y="2508"/>
                  <a:pt x="202" y="2507"/>
                  <a:pt x="202" y="2506"/>
                </a:cubicBezTo>
                <a:cubicBezTo>
                  <a:pt x="203" y="2504"/>
                  <a:pt x="204" y="2502"/>
                  <a:pt x="205" y="2501"/>
                </a:cubicBezTo>
                <a:cubicBezTo>
                  <a:pt x="206" y="2497"/>
                  <a:pt x="208" y="2494"/>
                  <a:pt x="210" y="2490"/>
                </a:cubicBezTo>
                <a:cubicBezTo>
                  <a:pt x="211" y="2487"/>
                  <a:pt x="213" y="2483"/>
                  <a:pt x="215" y="2480"/>
                </a:cubicBezTo>
                <a:cubicBezTo>
                  <a:pt x="215" y="2479"/>
                  <a:pt x="216" y="2477"/>
                  <a:pt x="217" y="2476"/>
                </a:cubicBezTo>
                <a:cubicBezTo>
                  <a:pt x="217" y="2475"/>
                  <a:pt x="218" y="2472"/>
                  <a:pt x="219" y="2472"/>
                </a:cubicBezTo>
                <a:cubicBezTo>
                  <a:pt x="221" y="2471"/>
                  <a:pt x="222" y="2471"/>
                  <a:pt x="221" y="2469"/>
                </a:cubicBezTo>
                <a:cubicBezTo>
                  <a:pt x="221" y="2469"/>
                  <a:pt x="221" y="2468"/>
                  <a:pt x="221" y="2468"/>
                </a:cubicBezTo>
                <a:cubicBezTo>
                  <a:pt x="221" y="2468"/>
                  <a:pt x="221" y="2468"/>
                  <a:pt x="221" y="2467"/>
                </a:cubicBezTo>
                <a:cubicBezTo>
                  <a:pt x="222" y="2463"/>
                  <a:pt x="225" y="2460"/>
                  <a:pt x="226" y="2456"/>
                </a:cubicBezTo>
                <a:cubicBezTo>
                  <a:pt x="228" y="2452"/>
                  <a:pt x="230" y="2449"/>
                  <a:pt x="232" y="2445"/>
                </a:cubicBezTo>
                <a:cubicBezTo>
                  <a:pt x="236" y="2437"/>
                  <a:pt x="240" y="2429"/>
                  <a:pt x="244" y="2421"/>
                </a:cubicBezTo>
                <a:cubicBezTo>
                  <a:pt x="247" y="2415"/>
                  <a:pt x="250" y="2408"/>
                  <a:pt x="253" y="2402"/>
                </a:cubicBezTo>
                <a:cubicBezTo>
                  <a:pt x="261" y="2386"/>
                  <a:pt x="268" y="2371"/>
                  <a:pt x="276" y="2355"/>
                </a:cubicBezTo>
                <a:cubicBezTo>
                  <a:pt x="278" y="2352"/>
                  <a:pt x="279" y="2348"/>
                  <a:pt x="281" y="2345"/>
                </a:cubicBezTo>
                <a:cubicBezTo>
                  <a:pt x="282" y="2343"/>
                  <a:pt x="283" y="2341"/>
                  <a:pt x="284" y="2340"/>
                </a:cubicBezTo>
                <a:cubicBezTo>
                  <a:pt x="284" y="2338"/>
                  <a:pt x="285" y="2337"/>
                  <a:pt x="285" y="2336"/>
                </a:cubicBezTo>
                <a:cubicBezTo>
                  <a:pt x="285" y="2334"/>
                  <a:pt x="286" y="2334"/>
                  <a:pt x="287" y="2334"/>
                </a:cubicBezTo>
                <a:cubicBezTo>
                  <a:pt x="287" y="2333"/>
                  <a:pt x="288" y="2331"/>
                  <a:pt x="288" y="2331"/>
                </a:cubicBezTo>
                <a:cubicBezTo>
                  <a:pt x="288" y="2331"/>
                  <a:pt x="288" y="2330"/>
                  <a:pt x="289" y="2329"/>
                </a:cubicBezTo>
                <a:cubicBezTo>
                  <a:pt x="289" y="2328"/>
                  <a:pt x="290" y="2326"/>
                  <a:pt x="290" y="2325"/>
                </a:cubicBezTo>
                <a:cubicBezTo>
                  <a:pt x="292" y="2321"/>
                  <a:pt x="294" y="2318"/>
                  <a:pt x="296" y="2315"/>
                </a:cubicBezTo>
                <a:cubicBezTo>
                  <a:pt x="296" y="2314"/>
                  <a:pt x="296" y="2314"/>
                  <a:pt x="296" y="2314"/>
                </a:cubicBezTo>
                <a:cubicBezTo>
                  <a:pt x="296" y="2313"/>
                  <a:pt x="296" y="2313"/>
                  <a:pt x="296" y="2313"/>
                </a:cubicBezTo>
                <a:cubicBezTo>
                  <a:pt x="295" y="2311"/>
                  <a:pt x="296" y="2309"/>
                  <a:pt x="296" y="2308"/>
                </a:cubicBezTo>
                <a:cubicBezTo>
                  <a:pt x="296" y="2308"/>
                  <a:pt x="297" y="2306"/>
                  <a:pt x="297" y="2307"/>
                </a:cubicBezTo>
                <a:cubicBezTo>
                  <a:pt x="298" y="2307"/>
                  <a:pt x="298" y="2309"/>
                  <a:pt x="299" y="2307"/>
                </a:cubicBezTo>
                <a:cubicBezTo>
                  <a:pt x="300" y="2307"/>
                  <a:pt x="299" y="2306"/>
                  <a:pt x="299" y="2305"/>
                </a:cubicBezTo>
                <a:cubicBezTo>
                  <a:pt x="299" y="2305"/>
                  <a:pt x="299" y="2304"/>
                  <a:pt x="300" y="2304"/>
                </a:cubicBezTo>
                <a:cubicBezTo>
                  <a:pt x="301" y="2304"/>
                  <a:pt x="301" y="2304"/>
                  <a:pt x="301" y="2304"/>
                </a:cubicBezTo>
                <a:cubicBezTo>
                  <a:pt x="302" y="2302"/>
                  <a:pt x="303" y="2300"/>
                  <a:pt x="304" y="2297"/>
                </a:cubicBezTo>
                <a:cubicBezTo>
                  <a:pt x="304" y="2296"/>
                  <a:pt x="306" y="2293"/>
                  <a:pt x="306" y="2291"/>
                </a:cubicBezTo>
                <a:cubicBezTo>
                  <a:pt x="306" y="2290"/>
                  <a:pt x="306" y="2290"/>
                  <a:pt x="306" y="2289"/>
                </a:cubicBezTo>
                <a:cubicBezTo>
                  <a:pt x="306" y="2289"/>
                  <a:pt x="307" y="2287"/>
                  <a:pt x="307" y="2287"/>
                </a:cubicBezTo>
                <a:cubicBezTo>
                  <a:pt x="308" y="2285"/>
                  <a:pt x="309" y="2284"/>
                  <a:pt x="310" y="2283"/>
                </a:cubicBezTo>
                <a:cubicBezTo>
                  <a:pt x="311" y="2282"/>
                  <a:pt x="312" y="2280"/>
                  <a:pt x="312" y="2279"/>
                </a:cubicBezTo>
                <a:cubicBezTo>
                  <a:pt x="312" y="2279"/>
                  <a:pt x="312" y="2279"/>
                  <a:pt x="312" y="2278"/>
                </a:cubicBezTo>
                <a:cubicBezTo>
                  <a:pt x="312" y="2278"/>
                  <a:pt x="312" y="2278"/>
                  <a:pt x="312" y="2278"/>
                </a:cubicBezTo>
                <a:cubicBezTo>
                  <a:pt x="312" y="2277"/>
                  <a:pt x="312" y="2277"/>
                  <a:pt x="313" y="2276"/>
                </a:cubicBezTo>
                <a:cubicBezTo>
                  <a:pt x="314" y="2276"/>
                  <a:pt x="316" y="2272"/>
                  <a:pt x="316" y="2271"/>
                </a:cubicBezTo>
                <a:cubicBezTo>
                  <a:pt x="317" y="2269"/>
                  <a:pt x="318" y="2267"/>
                  <a:pt x="319" y="2265"/>
                </a:cubicBezTo>
                <a:cubicBezTo>
                  <a:pt x="322" y="2260"/>
                  <a:pt x="325" y="2255"/>
                  <a:pt x="327" y="2249"/>
                </a:cubicBezTo>
                <a:cubicBezTo>
                  <a:pt x="328" y="2247"/>
                  <a:pt x="329" y="2245"/>
                  <a:pt x="330" y="2243"/>
                </a:cubicBezTo>
                <a:cubicBezTo>
                  <a:pt x="331" y="2242"/>
                  <a:pt x="332" y="2241"/>
                  <a:pt x="332" y="2240"/>
                </a:cubicBezTo>
                <a:cubicBezTo>
                  <a:pt x="332" y="2239"/>
                  <a:pt x="332" y="2238"/>
                  <a:pt x="333" y="2237"/>
                </a:cubicBezTo>
                <a:cubicBezTo>
                  <a:pt x="333" y="2236"/>
                  <a:pt x="333" y="2235"/>
                  <a:pt x="334" y="2234"/>
                </a:cubicBezTo>
                <a:cubicBezTo>
                  <a:pt x="334" y="2233"/>
                  <a:pt x="335" y="2233"/>
                  <a:pt x="335" y="2232"/>
                </a:cubicBezTo>
                <a:cubicBezTo>
                  <a:pt x="335" y="2232"/>
                  <a:pt x="335" y="2231"/>
                  <a:pt x="335" y="2231"/>
                </a:cubicBezTo>
                <a:cubicBezTo>
                  <a:pt x="336" y="2230"/>
                  <a:pt x="337" y="2230"/>
                  <a:pt x="337" y="2229"/>
                </a:cubicBezTo>
                <a:cubicBezTo>
                  <a:pt x="339" y="2227"/>
                  <a:pt x="339" y="2225"/>
                  <a:pt x="340" y="2223"/>
                </a:cubicBezTo>
                <a:cubicBezTo>
                  <a:pt x="342" y="2220"/>
                  <a:pt x="344" y="2217"/>
                  <a:pt x="344" y="2216"/>
                </a:cubicBezTo>
                <a:cubicBezTo>
                  <a:pt x="344" y="2215"/>
                  <a:pt x="346" y="2211"/>
                  <a:pt x="349" y="2206"/>
                </a:cubicBezTo>
                <a:cubicBezTo>
                  <a:pt x="350" y="2204"/>
                  <a:pt x="350" y="2202"/>
                  <a:pt x="351" y="2200"/>
                </a:cubicBezTo>
                <a:cubicBezTo>
                  <a:pt x="352" y="2200"/>
                  <a:pt x="352" y="2199"/>
                  <a:pt x="352" y="2198"/>
                </a:cubicBezTo>
                <a:cubicBezTo>
                  <a:pt x="353" y="2198"/>
                  <a:pt x="353" y="2197"/>
                  <a:pt x="353" y="2196"/>
                </a:cubicBezTo>
                <a:cubicBezTo>
                  <a:pt x="353" y="2196"/>
                  <a:pt x="353" y="2195"/>
                  <a:pt x="353" y="2195"/>
                </a:cubicBezTo>
                <a:cubicBezTo>
                  <a:pt x="353" y="2195"/>
                  <a:pt x="353" y="2195"/>
                  <a:pt x="354" y="2195"/>
                </a:cubicBezTo>
                <a:cubicBezTo>
                  <a:pt x="355" y="2195"/>
                  <a:pt x="354" y="2194"/>
                  <a:pt x="355" y="2193"/>
                </a:cubicBezTo>
                <a:cubicBezTo>
                  <a:pt x="355" y="2191"/>
                  <a:pt x="356" y="2190"/>
                  <a:pt x="357" y="2189"/>
                </a:cubicBezTo>
                <a:cubicBezTo>
                  <a:pt x="360" y="2183"/>
                  <a:pt x="361" y="2181"/>
                  <a:pt x="364" y="2177"/>
                </a:cubicBezTo>
                <a:cubicBezTo>
                  <a:pt x="366" y="2174"/>
                  <a:pt x="372" y="2162"/>
                  <a:pt x="375" y="2155"/>
                </a:cubicBezTo>
                <a:cubicBezTo>
                  <a:pt x="375" y="2153"/>
                  <a:pt x="377" y="2150"/>
                  <a:pt x="377" y="2148"/>
                </a:cubicBezTo>
                <a:cubicBezTo>
                  <a:pt x="376" y="2147"/>
                  <a:pt x="376" y="2146"/>
                  <a:pt x="377" y="2146"/>
                </a:cubicBezTo>
                <a:cubicBezTo>
                  <a:pt x="378" y="2146"/>
                  <a:pt x="378" y="2146"/>
                  <a:pt x="379" y="2146"/>
                </a:cubicBezTo>
                <a:cubicBezTo>
                  <a:pt x="379" y="2145"/>
                  <a:pt x="380" y="2144"/>
                  <a:pt x="380" y="2143"/>
                </a:cubicBezTo>
                <a:cubicBezTo>
                  <a:pt x="380" y="2142"/>
                  <a:pt x="382" y="2140"/>
                  <a:pt x="381" y="2139"/>
                </a:cubicBezTo>
                <a:cubicBezTo>
                  <a:pt x="381" y="2139"/>
                  <a:pt x="381" y="2139"/>
                  <a:pt x="381" y="2138"/>
                </a:cubicBezTo>
                <a:cubicBezTo>
                  <a:pt x="380" y="2138"/>
                  <a:pt x="381" y="2138"/>
                  <a:pt x="381" y="2138"/>
                </a:cubicBezTo>
                <a:cubicBezTo>
                  <a:pt x="381" y="2137"/>
                  <a:pt x="381" y="2136"/>
                  <a:pt x="382" y="2135"/>
                </a:cubicBezTo>
                <a:cubicBezTo>
                  <a:pt x="382" y="2135"/>
                  <a:pt x="382" y="2135"/>
                  <a:pt x="382" y="2136"/>
                </a:cubicBezTo>
                <a:cubicBezTo>
                  <a:pt x="382" y="2136"/>
                  <a:pt x="383" y="2136"/>
                  <a:pt x="383" y="2136"/>
                </a:cubicBezTo>
                <a:cubicBezTo>
                  <a:pt x="383" y="2136"/>
                  <a:pt x="384" y="2136"/>
                  <a:pt x="384" y="2136"/>
                </a:cubicBezTo>
                <a:cubicBezTo>
                  <a:pt x="384" y="2135"/>
                  <a:pt x="384" y="2135"/>
                  <a:pt x="384" y="2134"/>
                </a:cubicBezTo>
                <a:cubicBezTo>
                  <a:pt x="384" y="2133"/>
                  <a:pt x="384" y="2132"/>
                  <a:pt x="384" y="2131"/>
                </a:cubicBezTo>
                <a:cubicBezTo>
                  <a:pt x="384" y="2130"/>
                  <a:pt x="385" y="2129"/>
                  <a:pt x="385" y="2128"/>
                </a:cubicBezTo>
                <a:cubicBezTo>
                  <a:pt x="386" y="2127"/>
                  <a:pt x="386" y="2125"/>
                  <a:pt x="388" y="2125"/>
                </a:cubicBezTo>
                <a:cubicBezTo>
                  <a:pt x="389" y="2125"/>
                  <a:pt x="389" y="2126"/>
                  <a:pt x="389" y="2125"/>
                </a:cubicBezTo>
                <a:cubicBezTo>
                  <a:pt x="389" y="2124"/>
                  <a:pt x="389" y="2124"/>
                  <a:pt x="390" y="2123"/>
                </a:cubicBezTo>
                <a:cubicBezTo>
                  <a:pt x="391" y="2121"/>
                  <a:pt x="392" y="2120"/>
                  <a:pt x="393" y="2118"/>
                </a:cubicBezTo>
                <a:cubicBezTo>
                  <a:pt x="393" y="2116"/>
                  <a:pt x="395" y="2114"/>
                  <a:pt x="395" y="2112"/>
                </a:cubicBezTo>
                <a:cubicBezTo>
                  <a:pt x="395" y="2111"/>
                  <a:pt x="394" y="2111"/>
                  <a:pt x="394" y="2110"/>
                </a:cubicBezTo>
                <a:cubicBezTo>
                  <a:pt x="394" y="2109"/>
                  <a:pt x="395" y="2106"/>
                  <a:pt x="397" y="2106"/>
                </a:cubicBezTo>
                <a:cubicBezTo>
                  <a:pt x="397" y="2106"/>
                  <a:pt x="397" y="2106"/>
                  <a:pt x="397" y="2106"/>
                </a:cubicBezTo>
                <a:cubicBezTo>
                  <a:pt x="398" y="2106"/>
                  <a:pt x="399" y="2106"/>
                  <a:pt x="400" y="2105"/>
                </a:cubicBezTo>
                <a:cubicBezTo>
                  <a:pt x="400" y="2105"/>
                  <a:pt x="400" y="2105"/>
                  <a:pt x="400" y="2104"/>
                </a:cubicBezTo>
                <a:cubicBezTo>
                  <a:pt x="399" y="2104"/>
                  <a:pt x="399" y="2103"/>
                  <a:pt x="399" y="2103"/>
                </a:cubicBezTo>
                <a:cubicBezTo>
                  <a:pt x="400" y="2103"/>
                  <a:pt x="400" y="2103"/>
                  <a:pt x="401" y="2102"/>
                </a:cubicBezTo>
                <a:cubicBezTo>
                  <a:pt x="401" y="2102"/>
                  <a:pt x="401" y="2102"/>
                  <a:pt x="401" y="2102"/>
                </a:cubicBezTo>
                <a:cubicBezTo>
                  <a:pt x="404" y="2094"/>
                  <a:pt x="408" y="2087"/>
                  <a:pt x="412" y="2080"/>
                </a:cubicBezTo>
                <a:cubicBezTo>
                  <a:pt x="413" y="2079"/>
                  <a:pt x="414" y="2077"/>
                  <a:pt x="414" y="2076"/>
                </a:cubicBezTo>
                <a:cubicBezTo>
                  <a:pt x="415" y="2074"/>
                  <a:pt x="417" y="2071"/>
                  <a:pt x="418" y="2069"/>
                </a:cubicBezTo>
                <a:cubicBezTo>
                  <a:pt x="419" y="2067"/>
                  <a:pt x="421" y="2064"/>
                  <a:pt x="422" y="2062"/>
                </a:cubicBezTo>
                <a:cubicBezTo>
                  <a:pt x="423" y="2061"/>
                  <a:pt x="424" y="2059"/>
                  <a:pt x="425" y="2058"/>
                </a:cubicBezTo>
                <a:cubicBezTo>
                  <a:pt x="425" y="2057"/>
                  <a:pt x="427" y="2056"/>
                  <a:pt x="427" y="2055"/>
                </a:cubicBezTo>
                <a:cubicBezTo>
                  <a:pt x="427" y="2053"/>
                  <a:pt x="427" y="2052"/>
                  <a:pt x="427" y="2050"/>
                </a:cubicBezTo>
                <a:cubicBezTo>
                  <a:pt x="428" y="2048"/>
                  <a:pt x="429" y="2046"/>
                  <a:pt x="430" y="2044"/>
                </a:cubicBezTo>
                <a:cubicBezTo>
                  <a:pt x="431" y="2041"/>
                  <a:pt x="433" y="2038"/>
                  <a:pt x="434" y="2035"/>
                </a:cubicBezTo>
                <a:cubicBezTo>
                  <a:pt x="435" y="2033"/>
                  <a:pt x="437" y="2030"/>
                  <a:pt x="438" y="2027"/>
                </a:cubicBezTo>
                <a:cubicBezTo>
                  <a:pt x="438" y="2027"/>
                  <a:pt x="437" y="2026"/>
                  <a:pt x="437" y="2026"/>
                </a:cubicBezTo>
                <a:cubicBezTo>
                  <a:pt x="437" y="2025"/>
                  <a:pt x="438" y="2025"/>
                  <a:pt x="438" y="2024"/>
                </a:cubicBezTo>
                <a:cubicBezTo>
                  <a:pt x="439" y="2025"/>
                  <a:pt x="440" y="2021"/>
                  <a:pt x="440" y="2020"/>
                </a:cubicBezTo>
                <a:cubicBezTo>
                  <a:pt x="441" y="2019"/>
                  <a:pt x="442" y="2018"/>
                  <a:pt x="442" y="2017"/>
                </a:cubicBezTo>
                <a:cubicBezTo>
                  <a:pt x="442" y="2016"/>
                  <a:pt x="442" y="2015"/>
                  <a:pt x="442" y="2015"/>
                </a:cubicBezTo>
                <a:cubicBezTo>
                  <a:pt x="442" y="2015"/>
                  <a:pt x="443" y="2015"/>
                  <a:pt x="444" y="2015"/>
                </a:cubicBezTo>
                <a:cubicBezTo>
                  <a:pt x="444" y="2015"/>
                  <a:pt x="444" y="2014"/>
                  <a:pt x="444" y="2014"/>
                </a:cubicBezTo>
                <a:cubicBezTo>
                  <a:pt x="445" y="2013"/>
                  <a:pt x="445" y="2011"/>
                  <a:pt x="446" y="2010"/>
                </a:cubicBezTo>
                <a:cubicBezTo>
                  <a:pt x="447" y="2010"/>
                  <a:pt x="449" y="2011"/>
                  <a:pt x="449" y="2009"/>
                </a:cubicBezTo>
                <a:cubicBezTo>
                  <a:pt x="449" y="2008"/>
                  <a:pt x="449" y="2008"/>
                  <a:pt x="448" y="2007"/>
                </a:cubicBezTo>
                <a:cubicBezTo>
                  <a:pt x="447" y="2006"/>
                  <a:pt x="449" y="2004"/>
                  <a:pt x="449" y="2003"/>
                </a:cubicBezTo>
                <a:cubicBezTo>
                  <a:pt x="450" y="2000"/>
                  <a:pt x="452" y="1998"/>
                  <a:pt x="453" y="1996"/>
                </a:cubicBezTo>
                <a:cubicBezTo>
                  <a:pt x="455" y="1992"/>
                  <a:pt x="457" y="1987"/>
                  <a:pt x="459" y="1983"/>
                </a:cubicBezTo>
                <a:cubicBezTo>
                  <a:pt x="465" y="1970"/>
                  <a:pt x="471" y="1958"/>
                  <a:pt x="473" y="1956"/>
                </a:cubicBezTo>
                <a:cubicBezTo>
                  <a:pt x="474" y="1953"/>
                  <a:pt x="478" y="1943"/>
                  <a:pt x="483" y="1933"/>
                </a:cubicBezTo>
                <a:cubicBezTo>
                  <a:pt x="488" y="1923"/>
                  <a:pt x="495" y="1907"/>
                  <a:pt x="500" y="1897"/>
                </a:cubicBezTo>
                <a:cubicBezTo>
                  <a:pt x="505" y="1887"/>
                  <a:pt x="518" y="1861"/>
                  <a:pt x="528" y="1840"/>
                </a:cubicBezTo>
                <a:cubicBezTo>
                  <a:pt x="532" y="1833"/>
                  <a:pt x="535" y="1826"/>
                  <a:pt x="538" y="1819"/>
                </a:cubicBezTo>
                <a:cubicBezTo>
                  <a:pt x="540" y="1816"/>
                  <a:pt x="542" y="1812"/>
                  <a:pt x="543" y="1809"/>
                </a:cubicBezTo>
                <a:cubicBezTo>
                  <a:pt x="545" y="1806"/>
                  <a:pt x="547" y="1803"/>
                  <a:pt x="548" y="1799"/>
                </a:cubicBezTo>
                <a:cubicBezTo>
                  <a:pt x="548" y="1799"/>
                  <a:pt x="548" y="1799"/>
                  <a:pt x="548" y="1799"/>
                </a:cubicBezTo>
                <a:cubicBezTo>
                  <a:pt x="548" y="1797"/>
                  <a:pt x="549" y="1796"/>
                  <a:pt x="550" y="1795"/>
                </a:cubicBezTo>
                <a:cubicBezTo>
                  <a:pt x="550" y="1793"/>
                  <a:pt x="551" y="1792"/>
                  <a:pt x="552" y="1790"/>
                </a:cubicBezTo>
                <a:cubicBezTo>
                  <a:pt x="554" y="1786"/>
                  <a:pt x="555" y="1783"/>
                  <a:pt x="557" y="1779"/>
                </a:cubicBezTo>
                <a:cubicBezTo>
                  <a:pt x="559" y="1776"/>
                  <a:pt x="560" y="1773"/>
                  <a:pt x="561" y="1770"/>
                </a:cubicBezTo>
                <a:cubicBezTo>
                  <a:pt x="562" y="1768"/>
                  <a:pt x="563" y="1767"/>
                  <a:pt x="564" y="1765"/>
                </a:cubicBezTo>
                <a:cubicBezTo>
                  <a:pt x="564" y="1764"/>
                  <a:pt x="565" y="1762"/>
                  <a:pt x="565" y="1761"/>
                </a:cubicBezTo>
                <a:cubicBezTo>
                  <a:pt x="566" y="1761"/>
                  <a:pt x="566" y="1760"/>
                  <a:pt x="567" y="1760"/>
                </a:cubicBezTo>
                <a:cubicBezTo>
                  <a:pt x="567" y="1759"/>
                  <a:pt x="567" y="1758"/>
                  <a:pt x="568" y="1757"/>
                </a:cubicBezTo>
                <a:cubicBezTo>
                  <a:pt x="568" y="1756"/>
                  <a:pt x="569" y="1754"/>
                  <a:pt x="569" y="1753"/>
                </a:cubicBezTo>
                <a:cubicBezTo>
                  <a:pt x="571" y="1749"/>
                  <a:pt x="576" y="1740"/>
                  <a:pt x="579" y="1732"/>
                </a:cubicBezTo>
                <a:cubicBezTo>
                  <a:pt x="581" y="1730"/>
                  <a:pt x="582" y="1728"/>
                  <a:pt x="583" y="1725"/>
                </a:cubicBezTo>
                <a:cubicBezTo>
                  <a:pt x="584" y="1723"/>
                  <a:pt x="585" y="1721"/>
                  <a:pt x="586" y="1719"/>
                </a:cubicBezTo>
                <a:cubicBezTo>
                  <a:pt x="586" y="1719"/>
                  <a:pt x="586" y="1719"/>
                  <a:pt x="586" y="1719"/>
                </a:cubicBezTo>
                <a:cubicBezTo>
                  <a:pt x="586" y="1719"/>
                  <a:pt x="587" y="1719"/>
                  <a:pt x="587" y="1719"/>
                </a:cubicBezTo>
                <a:cubicBezTo>
                  <a:pt x="587" y="1719"/>
                  <a:pt x="588" y="1719"/>
                  <a:pt x="588" y="1718"/>
                </a:cubicBezTo>
                <a:cubicBezTo>
                  <a:pt x="589" y="1718"/>
                  <a:pt x="589" y="1717"/>
                  <a:pt x="589" y="1716"/>
                </a:cubicBezTo>
                <a:cubicBezTo>
                  <a:pt x="589" y="1715"/>
                  <a:pt x="590" y="1714"/>
                  <a:pt x="590" y="1712"/>
                </a:cubicBezTo>
                <a:cubicBezTo>
                  <a:pt x="591" y="1712"/>
                  <a:pt x="591" y="1711"/>
                  <a:pt x="591" y="1710"/>
                </a:cubicBezTo>
                <a:cubicBezTo>
                  <a:pt x="591" y="1710"/>
                  <a:pt x="591" y="1710"/>
                  <a:pt x="591" y="1709"/>
                </a:cubicBezTo>
                <a:cubicBezTo>
                  <a:pt x="591" y="1709"/>
                  <a:pt x="592" y="1709"/>
                  <a:pt x="592" y="1708"/>
                </a:cubicBezTo>
                <a:cubicBezTo>
                  <a:pt x="592" y="1708"/>
                  <a:pt x="592" y="1708"/>
                  <a:pt x="592" y="1708"/>
                </a:cubicBezTo>
                <a:cubicBezTo>
                  <a:pt x="591" y="1707"/>
                  <a:pt x="592" y="1705"/>
                  <a:pt x="593" y="1704"/>
                </a:cubicBezTo>
                <a:cubicBezTo>
                  <a:pt x="594" y="1703"/>
                  <a:pt x="595" y="1702"/>
                  <a:pt x="595" y="1700"/>
                </a:cubicBezTo>
                <a:cubicBezTo>
                  <a:pt x="596" y="1700"/>
                  <a:pt x="597" y="1697"/>
                  <a:pt x="597" y="1697"/>
                </a:cubicBezTo>
                <a:cubicBezTo>
                  <a:pt x="598" y="1695"/>
                  <a:pt x="598" y="1693"/>
                  <a:pt x="599" y="1692"/>
                </a:cubicBezTo>
                <a:cubicBezTo>
                  <a:pt x="600" y="1690"/>
                  <a:pt x="601" y="1688"/>
                  <a:pt x="602" y="1686"/>
                </a:cubicBezTo>
                <a:cubicBezTo>
                  <a:pt x="602" y="1685"/>
                  <a:pt x="603" y="1683"/>
                  <a:pt x="604" y="1683"/>
                </a:cubicBezTo>
                <a:cubicBezTo>
                  <a:pt x="604" y="1683"/>
                  <a:pt x="605" y="1683"/>
                  <a:pt x="605" y="1683"/>
                </a:cubicBezTo>
                <a:cubicBezTo>
                  <a:pt x="606" y="1682"/>
                  <a:pt x="606" y="1682"/>
                  <a:pt x="606" y="1681"/>
                </a:cubicBezTo>
                <a:cubicBezTo>
                  <a:pt x="606" y="1681"/>
                  <a:pt x="606" y="1680"/>
                  <a:pt x="606" y="1680"/>
                </a:cubicBezTo>
                <a:cubicBezTo>
                  <a:pt x="606" y="1678"/>
                  <a:pt x="607" y="1676"/>
                  <a:pt x="607" y="1674"/>
                </a:cubicBez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3" name="Subtitle 2">
            <a:extLst>
              <a:ext uri="{FF2B5EF4-FFF2-40B4-BE49-F238E27FC236}">
                <a16:creationId xmlns:a16="http://schemas.microsoft.com/office/drawing/2014/main" id="{01A9196B-05EB-E2C1-7E72-D8811229D8D2}"/>
              </a:ext>
            </a:extLst>
          </p:cNvPr>
          <p:cNvSpPr>
            <a:spLocks noGrp="1"/>
          </p:cNvSpPr>
          <p:nvPr>
            <p:ph type="subTitle" idx="1"/>
          </p:nvPr>
        </p:nvSpPr>
        <p:spPr>
          <a:xfrm>
            <a:off x="442914" y="4217374"/>
            <a:ext cx="5537199" cy="235898"/>
          </a:xfrm>
        </p:spPr>
        <p:txBody>
          <a:bodyPr wrap="square">
            <a:spAutoFit/>
          </a:bodyPr>
          <a:lstStyle>
            <a:lvl1pPr marL="0" indent="0" algn="l">
              <a:buNone/>
              <a:defRPr sz="15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10" name="Title 9">
            <a:extLst>
              <a:ext uri="{FF2B5EF4-FFF2-40B4-BE49-F238E27FC236}">
                <a16:creationId xmlns:a16="http://schemas.microsoft.com/office/drawing/2014/main" id="{61AC5D26-4661-1187-F6D3-B7AC649531E9}"/>
              </a:ext>
            </a:extLst>
          </p:cNvPr>
          <p:cNvSpPr>
            <a:spLocks noGrp="1"/>
          </p:cNvSpPr>
          <p:nvPr>
            <p:ph type="title" hasCustomPrompt="1"/>
          </p:nvPr>
        </p:nvSpPr>
        <p:spPr>
          <a:xfrm>
            <a:off x="442914" y="3145139"/>
            <a:ext cx="5538786" cy="567848"/>
          </a:xfrm>
        </p:spPr>
        <p:txBody>
          <a:bodyPr wrap="square" anchor="b" anchorCtr="0">
            <a:spAutoFit/>
          </a:bodyPr>
          <a:lstStyle>
            <a:lvl1pPr>
              <a:lnSpc>
                <a:spcPct val="90000"/>
              </a:lnSpc>
              <a:defRPr sz="4000" spc="-100" baseline="0">
                <a:solidFill>
                  <a:schemeClr val="tx1"/>
                </a:solidFill>
              </a:defRPr>
            </a:lvl1pPr>
          </a:lstStyle>
          <a:p>
            <a:r>
              <a:rPr lang="en-US"/>
              <a:t>Click to add title</a:t>
            </a:r>
            <a:endParaRPr lang="en-GB"/>
          </a:p>
        </p:txBody>
      </p:sp>
      <p:sp>
        <p:nvSpPr>
          <p:cNvPr id="35" name="Picture Placeholder 34">
            <a:extLst>
              <a:ext uri="{FF2B5EF4-FFF2-40B4-BE49-F238E27FC236}">
                <a16:creationId xmlns:a16="http://schemas.microsoft.com/office/drawing/2014/main" id="{CED56BC5-AA9A-B7BD-B894-8C188FB05DFC}"/>
              </a:ext>
            </a:extLst>
          </p:cNvPr>
          <p:cNvSpPr>
            <a:spLocks noGrp="1" noChangeAspect="1"/>
          </p:cNvSpPr>
          <p:nvPr>
            <p:ph type="pic" sz="quarter" idx="10"/>
          </p:nvPr>
        </p:nvSpPr>
        <p:spPr>
          <a:xfrm>
            <a:off x="6924701" y="-96012"/>
            <a:ext cx="5322184" cy="7018365"/>
          </a:xfrm>
          <a:custGeom>
            <a:avLst/>
            <a:gdLst>
              <a:gd name="connsiteX0" fmla="*/ 1979909 w 2898914"/>
              <a:gd name="connsiteY0" fmla="*/ 0 h 2905611"/>
              <a:gd name="connsiteX1" fmla="*/ 2669401 w 2898914"/>
              <a:gd name="connsiteY1" fmla="*/ 430461 h 2905611"/>
              <a:gd name="connsiteX2" fmla="*/ 2898914 w 2898914"/>
              <a:gd name="connsiteY2" fmla="*/ 1413283 h 2905611"/>
              <a:gd name="connsiteX3" fmla="*/ 2669401 w 2898914"/>
              <a:gd name="connsiteY3" fmla="*/ 2415152 h 2905611"/>
              <a:gd name="connsiteX4" fmla="*/ 1979909 w 2898914"/>
              <a:gd name="connsiteY4" fmla="*/ 2905611 h 2905611"/>
              <a:gd name="connsiteX5" fmla="*/ 918053 w 2898914"/>
              <a:gd name="connsiteY5" fmla="*/ 2837042 h 2905611"/>
              <a:gd name="connsiteX6" fmla="*/ 383792 w 2898914"/>
              <a:gd name="connsiteY6" fmla="*/ 2600860 h 2905611"/>
              <a:gd name="connsiteX7" fmla="*/ 0 w 2898914"/>
              <a:gd name="connsiteY7" fmla="*/ 1833268 h 2905611"/>
              <a:gd name="connsiteX8" fmla="*/ 0 w 2898914"/>
              <a:gd name="connsiteY8" fmla="*/ 1063772 h 2905611"/>
              <a:gd name="connsiteX9" fmla="*/ 624733 w 2898914"/>
              <a:gd name="connsiteY9" fmla="*/ 130472 h 2905611"/>
              <a:gd name="connsiteX0" fmla="*/ 1979909 w 2898914"/>
              <a:gd name="connsiteY0" fmla="*/ 0 h 2905611"/>
              <a:gd name="connsiteX1" fmla="*/ 2669401 w 2898914"/>
              <a:gd name="connsiteY1" fmla="*/ 430461 h 2905611"/>
              <a:gd name="connsiteX2" fmla="*/ 2898914 w 2898914"/>
              <a:gd name="connsiteY2" fmla="*/ 1413283 h 2905611"/>
              <a:gd name="connsiteX3" fmla="*/ 2669401 w 2898914"/>
              <a:gd name="connsiteY3" fmla="*/ 2415152 h 2905611"/>
              <a:gd name="connsiteX4" fmla="*/ 1979909 w 2898914"/>
              <a:gd name="connsiteY4" fmla="*/ 2905611 h 2905611"/>
              <a:gd name="connsiteX5" fmla="*/ 918053 w 2898914"/>
              <a:gd name="connsiteY5" fmla="*/ 2837042 h 2905611"/>
              <a:gd name="connsiteX6" fmla="*/ 383792 w 2898914"/>
              <a:gd name="connsiteY6" fmla="*/ 2600860 h 2905611"/>
              <a:gd name="connsiteX7" fmla="*/ 0 w 2898914"/>
              <a:gd name="connsiteY7" fmla="*/ 1833268 h 2905611"/>
              <a:gd name="connsiteX8" fmla="*/ 70734 w 2898914"/>
              <a:gd name="connsiteY8" fmla="*/ 1021331 h 2905611"/>
              <a:gd name="connsiteX9" fmla="*/ 624733 w 2898914"/>
              <a:gd name="connsiteY9" fmla="*/ 130472 h 2905611"/>
              <a:gd name="connsiteX10" fmla="*/ 1979909 w 2898914"/>
              <a:gd name="connsiteY10" fmla="*/ 0 h 2905611"/>
              <a:gd name="connsiteX0" fmla="*/ 1979909 w 2898914"/>
              <a:gd name="connsiteY0" fmla="*/ 0 h 2905611"/>
              <a:gd name="connsiteX1" fmla="*/ 2669401 w 2898914"/>
              <a:gd name="connsiteY1" fmla="*/ 430461 h 2905611"/>
              <a:gd name="connsiteX2" fmla="*/ 2898914 w 2898914"/>
              <a:gd name="connsiteY2" fmla="*/ 1413283 h 2905611"/>
              <a:gd name="connsiteX3" fmla="*/ 2669401 w 2898914"/>
              <a:gd name="connsiteY3" fmla="*/ 2415152 h 2905611"/>
              <a:gd name="connsiteX4" fmla="*/ 1979909 w 2898914"/>
              <a:gd name="connsiteY4" fmla="*/ 2905611 h 2905611"/>
              <a:gd name="connsiteX5" fmla="*/ 918053 w 2898914"/>
              <a:gd name="connsiteY5" fmla="*/ 2837042 h 2905611"/>
              <a:gd name="connsiteX6" fmla="*/ 383792 w 2898914"/>
              <a:gd name="connsiteY6" fmla="*/ 2600860 h 2905611"/>
              <a:gd name="connsiteX7" fmla="*/ 0 w 2898914"/>
              <a:gd name="connsiteY7" fmla="*/ 1833268 h 2905611"/>
              <a:gd name="connsiteX8" fmla="*/ 51871 w 2898914"/>
              <a:gd name="connsiteY8" fmla="*/ 776119 h 2905611"/>
              <a:gd name="connsiteX9" fmla="*/ 624733 w 2898914"/>
              <a:gd name="connsiteY9" fmla="*/ 130472 h 2905611"/>
              <a:gd name="connsiteX10" fmla="*/ 1979909 w 2898914"/>
              <a:gd name="connsiteY10" fmla="*/ 0 h 2905611"/>
              <a:gd name="connsiteX0" fmla="*/ 2022350 w 2941355"/>
              <a:gd name="connsiteY0" fmla="*/ 0 h 2905611"/>
              <a:gd name="connsiteX1" fmla="*/ 2711842 w 2941355"/>
              <a:gd name="connsiteY1" fmla="*/ 430461 h 2905611"/>
              <a:gd name="connsiteX2" fmla="*/ 2941355 w 2941355"/>
              <a:gd name="connsiteY2" fmla="*/ 1413283 h 2905611"/>
              <a:gd name="connsiteX3" fmla="*/ 2711842 w 2941355"/>
              <a:gd name="connsiteY3" fmla="*/ 2415152 h 2905611"/>
              <a:gd name="connsiteX4" fmla="*/ 2022350 w 2941355"/>
              <a:gd name="connsiteY4" fmla="*/ 2905611 h 2905611"/>
              <a:gd name="connsiteX5" fmla="*/ 960494 w 2941355"/>
              <a:gd name="connsiteY5" fmla="*/ 2837042 h 2905611"/>
              <a:gd name="connsiteX6" fmla="*/ 426233 w 2941355"/>
              <a:gd name="connsiteY6" fmla="*/ 2600860 h 2905611"/>
              <a:gd name="connsiteX7" fmla="*/ 0 w 2941355"/>
              <a:gd name="connsiteY7" fmla="*/ 1762534 h 2905611"/>
              <a:gd name="connsiteX8" fmla="*/ 94312 w 2941355"/>
              <a:gd name="connsiteY8" fmla="*/ 776119 h 2905611"/>
              <a:gd name="connsiteX9" fmla="*/ 667174 w 2941355"/>
              <a:gd name="connsiteY9" fmla="*/ 130472 h 2905611"/>
              <a:gd name="connsiteX10" fmla="*/ 2022350 w 2941355"/>
              <a:gd name="connsiteY10" fmla="*/ 0 h 2905611"/>
              <a:gd name="connsiteX0" fmla="*/ 2022350 w 2941355"/>
              <a:gd name="connsiteY0" fmla="*/ 0 h 2905611"/>
              <a:gd name="connsiteX1" fmla="*/ 2711842 w 2941355"/>
              <a:gd name="connsiteY1" fmla="*/ 430461 h 2905611"/>
              <a:gd name="connsiteX2" fmla="*/ 2941355 w 2941355"/>
              <a:gd name="connsiteY2" fmla="*/ 1413283 h 2905611"/>
              <a:gd name="connsiteX3" fmla="*/ 2711842 w 2941355"/>
              <a:gd name="connsiteY3" fmla="*/ 2415152 h 2905611"/>
              <a:gd name="connsiteX4" fmla="*/ 2022350 w 2941355"/>
              <a:gd name="connsiteY4" fmla="*/ 2905611 h 2905611"/>
              <a:gd name="connsiteX5" fmla="*/ 960494 w 2941355"/>
              <a:gd name="connsiteY5" fmla="*/ 2837042 h 2905611"/>
              <a:gd name="connsiteX6" fmla="*/ 346067 w 2941355"/>
              <a:gd name="connsiteY6" fmla="*/ 2412235 h 2905611"/>
              <a:gd name="connsiteX7" fmla="*/ 0 w 2941355"/>
              <a:gd name="connsiteY7" fmla="*/ 1762534 h 2905611"/>
              <a:gd name="connsiteX8" fmla="*/ 94312 w 2941355"/>
              <a:gd name="connsiteY8" fmla="*/ 776119 h 2905611"/>
              <a:gd name="connsiteX9" fmla="*/ 667174 w 2941355"/>
              <a:gd name="connsiteY9" fmla="*/ 130472 h 2905611"/>
              <a:gd name="connsiteX10" fmla="*/ 2022350 w 2941355"/>
              <a:gd name="connsiteY10" fmla="*/ 0 h 2905611"/>
              <a:gd name="connsiteX0" fmla="*/ 2022350 w 2941355"/>
              <a:gd name="connsiteY0" fmla="*/ 0 h 2905611"/>
              <a:gd name="connsiteX1" fmla="*/ 2711842 w 2941355"/>
              <a:gd name="connsiteY1" fmla="*/ 430461 h 2905611"/>
              <a:gd name="connsiteX2" fmla="*/ 2941355 w 2941355"/>
              <a:gd name="connsiteY2" fmla="*/ 1413283 h 2905611"/>
              <a:gd name="connsiteX3" fmla="*/ 2711842 w 2941355"/>
              <a:gd name="connsiteY3" fmla="*/ 2415152 h 2905611"/>
              <a:gd name="connsiteX4" fmla="*/ 2022350 w 2941355"/>
              <a:gd name="connsiteY4" fmla="*/ 2905611 h 2905611"/>
              <a:gd name="connsiteX5" fmla="*/ 955778 w 2941355"/>
              <a:gd name="connsiteY5" fmla="*/ 2596546 h 2905611"/>
              <a:gd name="connsiteX6" fmla="*/ 346067 w 2941355"/>
              <a:gd name="connsiteY6" fmla="*/ 2412235 h 2905611"/>
              <a:gd name="connsiteX7" fmla="*/ 0 w 2941355"/>
              <a:gd name="connsiteY7" fmla="*/ 1762534 h 2905611"/>
              <a:gd name="connsiteX8" fmla="*/ 94312 w 2941355"/>
              <a:gd name="connsiteY8" fmla="*/ 776119 h 2905611"/>
              <a:gd name="connsiteX9" fmla="*/ 667174 w 2941355"/>
              <a:gd name="connsiteY9" fmla="*/ 130472 h 2905611"/>
              <a:gd name="connsiteX10" fmla="*/ 2022350 w 2941355"/>
              <a:gd name="connsiteY10" fmla="*/ 0 h 2905611"/>
              <a:gd name="connsiteX0" fmla="*/ 2022350 w 2941355"/>
              <a:gd name="connsiteY0" fmla="*/ 0 h 2905611"/>
              <a:gd name="connsiteX1" fmla="*/ 2711842 w 2941355"/>
              <a:gd name="connsiteY1" fmla="*/ 430461 h 2905611"/>
              <a:gd name="connsiteX2" fmla="*/ 2941355 w 2941355"/>
              <a:gd name="connsiteY2" fmla="*/ 1413283 h 2905611"/>
              <a:gd name="connsiteX3" fmla="*/ 2711842 w 2941355"/>
              <a:gd name="connsiteY3" fmla="*/ 2415152 h 2905611"/>
              <a:gd name="connsiteX4" fmla="*/ 2022350 w 2941355"/>
              <a:gd name="connsiteY4" fmla="*/ 2905611 h 2905611"/>
              <a:gd name="connsiteX5" fmla="*/ 979356 w 2941355"/>
              <a:gd name="connsiteY5" fmla="*/ 2695574 h 2905611"/>
              <a:gd name="connsiteX6" fmla="*/ 346067 w 2941355"/>
              <a:gd name="connsiteY6" fmla="*/ 2412235 h 2905611"/>
              <a:gd name="connsiteX7" fmla="*/ 0 w 2941355"/>
              <a:gd name="connsiteY7" fmla="*/ 1762534 h 2905611"/>
              <a:gd name="connsiteX8" fmla="*/ 94312 w 2941355"/>
              <a:gd name="connsiteY8" fmla="*/ 776119 h 2905611"/>
              <a:gd name="connsiteX9" fmla="*/ 667174 w 2941355"/>
              <a:gd name="connsiteY9" fmla="*/ 130472 h 2905611"/>
              <a:gd name="connsiteX10" fmla="*/ 2022350 w 2941355"/>
              <a:gd name="connsiteY10" fmla="*/ 0 h 2905611"/>
              <a:gd name="connsiteX0" fmla="*/ 2022350 w 2941355"/>
              <a:gd name="connsiteY0" fmla="*/ 0 h 2695574"/>
              <a:gd name="connsiteX1" fmla="*/ 2711842 w 2941355"/>
              <a:gd name="connsiteY1" fmla="*/ 430461 h 2695574"/>
              <a:gd name="connsiteX2" fmla="*/ 2941355 w 2941355"/>
              <a:gd name="connsiteY2" fmla="*/ 1413283 h 2695574"/>
              <a:gd name="connsiteX3" fmla="*/ 2711842 w 2941355"/>
              <a:gd name="connsiteY3" fmla="*/ 2415152 h 2695574"/>
              <a:gd name="connsiteX4" fmla="*/ 1508348 w 2941355"/>
              <a:gd name="connsiteY4" fmla="*/ 2424618 h 2695574"/>
              <a:gd name="connsiteX5" fmla="*/ 979356 w 2941355"/>
              <a:gd name="connsiteY5" fmla="*/ 2695574 h 2695574"/>
              <a:gd name="connsiteX6" fmla="*/ 346067 w 2941355"/>
              <a:gd name="connsiteY6" fmla="*/ 2412235 h 2695574"/>
              <a:gd name="connsiteX7" fmla="*/ 0 w 2941355"/>
              <a:gd name="connsiteY7" fmla="*/ 1762534 h 2695574"/>
              <a:gd name="connsiteX8" fmla="*/ 94312 w 2941355"/>
              <a:gd name="connsiteY8" fmla="*/ 776119 h 2695574"/>
              <a:gd name="connsiteX9" fmla="*/ 667174 w 2941355"/>
              <a:gd name="connsiteY9" fmla="*/ 130472 h 2695574"/>
              <a:gd name="connsiteX10" fmla="*/ 2022350 w 2941355"/>
              <a:gd name="connsiteY10" fmla="*/ 0 h 2695574"/>
              <a:gd name="connsiteX0" fmla="*/ 2022350 w 2941355"/>
              <a:gd name="connsiteY0" fmla="*/ 0 h 2731133"/>
              <a:gd name="connsiteX1" fmla="*/ 2711842 w 2941355"/>
              <a:gd name="connsiteY1" fmla="*/ 430461 h 2731133"/>
              <a:gd name="connsiteX2" fmla="*/ 2941355 w 2941355"/>
              <a:gd name="connsiteY2" fmla="*/ 1413283 h 2731133"/>
              <a:gd name="connsiteX3" fmla="*/ 2711842 w 2941355"/>
              <a:gd name="connsiteY3" fmla="*/ 2415152 h 2731133"/>
              <a:gd name="connsiteX4" fmla="*/ 1956332 w 2941355"/>
              <a:gd name="connsiteY4" fmla="*/ 2731133 h 2731133"/>
              <a:gd name="connsiteX5" fmla="*/ 979356 w 2941355"/>
              <a:gd name="connsiteY5" fmla="*/ 2695574 h 2731133"/>
              <a:gd name="connsiteX6" fmla="*/ 346067 w 2941355"/>
              <a:gd name="connsiteY6" fmla="*/ 2412235 h 2731133"/>
              <a:gd name="connsiteX7" fmla="*/ 0 w 2941355"/>
              <a:gd name="connsiteY7" fmla="*/ 1762534 h 2731133"/>
              <a:gd name="connsiteX8" fmla="*/ 94312 w 2941355"/>
              <a:gd name="connsiteY8" fmla="*/ 776119 h 2731133"/>
              <a:gd name="connsiteX9" fmla="*/ 667174 w 2941355"/>
              <a:gd name="connsiteY9" fmla="*/ 130472 h 2731133"/>
              <a:gd name="connsiteX10" fmla="*/ 2022350 w 2941355"/>
              <a:gd name="connsiteY10" fmla="*/ 0 h 2731133"/>
              <a:gd name="connsiteX0" fmla="*/ 2022350 w 2941355"/>
              <a:gd name="connsiteY0" fmla="*/ 0 h 2731133"/>
              <a:gd name="connsiteX1" fmla="*/ 2711842 w 2941355"/>
              <a:gd name="connsiteY1" fmla="*/ 430461 h 2731133"/>
              <a:gd name="connsiteX2" fmla="*/ 2941355 w 2941355"/>
              <a:gd name="connsiteY2" fmla="*/ 1413283 h 2731133"/>
              <a:gd name="connsiteX3" fmla="*/ 2626961 w 2941355"/>
              <a:gd name="connsiteY3" fmla="*/ 2226528 h 2731133"/>
              <a:gd name="connsiteX4" fmla="*/ 1956332 w 2941355"/>
              <a:gd name="connsiteY4" fmla="*/ 2731133 h 2731133"/>
              <a:gd name="connsiteX5" fmla="*/ 979356 w 2941355"/>
              <a:gd name="connsiteY5" fmla="*/ 2695574 h 2731133"/>
              <a:gd name="connsiteX6" fmla="*/ 346067 w 2941355"/>
              <a:gd name="connsiteY6" fmla="*/ 2412235 h 2731133"/>
              <a:gd name="connsiteX7" fmla="*/ 0 w 2941355"/>
              <a:gd name="connsiteY7" fmla="*/ 1762534 h 2731133"/>
              <a:gd name="connsiteX8" fmla="*/ 94312 w 2941355"/>
              <a:gd name="connsiteY8" fmla="*/ 776119 h 2731133"/>
              <a:gd name="connsiteX9" fmla="*/ 667174 w 2941355"/>
              <a:gd name="connsiteY9" fmla="*/ 130472 h 2731133"/>
              <a:gd name="connsiteX10" fmla="*/ 2022350 w 2941355"/>
              <a:gd name="connsiteY10" fmla="*/ 0 h 2731133"/>
              <a:gd name="connsiteX0" fmla="*/ 2022350 w 2941355"/>
              <a:gd name="connsiteY0" fmla="*/ 0 h 2731133"/>
              <a:gd name="connsiteX1" fmla="*/ 2711842 w 2941355"/>
              <a:gd name="connsiteY1" fmla="*/ 430461 h 2731133"/>
              <a:gd name="connsiteX2" fmla="*/ 2941355 w 2941355"/>
              <a:gd name="connsiteY2" fmla="*/ 1413283 h 2731133"/>
              <a:gd name="connsiteX3" fmla="*/ 1956332 w 2941355"/>
              <a:gd name="connsiteY3" fmla="*/ 2731133 h 2731133"/>
              <a:gd name="connsiteX4" fmla="*/ 979356 w 2941355"/>
              <a:gd name="connsiteY4" fmla="*/ 2695574 h 2731133"/>
              <a:gd name="connsiteX5" fmla="*/ 346067 w 2941355"/>
              <a:gd name="connsiteY5" fmla="*/ 2412235 h 2731133"/>
              <a:gd name="connsiteX6" fmla="*/ 0 w 2941355"/>
              <a:gd name="connsiteY6" fmla="*/ 1762534 h 2731133"/>
              <a:gd name="connsiteX7" fmla="*/ 94312 w 2941355"/>
              <a:gd name="connsiteY7" fmla="*/ 776119 h 2731133"/>
              <a:gd name="connsiteX8" fmla="*/ 667174 w 2941355"/>
              <a:gd name="connsiteY8" fmla="*/ 130472 h 2731133"/>
              <a:gd name="connsiteX9" fmla="*/ 2022350 w 2941355"/>
              <a:gd name="connsiteY9" fmla="*/ 0 h 2731133"/>
              <a:gd name="connsiteX0" fmla="*/ 2022350 w 2711842"/>
              <a:gd name="connsiteY0" fmla="*/ 0 h 2731133"/>
              <a:gd name="connsiteX1" fmla="*/ 2711842 w 2711842"/>
              <a:gd name="connsiteY1" fmla="*/ 430461 h 2731133"/>
              <a:gd name="connsiteX2" fmla="*/ 1956332 w 2711842"/>
              <a:gd name="connsiteY2" fmla="*/ 2731133 h 2731133"/>
              <a:gd name="connsiteX3" fmla="*/ 979356 w 2711842"/>
              <a:gd name="connsiteY3" fmla="*/ 2695574 h 2731133"/>
              <a:gd name="connsiteX4" fmla="*/ 346067 w 2711842"/>
              <a:gd name="connsiteY4" fmla="*/ 2412235 h 2731133"/>
              <a:gd name="connsiteX5" fmla="*/ 0 w 2711842"/>
              <a:gd name="connsiteY5" fmla="*/ 1762534 h 2731133"/>
              <a:gd name="connsiteX6" fmla="*/ 94312 w 2711842"/>
              <a:gd name="connsiteY6" fmla="*/ 776119 h 2731133"/>
              <a:gd name="connsiteX7" fmla="*/ 667174 w 2711842"/>
              <a:gd name="connsiteY7" fmla="*/ 130472 h 2731133"/>
              <a:gd name="connsiteX8" fmla="*/ 2022350 w 2711842"/>
              <a:gd name="connsiteY8" fmla="*/ 0 h 2731133"/>
              <a:gd name="connsiteX0" fmla="*/ 2022350 w 2022350"/>
              <a:gd name="connsiteY0" fmla="*/ 0 h 2731133"/>
              <a:gd name="connsiteX1" fmla="*/ 1956332 w 2022350"/>
              <a:gd name="connsiteY1" fmla="*/ 2731133 h 2731133"/>
              <a:gd name="connsiteX2" fmla="*/ 979356 w 2022350"/>
              <a:gd name="connsiteY2" fmla="*/ 2695574 h 2731133"/>
              <a:gd name="connsiteX3" fmla="*/ 346067 w 2022350"/>
              <a:gd name="connsiteY3" fmla="*/ 2412235 h 2731133"/>
              <a:gd name="connsiteX4" fmla="*/ 0 w 2022350"/>
              <a:gd name="connsiteY4" fmla="*/ 1762534 h 2731133"/>
              <a:gd name="connsiteX5" fmla="*/ 94312 w 2022350"/>
              <a:gd name="connsiteY5" fmla="*/ 776119 h 2731133"/>
              <a:gd name="connsiteX6" fmla="*/ 667174 w 2022350"/>
              <a:gd name="connsiteY6" fmla="*/ 130472 h 2731133"/>
              <a:gd name="connsiteX7" fmla="*/ 2022350 w 2022350"/>
              <a:gd name="connsiteY7" fmla="*/ 0 h 2731133"/>
              <a:gd name="connsiteX0" fmla="*/ 1517779 w 1956332"/>
              <a:gd name="connsiteY0" fmla="*/ 322227 h 2600661"/>
              <a:gd name="connsiteX1" fmla="*/ 1956332 w 1956332"/>
              <a:gd name="connsiteY1" fmla="*/ 2600661 h 2600661"/>
              <a:gd name="connsiteX2" fmla="*/ 979356 w 1956332"/>
              <a:gd name="connsiteY2" fmla="*/ 2565102 h 2600661"/>
              <a:gd name="connsiteX3" fmla="*/ 346067 w 1956332"/>
              <a:gd name="connsiteY3" fmla="*/ 2281763 h 2600661"/>
              <a:gd name="connsiteX4" fmla="*/ 0 w 1956332"/>
              <a:gd name="connsiteY4" fmla="*/ 1632062 h 2600661"/>
              <a:gd name="connsiteX5" fmla="*/ 94312 w 1956332"/>
              <a:gd name="connsiteY5" fmla="*/ 645647 h 2600661"/>
              <a:gd name="connsiteX6" fmla="*/ 667174 w 1956332"/>
              <a:gd name="connsiteY6" fmla="*/ 0 h 2600661"/>
              <a:gd name="connsiteX7" fmla="*/ 1517779 w 1956332"/>
              <a:gd name="connsiteY7" fmla="*/ 322227 h 2600661"/>
              <a:gd name="connsiteX0" fmla="*/ 1970478 w 1970478"/>
              <a:gd name="connsiteY0" fmla="*/ 20428 h 2600661"/>
              <a:gd name="connsiteX1" fmla="*/ 1956332 w 1970478"/>
              <a:gd name="connsiteY1" fmla="*/ 2600661 h 2600661"/>
              <a:gd name="connsiteX2" fmla="*/ 979356 w 1970478"/>
              <a:gd name="connsiteY2" fmla="*/ 2565102 h 2600661"/>
              <a:gd name="connsiteX3" fmla="*/ 346067 w 1970478"/>
              <a:gd name="connsiteY3" fmla="*/ 2281763 h 2600661"/>
              <a:gd name="connsiteX4" fmla="*/ 0 w 1970478"/>
              <a:gd name="connsiteY4" fmla="*/ 1632062 h 2600661"/>
              <a:gd name="connsiteX5" fmla="*/ 94312 w 1970478"/>
              <a:gd name="connsiteY5" fmla="*/ 645647 h 2600661"/>
              <a:gd name="connsiteX6" fmla="*/ 667174 w 1970478"/>
              <a:gd name="connsiteY6" fmla="*/ 0 h 2600661"/>
              <a:gd name="connsiteX7" fmla="*/ 1970478 w 1970478"/>
              <a:gd name="connsiteY7" fmla="*/ 20428 h 2600661"/>
              <a:gd name="connsiteX0" fmla="*/ 1970478 w 1970478"/>
              <a:gd name="connsiteY0" fmla="*/ 20428 h 2565102"/>
              <a:gd name="connsiteX1" fmla="*/ 1909176 w 1970478"/>
              <a:gd name="connsiteY1" fmla="*/ 2374311 h 2565102"/>
              <a:gd name="connsiteX2" fmla="*/ 979356 w 1970478"/>
              <a:gd name="connsiteY2" fmla="*/ 2565102 h 2565102"/>
              <a:gd name="connsiteX3" fmla="*/ 346067 w 1970478"/>
              <a:gd name="connsiteY3" fmla="*/ 2281763 h 2565102"/>
              <a:gd name="connsiteX4" fmla="*/ 0 w 1970478"/>
              <a:gd name="connsiteY4" fmla="*/ 1632062 h 2565102"/>
              <a:gd name="connsiteX5" fmla="*/ 94312 w 1970478"/>
              <a:gd name="connsiteY5" fmla="*/ 645647 h 2565102"/>
              <a:gd name="connsiteX6" fmla="*/ 667174 w 1970478"/>
              <a:gd name="connsiteY6" fmla="*/ 0 h 2565102"/>
              <a:gd name="connsiteX7" fmla="*/ 1970478 w 1970478"/>
              <a:gd name="connsiteY7" fmla="*/ 20428 h 2565102"/>
              <a:gd name="connsiteX0" fmla="*/ 1970478 w 1976171"/>
              <a:gd name="connsiteY0" fmla="*/ 20428 h 2605376"/>
              <a:gd name="connsiteX1" fmla="*/ 1975195 w 1976171"/>
              <a:gd name="connsiteY1" fmla="*/ 2605376 h 2605376"/>
              <a:gd name="connsiteX2" fmla="*/ 979356 w 1976171"/>
              <a:gd name="connsiteY2" fmla="*/ 2565102 h 2605376"/>
              <a:gd name="connsiteX3" fmla="*/ 346067 w 1976171"/>
              <a:gd name="connsiteY3" fmla="*/ 2281763 h 2605376"/>
              <a:gd name="connsiteX4" fmla="*/ 0 w 1976171"/>
              <a:gd name="connsiteY4" fmla="*/ 1632062 h 2605376"/>
              <a:gd name="connsiteX5" fmla="*/ 94312 w 1976171"/>
              <a:gd name="connsiteY5" fmla="*/ 645647 h 2605376"/>
              <a:gd name="connsiteX6" fmla="*/ 667174 w 1976171"/>
              <a:gd name="connsiteY6" fmla="*/ 0 h 2605376"/>
              <a:gd name="connsiteX7" fmla="*/ 1970478 w 1976171"/>
              <a:gd name="connsiteY7" fmla="*/ 20428 h 2605376"/>
              <a:gd name="connsiteX0" fmla="*/ 1970478 w 1976171"/>
              <a:gd name="connsiteY0" fmla="*/ 20428 h 2612258"/>
              <a:gd name="connsiteX1" fmla="*/ 1975195 w 1976171"/>
              <a:gd name="connsiteY1" fmla="*/ 2605376 h 2612258"/>
              <a:gd name="connsiteX2" fmla="*/ 1026512 w 1976171"/>
              <a:gd name="connsiteY2" fmla="*/ 2612258 h 2612258"/>
              <a:gd name="connsiteX3" fmla="*/ 346067 w 1976171"/>
              <a:gd name="connsiteY3" fmla="*/ 2281763 h 2612258"/>
              <a:gd name="connsiteX4" fmla="*/ 0 w 1976171"/>
              <a:gd name="connsiteY4" fmla="*/ 1632062 h 2612258"/>
              <a:gd name="connsiteX5" fmla="*/ 94312 w 1976171"/>
              <a:gd name="connsiteY5" fmla="*/ 645647 h 2612258"/>
              <a:gd name="connsiteX6" fmla="*/ 667174 w 1976171"/>
              <a:gd name="connsiteY6" fmla="*/ 0 h 2612258"/>
              <a:gd name="connsiteX7" fmla="*/ 1970478 w 1976171"/>
              <a:gd name="connsiteY7" fmla="*/ 20428 h 2612258"/>
              <a:gd name="connsiteX0" fmla="*/ 1970478 w 1976171"/>
              <a:gd name="connsiteY0" fmla="*/ 6281 h 2598111"/>
              <a:gd name="connsiteX1" fmla="*/ 1975195 w 1976171"/>
              <a:gd name="connsiteY1" fmla="*/ 2591229 h 2598111"/>
              <a:gd name="connsiteX2" fmla="*/ 1026512 w 1976171"/>
              <a:gd name="connsiteY2" fmla="*/ 2598111 h 2598111"/>
              <a:gd name="connsiteX3" fmla="*/ 346067 w 1976171"/>
              <a:gd name="connsiteY3" fmla="*/ 2267616 h 2598111"/>
              <a:gd name="connsiteX4" fmla="*/ 0 w 1976171"/>
              <a:gd name="connsiteY4" fmla="*/ 1617915 h 2598111"/>
              <a:gd name="connsiteX5" fmla="*/ 94312 w 1976171"/>
              <a:gd name="connsiteY5" fmla="*/ 631500 h 2598111"/>
              <a:gd name="connsiteX6" fmla="*/ 478550 w 1976171"/>
              <a:gd name="connsiteY6" fmla="*/ 0 h 2598111"/>
              <a:gd name="connsiteX7" fmla="*/ 1970478 w 1976171"/>
              <a:gd name="connsiteY7" fmla="*/ 6281 h 2598111"/>
              <a:gd name="connsiteX0" fmla="*/ 1970478 w 1976171"/>
              <a:gd name="connsiteY0" fmla="*/ 0 h 2605977"/>
              <a:gd name="connsiteX1" fmla="*/ 1975195 w 1976171"/>
              <a:gd name="connsiteY1" fmla="*/ 2599095 h 2605977"/>
              <a:gd name="connsiteX2" fmla="*/ 1026512 w 1976171"/>
              <a:gd name="connsiteY2" fmla="*/ 2605977 h 2605977"/>
              <a:gd name="connsiteX3" fmla="*/ 346067 w 1976171"/>
              <a:gd name="connsiteY3" fmla="*/ 2275482 h 2605977"/>
              <a:gd name="connsiteX4" fmla="*/ 0 w 1976171"/>
              <a:gd name="connsiteY4" fmla="*/ 1625781 h 2605977"/>
              <a:gd name="connsiteX5" fmla="*/ 94312 w 1976171"/>
              <a:gd name="connsiteY5" fmla="*/ 639366 h 2605977"/>
              <a:gd name="connsiteX6" fmla="*/ 478550 w 1976171"/>
              <a:gd name="connsiteY6" fmla="*/ 7866 h 2605977"/>
              <a:gd name="connsiteX7" fmla="*/ 1970478 w 1976171"/>
              <a:gd name="connsiteY7" fmla="*/ 0 h 2605977"/>
              <a:gd name="connsiteX0" fmla="*/ 1970478 w 1976171"/>
              <a:gd name="connsiteY0" fmla="*/ 0 h 2605977"/>
              <a:gd name="connsiteX1" fmla="*/ 1975195 w 1976171"/>
              <a:gd name="connsiteY1" fmla="*/ 2599095 h 2605977"/>
              <a:gd name="connsiteX2" fmla="*/ 837888 w 1976171"/>
              <a:gd name="connsiteY2" fmla="*/ 2605977 h 2605977"/>
              <a:gd name="connsiteX3" fmla="*/ 346067 w 1976171"/>
              <a:gd name="connsiteY3" fmla="*/ 2275482 h 2605977"/>
              <a:gd name="connsiteX4" fmla="*/ 0 w 1976171"/>
              <a:gd name="connsiteY4" fmla="*/ 1625781 h 2605977"/>
              <a:gd name="connsiteX5" fmla="*/ 94312 w 1976171"/>
              <a:gd name="connsiteY5" fmla="*/ 639366 h 2605977"/>
              <a:gd name="connsiteX6" fmla="*/ 478550 w 1976171"/>
              <a:gd name="connsiteY6" fmla="*/ 7866 h 2605977"/>
              <a:gd name="connsiteX7" fmla="*/ 1970478 w 1976171"/>
              <a:gd name="connsiteY7" fmla="*/ 0 h 2605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76171" h="2605977">
                <a:moveTo>
                  <a:pt x="1970478" y="0"/>
                </a:moveTo>
                <a:cubicBezTo>
                  <a:pt x="1965763" y="860078"/>
                  <a:pt x="1979910" y="1739017"/>
                  <a:pt x="1975195" y="2599095"/>
                </a:cubicBezTo>
                <a:lnTo>
                  <a:pt x="837888" y="2605977"/>
                </a:lnTo>
                <a:lnTo>
                  <a:pt x="346067" y="2275482"/>
                </a:lnTo>
                <a:lnTo>
                  <a:pt x="0" y="1625781"/>
                </a:lnTo>
                <a:lnTo>
                  <a:pt x="94312" y="639366"/>
                </a:lnTo>
                <a:lnTo>
                  <a:pt x="478550" y="7866"/>
                </a:lnTo>
                <a:lnTo>
                  <a:pt x="1970478" y="0"/>
                </a:lnTo>
                <a:close/>
              </a:path>
            </a:pathLst>
          </a:custGeom>
          <a:solidFill>
            <a:schemeClr val="bg1">
              <a:lumMod val="95000"/>
            </a:schemeClr>
          </a:solidFill>
        </p:spPr>
        <p:txBody>
          <a:bodyPr wrap="square" anchor="ctr" anchorCtr="1">
            <a:noAutofit/>
          </a:bodyPr>
          <a:lstStyle>
            <a:lvl1pPr>
              <a:defRPr b="0"/>
            </a:lvl1pPr>
          </a:lstStyle>
          <a:p>
            <a:r>
              <a:rPr lang="en-GB"/>
              <a:t>Click icon to add picture</a:t>
            </a:r>
          </a:p>
        </p:txBody>
      </p:sp>
      <p:sp>
        <p:nvSpPr>
          <p:cNvPr id="2" name="Freeform 22">
            <a:extLst>
              <a:ext uri="{FF2B5EF4-FFF2-40B4-BE49-F238E27FC236}">
                <a16:creationId xmlns:a16="http://schemas.microsoft.com/office/drawing/2014/main" id="{30E97FEB-DD82-37E3-C48C-EA87FB4F26A1}"/>
              </a:ext>
            </a:extLst>
          </p:cNvPr>
          <p:cNvSpPr>
            <a:spLocks noChangeAspect="1" noEditPoints="1"/>
          </p:cNvSpPr>
          <p:nvPr userDrawn="1"/>
        </p:nvSpPr>
        <p:spPr bwMode="auto">
          <a:xfrm>
            <a:off x="457200" y="442800"/>
            <a:ext cx="964800" cy="914400"/>
          </a:xfrm>
          <a:custGeom>
            <a:avLst/>
            <a:gdLst>
              <a:gd name="T0" fmla="*/ 791 w 1013"/>
              <a:gd name="T1" fmla="*/ 656 h 959"/>
              <a:gd name="T2" fmla="*/ 872 w 1013"/>
              <a:gd name="T3" fmla="*/ 922 h 959"/>
              <a:gd name="T4" fmla="*/ 791 w 1013"/>
              <a:gd name="T5" fmla="*/ 656 h 959"/>
              <a:gd name="T6" fmla="*/ 345 w 1013"/>
              <a:gd name="T7" fmla="*/ 262 h 959"/>
              <a:gd name="T8" fmla="*/ 435 w 1013"/>
              <a:gd name="T9" fmla="*/ 232 h 959"/>
              <a:gd name="T10" fmla="*/ 207 w 1013"/>
              <a:gd name="T11" fmla="*/ 73 h 959"/>
              <a:gd name="T12" fmla="*/ 345 w 1013"/>
              <a:gd name="T13" fmla="*/ 262 h 959"/>
              <a:gd name="T14" fmla="*/ 240 w 1013"/>
              <a:gd name="T15" fmla="*/ 583 h 959"/>
              <a:gd name="T16" fmla="*/ 159 w 1013"/>
              <a:gd name="T17" fmla="*/ 849 h 959"/>
              <a:gd name="T18" fmla="*/ 240 w 1013"/>
              <a:gd name="T19" fmla="*/ 583 h 959"/>
              <a:gd name="T20" fmla="*/ 495 w 1013"/>
              <a:gd name="T21" fmla="*/ 725 h 959"/>
              <a:gd name="T22" fmla="*/ 495 w 1013"/>
              <a:gd name="T23" fmla="*/ 959 h 959"/>
              <a:gd name="T24" fmla="*/ 586 w 1013"/>
              <a:gd name="T25" fmla="*/ 695 h 959"/>
              <a:gd name="T26" fmla="*/ 495 w 1013"/>
              <a:gd name="T27" fmla="*/ 725 h 959"/>
              <a:gd name="T28" fmla="*/ 207 w 1013"/>
              <a:gd name="T29" fmla="*/ 884 h 959"/>
              <a:gd name="T30" fmla="*/ 435 w 1013"/>
              <a:gd name="T31" fmla="*/ 725 h 959"/>
              <a:gd name="T32" fmla="*/ 207 w 1013"/>
              <a:gd name="T33" fmla="*/ 884 h 959"/>
              <a:gd name="T34" fmla="*/ 709 w 1013"/>
              <a:gd name="T35" fmla="*/ 526 h 959"/>
              <a:gd name="T36" fmla="*/ 931 w 1013"/>
              <a:gd name="T37" fmla="*/ 598 h 959"/>
              <a:gd name="T38" fmla="*/ 709 w 1013"/>
              <a:gd name="T39" fmla="*/ 431 h 959"/>
              <a:gd name="T40" fmla="*/ 709 w 1013"/>
              <a:gd name="T41" fmla="*/ 526 h 959"/>
              <a:gd name="T42" fmla="*/ 222 w 1013"/>
              <a:gd name="T43" fmla="*/ 431 h 959"/>
              <a:gd name="T44" fmla="*/ 0 w 1013"/>
              <a:gd name="T45" fmla="*/ 598 h 959"/>
              <a:gd name="T46" fmla="*/ 222 w 1013"/>
              <a:gd name="T47" fmla="*/ 431 h 959"/>
              <a:gd name="T48" fmla="*/ 690 w 1013"/>
              <a:gd name="T49" fmla="*/ 374 h 959"/>
              <a:gd name="T50" fmla="*/ 913 w 1013"/>
              <a:gd name="T51" fmla="*/ 302 h 959"/>
              <a:gd name="T52" fmla="*/ 634 w 1013"/>
              <a:gd name="T53" fmla="*/ 297 h 959"/>
              <a:gd name="T54" fmla="*/ 690 w 1013"/>
              <a:gd name="T55" fmla="*/ 374 h 959"/>
              <a:gd name="T56" fmla="*/ 296 w 1013"/>
              <a:gd name="T57" fmla="*/ 297 h 959"/>
              <a:gd name="T58" fmla="*/ 18 w 1013"/>
              <a:gd name="T59" fmla="*/ 302 h 959"/>
              <a:gd name="T60" fmla="*/ 296 w 1013"/>
              <a:gd name="T61" fmla="*/ 297 h 959"/>
              <a:gd name="T62" fmla="*/ 586 w 1013"/>
              <a:gd name="T63" fmla="*/ 262 h 959"/>
              <a:gd name="T64" fmla="*/ 495 w 1013"/>
              <a:gd name="T65" fmla="*/ 232 h 959"/>
              <a:gd name="T66" fmla="*/ 723 w 1013"/>
              <a:gd name="T67" fmla="*/ 73 h 9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13" h="959">
                <a:moveTo>
                  <a:pt x="791" y="656"/>
                </a:moveTo>
                <a:lnTo>
                  <a:pt x="791" y="656"/>
                </a:lnTo>
                <a:lnTo>
                  <a:pt x="735" y="733"/>
                </a:lnTo>
                <a:lnTo>
                  <a:pt x="872" y="922"/>
                </a:lnTo>
                <a:lnTo>
                  <a:pt x="1013" y="729"/>
                </a:lnTo>
                <a:lnTo>
                  <a:pt x="791" y="656"/>
                </a:lnTo>
                <a:lnTo>
                  <a:pt x="791" y="656"/>
                </a:lnTo>
                <a:close/>
                <a:moveTo>
                  <a:pt x="345" y="262"/>
                </a:moveTo>
                <a:lnTo>
                  <a:pt x="345" y="262"/>
                </a:lnTo>
                <a:lnTo>
                  <a:pt x="435" y="232"/>
                </a:lnTo>
                <a:lnTo>
                  <a:pt x="435" y="0"/>
                </a:lnTo>
                <a:lnTo>
                  <a:pt x="207" y="73"/>
                </a:lnTo>
                <a:lnTo>
                  <a:pt x="345" y="262"/>
                </a:lnTo>
                <a:lnTo>
                  <a:pt x="345" y="262"/>
                </a:lnTo>
                <a:close/>
                <a:moveTo>
                  <a:pt x="240" y="583"/>
                </a:moveTo>
                <a:lnTo>
                  <a:pt x="240" y="583"/>
                </a:lnTo>
                <a:lnTo>
                  <a:pt x="18" y="655"/>
                </a:lnTo>
                <a:lnTo>
                  <a:pt x="159" y="849"/>
                </a:lnTo>
                <a:lnTo>
                  <a:pt x="296" y="660"/>
                </a:lnTo>
                <a:lnTo>
                  <a:pt x="240" y="583"/>
                </a:lnTo>
                <a:lnTo>
                  <a:pt x="240" y="583"/>
                </a:lnTo>
                <a:close/>
                <a:moveTo>
                  <a:pt x="495" y="725"/>
                </a:moveTo>
                <a:lnTo>
                  <a:pt x="495" y="725"/>
                </a:lnTo>
                <a:lnTo>
                  <a:pt x="495" y="959"/>
                </a:lnTo>
                <a:lnTo>
                  <a:pt x="723" y="884"/>
                </a:lnTo>
                <a:lnTo>
                  <a:pt x="586" y="695"/>
                </a:lnTo>
                <a:lnTo>
                  <a:pt x="495" y="725"/>
                </a:lnTo>
                <a:lnTo>
                  <a:pt x="495" y="725"/>
                </a:lnTo>
                <a:close/>
                <a:moveTo>
                  <a:pt x="207" y="884"/>
                </a:moveTo>
                <a:lnTo>
                  <a:pt x="207" y="884"/>
                </a:lnTo>
                <a:lnTo>
                  <a:pt x="435" y="959"/>
                </a:lnTo>
                <a:lnTo>
                  <a:pt x="435" y="725"/>
                </a:lnTo>
                <a:lnTo>
                  <a:pt x="345" y="695"/>
                </a:lnTo>
                <a:lnTo>
                  <a:pt x="207" y="884"/>
                </a:lnTo>
                <a:lnTo>
                  <a:pt x="207" y="884"/>
                </a:lnTo>
                <a:close/>
                <a:moveTo>
                  <a:pt x="709" y="526"/>
                </a:moveTo>
                <a:lnTo>
                  <a:pt x="709" y="526"/>
                </a:lnTo>
                <a:lnTo>
                  <a:pt x="931" y="598"/>
                </a:lnTo>
                <a:lnTo>
                  <a:pt x="931" y="359"/>
                </a:lnTo>
                <a:lnTo>
                  <a:pt x="709" y="431"/>
                </a:lnTo>
                <a:lnTo>
                  <a:pt x="709" y="526"/>
                </a:lnTo>
                <a:lnTo>
                  <a:pt x="709" y="526"/>
                </a:lnTo>
                <a:close/>
                <a:moveTo>
                  <a:pt x="222" y="431"/>
                </a:moveTo>
                <a:lnTo>
                  <a:pt x="222" y="431"/>
                </a:lnTo>
                <a:lnTo>
                  <a:pt x="0" y="359"/>
                </a:lnTo>
                <a:lnTo>
                  <a:pt x="0" y="598"/>
                </a:lnTo>
                <a:lnTo>
                  <a:pt x="222" y="526"/>
                </a:lnTo>
                <a:lnTo>
                  <a:pt x="222" y="431"/>
                </a:lnTo>
                <a:lnTo>
                  <a:pt x="222" y="431"/>
                </a:lnTo>
                <a:close/>
                <a:moveTo>
                  <a:pt x="690" y="374"/>
                </a:moveTo>
                <a:lnTo>
                  <a:pt x="690" y="374"/>
                </a:lnTo>
                <a:lnTo>
                  <a:pt x="913" y="302"/>
                </a:lnTo>
                <a:lnTo>
                  <a:pt x="772" y="108"/>
                </a:lnTo>
                <a:lnTo>
                  <a:pt x="634" y="297"/>
                </a:lnTo>
                <a:lnTo>
                  <a:pt x="690" y="374"/>
                </a:lnTo>
                <a:lnTo>
                  <a:pt x="690" y="374"/>
                </a:lnTo>
                <a:close/>
                <a:moveTo>
                  <a:pt x="296" y="297"/>
                </a:moveTo>
                <a:lnTo>
                  <a:pt x="296" y="297"/>
                </a:lnTo>
                <a:lnTo>
                  <a:pt x="159" y="108"/>
                </a:lnTo>
                <a:lnTo>
                  <a:pt x="18" y="302"/>
                </a:lnTo>
                <a:lnTo>
                  <a:pt x="240" y="374"/>
                </a:lnTo>
                <a:lnTo>
                  <a:pt x="296" y="297"/>
                </a:lnTo>
                <a:lnTo>
                  <a:pt x="296" y="297"/>
                </a:lnTo>
                <a:close/>
                <a:moveTo>
                  <a:pt x="586" y="262"/>
                </a:moveTo>
                <a:lnTo>
                  <a:pt x="586" y="262"/>
                </a:lnTo>
                <a:lnTo>
                  <a:pt x="495" y="232"/>
                </a:lnTo>
                <a:lnTo>
                  <a:pt x="495" y="0"/>
                </a:lnTo>
                <a:lnTo>
                  <a:pt x="723" y="73"/>
                </a:lnTo>
                <a:lnTo>
                  <a:pt x="586" y="262"/>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pic>
        <p:nvPicPr>
          <p:cNvPr id="5" name="Picture 4" descr="A logo on a black background&#10;&#10;AI-generated content may be incorrect.">
            <a:extLst>
              <a:ext uri="{FF2B5EF4-FFF2-40B4-BE49-F238E27FC236}">
                <a16:creationId xmlns:a16="http://schemas.microsoft.com/office/drawing/2014/main" id="{66C85052-C2CB-7B05-5A4D-F1C1B457521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47991" y="5434641"/>
            <a:ext cx="5628173" cy="1330780"/>
          </a:xfrm>
          <a:prstGeom prst="rect">
            <a:avLst/>
          </a:prstGeom>
        </p:spPr>
      </p:pic>
    </p:spTree>
    <p:extLst>
      <p:ext uri="{BB962C8B-B14F-4D97-AF65-F5344CB8AC3E}">
        <p14:creationId xmlns:p14="http://schemas.microsoft.com/office/powerpoint/2010/main" val="48562104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CB731A-818E-4512-852D-9B7F630167A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2DCD470F-9F95-4427-9559-876C8619FCD3}"/>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3F4D80E3-7FA3-4BA3-9180-F6D7CCEDC19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F4EF248-9109-41D6-ABB6-C7A963967871}"/>
              </a:ext>
            </a:extLst>
          </p:cNvPr>
          <p:cNvSpPr>
            <a:spLocks noGrp="1"/>
          </p:cNvSpPr>
          <p:nvPr>
            <p:ph type="dt" sz="half" idx="10"/>
          </p:nvPr>
        </p:nvSpPr>
        <p:spPr/>
        <p:txBody>
          <a:bodyPr/>
          <a:lstStyle/>
          <a:p>
            <a:fld id="{AF445922-562A-4E51-A00C-7E4F292EB7AF}" type="datetimeFigureOut">
              <a:rPr lang="en-GB" smtClean="0"/>
              <a:t>30/03/2026</a:t>
            </a:fld>
            <a:endParaRPr lang="en-GB"/>
          </a:p>
        </p:txBody>
      </p:sp>
      <p:sp>
        <p:nvSpPr>
          <p:cNvPr id="6" name="Footer Placeholder 5">
            <a:extLst>
              <a:ext uri="{FF2B5EF4-FFF2-40B4-BE49-F238E27FC236}">
                <a16:creationId xmlns:a16="http://schemas.microsoft.com/office/drawing/2014/main" id="{6906C013-01E1-4C63-83D8-B242023F2062}"/>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721065C9-3C01-4DC4-9243-8E884A443284}"/>
              </a:ext>
            </a:extLst>
          </p:cNvPr>
          <p:cNvSpPr>
            <a:spLocks noGrp="1"/>
          </p:cNvSpPr>
          <p:nvPr>
            <p:ph type="sldNum" sz="quarter" idx="12"/>
          </p:nvPr>
        </p:nvSpPr>
        <p:spPr/>
        <p:txBody>
          <a:bodyPr/>
          <a:lstStyle/>
          <a:p>
            <a:fld id="{DA8D74DB-ACF9-4D44-B516-B20BC482378A}" type="slidenum">
              <a:rPr lang="en-GB" smtClean="0"/>
              <a:t>‹#›</a:t>
            </a:fld>
            <a:endParaRPr lang="en-GB"/>
          </a:p>
        </p:txBody>
      </p:sp>
    </p:spTree>
    <p:extLst>
      <p:ext uri="{BB962C8B-B14F-4D97-AF65-F5344CB8AC3E}">
        <p14:creationId xmlns:p14="http://schemas.microsoft.com/office/powerpoint/2010/main" val="386375758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34D303-9E35-4582-ADF0-3A73706E429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B2E2D507-066A-4E13-8E91-215137CAD4F2}"/>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AEB46D61-1B83-4555-AF0F-6E27D0749FF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10CBE6A-E82B-4A3C-8F14-746DA95000E5}"/>
              </a:ext>
            </a:extLst>
          </p:cNvPr>
          <p:cNvSpPr>
            <a:spLocks noGrp="1"/>
          </p:cNvSpPr>
          <p:nvPr>
            <p:ph type="dt" sz="half" idx="10"/>
          </p:nvPr>
        </p:nvSpPr>
        <p:spPr/>
        <p:txBody>
          <a:bodyPr/>
          <a:lstStyle/>
          <a:p>
            <a:fld id="{AF445922-562A-4E51-A00C-7E4F292EB7AF}" type="datetimeFigureOut">
              <a:rPr lang="en-GB" smtClean="0"/>
              <a:t>30/03/2026</a:t>
            </a:fld>
            <a:endParaRPr lang="en-GB"/>
          </a:p>
        </p:txBody>
      </p:sp>
      <p:sp>
        <p:nvSpPr>
          <p:cNvPr id="6" name="Footer Placeholder 5">
            <a:extLst>
              <a:ext uri="{FF2B5EF4-FFF2-40B4-BE49-F238E27FC236}">
                <a16:creationId xmlns:a16="http://schemas.microsoft.com/office/drawing/2014/main" id="{E36E2CE2-7A01-4835-805B-2E7574CC2E74}"/>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96DFE1E6-3DBA-43F6-869B-329DA2D1E51F}"/>
              </a:ext>
            </a:extLst>
          </p:cNvPr>
          <p:cNvSpPr>
            <a:spLocks noGrp="1"/>
          </p:cNvSpPr>
          <p:nvPr>
            <p:ph type="sldNum" sz="quarter" idx="12"/>
          </p:nvPr>
        </p:nvSpPr>
        <p:spPr/>
        <p:txBody>
          <a:bodyPr/>
          <a:lstStyle/>
          <a:p>
            <a:fld id="{DA8D74DB-ACF9-4D44-B516-B20BC482378A}" type="slidenum">
              <a:rPr lang="en-GB" smtClean="0"/>
              <a:t>‹#›</a:t>
            </a:fld>
            <a:endParaRPr lang="en-GB"/>
          </a:p>
        </p:txBody>
      </p:sp>
    </p:spTree>
    <p:extLst>
      <p:ext uri="{BB962C8B-B14F-4D97-AF65-F5344CB8AC3E}">
        <p14:creationId xmlns:p14="http://schemas.microsoft.com/office/powerpoint/2010/main" val="82143722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381909-2E23-4E65-9EAC-E45371A90DD6}"/>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F77C8C77-F4D3-47AE-94AE-072813B163A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E49BA9D8-E56E-4603-88F2-19B32B266D1C}"/>
              </a:ext>
            </a:extLst>
          </p:cNvPr>
          <p:cNvSpPr>
            <a:spLocks noGrp="1"/>
          </p:cNvSpPr>
          <p:nvPr>
            <p:ph type="dt" sz="half" idx="10"/>
          </p:nvPr>
        </p:nvSpPr>
        <p:spPr/>
        <p:txBody>
          <a:bodyPr/>
          <a:lstStyle/>
          <a:p>
            <a:fld id="{AF445922-562A-4E51-A00C-7E4F292EB7AF}" type="datetimeFigureOut">
              <a:rPr lang="en-GB" smtClean="0"/>
              <a:t>30/03/2026</a:t>
            </a:fld>
            <a:endParaRPr lang="en-GB"/>
          </a:p>
        </p:txBody>
      </p:sp>
      <p:sp>
        <p:nvSpPr>
          <p:cNvPr id="5" name="Footer Placeholder 4">
            <a:extLst>
              <a:ext uri="{FF2B5EF4-FFF2-40B4-BE49-F238E27FC236}">
                <a16:creationId xmlns:a16="http://schemas.microsoft.com/office/drawing/2014/main" id="{A8082211-5E9F-4435-A832-57BFC2D2EB68}"/>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CE09437F-0460-42F8-B2F2-65BE04909195}"/>
              </a:ext>
            </a:extLst>
          </p:cNvPr>
          <p:cNvSpPr>
            <a:spLocks noGrp="1"/>
          </p:cNvSpPr>
          <p:nvPr>
            <p:ph type="sldNum" sz="quarter" idx="12"/>
          </p:nvPr>
        </p:nvSpPr>
        <p:spPr/>
        <p:txBody>
          <a:bodyPr/>
          <a:lstStyle/>
          <a:p>
            <a:fld id="{DA8D74DB-ACF9-4D44-B516-B20BC482378A}" type="slidenum">
              <a:rPr lang="en-GB" smtClean="0"/>
              <a:t>‹#›</a:t>
            </a:fld>
            <a:endParaRPr lang="en-GB"/>
          </a:p>
        </p:txBody>
      </p:sp>
    </p:spTree>
    <p:extLst>
      <p:ext uri="{BB962C8B-B14F-4D97-AF65-F5344CB8AC3E}">
        <p14:creationId xmlns:p14="http://schemas.microsoft.com/office/powerpoint/2010/main" val="383436446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E416D77-CEED-48F2-B03C-DF00A91EB35B}"/>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55713C1E-40F7-4B8E-A32B-34EAD5F7D819}"/>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30D9673D-8434-4DBE-9D43-1DAB38E2F769}"/>
              </a:ext>
            </a:extLst>
          </p:cNvPr>
          <p:cNvSpPr>
            <a:spLocks noGrp="1"/>
          </p:cNvSpPr>
          <p:nvPr>
            <p:ph type="dt" sz="half" idx="10"/>
          </p:nvPr>
        </p:nvSpPr>
        <p:spPr/>
        <p:txBody>
          <a:bodyPr/>
          <a:lstStyle/>
          <a:p>
            <a:fld id="{AF445922-562A-4E51-A00C-7E4F292EB7AF}" type="datetimeFigureOut">
              <a:rPr lang="en-GB" smtClean="0"/>
              <a:t>30/03/2026</a:t>
            </a:fld>
            <a:endParaRPr lang="en-GB"/>
          </a:p>
        </p:txBody>
      </p:sp>
      <p:sp>
        <p:nvSpPr>
          <p:cNvPr id="5" name="Footer Placeholder 4">
            <a:extLst>
              <a:ext uri="{FF2B5EF4-FFF2-40B4-BE49-F238E27FC236}">
                <a16:creationId xmlns:a16="http://schemas.microsoft.com/office/drawing/2014/main" id="{D9B88C96-BAE6-4ADE-B447-54C0E1E9586E}"/>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CAE8F83E-5FBE-4E6A-82C9-9F4686C56C00}"/>
              </a:ext>
            </a:extLst>
          </p:cNvPr>
          <p:cNvSpPr>
            <a:spLocks noGrp="1"/>
          </p:cNvSpPr>
          <p:nvPr>
            <p:ph type="sldNum" sz="quarter" idx="12"/>
          </p:nvPr>
        </p:nvSpPr>
        <p:spPr/>
        <p:txBody>
          <a:bodyPr/>
          <a:lstStyle/>
          <a:p>
            <a:fld id="{DA8D74DB-ACF9-4D44-B516-B20BC482378A}" type="slidenum">
              <a:rPr lang="en-GB" smtClean="0"/>
              <a:t>‹#›</a:t>
            </a:fld>
            <a:endParaRPr lang="en-GB"/>
          </a:p>
        </p:txBody>
      </p:sp>
    </p:spTree>
    <p:extLst>
      <p:ext uri="{BB962C8B-B14F-4D97-AF65-F5344CB8AC3E}">
        <p14:creationId xmlns:p14="http://schemas.microsoft.com/office/powerpoint/2010/main" val="421891674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15A1A9A-F62A-214A-A5A5-35C0300A3410}"/>
              </a:ext>
            </a:extLst>
          </p:cNvPr>
          <p:cNvPicPr>
            <a:picLocks noChangeAspect="1"/>
          </p:cNvPicPr>
          <p:nvPr userDrawn="1"/>
        </p:nvPicPr>
        <p:blipFill rotWithShape="1">
          <a:blip r:embed="rId2"/>
          <a:srcRect t="77254"/>
          <a:stretch/>
        </p:blipFill>
        <p:spPr>
          <a:xfrm>
            <a:off x="0" y="5313055"/>
            <a:ext cx="12192000" cy="1559449"/>
          </a:xfrm>
          <a:prstGeom prst="rect">
            <a:avLst/>
          </a:prstGeom>
        </p:spPr>
      </p:pic>
      <p:pic>
        <p:nvPicPr>
          <p:cNvPr id="11" name="Picture 10">
            <a:extLst>
              <a:ext uri="{FF2B5EF4-FFF2-40B4-BE49-F238E27FC236}">
                <a16:creationId xmlns:a16="http://schemas.microsoft.com/office/drawing/2014/main" id="{3E706B7B-1565-7948-A9FC-6D786E187B09}"/>
              </a:ext>
            </a:extLst>
          </p:cNvPr>
          <p:cNvPicPr>
            <a:picLocks noChangeAspect="1"/>
          </p:cNvPicPr>
          <p:nvPr userDrawn="1"/>
        </p:nvPicPr>
        <p:blipFill>
          <a:blip r:embed="rId3"/>
          <a:stretch>
            <a:fillRect/>
          </a:stretch>
        </p:blipFill>
        <p:spPr>
          <a:xfrm>
            <a:off x="15498" y="5945349"/>
            <a:ext cx="1983783" cy="690557"/>
          </a:xfrm>
          <a:prstGeom prst="rect">
            <a:avLst/>
          </a:prstGeom>
        </p:spPr>
      </p:pic>
    </p:spTree>
    <p:extLst>
      <p:ext uri="{BB962C8B-B14F-4D97-AF65-F5344CB8AC3E}">
        <p14:creationId xmlns:p14="http://schemas.microsoft.com/office/powerpoint/2010/main" val="55625281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1C10F2E-C04B-ED45-9189-C27D66529F68}"/>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C1CE323C-20F6-6144-AF65-D545112533CF}"/>
              </a:ext>
            </a:extLst>
          </p:cNvPr>
          <p:cNvSpPr>
            <a:spLocks noGrp="1"/>
          </p:cNvSpPr>
          <p:nvPr>
            <p:ph type="title"/>
          </p:nvPr>
        </p:nvSpPr>
        <p:spPr>
          <a:xfrm>
            <a:off x="763044" y="2193925"/>
            <a:ext cx="4936299" cy="1325563"/>
          </a:xfrm>
        </p:spPr>
        <p:txBody>
          <a:bodyPr/>
          <a:lstStyle>
            <a:lvl1pPr>
              <a:defRPr>
                <a:solidFill>
                  <a:srgbClr val="F6F6F6"/>
                </a:solidFill>
              </a:defRPr>
            </a:lvl1pPr>
          </a:lstStyle>
          <a:p>
            <a:r>
              <a:rPr lang="en-GB"/>
              <a:t>Click to edit Master title style</a:t>
            </a:r>
            <a:endParaRPr lang="en-US"/>
          </a:p>
        </p:txBody>
      </p:sp>
      <p:sp>
        <p:nvSpPr>
          <p:cNvPr id="3" name="Slide Number Placeholder 2">
            <a:extLst>
              <a:ext uri="{FF2B5EF4-FFF2-40B4-BE49-F238E27FC236}">
                <a16:creationId xmlns:a16="http://schemas.microsoft.com/office/drawing/2014/main" id="{DB7729A6-58C9-9949-997D-8861E8E77559}"/>
              </a:ext>
            </a:extLst>
          </p:cNvPr>
          <p:cNvSpPr>
            <a:spLocks noGrp="1"/>
          </p:cNvSpPr>
          <p:nvPr>
            <p:ph type="sldNum" sz="quarter" idx="10"/>
          </p:nvPr>
        </p:nvSpPr>
        <p:spPr/>
        <p:txBody>
          <a:bodyPr/>
          <a:lstStyle/>
          <a:p>
            <a:pPr algn="l"/>
            <a:fld id="{617D90F0-DA80-5145-B5BC-962393EBAEF1}" type="slidenum">
              <a:rPr lang="en-US" smtClean="0"/>
              <a:pPr algn="l"/>
              <a:t>‹#›</a:t>
            </a:fld>
            <a:endParaRPr lang="en-US"/>
          </a:p>
        </p:txBody>
      </p:sp>
      <p:pic>
        <p:nvPicPr>
          <p:cNvPr id="6" name="Picture 5">
            <a:extLst>
              <a:ext uri="{FF2B5EF4-FFF2-40B4-BE49-F238E27FC236}">
                <a16:creationId xmlns:a16="http://schemas.microsoft.com/office/drawing/2014/main" id="{D6E955C3-873F-844E-A711-C0B893482525}"/>
              </a:ext>
            </a:extLst>
          </p:cNvPr>
          <p:cNvPicPr>
            <a:picLocks noChangeAspect="1"/>
          </p:cNvPicPr>
          <p:nvPr userDrawn="1"/>
        </p:nvPicPr>
        <p:blipFill>
          <a:blip r:embed="rId3"/>
          <a:stretch>
            <a:fillRect/>
          </a:stretch>
        </p:blipFill>
        <p:spPr>
          <a:xfrm>
            <a:off x="6237960" y="4970387"/>
            <a:ext cx="3832965" cy="1334260"/>
          </a:xfrm>
          <a:prstGeom prst="rect">
            <a:avLst/>
          </a:prstGeom>
        </p:spPr>
      </p:pic>
    </p:spTree>
    <p:extLst>
      <p:ext uri="{BB962C8B-B14F-4D97-AF65-F5344CB8AC3E}">
        <p14:creationId xmlns:p14="http://schemas.microsoft.com/office/powerpoint/2010/main" val="331722966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13" name="Picture Placeholder 4">
            <a:extLst>
              <a:ext uri="{FF2B5EF4-FFF2-40B4-BE49-F238E27FC236}">
                <a16:creationId xmlns:a16="http://schemas.microsoft.com/office/drawing/2014/main" id="{7F1C5A06-926B-7847-B52A-EEA10C73138E}"/>
              </a:ext>
            </a:extLst>
          </p:cNvPr>
          <p:cNvSpPr>
            <a:spLocks noGrp="1"/>
          </p:cNvSpPr>
          <p:nvPr>
            <p:ph type="pic" sz="quarter" idx="14"/>
          </p:nvPr>
        </p:nvSpPr>
        <p:spPr>
          <a:xfrm>
            <a:off x="0" y="0"/>
            <a:ext cx="3983064" cy="6858000"/>
          </a:xfrm>
        </p:spPr>
      </p:sp>
      <p:sp>
        <p:nvSpPr>
          <p:cNvPr id="4" name="Title 5">
            <a:extLst>
              <a:ext uri="{FF2B5EF4-FFF2-40B4-BE49-F238E27FC236}">
                <a16:creationId xmlns:a16="http://schemas.microsoft.com/office/drawing/2014/main" id="{3FBBDD10-87D9-394D-80DA-3E3C4EEFEA95}"/>
              </a:ext>
            </a:extLst>
          </p:cNvPr>
          <p:cNvSpPr txBox="1">
            <a:spLocks/>
          </p:cNvSpPr>
          <p:nvPr userDrawn="1"/>
        </p:nvSpPr>
        <p:spPr>
          <a:xfrm>
            <a:off x="4574047" y="840432"/>
            <a:ext cx="4187371" cy="1783443"/>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400" b="1" i="0">
                <a:latin typeface="Avenir Next Heavy" panose="020B0503020202020204" pitchFamily="34" charset="0"/>
              </a:rPr>
              <a:t>Header title goes here</a:t>
            </a:r>
          </a:p>
        </p:txBody>
      </p:sp>
      <p:sp>
        <p:nvSpPr>
          <p:cNvPr id="5" name="TextBox 4">
            <a:extLst>
              <a:ext uri="{FF2B5EF4-FFF2-40B4-BE49-F238E27FC236}">
                <a16:creationId xmlns:a16="http://schemas.microsoft.com/office/drawing/2014/main" id="{18DFB525-1C8C-4F4E-99E6-FA0F3F5E51DC}"/>
              </a:ext>
            </a:extLst>
          </p:cNvPr>
          <p:cNvSpPr txBox="1"/>
          <p:nvPr userDrawn="1"/>
        </p:nvSpPr>
        <p:spPr>
          <a:xfrm>
            <a:off x="4694255" y="3434949"/>
            <a:ext cx="1794776" cy="1928157"/>
          </a:xfrm>
          <a:prstGeom prst="rect">
            <a:avLst/>
          </a:prstGeom>
          <a:noFill/>
        </p:spPr>
        <p:txBody>
          <a:bodyPr wrap="square" lIns="0" rIns="0" rtlCol="0">
            <a:spAutoFit/>
          </a:bodyPr>
          <a:lstStyle/>
          <a:p>
            <a:pPr>
              <a:lnSpc>
                <a:spcPct val="120000"/>
              </a:lnSpc>
              <a:spcBef>
                <a:spcPts val="1200"/>
              </a:spcBef>
            </a:pPr>
            <a:r>
              <a:rPr lang="en-US" sz="1200" b="1" i="0">
                <a:latin typeface="Arial" panose="020B0604020202020204" pitchFamily="34" charset="0"/>
                <a:ea typeface="Open Sans" charset="0"/>
                <a:cs typeface="Arial" panose="020B0604020202020204" pitchFamily="34" charset="0"/>
              </a:rPr>
              <a:t>Sub header</a:t>
            </a:r>
          </a:p>
          <a:p>
            <a:pPr>
              <a:lnSpc>
                <a:spcPct val="120000"/>
              </a:lnSpc>
              <a:spcBef>
                <a:spcPts val="1200"/>
              </a:spcBef>
            </a:pPr>
            <a:r>
              <a:rPr lang="en-US" sz="1000" b="0" i="0" err="1">
                <a:solidFill>
                  <a:schemeClr val="tx1">
                    <a:alpha val="70000"/>
                  </a:schemeClr>
                </a:solidFill>
                <a:latin typeface="Arial" panose="020B0604020202020204" pitchFamily="34" charset="0"/>
                <a:cs typeface="Arial" panose="020B0604020202020204" pitchFamily="34" charset="0"/>
              </a:rPr>
              <a:t>Estiusc</a:t>
            </a:r>
            <a:r>
              <a:rPr lang="en-US" sz="1000" b="0" i="0">
                <a:solidFill>
                  <a:schemeClr val="tx1">
                    <a:alpha val="70000"/>
                  </a:schemeClr>
                </a:solidFill>
                <a:latin typeface="Arial" panose="020B0604020202020204" pitchFamily="34" charset="0"/>
                <a:cs typeface="Arial" panose="020B0604020202020204" pitchFamily="34" charset="0"/>
              </a:rPr>
              <a:t> </a:t>
            </a:r>
            <a:r>
              <a:rPr lang="en-US" sz="1000" b="0" i="0" err="1">
                <a:solidFill>
                  <a:schemeClr val="tx1">
                    <a:alpha val="70000"/>
                  </a:schemeClr>
                </a:solidFill>
                <a:latin typeface="Arial" panose="020B0604020202020204" pitchFamily="34" charset="0"/>
                <a:cs typeface="Arial" panose="020B0604020202020204" pitchFamily="34" charset="0"/>
              </a:rPr>
              <a:t>imusam</a:t>
            </a:r>
            <a:r>
              <a:rPr lang="en-US" sz="1000" b="0" i="0">
                <a:solidFill>
                  <a:schemeClr val="tx1">
                    <a:alpha val="70000"/>
                  </a:schemeClr>
                </a:solidFill>
                <a:latin typeface="Arial" panose="020B0604020202020204" pitchFamily="34" charset="0"/>
                <a:cs typeface="Arial" panose="020B0604020202020204" pitchFamily="34" charset="0"/>
              </a:rPr>
              <a:t> </a:t>
            </a:r>
            <a:r>
              <a:rPr lang="en-US" sz="1000" b="0" i="0" err="1">
                <a:solidFill>
                  <a:schemeClr val="tx1">
                    <a:alpha val="70000"/>
                  </a:schemeClr>
                </a:solidFill>
                <a:latin typeface="Arial" panose="020B0604020202020204" pitchFamily="34" charset="0"/>
                <a:cs typeface="Arial" panose="020B0604020202020204" pitchFamily="34" charset="0"/>
              </a:rPr>
              <a:t>quia</a:t>
            </a:r>
            <a:r>
              <a:rPr lang="en-US" sz="1000" b="0" i="0">
                <a:solidFill>
                  <a:schemeClr val="tx1">
                    <a:alpha val="70000"/>
                  </a:schemeClr>
                </a:solidFill>
                <a:latin typeface="Arial" panose="020B0604020202020204" pitchFamily="34" charset="0"/>
                <a:cs typeface="Arial" panose="020B0604020202020204" pitchFamily="34" charset="0"/>
              </a:rPr>
              <a:t> </a:t>
            </a:r>
            <a:r>
              <a:rPr lang="en-US" sz="1000" b="0" i="0" err="1">
                <a:solidFill>
                  <a:schemeClr val="tx1">
                    <a:alpha val="70000"/>
                  </a:schemeClr>
                </a:solidFill>
                <a:latin typeface="Arial" panose="020B0604020202020204" pitchFamily="34" charset="0"/>
                <a:cs typeface="Arial" panose="020B0604020202020204" pitchFamily="34" charset="0"/>
              </a:rPr>
              <a:t>sunto</a:t>
            </a:r>
            <a:r>
              <a:rPr lang="en-US" sz="1000" b="0" i="0">
                <a:solidFill>
                  <a:schemeClr val="tx1">
                    <a:alpha val="70000"/>
                  </a:schemeClr>
                </a:solidFill>
                <a:latin typeface="Arial" panose="020B0604020202020204" pitchFamily="34" charset="0"/>
                <a:cs typeface="Arial" panose="020B0604020202020204" pitchFamily="34" charset="0"/>
              </a:rPr>
              <a:t> mod </a:t>
            </a:r>
            <a:r>
              <a:rPr lang="en-US" sz="1000" b="0" i="0" err="1">
                <a:solidFill>
                  <a:schemeClr val="tx1">
                    <a:alpha val="70000"/>
                  </a:schemeClr>
                </a:solidFill>
                <a:latin typeface="Arial" panose="020B0604020202020204" pitchFamily="34" charset="0"/>
                <a:cs typeface="Arial" panose="020B0604020202020204" pitchFamily="34" charset="0"/>
              </a:rPr>
              <a:t>maximporibus</a:t>
            </a:r>
            <a:r>
              <a:rPr lang="en-US" sz="1000" b="0" i="0">
                <a:solidFill>
                  <a:schemeClr val="tx1">
                    <a:alpha val="70000"/>
                  </a:schemeClr>
                </a:solidFill>
                <a:latin typeface="Arial" panose="020B0604020202020204" pitchFamily="34" charset="0"/>
                <a:cs typeface="Arial" panose="020B0604020202020204" pitchFamily="34" charset="0"/>
              </a:rPr>
              <a:t> in nus </a:t>
            </a:r>
            <a:r>
              <a:rPr lang="en-US" sz="1000" b="0" i="0" err="1">
                <a:solidFill>
                  <a:schemeClr val="tx1">
                    <a:alpha val="70000"/>
                  </a:schemeClr>
                </a:solidFill>
                <a:latin typeface="Arial" panose="020B0604020202020204" pitchFamily="34" charset="0"/>
                <a:cs typeface="Arial" panose="020B0604020202020204" pitchFamily="34" charset="0"/>
              </a:rPr>
              <a:t>dolup</a:t>
            </a:r>
            <a:r>
              <a:rPr lang="en-US" sz="1000" b="0" i="0">
                <a:solidFill>
                  <a:schemeClr val="tx1">
                    <a:alpha val="70000"/>
                  </a:schemeClr>
                </a:solidFill>
                <a:latin typeface="Arial" panose="020B0604020202020204" pitchFamily="34" charset="0"/>
                <a:cs typeface="Arial" panose="020B0604020202020204" pitchFamily="34" charset="0"/>
              </a:rPr>
              <a:t> </a:t>
            </a:r>
            <a:r>
              <a:rPr lang="en-US" sz="1000" b="0" i="0" err="1">
                <a:solidFill>
                  <a:schemeClr val="tx1">
                    <a:alpha val="70000"/>
                  </a:schemeClr>
                </a:solidFill>
                <a:latin typeface="Arial" panose="020B0604020202020204" pitchFamily="34" charset="0"/>
                <a:cs typeface="Arial" panose="020B0604020202020204" pitchFamily="34" charset="0"/>
              </a:rPr>
              <a:t>idu</a:t>
            </a:r>
            <a:r>
              <a:rPr lang="en-US" sz="1000" b="0" i="0">
                <a:solidFill>
                  <a:schemeClr val="tx1">
                    <a:alpha val="70000"/>
                  </a:schemeClr>
                </a:solidFill>
                <a:latin typeface="Arial" panose="020B0604020202020204" pitchFamily="34" charset="0"/>
                <a:cs typeface="Arial" panose="020B0604020202020204" pitchFamily="34" charset="0"/>
              </a:rPr>
              <a:t> nt. Ur </a:t>
            </a:r>
            <a:r>
              <a:rPr lang="en-US" sz="1000" b="0" i="0" err="1">
                <a:solidFill>
                  <a:schemeClr val="tx1">
                    <a:alpha val="70000"/>
                  </a:schemeClr>
                </a:solidFill>
                <a:latin typeface="Arial" panose="020B0604020202020204" pitchFamily="34" charset="0"/>
                <a:cs typeface="Arial" panose="020B0604020202020204" pitchFamily="34" charset="0"/>
              </a:rPr>
              <a:t>aut</a:t>
            </a:r>
            <a:r>
              <a:rPr lang="en-US" sz="1000" b="0" i="0">
                <a:solidFill>
                  <a:schemeClr val="tx1">
                    <a:alpha val="70000"/>
                  </a:schemeClr>
                </a:solidFill>
                <a:latin typeface="Arial" panose="020B0604020202020204" pitchFamily="34" charset="0"/>
                <a:cs typeface="Arial" panose="020B0604020202020204" pitchFamily="34" charset="0"/>
              </a:rPr>
              <a:t> </a:t>
            </a:r>
            <a:r>
              <a:rPr lang="en-US" sz="1000" b="0" i="0" err="1">
                <a:solidFill>
                  <a:schemeClr val="tx1">
                    <a:alpha val="70000"/>
                  </a:schemeClr>
                </a:solidFill>
                <a:latin typeface="Arial" panose="020B0604020202020204" pitchFamily="34" charset="0"/>
                <a:cs typeface="Arial" panose="020B0604020202020204" pitchFamily="34" charset="0"/>
              </a:rPr>
              <a:t>delibus</a:t>
            </a:r>
            <a:r>
              <a:rPr lang="en-US" sz="1000" b="0" i="0">
                <a:solidFill>
                  <a:schemeClr val="tx1">
                    <a:alpha val="70000"/>
                  </a:schemeClr>
                </a:solidFill>
                <a:latin typeface="Arial" panose="020B0604020202020204" pitchFamily="34" charset="0"/>
                <a:cs typeface="Arial" panose="020B0604020202020204" pitchFamily="34" charset="0"/>
              </a:rPr>
              <a:t>, qui </a:t>
            </a:r>
            <a:r>
              <a:rPr lang="en-US" sz="1000" b="0" i="0" err="1">
                <a:solidFill>
                  <a:schemeClr val="tx1">
                    <a:alpha val="70000"/>
                  </a:schemeClr>
                </a:solidFill>
                <a:latin typeface="Arial" panose="020B0604020202020204" pitchFamily="34" charset="0"/>
                <a:cs typeface="Arial" panose="020B0604020202020204" pitchFamily="34" charset="0"/>
              </a:rPr>
              <a:t>distius</a:t>
            </a:r>
            <a:r>
              <a:rPr lang="en-US" sz="1000" b="0" i="0">
                <a:solidFill>
                  <a:schemeClr val="tx1">
                    <a:alpha val="70000"/>
                  </a:schemeClr>
                </a:solidFill>
                <a:latin typeface="Arial" panose="020B0604020202020204" pitchFamily="34" charset="0"/>
                <a:cs typeface="Arial" panose="020B0604020202020204" pitchFamily="34" charset="0"/>
              </a:rPr>
              <a:t>, </a:t>
            </a:r>
            <a:r>
              <a:rPr lang="en-US" sz="1000" b="0" i="0" err="1">
                <a:solidFill>
                  <a:schemeClr val="tx1">
                    <a:alpha val="70000"/>
                  </a:schemeClr>
                </a:solidFill>
                <a:latin typeface="Arial" panose="020B0604020202020204" pitchFamily="34" charset="0"/>
                <a:cs typeface="Arial" panose="020B0604020202020204" pitchFamily="34" charset="0"/>
              </a:rPr>
              <a:t>quae</a:t>
            </a:r>
            <a:r>
              <a:rPr lang="en-US" sz="1000" b="0" i="0">
                <a:solidFill>
                  <a:schemeClr val="tx1">
                    <a:alpha val="70000"/>
                  </a:schemeClr>
                </a:solidFill>
                <a:latin typeface="Arial" panose="020B0604020202020204" pitchFamily="34" charset="0"/>
                <a:cs typeface="Arial" panose="020B0604020202020204" pitchFamily="34" charset="0"/>
              </a:rPr>
              <a:t> </a:t>
            </a:r>
            <a:r>
              <a:rPr lang="en-US" sz="1000" b="0" i="0" err="1">
                <a:solidFill>
                  <a:schemeClr val="tx1">
                    <a:alpha val="70000"/>
                  </a:schemeClr>
                </a:solidFill>
                <a:latin typeface="Arial" panose="020B0604020202020204" pitchFamily="34" charset="0"/>
                <a:cs typeface="Arial" panose="020B0604020202020204" pitchFamily="34" charset="0"/>
              </a:rPr>
              <a:t>ipsus</a:t>
            </a:r>
            <a:r>
              <a:rPr lang="en-US" sz="1000" b="0" i="0">
                <a:solidFill>
                  <a:schemeClr val="tx1">
                    <a:alpha val="70000"/>
                  </a:schemeClr>
                </a:solidFill>
                <a:latin typeface="Arial" panose="020B0604020202020204" pitchFamily="34" charset="0"/>
                <a:cs typeface="Arial" panose="020B0604020202020204" pitchFamily="34" charset="0"/>
              </a:rPr>
              <a:t> </a:t>
            </a:r>
            <a:r>
              <a:rPr lang="en-US" sz="1000" b="0" i="0" err="1">
                <a:solidFill>
                  <a:schemeClr val="tx1">
                    <a:alpha val="70000"/>
                  </a:schemeClr>
                </a:solidFill>
                <a:latin typeface="Arial" panose="020B0604020202020204" pitchFamily="34" charset="0"/>
                <a:cs typeface="Arial" panose="020B0604020202020204" pitchFamily="34" charset="0"/>
              </a:rPr>
              <a:t>maioreptas</a:t>
            </a:r>
            <a:r>
              <a:rPr lang="en-US" sz="1000" b="0" i="0">
                <a:solidFill>
                  <a:schemeClr val="tx1">
                    <a:alpha val="70000"/>
                  </a:schemeClr>
                </a:solidFill>
                <a:latin typeface="Arial" panose="020B0604020202020204" pitchFamily="34" charset="0"/>
                <a:cs typeface="Arial" panose="020B0604020202020204" pitchFamily="34" charset="0"/>
              </a:rPr>
              <a:t> net </a:t>
            </a:r>
            <a:r>
              <a:rPr lang="en-US" sz="1000" b="0" i="0" err="1">
                <a:solidFill>
                  <a:schemeClr val="tx1">
                    <a:alpha val="70000"/>
                  </a:schemeClr>
                </a:solidFill>
                <a:latin typeface="Arial" panose="020B0604020202020204" pitchFamily="34" charset="0"/>
                <a:cs typeface="Arial" panose="020B0604020202020204" pitchFamily="34" charset="0"/>
              </a:rPr>
              <a:t>aut</a:t>
            </a:r>
            <a:r>
              <a:rPr lang="en-US" sz="1000" b="0" i="0">
                <a:solidFill>
                  <a:schemeClr val="tx1">
                    <a:alpha val="70000"/>
                  </a:schemeClr>
                </a:solidFill>
                <a:latin typeface="Arial" panose="020B0604020202020204" pitchFamily="34" charset="0"/>
                <a:cs typeface="Arial" panose="020B0604020202020204" pitchFamily="34" charset="0"/>
              </a:rPr>
              <a:t> </a:t>
            </a:r>
            <a:r>
              <a:rPr lang="en-US" sz="1000" b="0" i="0" err="1">
                <a:solidFill>
                  <a:schemeClr val="tx1">
                    <a:alpha val="70000"/>
                  </a:schemeClr>
                </a:solidFill>
                <a:latin typeface="Arial" panose="020B0604020202020204" pitchFamily="34" charset="0"/>
                <a:cs typeface="Arial" panose="020B0604020202020204" pitchFamily="34" charset="0"/>
              </a:rPr>
              <a:t>ut</a:t>
            </a:r>
            <a:r>
              <a:rPr lang="en-US" sz="1000" b="0" i="0">
                <a:solidFill>
                  <a:schemeClr val="tx1">
                    <a:alpha val="70000"/>
                  </a:schemeClr>
                </a:solidFill>
                <a:latin typeface="Arial" panose="020B0604020202020204" pitchFamily="34" charset="0"/>
                <a:cs typeface="Arial" panose="020B0604020202020204" pitchFamily="34" charset="0"/>
              </a:rPr>
              <a:t> et ex </a:t>
            </a:r>
            <a:r>
              <a:rPr lang="en-US" sz="1000" b="0" i="0" err="1">
                <a:solidFill>
                  <a:schemeClr val="tx1">
                    <a:alpha val="70000"/>
                  </a:schemeClr>
                </a:solidFill>
                <a:latin typeface="Arial" panose="020B0604020202020204" pitchFamily="34" charset="0"/>
                <a:cs typeface="Arial" panose="020B0604020202020204" pitchFamily="34" charset="0"/>
              </a:rPr>
              <a:t>etur</a:t>
            </a:r>
            <a:r>
              <a:rPr lang="en-US" sz="1000" b="0" i="0">
                <a:solidFill>
                  <a:schemeClr val="tx1">
                    <a:alpha val="70000"/>
                  </a:schemeClr>
                </a:solidFill>
                <a:latin typeface="Arial" panose="020B0604020202020204" pitchFamily="34" charset="0"/>
                <a:cs typeface="Arial" panose="020B0604020202020204" pitchFamily="34" charset="0"/>
              </a:rPr>
              <a:t> </a:t>
            </a:r>
            <a:r>
              <a:rPr lang="en-US" sz="1000" b="0" i="0" err="1">
                <a:solidFill>
                  <a:schemeClr val="tx1">
                    <a:alpha val="70000"/>
                  </a:schemeClr>
                </a:solidFill>
                <a:latin typeface="Arial" panose="020B0604020202020204" pitchFamily="34" charset="0"/>
                <a:cs typeface="Arial" panose="020B0604020202020204" pitchFamily="34" charset="0"/>
              </a:rPr>
              <a:t>andenit</a:t>
            </a:r>
            <a:r>
              <a:rPr lang="en-US" sz="1000" b="0" i="0">
                <a:solidFill>
                  <a:schemeClr val="tx1">
                    <a:alpha val="70000"/>
                  </a:schemeClr>
                </a:solidFill>
                <a:latin typeface="Arial" panose="020B0604020202020204" pitchFamily="34" charset="0"/>
                <a:cs typeface="Arial" panose="020B0604020202020204" pitchFamily="34" charset="0"/>
              </a:rPr>
              <a:t> il </a:t>
            </a:r>
            <a:r>
              <a:rPr lang="en-US" sz="1000" b="0" i="0" err="1">
                <a:solidFill>
                  <a:schemeClr val="tx1">
                    <a:alpha val="70000"/>
                  </a:schemeClr>
                </a:solidFill>
                <a:latin typeface="Arial" panose="020B0604020202020204" pitchFamily="34" charset="0"/>
                <a:cs typeface="Arial" panose="020B0604020202020204" pitchFamily="34" charset="0"/>
              </a:rPr>
              <a:t>idest</a:t>
            </a:r>
            <a:r>
              <a:rPr lang="en-US" sz="1000" b="0" i="0">
                <a:solidFill>
                  <a:schemeClr val="tx1">
                    <a:alpha val="70000"/>
                  </a:schemeClr>
                </a:solidFill>
                <a:latin typeface="Arial" panose="020B0604020202020204" pitchFamily="34" charset="0"/>
                <a:cs typeface="Arial" panose="020B0604020202020204" pitchFamily="34" charset="0"/>
              </a:rPr>
              <a:t>, sit </a:t>
            </a:r>
            <a:r>
              <a:rPr lang="en-US" sz="1000" b="0" i="0" err="1">
                <a:solidFill>
                  <a:schemeClr val="tx1">
                    <a:alpha val="70000"/>
                  </a:schemeClr>
                </a:solidFill>
                <a:latin typeface="Arial" panose="020B0604020202020204" pitchFamily="34" charset="0"/>
                <a:cs typeface="Arial" panose="020B0604020202020204" pitchFamily="34" charset="0"/>
              </a:rPr>
              <a:t>prehendel</a:t>
            </a:r>
            <a:r>
              <a:rPr lang="en-US" sz="1000" b="0" i="0">
                <a:solidFill>
                  <a:schemeClr val="tx1">
                    <a:alpha val="70000"/>
                  </a:schemeClr>
                </a:solidFill>
                <a:latin typeface="Arial" panose="020B0604020202020204" pitchFamily="34" charset="0"/>
                <a:cs typeface="Arial" panose="020B0604020202020204" pitchFamily="34" charset="0"/>
              </a:rPr>
              <a:t> </a:t>
            </a:r>
            <a:r>
              <a:rPr lang="en-US" sz="1000" b="0" i="0" err="1">
                <a:solidFill>
                  <a:schemeClr val="tx1">
                    <a:alpha val="70000"/>
                  </a:schemeClr>
                </a:solidFill>
                <a:latin typeface="Arial" panose="020B0604020202020204" pitchFamily="34" charset="0"/>
                <a:cs typeface="Arial" panose="020B0604020202020204" pitchFamily="34" charset="0"/>
              </a:rPr>
              <a:t>est</a:t>
            </a:r>
            <a:r>
              <a:rPr lang="en-US" sz="1000" b="0" i="0">
                <a:solidFill>
                  <a:schemeClr val="tx1">
                    <a:alpha val="70000"/>
                  </a:schemeClr>
                </a:solidFill>
                <a:latin typeface="Arial" panose="020B0604020202020204" pitchFamily="34" charset="0"/>
                <a:cs typeface="Arial" panose="020B0604020202020204" pitchFamily="34" charset="0"/>
              </a:rPr>
              <a:t>, </a:t>
            </a:r>
            <a:r>
              <a:rPr lang="en-US" sz="1000" b="0" i="0" err="1">
                <a:solidFill>
                  <a:schemeClr val="tx1">
                    <a:alpha val="70000"/>
                  </a:schemeClr>
                </a:solidFill>
                <a:latin typeface="Arial" panose="020B0604020202020204" pitchFamily="34" charset="0"/>
                <a:cs typeface="Arial" panose="020B0604020202020204" pitchFamily="34" charset="0"/>
              </a:rPr>
              <a:t>inus</a:t>
            </a:r>
            <a:r>
              <a:rPr lang="en-US" sz="1000" b="0" i="0">
                <a:solidFill>
                  <a:schemeClr val="tx1">
                    <a:alpha val="70000"/>
                  </a:schemeClr>
                </a:solidFill>
                <a:latin typeface="Arial" panose="020B0604020202020204" pitchFamily="34" charset="0"/>
                <a:cs typeface="Arial" panose="020B0604020202020204" pitchFamily="34" charset="0"/>
              </a:rPr>
              <a:t>, none </a:t>
            </a:r>
            <a:r>
              <a:rPr lang="en-US" sz="1000" b="0" i="0" err="1">
                <a:solidFill>
                  <a:schemeClr val="tx1">
                    <a:alpha val="70000"/>
                  </a:schemeClr>
                </a:solidFill>
                <a:latin typeface="Arial" panose="020B0604020202020204" pitchFamily="34" charset="0"/>
                <a:cs typeface="Arial" panose="020B0604020202020204" pitchFamily="34" charset="0"/>
              </a:rPr>
              <a:t>ea</a:t>
            </a:r>
            <a:r>
              <a:rPr lang="en-US" sz="1000" b="0" i="0">
                <a:solidFill>
                  <a:schemeClr val="tx1">
                    <a:alpha val="70000"/>
                  </a:schemeClr>
                </a:solidFill>
                <a:latin typeface="Arial" panose="020B0604020202020204" pitchFamily="34" charset="0"/>
                <a:cs typeface="Arial" panose="020B0604020202020204" pitchFamily="34" charset="0"/>
              </a:rPr>
              <a:t> </a:t>
            </a:r>
            <a:r>
              <a:rPr lang="en-US" sz="1000" b="0" i="0" err="1">
                <a:solidFill>
                  <a:schemeClr val="tx1">
                    <a:alpha val="70000"/>
                  </a:schemeClr>
                </a:solidFill>
                <a:latin typeface="Arial" panose="020B0604020202020204" pitchFamily="34" charset="0"/>
                <a:cs typeface="Arial" panose="020B0604020202020204" pitchFamily="34" charset="0"/>
              </a:rPr>
              <a:t>secto</a:t>
            </a:r>
            <a:r>
              <a:rPr lang="en-US" sz="1000" b="0" i="0">
                <a:solidFill>
                  <a:schemeClr val="tx1">
                    <a:alpha val="70000"/>
                  </a:schemeClr>
                </a:solidFill>
                <a:latin typeface="Arial" panose="020B0604020202020204" pitchFamily="34" charset="0"/>
                <a:cs typeface="Arial" panose="020B0604020202020204" pitchFamily="34" charset="0"/>
              </a:rPr>
              <a:t> </a:t>
            </a:r>
            <a:r>
              <a:rPr lang="en-US" sz="1000" b="0" i="0" err="1">
                <a:solidFill>
                  <a:schemeClr val="tx1">
                    <a:alpha val="70000"/>
                  </a:schemeClr>
                </a:solidFill>
                <a:latin typeface="Arial" panose="020B0604020202020204" pitchFamily="34" charset="0"/>
                <a:cs typeface="Arial" panose="020B0604020202020204" pitchFamily="34" charset="0"/>
              </a:rPr>
              <a:t>volupta</a:t>
            </a:r>
            <a:r>
              <a:rPr lang="en-US" sz="1000" b="0" i="0">
                <a:solidFill>
                  <a:schemeClr val="tx1">
                    <a:alpha val="70000"/>
                  </a:schemeClr>
                </a:solidFill>
                <a:latin typeface="Arial" panose="020B0604020202020204" pitchFamily="34" charset="0"/>
                <a:cs typeface="Arial" panose="020B0604020202020204" pitchFamily="34" charset="0"/>
              </a:rPr>
              <a:t> </a:t>
            </a:r>
            <a:r>
              <a:rPr lang="en-US" sz="1000" b="0" i="0" err="1">
                <a:solidFill>
                  <a:schemeClr val="tx1">
                    <a:alpha val="70000"/>
                  </a:schemeClr>
                </a:solidFill>
                <a:latin typeface="Arial" panose="020B0604020202020204" pitchFamily="34" charset="0"/>
                <a:cs typeface="Arial" panose="020B0604020202020204" pitchFamily="34" charset="0"/>
              </a:rPr>
              <a:t>ectotatus</a:t>
            </a:r>
            <a:r>
              <a:rPr lang="en-US" sz="1000" b="0" i="0">
                <a:solidFill>
                  <a:schemeClr val="tx1">
                    <a:alpha val="70000"/>
                  </a:schemeClr>
                </a:solidFill>
                <a:latin typeface="Arial" panose="020B0604020202020204" pitchFamily="34" charset="0"/>
                <a:cs typeface="Arial" panose="020B0604020202020204" pitchFamily="34" charset="0"/>
              </a:rPr>
              <a:t> </a:t>
            </a:r>
            <a:r>
              <a:rPr lang="en-US" sz="1000" b="0" i="0" err="1">
                <a:solidFill>
                  <a:schemeClr val="tx1">
                    <a:alpha val="70000"/>
                  </a:schemeClr>
                </a:solidFill>
                <a:latin typeface="Arial" panose="020B0604020202020204" pitchFamily="34" charset="0"/>
                <a:cs typeface="Arial" panose="020B0604020202020204" pitchFamily="34" charset="0"/>
              </a:rPr>
              <a:t>eos</a:t>
            </a:r>
            <a:r>
              <a:rPr lang="en-US" sz="1000" b="0" i="0">
                <a:solidFill>
                  <a:schemeClr val="tx1">
                    <a:alpha val="70000"/>
                  </a:schemeClr>
                </a:solidFill>
                <a:latin typeface="Arial" panose="020B0604020202020204" pitchFamily="34" charset="0"/>
                <a:cs typeface="Arial" panose="020B0604020202020204" pitchFamily="34" charset="0"/>
              </a:rPr>
              <a:t> </a:t>
            </a:r>
            <a:r>
              <a:rPr lang="en-US" sz="1000" b="0" i="0" err="1">
                <a:solidFill>
                  <a:schemeClr val="tx1">
                    <a:alpha val="70000"/>
                  </a:schemeClr>
                </a:solidFill>
                <a:latin typeface="Arial" panose="020B0604020202020204" pitchFamily="34" charset="0"/>
                <a:cs typeface="Arial" panose="020B0604020202020204" pitchFamily="34" charset="0"/>
              </a:rPr>
              <a:t>evellabo</a:t>
            </a:r>
            <a:r>
              <a:rPr lang="en-US" sz="1000" b="0" i="0">
                <a:solidFill>
                  <a:schemeClr val="tx1">
                    <a:alpha val="70000"/>
                  </a:schemeClr>
                </a:solidFill>
                <a:latin typeface="Arial" panose="020B0604020202020204" pitchFamily="34" charset="0"/>
                <a:cs typeface="Arial" panose="020B0604020202020204" pitchFamily="34" charset="0"/>
              </a:rPr>
              <a:t>. Rum </a:t>
            </a:r>
            <a:r>
              <a:rPr lang="en-US" sz="1000" b="0" i="0" err="1">
                <a:solidFill>
                  <a:schemeClr val="tx1">
                    <a:alpha val="70000"/>
                  </a:schemeClr>
                </a:solidFill>
                <a:latin typeface="Arial" panose="020B0604020202020204" pitchFamily="34" charset="0"/>
                <a:cs typeface="Arial" panose="020B0604020202020204" pitchFamily="34" charset="0"/>
              </a:rPr>
              <a:t>quis</a:t>
            </a:r>
            <a:r>
              <a:rPr lang="en-US" sz="1000" b="0" i="0">
                <a:solidFill>
                  <a:schemeClr val="tx1">
                    <a:alpha val="70000"/>
                  </a:schemeClr>
                </a:solidFill>
                <a:latin typeface="Arial" panose="020B0604020202020204" pitchFamily="34" charset="0"/>
                <a:cs typeface="Arial" panose="020B0604020202020204" pitchFamily="34" charset="0"/>
              </a:rPr>
              <a:t> </a:t>
            </a:r>
            <a:r>
              <a:rPr lang="en-US" sz="1000" b="0" i="0" err="1">
                <a:solidFill>
                  <a:schemeClr val="tx1">
                    <a:alpha val="70000"/>
                  </a:schemeClr>
                </a:solidFill>
                <a:latin typeface="Arial" panose="020B0604020202020204" pitchFamily="34" charset="0"/>
                <a:cs typeface="Arial" panose="020B0604020202020204" pitchFamily="34" charset="0"/>
              </a:rPr>
              <a:t>volorec</a:t>
            </a:r>
            <a:r>
              <a:rPr lang="en-US" sz="1000" b="0" i="0">
                <a:solidFill>
                  <a:schemeClr val="tx1">
                    <a:alpha val="70000"/>
                  </a:schemeClr>
                </a:solidFill>
                <a:latin typeface="Arial" panose="020B0604020202020204" pitchFamily="34" charset="0"/>
                <a:cs typeface="Arial" panose="020B0604020202020204" pitchFamily="34" charset="0"/>
              </a:rPr>
              <a:t>.</a:t>
            </a:r>
          </a:p>
        </p:txBody>
      </p:sp>
      <p:sp>
        <p:nvSpPr>
          <p:cNvPr id="6" name="Freeform 86">
            <a:extLst>
              <a:ext uri="{FF2B5EF4-FFF2-40B4-BE49-F238E27FC236}">
                <a16:creationId xmlns:a16="http://schemas.microsoft.com/office/drawing/2014/main" id="{9DCDCFF1-7E6A-2F43-90BC-6360C3B9789E}"/>
              </a:ext>
            </a:extLst>
          </p:cNvPr>
          <p:cNvSpPr>
            <a:spLocks noEditPoints="1"/>
          </p:cNvSpPr>
          <p:nvPr userDrawn="1"/>
        </p:nvSpPr>
        <p:spPr bwMode="auto">
          <a:xfrm>
            <a:off x="4690409" y="2676048"/>
            <a:ext cx="474024" cy="471301"/>
          </a:xfrm>
          <a:custGeom>
            <a:avLst/>
            <a:gdLst>
              <a:gd name="T0" fmla="*/ 157 w 162"/>
              <a:gd name="T1" fmla="*/ 37 h 160"/>
              <a:gd name="T2" fmla="*/ 84 w 162"/>
              <a:gd name="T3" fmla="*/ 1 h 160"/>
              <a:gd name="T4" fmla="*/ 78 w 162"/>
              <a:gd name="T5" fmla="*/ 1 h 160"/>
              <a:gd name="T6" fmla="*/ 5 w 162"/>
              <a:gd name="T7" fmla="*/ 37 h 160"/>
              <a:gd name="T8" fmla="*/ 1 w 162"/>
              <a:gd name="T9" fmla="*/ 43 h 160"/>
              <a:gd name="T10" fmla="*/ 5 w 162"/>
              <a:gd name="T11" fmla="*/ 49 h 160"/>
              <a:gd name="T12" fmla="*/ 78 w 162"/>
              <a:gd name="T13" fmla="*/ 86 h 160"/>
              <a:gd name="T14" fmla="*/ 81 w 162"/>
              <a:gd name="T15" fmla="*/ 86 h 160"/>
              <a:gd name="T16" fmla="*/ 84 w 162"/>
              <a:gd name="T17" fmla="*/ 86 h 160"/>
              <a:gd name="T18" fmla="*/ 157 w 162"/>
              <a:gd name="T19" fmla="*/ 49 h 160"/>
              <a:gd name="T20" fmla="*/ 161 w 162"/>
              <a:gd name="T21" fmla="*/ 43 h 160"/>
              <a:gd name="T22" fmla="*/ 157 w 162"/>
              <a:gd name="T23" fmla="*/ 37 h 160"/>
              <a:gd name="T24" fmla="*/ 81 w 162"/>
              <a:gd name="T25" fmla="*/ 73 h 160"/>
              <a:gd name="T26" fmla="*/ 22 w 162"/>
              <a:gd name="T27" fmla="*/ 43 h 160"/>
              <a:gd name="T28" fmla="*/ 81 w 162"/>
              <a:gd name="T29" fmla="*/ 14 h 160"/>
              <a:gd name="T30" fmla="*/ 140 w 162"/>
              <a:gd name="T31" fmla="*/ 43 h 160"/>
              <a:gd name="T32" fmla="*/ 81 w 162"/>
              <a:gd name="T33" fmla="*/ 73 h 160"/>
              <a:gd name="T34" fmla="*/ 157 w 162"/>
              <a:gd name="T35" fmla="*/ 123 h 160"/>
              <a:gd name="T36" fmla="*/ 84 w 162"/>
              <a:gd name="T37" fmla="*/ 159 h 160"/>
              <a:gd name="T38" fmla="*/ 81 w 162"/>
              <a:gd name="T39" fmla="*/ 160 h 160"/>
              <a:gd name="T40" fmla="*/ 78 w 162"/>
              <a:gd name="T41" fmla="*/ 159 h 160"/>
              <a:gd name="T42" fmla="*/ 5 w 162"/>
              <a:gd name="T43" fmla="*/ 123 h 160"/>
              <a:gd name="T44" fmla="*/ 2 w 162"/>
              <a:gd name="T45" fmla="*/ 114 h 160"/>
              <a:gd name="T46" fmla="*/ 10 w 162"/>
              <a:gd name="T47" fmla="*/ 111 h 160"/>
              <a:gd name="T48" fmla="*/ 81 w 162"/>
              <a:gd name="T49" fmla="*/ 146 h 160"/>
              <a:gd name="T50" fmla="*/ 152 w 162"/>
              <a:gd name="T51" fmla="*/ 111 h 160"/>
              <a:gd name="T52" fmla="*/ 160 w 162"/>
              <a:gd name="T53" fmla="*/ 114 h 160"/>
              <a:gd name="T54" fmla="*/ 157 w 162"/>
              <a:gd name="T55" fmla="*/ 123 h 160"/>
              <a:gd name="T56" fmla="*/ 157 w 162"/>
              <a:gd name="T57" fmla="*/ 86 h 160"/>
              <a:gd name="T58" fmla="*/ 84 w 162"/>
              <a:gd name="T59" fmla="*/ 123 h 160"/>
              <a:gd name="T60" fmla="*/ 81 w 162"/>
              <a:gd name="T61" fmla="*/ 123 h 160"/>
              <a:gd name="T62" fmla="*/ 78 w 162"/>
              <a:gd name="T63" fmla="*/ 123 h 160"/>
              <a:gd name="T64" fmla="*/ 5 w 162"/>
              <a:gd name="T65" fmla="*/ 86 h 160"/>
              <a:gd name="T66" fmla="*/ 2 w 162"/>
              <a:gd name="T67" fmla="*/ 77 h 160"/>
              <a:gd name="T68" fmla="*/ 10 w 162"/>
              <a:gd name="T69" fmla="*/ 74 h 160"/>
              <a:gd name="T70" fmla="*/ 81 w 162"/>
              <a:gd name="T71" fmla="*/ 110 h 160"/>
              <a:gd name="T72" fmla="*/ 152 w 162"/>
              <a:gd name="T73" fmla="*/ 74 h 160"/>
              <a:gd name="T74" fmla="*/ 160 w 162"/>
              <a:gd name="T75" fmla="*/ 77 h 160"/>
              <a:gd name="T76" fmla="*/ 157 w 162"/>
              <a:gd name="T77" fmla="*/ 8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2" h="160">
                <a:moveTo>
                  <a:pt x="157" y="37"/>
                </a:moveTo>
                <a:cubicBezTo>
                  <a:pt x="84" y="1"/>
                  <a:pt x="84" y="1"/>
                  <a:pt x="84" y="1"/>
                </a:cubicBezTo>
                <a:cubicBezTo>
                  <a:pt x="82" y="0"/>
                  <a:pt x="80" y="0"/>
                  <a:pt x="78" y="1"/>
                </a:cubicBezTo>
                <a:cubicBezTo>
                  <a:pt x="5" y="37"/>
                  <a:pt x="5" y="37"/>
                  <a:pt x="5" y="37"/>
                </a:cubicBezTo>
                <a:cubicBezTo>
                  <a:pt x="2" y="39"/>
                  <a:pt x="1" y="41"/>
                  <a:pt x="1" y="43"/>
                </a:cubicBezTo>
                <a:cubicBezTo>
                  <a:pt x="1" y="46"/>
                  <a:pt x="2" y="48"/>
                  <a:pt x="5" y="49"/>
                </a:cubicBezTo>
                <a:cubicBezTo>
                  <a:pt x="78" y="86"/>
                  <a:pt x="78" y="86"/>
                  <a:pt x="78" y="86"/>
                </a:cubicBezTo>
                <a:cubicBezTo>
                  <a:pt x="79" y="86"/>
                  <a:pt x="80" y="86"/>
                  <a:pt x="81" y="86"/>
                </a:cubicBezTo>
                <a:cubicBezTo>
                  <a:pt x="82" y="86"/>
                  <a:pt x="83" y="86"/>
                  <a:pt x="84" y="86"/>
                </a:cubicBezTo>
                <a:cubicBezTo>
                  <a:pt x="157" y="49"/>
                  <a:pt x="157" y="49"/>
                  <a:pt x="157" y="49"/>
                </a:cubicBezTo>
                <a:cubicBezTo>
                  <a:pt x="160" y="48"/>
                  <a:pt x="161" y="46"/>
                  <a:pt x="161" y="43"/>
                </a:cubicBezTo>
                <a:cubicBezTo>
                  <a:pt x="161" y="41"/>
                  <a:pt x="160" y="39"/>
                  <a:pt x="157" y="37"/>
                </a:cubicBezTo>
                <a:close/>
                <a:moveTo>
                  <a:pt x="81" y="73"/>
                </a:moveTo>
                <a:cubicBezTo>
                  <a:pt x="22" y="43"/>
                  <a:pt x="22" y="43"/>
                  <a:pt x="22" y="43"/>
                </a:cubicBezTo>
                <a:cubicBezTo>
                  <a:pt x="81" y="14"/>
                  <a:pt x="81" y="14"/>
                  <a:pt x="81" y="14"/>
                </a:cubicBezTo>
                <a:cubicBezTo>
                  <a:pt x="140" y="43"/>
                  <a:pt x="140" y="43"/>
                  <a:pt x="140" y="43"/>
                </a:cubicBezTo>
                <a:lnTo>
                  <a:pt x="81" y="73"/>
                </a:lnTo>
                <a:close/>
                <a:moveTo>
                  <a:pt x="157" y="123"/>
                </a:moveTo>
                <a:cubicBezTo>
                  <a:pt x="84" y="159"/>
                  <a:pt x="84" y="159"/>
                  <a:pt x="84" y="159"/>
                </a:cubicBezTo>
                <a:cubicBezTo>
                  <a:pt x="83" y="160"/>
                  <a:pt x="82" y="160"/>
                  <a:pt x="81" y="160"/>
                </a:cubicBezTo>
                <a:cubicBezTo>
                  <a:pt x="80" y="160"/>
                  <a:pt x="79" y="160"/>
                  <a:pt x="78" y="159"/>
                </a:cubicBezTo>
                <a:cubicBezTo>
                  <a:pt x="5" y="123"/>
                  <a:pt x="5" y="123"/>
                  <a:pt x="5" y="123"/>
                </a:cubicBezTo>
                <a:cubicBezTo>
                  <a:pt x="1" y="121"/>
                  <a:pt x="0" y="117"/>
                  <a:pt x="2" y="114"/>
                </a:cubicBezTo>
                <a:cubicBezTo>
                  <a:pt x="3" y="111"/>
                  <a:pt x="7" y="109"/>
                  <a:pt x="10" y="111"/>
                </a:cubicBezTo>
                <a:cubicBezTo>
                  <a:pt x="81" y="146"/>
                  <a:pt x="81" y="146"/>
                  <a:pt x="81" y="146"/>
                </a:cubicBezTo>
                <a:cubicBezTo>
                  <a:pt x="152" y="111"/>
                  <a:pt x="152" y="111"/>
                  <a:pt x="152" y="111"/>
                </a:cubicBezTo>
                <a:cubicBezTo>
                  <a:pt x="155" y="109"/>
                  <a:pt x="159" y="111"/>
                  <a:pt x="160" y="114"/>
                </a:cubicBezTo>
                <a:cubicBezTo>
                  <a:pt x="162" y="117"/>
                  <a:pt x="161" y="121"/>
                  <a:pt x="157" y="123"/>
                </a:cubicBezTo>
                <a:close/>
                <a:moveTo>
                  <a:pt x="157" y="86"/>
                </a:moveTo>
                <a:cubicBezTo>
                  <a:pt x="84" y="123"/>
                  <a:pt x="84" y="123"/>
                  <a:pt x="84" y="123"/>
                </a:cubicBezTo>
                <a:cubicBezTo>
                  <a:pt x="83" y="123"/>
                  <a:pt x="82" y="123"/>
                  <a:pt x="81" y="123"/>
                </a:cubicBezTo>
                <a:cubicBezTo>
                  <a:pt x="80" y="123"/>
                  <a:pt x="79" y="123"/>
                  <a:pt x="78" y="123"/>
                </a:cubicBezTo>
                <a:cubicBezTo>
                  <a:pt x="5" y="86"/>
                  <a:pt x="5" y="86"/>
                  <a:pt x="5" y="86"/>
                </a:cubicBezTo>
                <a:cubicBezTo>
                  <a:pt x="1" y="84"/>
                  <a:pt x="0" y="80"/>
                  <a:pt x="2" y="77"/>
                </a:cubicBezTo>
                <a:cubicBezTo>
                  <a:pt x="3" y="74"/>
                  <a:pt x="7" y="73"/>
                  <a:pt x="10" y="74"/>
                </a:cubicBezTo>
                <a:cubicBezTo>
                  <a:pt x="81" y="110"/>
                  <a:pt x="81" y="110"/>
                  <a:pt x="81" y="110"/>
                </a:cubicBezTo>
                <a:cubicBezTo>
                  <a:pt x="152" y="74"/>
                  <a:pt x="152" y="74"/>
                  <a:pt x="152" y="74"/>
                </a:cubicBezTo>
                <a:cubicBezTo>
                  <a:pt x="155" y="73"/>
                  <a:pt x="159" y="74"/>
                  <a:pt x="160" y="77"/>
                </a:cubicBezTo>
                <a:cubicBezTo>
                  <a:pt x="162" y="80"/>
                  <a:pt x="161" y="84"/>
                  <a:pt x="157" y="86"/>
                </a:cubicBezTo>
                <a:close/>
              </a:path>
            </a:pathLst>
          </a:custGeom>
          <a:solidFill>
            <a:srgbClr val="3D3381"/>
          </a:solidFill>
          <a:ln>
            <a:noFill/>
          </a:ln>
        </p:spPr>
        <p:txBody>
          <a:bodyPr vert="horz" wrap="square" lIns="91440" tIns="45720" rIns="91440" bIns="45720" numCol="1" anchor="t" anchorCtr="0" compatLnSpc="1">
            <a:prstTxWarp prst="textNoShape">
              <a:avLst/>
            </a:prstTxWarp>
          </a:bodyPr>
          <a:lstStyle/>
          <a:p>
            <a:endParaRPr lang="en-US" sz="1351"/>
          </a:p>
        </p:txBody>
      </p:sp>
      <p:sp>
        <p:nvSpPr>
          <p:cNvPr id="7" name="TextBox 6">
            <a:extLst>
              <a:ext uri="{FF2B5EF4-FFF2-40B4-BE49-F238E27FC236}">
                <a16:creationId xmlns:a16="http://schemas.microsoft.com/office/drawing/2014/main" id="{580DA1B1-C6EE-814C-BDBD-26AB09521653}"/>
              </a:ext>
            </a:extLst>
          </p:cNvPr>
          <p:cNvSpPr txBox="1"/>
          <p:nvPr userDrawn="1"/>
        </p:nvSpPr>
        <p:spPr>
          <a:xfrm>
            <a:off x="7019083" y="3434949"/>
            <a:ext cx="1794776" cy="1928157"/>
          </a:xfrm>
          <a:prstGeom prst="rect">
            <a:avLst/>
          </a:prstGeom>
          <a:noFill/>
        </p:spPr>
        <p:txBody>
          <a:bodyPr wrap="square" lIns="0" rIns="0" rtlCol="0">
            <a:spAutoFit/>
          </a:bodyPr>
          <a:lstStyle/>
          <a:p>
            <a:pPr>
              <a:lnSpc>
                <a:spcPct val="120000"/>
              </a:lnSpc>
              <a:spcBef>
                <a:spcPts val="1200"/>
              </a:spcBef>
            </a:pPr>
            <a:r>
              <a:rPr lang="en-US" sz="1200" b="1" i="0">
                <a:latin typeface="Arial" panose="020B0604020202020204" pitchFamily="34" charset="0"/>
                <a:ea typeface="Open Sans" charset="0"/>
                <a:cs typeface="Arial" panose="020B0604020202020204" pitchFamily="34" charset="0"/>
              </a:rPr>
              <a:t>Sub header</a:t>
            </a:r>
          </a:p>
          <a:p>
            <a:pPr>
              <a:lnSpc>
                <a:spcPct val="120000"/>
              </a:lnSpc>
              <a:spcBef>
                <a:spcPts val="1200"/>
              </a:spcBef>
            </a:pPr>
            <a:r>
              <a:rPr lang="en-US" sz="1000" b="0" i="0" err="1">
                <a:solidFill>
                  <a:schemeClr val="tx1">
                    <a:alpha val="70000"/>
                  </a:schemeClr>
                </a:solidFill>
                <a:latin typeface="Arial" panose="020B0604020202020204" pitchFamily="34" charset="0"/>
                <a:cs typeface="Arial" panose="020B0604020202020204" pitchFamily="34" charset="0"/>
              </a:rPr>
              <a:t>Estiusc</a:t>
            </a:r>
            <a:r>
              <a:rPr lang="en-US" sz="1000" b="0" i="0">
                <a:solidFill>
                  <a:schemeClr val="tx1">
                    <a:alpha val="70000"/>
                  </a:schemeClr>
                </a:solidFill>
                <a:latin typeface="Arial" panose="020B0604020202020204" pitchFamily="34" charset="0"/>
                <a:cs typeface="Arial" panose="020B0604020202020204" pitchFamily="34" charset="0"/>
              </a:rPr>
              <a:t> </a:t>
            </a:r>
            <a:r>
              <a:rPr lang="en-US" sz="1000" b="0" i="0" err="1">
                <a:solidFill>
                  <a:schemeClr val="tx1">
                    <a:alpha val="70000"/>
                  </a:schemeClr>
                </a:solidFill>
                <a:latin typeface="Arial" panose="020B0604020202020204" pitchFamily="34" charset="0"/>
                <a:cs typeface="Arial" panose="020B0604020202020204" pitchFamily="34" charset="0"/>
              </a:rPr>
              <a:t>imusam</a:t>
            </a:r>
            <a:r>
              <a:rPr lang="en-US" sz="1000" b="0" i="0">
                <a:solidFill>
                  <a:schemeClr val="tx1">
                    <a:alpha val="70000"/>
                  </a:schemeClr>
                </a:solidFill>
                <a:latin typeface="Arial" panose="020B0604020202020204" pitchFamily="34" charset="0"/>
                <a:cs typeface="Arial" panose="020B0604020202020204" pitchFamily="34" charset="0"/>
              </a:rPr>
              <a:t> </a:t>
            </a:r>
            <a:r>
              <a:rPr lang="en-US" sz="1000" b="0" i="0" err="1">
                <a:solidFill>
                  <a:schemeClr val="tx1">
                    <a:alpha val="70000"/>
                  </a:schemeClr>
                </a:solidFill>
                <a:latin typeface="Arial" panose="020B0604020202020204" pitchFamily="34" charset="0"/>
                <a:cs typeface="Arial" panose="020B0604020202020204" pitchFamily="34" charset="0"/>
              </a:rPr>
              <a:t>quia</a:t>
            </a:r>
            <a:r>
              <a:rPr lang="en-US" sz="1000" b="0" i="0">
                <a:solidFill>
                  <a:schemeClr val="tx1">
                    <a:alpha val="70000"/>
                  </a:schemeClr>
                </a:solidFill>
                <a:latin typeface="Arial" panose="020B0604020202020204" pitchFamily="34" charset="0"/>
                <a:cs typeface="Arial" panose="020B0604020202020204" pitchFamily="34" charset="0"/>
              </a:rPr>
              <a:t> </a:t>
            </a:r>
            <a:r>
              <a:rPr lang="en-US" sz="1000" b="0" i="0" err="1">
                <a:solidFill>
                  <a:schemeClr val="tx1">
                    <a:alpha val="70000"/>
                  </a:schemeClr>
                </a:solidFill>
                <a:latin typeface="Arial" panose="020B0604020202020204" pitchFamily="34" charset="0"/>
                <a:cs typeface="Arial" panose="020B0604020202020204" pitchFamily="34" charset="0"/>
              </a:rPr>
              <a:t>sunto</a:t>
            </a:r>
            <a:r>
              <a:rPr lang="en-US" sz="1000" b="0" i="0">
                <a:solidFill>
                  <a:schemeClr val="tx1">
                    <a:alpha val="70000"/>
                  </a:schemeClr>
                </a:solidFill>
                <a:latin typeface="Arial" panose="020B0604020202020204" pitchFamily="34" charset="0"/>
                <a:cs typeface="Arial" panose="020B0604020202020204" pitchFamily="34" charset="0"/>
              </a:rPr>
              <a:t> mod </a:t>
            </a:r>
            <a:r>
              <a:rPr lang="en-US" sz="1000" b="0" i="0" err="1">
                <a:solidFill>
                  <a:schemeClr val="tx1">
                    <a:alpha val="70000"/>
                  </a:schemeClr>
                </a:solidFill>
                <a:latin typeface="Arial" panose="020B0604020202020204" pitchFamily="34" charset="0"/>
                <a:cs typeface="Arial" panose="020B0604020202020204" pitchFamily="34" charset="0"/>
              </a:rPr>
              <a:t>maximporibus</a:t>
            </a:r>
            <a:r>
              <a:rPr lang="en-US" sz="1000" b="0" i="0">
                <a:solidFill>
                  <a:schemeClr val="tx1">
                    <a:alpha val="70000"/>
                  </a:schemeClr>
                </a:solidFill>
                <a:latin typeface="Arial" panose="020B0604020202020204" pitchFamily="34" charset="0"/>
                <a:cs typeface="Arial" panose="020B0604020202020204" pitchFamily="34" charset="0"/>
              </a:rPr>
              <a:t> in nus </a:t>
            </a:r>
            <a:r>
              <a:rPr lang="en-US" sz="1000" b="0" i="0" err="1">
                <a:solidFill>
                  <a:schemeClr val="tx1">
                    <a:alpha val="70000"/>
                  </a:schemeClr>
                </a:solidFill>
                <a:latin typeface="Arial" panose="020B0604020202020204" pitchFamily="34" charset="0"/>
                <a:cs typeface="Arial" panose="020B0604020202020204" pitchFamily="34" charset="0"/>
              </a:rPr>
              <a:t>dolup</a:t>
            </a:r>
            <a:r>
              <a:rPr lang="en-US" sz="1000" b="0" i="0">
                <a:solidFill>
                  <a:schemeClr val="tx1">
                    <a:alpha val="70000"/>
                  </a:schemeClr>
                </a:solidFill>
                <a:latin typeface="Arial" panose="020B0604020202020204" pitchFamily="34" charset="0"/>
                <a:cs typeface="Arial" panose="020B0604020202020204" pitchFamily="34" charset="0"/>
              </a:rPr>
              <a:t> </a:t>
            </a:r>
            <a:r>
              <a:rPr lang="en-US" sz="1000" b="0" i="0" err="1">
                <a:solidFill>
                  <a:schemeClr val="tx1">
                    <a:alpha val="70000"/>
                  </a:schemeClr>
                </a:solidFill>
                <a:latin typeface="Arial" panose="020B0604020202020204" pitchFamily="34" charset="0"/>
                <a:cs typeface="Arial" panose="020B0604020202020204" pitchFamily="34" charset="0"/>
              </a:rPr>
              <a:t>idu</a:t>
            </a:r>
            <a:r>
              <a:rPr lang="en-US" sz="1000" b="0" i="0">
                <a:solidFill>
                  <a:schemeClr val="tx1">
                    <a:alpha val="70000"/>
                  </a:schemeClr>
                </a:solidFill>
                <a:latin typeface="Arial" panose="020B0604020202020204" pitchFamily="34" charset="0"/>
                <a:cs typeface="Arial" panose="020B0604020202020204" pitchFamily="34" charset="0"/>
              </a:rPr>
              <a:t> nt. Ur </a:t>
            </a:r>
            <a:r>
              <a:rPr lang="en-US" sz="1000" b="0" i="0" err="1">
                <a:solidFill>
                  <a:schemeClr val="tx1">
                    <a:alpha val="70000"/>
                  </a:schemeClr>
                </a:solidFill>
                <a:latin typeface="Arial" panose="020B0604020202020204" pitchFamily="34" charset="0"/>
                <a:cs typeface="Arial" panose="020B0604020202020204" pitchFamily="34" charset="0"/>
              </a:rPr>
              <a:t>aut</a:t>
            </a:r>
            <a:r>
              <a:rPr lang="en-US" sz="1000" b="0" i="0">
                <a:solidFill>
                  <a:schemeClr val="tx1">
                    <a:alpha val="70000"/>
                  </a:schemeClr>
                </a:solidFill>
                <a:latin typeface="Arial" panose="020B0604020202020204" pitchFamily="34" charset="0"/>
                <a:cs typeface="Arial" panose="020B0604020202020204" pitchFamily="34" charset="0"/>
              </a:rPr>
              <a:t> </a:t>
            </a:r>
            <a:r>
              <a:rPr lang="en-US" sz="1000" b="0" i="0" err="1">
                <a:solidFill>
                  <a:schemeClr val="tx1">
                    <a:alpha val="70000"/>
                  </a:schemeClr>
                </a:solidFill>
                <a:latin typeface="Arial" panose="020B0604020202020204" pitchFamily="34" charset="0"/>
                <a:cs typeface="Arial" panose="020B0604020202020204" pitchFamily="34" charset="0"/>
              </a:rPr>
              <a:t>delibus</a:t>
            </a:r>
            <a:r>
              <a:rPr lang="en-US" sz="1000" b="0" i="0">
                <a:solidFill>
                  <a:schemeClr val="tx1">
                    <a:alpha val="70000"/>
                  </a:schemeClr>
                </a:solidFill>
                <a:latin typeface="Arial" panose="020B0604020202020204" pitchFamily="34" charset="0"/>
                <a:cs typeface="Arial" panose="020B0604020202020204" pitchFamily="34" charset="0"/>
              </a:rPr>
              <a:t>, qui </a:t>
            </a:r>
            <a:r>
              <a:rPr lang="en-US" sz="1000" b="0" i="0" err="1">
                <a:solidFill>
                  <a:schemeClr val="tx1">
                    <a:alpha val="70000"/>
                  </a:schemeClr>
                </a:solidFill>
                <a:latin typeface="Arial" panose="020B0604020202020204" pitchFamily="34" charset="0"/>
                <a:cs typeface="Arial" panose="020B0604020202020204" pitchFamily="34" charset="0"/>
              </a:rPr>
              <a:t>distius</a:t>
            </a:r>
            <a:r>
              <a:rPr lang="en-US" sz="1000" b="0" i="0">
                <a:solidFill>
                  <a:schemeClr val="tx1">
                    <a:alpha val="70000"/>
                  </a:schemeClr>
                </a:solidFill>
                <a:latin typeface="Arial" panose="020B0604020202020204" pitchFamily="34" charset="0"/>
                <a:cs typeface="Arial" panose="020B0604020202020204" pitchFamily="34" charset="0"/>
              </a:rPr>
              <a:t>, </a:t>
            </a:r>
            <a:r>
              <a:rPr lang="en-US" sz="1000" b="0" i="0" err="1">
                <a:solidFill>
                  <a:schemeClr val="tx1">
                    <a:alpha val="70000"/>
                  </a:schemeClr>
                </a:solidFill>
                <a:latin typeface="Arial" panose="020B0604020202020204" pitchFamily="34" charset="0"/>
                <a:cs typeface="Arial" panose="020B0604020202020204" pitchFamily="34" charset="0"/>
              </a:rPr>
              <a:t>quae</a:t>
            </a:r>
            <a:r>
              <a:rPr lang="en-US" sz="1000" b="0" i="0">
                <a:solidFill>
                  <a:schemeClr val="tx1">
                    <a:alpha val="70000"/>
                  </a:schemeClr>
                </a:solidFill>
                <a:latin typeface="Arial" panose="020B0604020202020204" pitchFamily="34" charset="0"/>
                <a:cs typeface="Arial" panose="020B0604020202020204" pitchFamily="34" charset="0"/>
              </a:rPr>
              <a:t> </a:t>
            </a:r>
            <a:r>
              <a:rPr lang="en-US" sz="1000" b="0" i="0" err="1">
                <a:solidFill>
                  <a:schemeClr val="tx1">
                    <a:alpha val="70000"/>
                  </a:schemeClr>
                </a:solidFill>
                <a:latin typeface="Arial" panose="020B0604020202020204" pitchFamily="34" charset="0"/>
                <a:cs typeface="Arial" panose="020B0604020202020204" pitchFamily="34" charset="0"/>
              </a:rPr>
              <a:t>ipsus</a:t>
            </a:r>
            <a:r>
              <a:rPr lang="en-US" sz="1000" b="0" i="0">
                <a:solidFill>
                  <a:schemeClr val="tx1">
                    <a:alpha val="70000"/>
                  </a:schemeClr>
                </a:solidFill>
                <a:latin typeface="Arial" panose="020B0604020202020204" pitchFamily="34" charset="0"/>
                <a:cs typeface="Arial" panose="020B0604020202020204" pitchFamily="34" charset="0"/>
              </a:rPr>
              <a:t> </a:t>
            </a:r>
            <a:r>
              <a:rPr lang="en-US" sz="1000" b="0" i="0" err="1">
                <a:solidFill>
                  <a:schemeClr val="tx1">
                    <a:alpha val="70000"/>
                  </a:schemeClr>
                </a:solidFill>
                <a:latin typeface="Arial" panose="020B0604020202020204" pitchFamily="34" charset="0"/>
                <a:cs typeface="Arial" panose="020B0604020202020204" pitchFamily="34" charset="0"/>
              </a:rPr>
              <a:t>maioreptas</a:t>
            </a:r>
            <a:r>
              <a:rPr lang="en-US" sz="1000" b="0" i="0">
                <a:solidFill>
                  <a:schemeClr val="tx1">
                    <a:alpha val="70000"/>
                  </a:schemeClr>
                </a:solidFill>
                <a:latin typeface="Arial" panose="020B0604020202020204" pitchFamily="34" charset="0"/>
                <a:cs typeface="Arial" panose="020B0604020202020204" pitchFamily="34" charset="0"/>
              </a:rPr>
              <a:t> net </a:t>
            </a:r>
            <a:r>
              <a:rPr lang="en-US" sz="1000" b="0" i="0" err="1">
                <a:solidFill>
                  <a:schemeClr val="tx1">
                    <a:alpha val="70000"/>
                  </a:schemeClr>
                </a:solidFill>
                <a:latin typeface="Arial" panose="020B0604020202020204" pitchFamily="34" charset="0"/>
                <a:cs typeface="Arial" panose="020B0604020202020204" pitchFamily="34" charset="0"/>
              </a:rPr>
              <a:t>aut</a:t>
            </a:r>
            <a:r>
              <a:rPr lang="en-US" sz="1000" b="0" i="0">
                <a:solidFill>
                  <a:schemeClr val="tx1">
                    <a:alpha val="70000"/>
                  </a:schemeClr>
                </a:solidFill>
                <a:latin typeface="Arial" panose="020B0604020202020204" pitchFamily="34" charset="0"/>
                <a:cs typeface="Arial" panose="020B0604020202020204" pitchFamily="34" charset="0"/>
              </a:rPr>
              <a:t> </a:t>
            </a:r>
            <a:r>
              <a:rPr lang="en-US" sz="1000" b="0" i="0" err="1">
                <a:solidFill>
                  <a:schemeClr val="tx1">
                    <a:alpha val="70000"/>
                  </a:schemeClr>
                </a:solidFill>
                <a:latin typeface="Arial" panose="020B0604020202020204" pitchFamily="34" charset="0"/>
                <a:cs typeface="Arial" panose="020B0604020202020204" pitchFamily="34" charset="0"/>
              </a:rPr>
              <a:t>ut</a:t>
            </a:r>
            <a:r>
              <a:rPr lang="en-US" sz="1000" b="0" i="0">
                <a:solidFill>
                  <a:schemeClr val="tx1">
                    <a:alpha val="70000"/>
                  </a:schemeClr>
                </a:solidFill>
                <a:latin typeface="Arial" panose="020B0604020202020204" pitchFamily="34" charset="0"/>
                <a:cs typeface="Arial" panose="020B0604020202020204" pitchFamily="34" charset="0"/>
              </a:rPr>
              <a:t> et ex </a:t>
            </a:r>
            <a:r>
              <a:rPr lang="en-US" sz="1000" b="0" i="0" err="1">
                <a:solidFill>
                  <a:schemeClr val="tx1">
                    <a:alpha val="70000"/>
                  </a:schemeClr>
                </a:solidFill>
                <a:latin typeface="Arial" panose="020B0604020202020204" pitchFamily="34" charset="0"/>
                <a:cs typeface="Arial" panose="020B0604020202020204" pitchFamily="34" charset="0"/>
              </a:rPr>
              <a:t>etur</a:t>
            </a:r>
            <a:r>
              <a:rPr lang="en-US" sz="1000" b="0" i="0">
                <a:solidFill>
                  <a:schemeClr val="tx1">
                    <a:alpha val="70000"/>
                  </a:schemeClr>
                </a:solidFill>
                <a:latin typeface="Arial" panose="020B0604020202020204" pitchFamily="34" charset="0"/>
                <a:cs typeface="Arial" panose="020B0604020202020204" pitchFamily="34" charset="0"/>
              </a:rPr>
              <a:t> </a:t>
            </a:r>
            <a:r>
              <a:rPr lang="en-US" sz="1000" b="0" i="0" err="1">
                <a:solidFill>
                  <a:schemeClr val="tx1">
                    <a:alpha val="70000"/>
                  </a:schemeClr>
                </a:solidFill>
                <a:latin typeface="Arial" panose="020B0604020202020204" pitchFamily="34" charset="0"/>
                <a:cs typeface="Arial" panose="020B0604020202020204" pitchFamily="34" charset="0"/>
              </a:rPr>
              <a:t>andenit</a:t>
            </a:r>
            <a:r>
              <a:rPr lang="en-US" sz="1000" b="0" i="0">
                <a:solidFill>
                  <a:schemeClr val="tx1">
                    <a:alpha val="70000"/>
                  </a:schemeClr>
                </a:solidFill>
                <a:latin typeface="Arial" panose="020B0604020202020204" pitchFamily="34" charset="0"/>
                <a:cs typeface="Arial" panose="020B0604020202020204" pitchFamily="34" charset="0"/>
              </a:rPr>
              <a:t> il </a:t>
            </a:r>
            <a:r>
              <a:rPr lang="en-US" sz="1000" b="0" i="0" err="1">
                <a:solidFill>
                  <a:schemeClr val="tx1">
                    <a:alpha val="70000"/>
                  </a:schemeClr>
                </a:solidFill>
                <a:latin typeface="Arial" panose="020B0604020202020204" pitchFamily="34" charset="0"/>
                <a:cs typeface="Arial" panose="020B0604020202020204" pitchFamily="34" charset="0"/>
              </a:rPr>
              <a:t>idest</a:t>
            </a:r>
            <a:r>
              <a:rPr lang="en-US" sz="1000" b="0" i="0">
                <a:solidFill>
                  <a:schemeClr val="tx1">
                    <a:alpha val="70000"/>
                  </a:schemeClr>
                </a:solidFill>
                <a:latin typeface="Arial" panose="020B0604020202020204" pitchFamily="34" charset="0"/>
                <a:cs typeface="Arial" panose="020B0604020202020204" pitchFamily="34" charset="0"/>
              </a:rPr>
              <a:t>, sit </a:t>
            </a:r>
            <a:r>
              <a:rPr lang="en-US" sz="1000" b="0" i="0" err="1">
                <a:solidFill>
                  <a:schemeClr val="tx1">
                    <a:alpha val="70000"/>
                  </a:schemeClr>
                </a:solidFill>
                <a:latin typeface="Arial" panose="020B0604020202020204" pitchFamily="34" charset="0"/>
                <a:cs typeface="Arial" panose="020B0604020202020204" pitchFamily="34" charset="0"/>
              </a:rPr>
              <a:t>prehendel</a:t>
            </a:r>
            <a:r>
              <a:rPr lang="en-US" sz="1000" b="0" i="0">
                <a:solidFill>
                  <a:schemeClr val="tx1">
                    <a:alpha val="70000"/>
                  </a:schemeClr>
                </a:solidFill>
                <a:latin typeface="Arial" panose="020B0604020202020204" pitchFamily="34" charset="0"/>
                <a:cs typeface="Arial" panose="020B0604020202020204" pitchFamily="34" charset="0"/>
              </a:rPr>
              <a:t> </a:t>
            </a:r>
            <a:r>
              <a:rPr lang="en-US" sz="1000" b="0" i="0" err="1">
                <a:solidFill>
                  <a:schemeClr val="tx1">
                    <a:alpha val="70000"/>
                  </a:schemeClr>
                </a:solidFill>
                <a:latin typeface="Arial" panose="020B0604020202020204" pitchFamily="34" charset="0"/>
                <a:cs typeface="Arial" panose="020B0604020202020204" pitchFamily="34" charset="0"/>
              </a:rPr>
              <a:t>est</a:t>
            </a:r>
            <a:r>
              <a:rPr lang="en-US" sz="1000" b="0" i="0">
                <a:solidFill>
                  <a:schemeClr val="tx1">
                    <a:alpha val="70000"/>
                  </a:schemeClr>
                </a:solidFill>
                <a:latin typeface="Arial" panose="020B0604020202020204" pitchFamily="34" charset="0"/>
                <a:cs typeface="Arial" panose="020B0604020202020204" pitchFamily="34" charset="0"/>
              </a:rPr>
              <a:t>, </a:t>
            </a:r>
            <a:r>
              <a:rPr lang="en-US" sz="1000" b="0" i="0" err="1">
                <a:solidFill>
                  <a:schemeClr val="tx1">
                    <a:alpha val="70000"/>
                  </a:schemeClr>
                </a:solidFill>
                <a:latin typeface="Arial" panose="020B0604020202020204" pitchFamily="34" charset="0"/>
                <a:cs typeface="Arial" panose="020B0604020202020204" pitchFamily="34" charset="0"/>
              </a:rPr>
              <a:t>inus</a:t>
            </a:r>
            <a:r>
              <a:rPr lang="en-US" sz="1000" b="0" i="0">
                <a:solidFill>
                  <a:schemeClr val="tx1">
                    <a:alpha val="70000"/>
                  </a:schemeClr>
                </a:solidFill>
                <a:latin typeface="Arial" panose="020B0604020202020204" pitchFamily="34" charset="0"/>
                <a:cs typeface="Arial" panose="020B0604020202020204" pitchFamily="34" charset="0"/>
              </a:rPr>
              <a:t>, none </a:t>
            </a:r>
            <a:r>
              <a:rPr lang="en-US" sz="1000" b="0" i="0" err="1">
                <a:solidFill>
                  <a:schemeClr val="tx1">
                    <a:alpha val="70000"/>
                  </a:schemeClr>
                </a:solidFill>
                <a:latin typeface="Arial" panose="020B0604020202020204" pitchFamily="34" charset="0"/>
                <a:cs typeface="Arial" panose="020B0604020202020204" pitchFamily="34" charset="0"/>
              </a:rPr>
              <a:t>ea</a:t>
            </a:r>
            <a:r>
              <a:rPr lang="en-US" sz="1000" b="0" i="0">
                <a:solidFill>
                  <a:schemeClr val="tx1">
                    <a:alpha val="70000"/>
                  </a:schemeClr>
                </a:solidFill>
                <a:latin typeface="Arial" panose="020B0604020202020204" pitchFamily="34" charset="0"/>
                <a:cs typeface="Arial" panose="020B0604020202020204" pitchFamily="34" charset="0"/>
              </a:rPr>
              <a:t> </a:t>
            </a:r>
            <a:r>
              <a:rPr lang="en-US" sz="1000" b="0" i="0" err="1">
                <a:solidFill>
                  <a:schemeClr val="tx1">
                    <a:alpha val="70000"/>
                  </a:schemeClr>
                </a:solidFill>
                <a:latin typeface="Arial" panose="020B0604020202020204" pitchFamily="34" charset="0"/>
                <a:cs typeface="Arial" panose="020B0604020202020204" pitchFamily="34" charset="0"/>
              </a:rPr>
              <a:t>secto</a:t>
            </a:r>
            <a:r>
              <a:rPr lang="en-US" sz="1000" b="0" i="0">
                <a:solidFill>
                  <a:schemeClr val="tx1">
                    <a:alpha val="70000"/>
                  </a:schemeClr>
                </a:solidFill>
                <a:latin typeface="Arial" panose="020B0604020202020204" pitchFamily="34" charset="0"/>
                <a:cs typeface="Arial" panose="020B0604020202020204" pitchFamily="34" charset="0"/>
              </a:rPr>
              <a:t> </a:t>
            </a:r>
            <a:r>
              <a:rPr lang="en-US" sz="1000" b="0" i="0" err="1">
                <a:solidFill>
                  <a:schemeClr val="tx1">
                    <a:alpha val="70000"/>
                  </a:schemeClr>
                </a:solidFill>
                <a:latin typeface="Arial" panose="020B0604020202020204" pitchFamily="34" charset="0"/>
                <a:cs typeface="Arial" panose="020B0604020202020204" pitchFamily="34" charset="0"/>
              </a:rPr>
              <a:t>volupta</a:t>
            </a:r>
            <a:r>
              <a:rPr lang="en-US" sz="1000" b="0" i="0">
                <a:solidFill>
                  <a:schemeClr val="tx1">
                    <a:alpha val="70000"/>
                  </a:schemeClr>
                </a:solidFill>
                <a:latin typeface="Arial" panose="020B0604020202020204" pitchFamily="34" charset="0"/>
                <a:cs typeface="Arial" panose="020B0604020202020204" pitchFamily="34" charset="0"/>
              </a:rPr>
              <a:t> </a:t>
            </a:r>
            <a:r>
              <a:rPr lang="en-US" sz="1000" b="0" i="0" err="1">
                <a:solidFill>
                  <a:schemeClr val="tx1">
                    <a:alpha val="70000"/>
                  </a:schemeClr>
                </a:solidFill>
                <a:latin typeface="Arial" panose="020B0604020202020204" pitchFamily="34" charset="0"/>
                <a:cs typeface="Arial" panose="020B0604020202020204" pitchFamily="34" charset="0"/>
              </a:rPr>
              <a:t>ectotatus</a:t>
            </a:r>
            <a:r>
              <a:rPr lang="en-US" sz="1000" b="0" i="0">
                <a:solidFill>
                  <a:schemeClr val="tx1">
                    <a:alpha val="70000"/>
                  </a:schemeClr>
                </a:solidFill>
                <a:latin typeface="Arial" panose="020B0604020202020204" pitchFamily="34" charset="0"/>
                <a:cs typeface="Arial" panose="020B0604020202020204" pitchFamily="34" charset="0"/>
              </a:rPr>
              <a:t> </a:t>
            </a:r>
            <a:r>
              <a:rPr lang="en-US" sz="1000" b="0" i="0" err="1">
                <a:solidFill>
                  <a:schemeClr val="tx1">
                    <a:alpha val="70000"/>
                  </a:schemeClr>
                </a:solidFill>
                <a:latin typeface="Arial" panose="020B0604020202020204" pitchFamily="34" charset="0"/>
                <a:cs typeface="Arial" panose="020B0604020202020204" pitchFamily="34" charset="0"/>
              </a:rPr>
              <a:t>eos</a:t>
            </a:r>
            <a:r>
              <a:rPr lang="en-US" sz="1000" b="0" i="0">
                <a:solidFill>
                  <a:schemeClr val="tx1">
                    <a:alpha val="70000"/>
                  </a:schemeClr>
                </a:solidFill>
                <a:latin typeface="Arial" panose="020B0604020202020204" pitchFamily="34" charset="0"/>
                <a:cs typeface="Arial" panose="020B0604020202020204" pitchFamily="34" charset="0"/>
              </a:rPr>
              <a:t> </a:t>
            </a:r>
            <a:r>
              <a:rPr lang="en-US" sz="1000" b="0" i="0" err="1">
                <a:solidFill>
                  <a:schemeClr val="tx1">
                    <a:alpha val="70000"/>
                  </a:schemeClr>
                </a:solidFill>
                <a:latin typeface="Arial" panose="020B0604020202020204" pitchFamily="34" charset="0"/>
                <a:cs typeface="Arial" panose="020B0604020202020204" pitchFamily="34" charset="0"/>
              </a:rPr>
              <a:t>evellabo</a:t>
            </a:r>
            <a:r>
              <a:rPr lang="en-US" sz="1000" b="0" i="0">
                <a:solidFill>
                  <a:schemeClr val="tx1">
                    <a:alpha val="70000"/>
                  </a:schemeClr>
                </a:solidFill>
                <a:latin typeface="Arial" panose="020B0604020202020204" pitchFamily="34" charset="0"/>
                <a:cs typeface="Arial" panose="020B0604020202020204" pitchFamily="34" charset="0"/>
              </a:rPr>
              <a:t>. Rum </a:t>
            </a:r>
            <a:r>
              <a:rPr lang="en-US" sz="1000" b="0" i="0" err="1">
                <a:solidFill>
                  <a:schemeClr val="tx1">
                    <a:alpha val="70000"/>
                  </a:schemeClr>
                </a:solidFill>
                <a:latin typeface="Arial" panose="020B0604020202020204" pitchFamily="34" charset="0"/>
                <a:cs typeface="Arial" panose="020B0604020202020204" pitchFamily="34" charset="0"/>
              </a:rPr>
              <a:t>quis</a:t>
            </a:r>
            <a:r>
              <a:rPr lang="en-US" sz="1000" b="0" i="0">
                <a:solidFill>
                  <a:schemeClr val="tx1">
                    <a:alpha val="70000"/>
                  </a:schemeClr>
                </a:solidFill>
                <a:latin typeface="Arial" panose="020B0604020202020204" pitchFamily="34" charset="0"/>
                <a:cs typeface="Arial" panose="020B0604020202020204" pitchFamily="34" charset="0"/>
              </a:rPr>
              <a:t> </a:t>
            </a:r>
            <a:r>
              <a:rPr lang="en-US" sz="1000" b="0" i="0" err="1">
                <a:solidFill>
                  <a:schemeClr val="tx1">
                    <a:alpha val="70000"/>
                  </a:schemeClr>
                </a:solidFill>
                <a:latin typeface="Arial" panose="020B0604020202020204" pitchFamily="34" charset="0"/>
                <a:cs typeface="Arial" panose="020B0604020202020204" pitchFamily="34" charset="0"/>
              </a:rPr>
              <a:t>volorec</a:t>
            </a:r>
            <a:r>
              <a:rPr lang="en-US" sz="1000" b="0" i="0">
                <a:solidFill>
                  <a:schemeClr val="tx1">
                    <a:alpha val="70000"/>
                  </a:schemeClr>
                </a:solidFill>
                <a:latin typeface="Arial" panose="020B0604020202020204" pitchFamily="34" charset="0"/>
                <a:cs typeface="Arial" panose="020B0604020202020204" pitchFamily="34" charset="0"/>
              </a:rPr>
              <a:t>.</a:t>
            </a:r>
          </a:p>
        </p:txBody>
      </p:sp>
      <p:sp>
        <p:nvSpPr>
          <p:cNvPr id="8" name="Freeform 36">
            <a:extLst>
              <a:ext uri="{FF2B5EF4-FFF2-40B4-BE49-F238E27FC236}">
                <a16:creationId xmlns:a16="http://schemas.microsoft.com/office/drawing/2014/main" id="{68BA4E1D-E584-2442-B209-26B8B9450A0B}"/>
              </a:ext>
            </a:extLst>
          </p:cNvPr>
          <p:cNvSpPr>
            <a:spLocks noEditPoints="1"/>
          </p:cNvSpPr>
          <p:nvPr userDrawn="1"/>
        </p:nvSpPr>
        <p:spPr bwMode="auto">
          <a:xfrm>
            <a:off x="7019081" y="2670569"/>
            <a:ext cx="474024" cy="476779"/>
          </a:xfrm>
          <a:custGeom>
            <a:avLst/>
            <a:gdLst>
              <a:gd name="T0" fmla="*/ 40 w 160"/>
              <a:gd name="T1" fmla="*/ 80 h 160"/>
              <a:gd name="T2" fmla="*/ 120 w 160"/>
              <a:gd name="T3" fmla="*/ 80 h 160"/>
              <a:gd name="T4" fmla="*/ 80 w 160"/>
              <a:gd name="T5" fmla="*/ 107 h 160"/>
              <a:gd name="T6" fmla="*/ 80 w 160"/>
              <a:gd name="T7" fmla="*/ 53 h 160"/>
              <a:gd name="T8" fmla="*/ 80 w 160"/>
              <a:gd name="T9" fmla="*/ 107 h 160"/>
              <a:gd name="T10" fmla="*/ 74 w 160"/>
              <a:gd name="T11" fmla="*/ 6 h 160"/>
              <a:gd name="T12" fmla="*/ 86 w 160"/>
              <a:gd name="T13" fmla="*/ 6 h 160"/>
              <a:gd name="T14" fmla="*/ 80 w 160"/>
              <a:gd name="T15" fmla="*/ 26 h 160"/>
              <a:gd name="T16" fmla="*/ 86 w 160"/>
              <a:gd name="T17" fmla="*/ 140 h 160"/>
              <a:gd name="T18" fmla="*/ 80 w 160"/>
              <a:gd name="T19" fmla="*/ 160 h 160"/>
              <a:gd name="T20" fmla="*/ 74 w 160"/>
              <a:gd name="T21" fmla="*/ 140 h 160"/>
              <a:gd name="T22" fmla="*/ 86 w 160"/>
              <a:gd name="T23" fmla="*/ 140 h 160"/>
              <a:gd name="T24" fmla="*/ 23 w 160"/>
              <a:gd name="T25" fmla="*/ 23 h 160"/>
              <a:gd name="T26" fmla="*/ 42 w 160"/>
              <a:gd name="T27" fmla="*/ 33 h 160"/>
              <a:gd name="T28" fmla="*/ 37 w 160"/>
              <a:gd name="T29" fmla="*/ 44 h 160"/>
              <a:gd name="T30" fmla="*/ 23 w 160"/>
              <a:gd name="T31" fmla="*/ 33 h 160"/>
              <a:gd name="T32" fmla="*/ 137 w 160"/>
              <a:gd name="T33" fmla="*/ 137 h 160"/>
              <a:gd name="T34" fmla="*/ 127 w 160"/>
              <a:gd name="T35" fmla="*/ 137 h 160"/>
              <a:gd name="T36" fmla="*/ 118 w 160"/>
              <a:gd name="T37" fmla="*/ 118 h 160"/>
              <a:gd name="T38" fmla="*/ 137 w 160"/>
              <a:gd name="T39" fmla="*/ 127 h 160"/>
              <a:gd name="T40" fmla="*/ 6 w 160"/>
              <a:gd name="T41" fmla="*/ 86 h 160"/>
              <a:gd name="T42" fmla="*/ 6 w 160"/>
              <a:gd name="T43" fmla="*/ 74 h 160"/>
              <a:gd name="T44" fmla="*/ 26 w 160"/>
              <a:gd name="T45" fmla="*/ 80 h 160"/>
              <a:gd name="T46" fmla="*/ 160 w 160"/>
              <a:gd name="T47" fmla="*/ 80 h 160"/>
              <a:gd name="T48" fmla="*/ 140 w 160"/>
              <a:gd name="T49" fmla="*/ 86 h 160"/>
              <a:gd name="T50" fmla="*/ 140 w 160"/>
              <a:gd name="T51" fmla="*/ 74 h 160"/>
              <a:gd name="T52" fmla="*/ 160 w 160"/>
              <a:gd name="T53" fmla="*/ 80 h 160"/>
              <a:gd name="T54" fmla="*/ 42 w 160"/>
              <a:gd name="T55" fmla="*/ 127 h 160"/>
              <a:gd name="T56" fmla="*/ 28 w 160"/>
              <a:gd name="T57" fmla="*/ 138 h 160"/>
              <a:gd name="T58" fmla="*/ 23 w 160"/>
              <a:gd name="T59" fmla="*/ 127 h 160"/>
              <a:gd name="T60" fmla="*/ 42 w 160"/>
              <a:gd name="T61" fmla="*/ 118 h 160"/>
              <a:gd name="T62" fmla="*/ 118 w 160"/>
              <a:gd name="T63" fmla="*/ 33 h 160"/>
              <a:gd name="T64" fmla="*/ 137 w 160"/>
              <a:gd name="T65" fmla="*/ 23 h 160"/>
              <a:gd name="T66" fmla="*/ 127 w 160"/>
              <a:gd name="T67" fmla="*/ 42 h 160"/>
              <a:gd name="T68" fmla="*/ 118 w 160"/>
              <a:gd name="T69" fmla="*/ 42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0" h="160">
                <a:moveTo>
                  <a:pt x="80" y="40"/>
                </a:moveTo>
                <a:cubicBezTo>
                  <a:pt x="58" y="40"/>
                  <a:pt x="40" y="58"/>
                  <a:pt x="40" y="80"/>
                </a:cubicBezTo>
                <a:cubicBezTo>
                  <a:pt x="40" y="102"/>
                  <a:pt x="58" y="120"/>
                  <a:pt x="80" y="120"/>
                </a:cubicBezTo>
                <a:cubicBezTo>
                  <a:pt x="102" y="120"/>
                  <a:pt x="120" y="102"/>
                  <a:pt x="120" y="80"/>
                </a:cubicBezTo>
                <a:cubicBezTo>
                  <a:pt x="120" y="58"/>
                  <a:pt x="102" y="40"/>
                  <a:pt x="80" y="40"/>
                </a:cubicBezTo>
                <a:close/>
                <a:moveTo>
                  <a:pt x="80" y="107"/>
                </a:moveTo>
                <a:cubicBezTo>
                  <a:pt x="65" y="107"/>
                  <a:pt x="53" y="95"/>
                  <a:pt x="53" y="80"/>
                </a:cubicBezTo>
                <a:cubicBezTo>
                  <a:pt x="53" y="65"/>
                  <a:pt x="65" y="53"/>
                  <a:pt x="80" y="53"/>
                </a:cubicBezTo>
                <a:cubicBezTo>
                  <a:pt x="95" y="53"/>
                  <a:pt x="107" y="65"/>
                  <a:pt x="107" y="80"/>
                </a:cubicBezTo>
                <a:cubicBezTo>
                  <a:pt x="107" y="95"/>
                  <a:pt x="95" y="107"/>
                  <a:pt x="80" y="107"/>
                </a:cubicBezTo>
                <a:close/>
                <a:moveTo>
                  <a:pt x="74" y="20"/>
                </a:moveTo>
                <a:cubicBezTo>
                  <a:pt x="74" y="6"/>
                  <a:pt x="74" y="6"/>
                  <a:pt x="74" y="6"/>
                </a:cubicBezTo>
                <a:cubicBezTo>
                  <a:pt x="74" y="3"/>
                  <a:pt x="76" y="0"/>
                  <a:pt x="80" y="0"/>
                </a:cubicBezTo>
                <a:cubicBezTo>
                  <a:pt x="84" y="0"/>
                  <a:pt x="86" y="3"/>
                  <a:pt x="86" y="6"/>
                </a:cubicBezTo>
                <a:cubicBezTo>
                  <a:pt x="86" y="20"/>
                  <a:pt x="86" y="20"/>
                  <a:pt x="86" y="20"/>
                </a:cubicBezTo>
                <a:cubicBezTo>
                  <a:pt x="86" y="23"/>
                  <a:pt x="84" y="26"/>
                  <a:pt x="80" y="26"/>
                </a:cubicBezTo>
                <a:cubicBezTo>
                  <a:pt x="76" y="26"/>
                  <a:pt x="74" y="23"/>
                  <a:pt x="74" y="20"/>
                </a:cubicBezTo>
                <a:close/>
                <a:moveTo>
                  <a:pt x="86" y="140"/>
                </a:moveTo>
                <a:cubicBezTo>
                  <a:pt x="86" y="154"/>
                  <a:pt x="86" y="154"/>
                  <a:pt x="86" y="154"/>
                </a:cubicBezTo>
                <a:cubicBezTo>
                  <a:pt x="86" y="157"/>
                  <a:pt x="84" y="160"/>
                  <a:pt x="80" y="160"/>
                </a:cubicBezTo>
                <a:cubicBezTo>
                  <a:pt x="76" y="160"/>
                  <a:pt x="74" y="157"/>
                  <a:pt x="74" y="154"/>
                </a:cubicBezTo>
                <a:cubicBezTo>
                  <a:pt x="74" y="140"/>
                  <a:pt x="74" y="140"/>
                  <a:pt x="74" y="140"/>
                </a:cubicBezTo>
                <a:cubicBezTo>
                  <a:pt x="74" y="137"/>
                  <a:pt x="76" y="134"/>
                  <a:pt x="80" y="134"/>
                </a:cubicBezTo>
                <a:cubicBezTo>
                  <a:pt x="84" y="134"/>
                  <a:pt x="86" y="137"/>
                  <a:pt x="86" y="140"/>
                </a:cubicBezTo>
                <a:close/>
                <a:moveTo>
                  <a:pt x="23" y="33"/>
                </a:moveTo>
                <a:cubicBezTo>
                  <a:pt x="21" y="30"/>
                  <a:pt x="21" y="26"/>
                  <a:pt x="23" y="23"/>
                </a:cubicBezTo>
                <a:cubicBezTo>
                  <a:pt x="26" y="21"/>
                  <a:pt x="30" y="21"/>
                  <a:pt x="33" y="23"/>
                </a:cubicBezTo>
                <a:cubicBezTo>
                  <a:pt x="42" y="33"/>
                  <a:pt x="42" y="33"/>
                  <a:pt x="42" y="33"/>
                </a:cubicBezTo>
                <a:cubicBezTo>
                  <a:pt x="45" y="35"/>
                  <a:pt x="45" y="40"/>
                  <a:pt x="42" y="42"/>
                </a:cubicBezTo>
                <a:cubicBezTo>
                  <a:pt x="41" y="43"/>
                  <a:pt x="39" y="44"/>
                  <a:pt x="37" y="44"/>
                </a:cubicBezTo>
                <a:cubicBezTo>
                  <a:pt x="36" y="44"/>
                  <a:pt x="34" y="43"/>
                  <a:pt x="33" y="42"/>
                </a:cubicBezTo>
                <a:lnTo>
                  <a:pt x="23" y="33"/>
                </a:lnTo>
                <a:close/>
                <a:moveTo>
                  <a:pt x="137" y="127"/>
                </a:moveTo>
                <a:cubicBezTo>
                  <a:pt x="139" y="130"/>
                  <a:pt x="139" y="134"/>
                  <a:pt x="137" y="137"/>
                </a:cubicBezTo>
                <a:cubicBezTo>
                  <a:pt x="135" y="138"/>
                  <a:pt x="134" y="138"/>
                  <a:pt x="132" y="138"/>
                </a:cubicBezTo>
                <a:cubicBezTo>
                  <a:pt x="130" y="138"/>
                  <a:pt x="129" y="138"/>
                  <a:pt x="127" y="137"/>
                </a:cubicBezTo>
                <a:cubicBezTo>
                  <a:pt x="118" y="127"/>
                  <a:pt x="118" y="127"/>
                  <a:pt x="118" y="127"/>
                </a:cubicBezTo>
                <a:cubicBezTo>
                  <a:pt x="115" y="125"/>
                  <a:pt x="115" y="120"/>
                  <a:pt x="118" y="118"/>
                </a:cubicBezTo>
                <a:cubicBezTo>
                  <a:pt x="120" y="115"/>
                  <a:pt x="125" y="115"/>
                  <a:pt x="127" y="118"/>
                </a:cubicBezTo>
                <a:lnTo>
                  <a:pt x="137" y="127"/>
                </a:lnTo>
                <a:close/>
                <a:moveTo>
                  <a:pt x="20" y="86"/>
                </a:moveTo>
                <a:cubicBezTo>
                  <a:pt x="6" y="86"/>
                  <a:pt x="6" y="86"/>
                  <a:pt x="6" y="86"/>
                </a:cubicBezTo>
                <a:cubicBezTo>
                  <a:pt x="3" y="86"/>
                  <a:pt x="0" y="84"/>
                  <a:pt x="0" y="80"/>
                </a:cubicBezTo>
                <a:cubicBezTo>
                  <a:pt x="0" y="76"/>
                  <a:pt x="3" y="74"/>
                  <a:pt x="6" y="74"/>
                </a:cubicBezTo>
                <a:cubicBezTo>
                  <a:pt x="20" y="74"/>
                  <a:pt x="20" y="74"/>
                  <a:pt x="20" y="74"/>
                </a:cubicBezTo>
                <a:cubicBezTo>
                  <a:pt x="23" y="74"/>
                  <a:pt x="26" y="76"/>
                  <a:pt x="26" y="80"/>
                </a:cubicBezTo>
                <a:cubicBezTo>
                  <a:pt x="26" y="84"/>
                  <a:pt x="23" y="86"/>
                  <a:pt x="20" y="86"/>
                </a:cubicBezTo>
                <a:close/>
                <a:moveTo>
                  <a:pt x="160" y="80"/>
                </a:moveTo>
                <a:cubicBezTo>
                  <a:pt x="160" y="84"/>
                  <a:pt x="157" y="86"/>
                  <a:pt x="154" y="86"/>
                </a:cubicBezTo>
                <a:cubicBezTo>
                  <a:pt x="140" y="86"/>
                  <a:pt x="140" y="86"/>
                  <a:pt x="140" y="86"/>
                </a:cubicBezTo>
                <a:cubicBezTo>
                  <a:pt x="137" y="86"/>
                  <a:pt x="134" y="84"/>
                  <a:pt x="134" y="80"/>
                </a:cubicBezTo>
                <a:cubicBezTo>
                  <a:pt x="134" y="76"/>
                  <a:pt x="137" y="74"/>
                  <a:pt x="140" y="74"/>
                </a:cubicBezTo>
                <a:cubicBezTo>
                  <a:pt x="154" y="74"/>
                  <a:pt x="154" y="74"/>
                  <a:pt x="154" y="74"/>
                </a:cubicBezTo>
                <a:cubicBezTo>
                  <a:pt x="157" y="74"/>
                  <a:pt x="160" y="76"/>
                  <a:pt x="160" y="80"/>
                </a:cubicBezTo>
                <a:close/>
                <a:moveTo>
                  <a:pt x="42" y="118"/>
                </a:moveTo>
                <a:cubicBezTo>
                  <a:pt x="45" y="120"/>
                  <a:pt x="45" y="125"/>
                  <a:pt x="42" y="127"/>
                </a:cubicBezTo>
                <a:cubicBezTo>
                  <a:pt x="33" y="137"/>
                  <a:pt x="33" y="137"/>
                  <a:pt x="33" y="137"/>
                </a:cubicBezTo>
                <a:cubicBezTo>
                  <a:pt x="31" y="138"/>
                  <a:pt x="30" y="138"/>
                  <a:pt x="28" y="138"/>
                </a:cubicBezTo>
                <a:cubicBezTo>
                  <a:pt x="26" y="138"/>
                  <a:pt x="25" y="138"/>
                  <a:pt x="23" y="137"/>
                </a:cubicBezTo>
                <a:cubicBezTo>
                  <a:pt x="21" y="134"/>
                  <a:pt x="21" y="130"/>
                  <a:pt x="23" y="127"/>
                </a:cubicBezTo>
                <a:cubicBezTo>
                  <a:pt x="33" y="118"/>
                  <a:pt x="33" y="118"/>
                  <a:pt x="33" y="118"/>
                </a:cubicBezTo>
                <a:cubicBezTo>
                  <a:pt x="35" y="115"/>
                  <a:pt x="40" y="115"/>
                  <a:pt x="42" y="118"/>
                </a:cubicBezTo>
                <a:close/>
                <a:moveTo>
                  <a:pt x="118" y="42"/>
                </a:moveTo>
                <a:cubicBezTo>
                  <a:pt x="115" y="40"/>
                  <a:pt x="115" y="35"/>
                  <a:pt x="118" y="33"/>
                </a:cubicBezTo>
                <a:cubicBezTo>
                  <a:pt x="127" y="23"/>
                  <a:pt x="127" y="23"/>
                  <a:pt x="127" y="23"/>
                </a:cubicBezTo>
                <a:cubicBezTo>
                  <a:pt x="130" y="21"/>
                  <a:pt x="134" y="21"/>
                  <a:pt x="137" y="23"/>
                </a:cubicBezTo>
                <a:cubicBezTo>
                  <a:pt x="139" y="26"/>
                  <a:pt x="139" y="30"/>
                  <a:pt x="137" y="33"/>
                </a:cubicBezTo>
                <a:cubicBezTo>
                  <a:pt x="127" y="42"/>
                  <a:pt x="127" y="42"/>
                  <a:pt x="127" y="42"/>
                </a:cubicBezTo>
                <a:cubicBezTo>
                  <a:pt x="126" y="43"/>
                  <a:pt x="124" y="44"/>
                  <a:pt x="123" y="44"/>
                </a:cubicBezTo>
                <a:cubicBezTo>
                  <a:pt x="121" y="44"/>
                  <a:pt x="119" y="43"/>
                  <a:pt x="118" y="42"/>
                </a:cubicBezTo>
                <a:close/>
              </a:path>
            </a:pathLst>
          </a:custGeom>
          <a:solidFill>
            <a:srgbClr val="3D3381"/>
          </a:solidFill>
          <a:ln>
            <a:noFill/>
          </a:ln>
        </p:spPr>
        <p:txBody>
          <a:bodyPr vert="horz" wrap="square" lIns="91440" tIns="45720" rIns="91440" bIns="45720" numCol="1" anchor="t" anchorCtr="0" compatLnSpc="1">
            <a:prstTxWarp prst="textNoShape">
              <a:avLst/>
            </a:prstTxWarp>
          </a:bodyPr>
          <a:lstStyle/>
          <a:p>
            <a:endParaRPr lang="en-US" sz="1351"/>
          </a:p>
        </p:txBody>
      </p:sp>
      <p:sp>
        <p:nvSpPr>
          <p:cNvPr id="9" name="TextBox 8">
            <a:extLst>
              <a:ext uri="{FF2B5EF4-FFF2-40B4-BE49-F238E27FC236}">
                <a16:creationId xmlns:a16="http://schemas.microsoft.com/office/drawing/2014/main" id="{34ED0204-A611-074D-AC3A-A41BDE054A71}"/>
              </a:ext>
            </a:extLst>
          </p:cNvPr>
          <p:cNvSpPr txBox="1"/>
          <p:nvPr userDrawn="1"/>
        </p:nvSpPr>
        <p:spPr>
          <a:xfrm>
            <a:off x="9439443" y="3434949"/>
            <a:ext cx="1794776" cy="1928157"/>
          </a:xfrm>
          <a:prstGeom prst="rect">
            <a:avLst/>
          </a:prstGeom>
          <a:noFill/>
        </p:spPr>
        <p:txBody>
          <a:bodyPr wrap="square" lIns="0" rIns="0" rtlCol="0">
            <a:spAutoFit/>
          </a:bodyPr>
          <a:lstStyle/>
          <a:p>
            <a:pPr>
              <a:lnSpc>
                <a:spcPct val="120000"/>
              </a:lnSpc>
              <a:spcBef>
                <a:spcPts val="1200"/>
              </a:spcBef>
            </a:pPr>
            <a:r>
              <a:rPr lang="en-US" sz="1200" b="1" i="0">
                <a:latin typeface="Arial" panose="020B0604020202020204" pitchFamily="34" charset="0"/>
                <a:ea typeface="Open Sans" charset="0"/>
                <a:cs typeface="Arial" panose="020B0604020202020204" pitchFamily="34" charset="0"/>
              </a:rPr>
              <a:t>Sub header</a:t>
            </a:r>
          </a:p>
          <a:p>
            <a:pPr>
              <a:lnSpc>
                <a:spcPct val="120000"/>
              </a:lnSpc>
              <a:spcBef>
                <a:spcPts val="1200"/>
              </a:spcBef>
            </a:pPr>
            <a:r>
              <a:rPr lang="en-US" sz="1000" b="0" i="0" err="1">
                <a:solidFill>
                  <a:schemeClr val="tx1">
                    <a:alpha val="70000"/>
                  </a:schemeClr>
                </a:solidFill>
                <a:latin typeface="Arial" panose="020B0604020202020204" pitchFamily="34" charset="0"/>
                <a:cs typeface="Arial" panose="020B0604020202020204" pitchFamily="34" charset="0"/>
              </a:rPr>
              <a:t>Estiusc</a:t>
            </a:r>
            <a:r>
              <a:rPr lang="en-US" sz="1000" b="0" i="0">
                <a:solidFill>
                  <a:schemeClr val="tx1">
                    <a:alpha val="70000"/>
                  </a:schemeClr>
                </a:solidFill>
                <a:latin typeface="Arial" panose="020B0604020202020204" pitchFamily="34" charset="0"/>
                <a:cs typeface="Arial" panose="020B0604020202020204" pitchFamily="34" charset="0"/>
              </a:rPr>
              <a:t> </a:t>
            </a:r>
            <a:r>
              <a:rPr lang="en-US" sz="1000" b="0" i="0" err="1">
                <a:solidFill>
                  <a:schemeClr val="tx1">
                    <a:alpha val="70000"/>
                  </a:schemeClr>
                </a:solidFill>
                <a:latin typeface="Arial" panose="020B0604020202020204" pitchFamily="34" charset="0"/>
                <a:cs typeface="Arial" panose="020B0604020202020204" pitchFamily="34" charset="0"/>
              </a:rPr>
              <a:t>imusam</a:t>
            </a:r>
            <a:r>
              <a:rPr lang="en-US" sz="1000" b="0" i="0">
                <a:solidFill>
                  <a:schemeClr val="tx1">
                    <a:alpha val="70000"/>
                  </a:schemeClr>
                </a:solidFill>
                <a:latin typeface="Arial" panose="020B0604020202020204" pitchFamily="34" charset="0"/>
                <a:cs typeface="Arial" panose="020B0604020202020204" pitchFamily="34" charset="0"/>
              </a:rPr>
              <a:t> </a:t>
            </a:r>
            <a:r>
              <a:rPr lang="en-US" sz="1000" b="0" i="0" err="1">
                <a:solidFill>
                  <a:schemeClr val="tx1">
                    <a:alpha val="70000"/>
                  </a:schemeClr>
                </a:solidFill>
                <a:latin typeface="Arial" panose="020B0604020202020204" pitchFamily="34" charset="0"/>
                <a:cs typeface="Arial" panose="020B0604020202020204" pitchFamily="34" charset="0"/>
              </a:rPr>
              <a:t>quia</a:t>
            </a:r>
            <a:r>
              <a:rPr lang="en-US" sz="1000" b="0" i="0">
                <a:solidFill>
                  <a:schemeClr val="tx1">
                    <a:alpha val="70000"/>
                  </a:schemeClr>
                </a:solidFill>
                <a:latin typeface="Arial" panose="020B0604020202020204" pitchFamily="34" charset="0"/>
                <a:cs typeface="Arial" panose="020B0604020202020204" pitchFamily="34" charset="0"/>
              </a:rPr>
              <a:t> </a:t>
            </a:r>
            <a:r>
              <a:rPr lang="en-US" sz="1000" b="0" i="0" err="1">
                <a:solidFill>
                  <a:schemeClr val="tx1">
                    <a:alpha val="70000"/>
                  </a:schemeClr>
                </a:solidFill>
                <a:latin typeface="Arial" panose="020B0604020202020204" pitchFamily="34" charset="0"/>
                <a:cs typeface="Arial" panose="020B0604020202020204" pitchFamily="34" charset="0"/>
              </a:rPr>
              <a:t>sunto</a:t>
            </a:r>
            <a:r>
              <a:rPr lang="en-US" sz="1000" b="0" i="0">
                <a:solidFill>
                  <a:schemeClr val="tx1">
                    <a:alpha val="70000"/>
                  </a:schemeClr>
                </a:solidFill>
                <a:latin typeface="Arial" panose="020B0604020202020204" pitchFamily="34" charset="0"/>
                <a:cs typeface="Arial" panose="020B0604020202020204" pitchFamily="34" charset="0"/>
              </a:rPr>
              <a:t> mod </a:t>
            </a:r>
            <a:r>
              <a:rPr lang="en-US" sz="1000" b="0" i="0" err="1">
                <a:solidFill>
                  <a:schemeClr val="tx1">
                    <a:alpha val="70000"/>
                  </a:schemeClr>
                </a:solidFill>
                <a:latin typeface="Arial" panose="020B0604020202020204" pitchFamily="34" charset="0"/>
                <a:cs typeface="Arial" panose="020B0604020202020204" pitchFamily="34" charset="0"/>
              </a:rPr>
              <a:t>maximporibus</a:t>
            </a:r>
            <a:r>
              <a:rPr lang="en-US" sz="1000" b="0" i="0">
                <a:solidFill>
                  <a:schemeClr val="tx1">
                    <a:alpha val="70000"/>
                  </a:schemeClr>
                </a:solidFill>
                <a:latin typeface="Arial" panose="020B0604020202020204" pitchFamily="34" charset="0"/>
                <a:cs typeface="Arial" panose="020B0604020202020204" pitchFamily="34" charset="0"/>
              </a:rPr>
              <a:t> in nus </a:t>
            </a:r>
            <a:r>
              <a:rPr lang="en-US" sz="1000" b="0" i="0" err="1">
                <a:solidFill>
                  <a:schemeClr val="tx1">
                    <a:alpha val="70000"/>
                  </a:schemeClr>
                </a:solidFill>
                <a:latin typeface="Arial" panose="020B0604020202020204" pitchFamily="34" charset="0"/>
                <a:cs typeface="Arial" panose="020B0604020202020204" pitchFamily="34" charset="0"/>
              </a:rPr>
              <a:t>dolup</a:t>
            </a:r>
            <a:r>
              <a:rPr lang="en-US" sz="1000" b="0" i="0">
                <a:solidFill>
                  <a:schemeClr val="tx1">
                    <a:alpha val="70000"/>
                  </a:schemeClr>
                </a:solidFill>
                <a:latin typeface="Arial" panose="020B0604020202020204" pitchFamily="34" charset="0"/>
                <a:cs typeface="Arial" panose="020B0604020202020204" pitchFamily="34" charset="0"/>
              </a:rPr>
              <a:t> </a:t>
            </a:r>
            <a:r>
              <a:rPr lang="en-US" sz="1000" b="0" i="0" err="1">
                <a:solidFill>
                  <a:schemeClr val="tx1">
                    <a:alpha val="70000"/>
                  </a:schemeClr>
                </a:solidFill>
                <a:latin typeface="Arial" panose="020B0604020202020204" pitchFamily="34" charset="0"/>
                <a:cs typeface="Arial" panose="020B0604020202020204" pitchFamily="34" charset="0"/>
              </a:rPr>
              <a:t>idu</a:t>
            </a:r>
            <a:r>
              <a:rPr lang="en-US" sz="1000" b="0" i="0">
                <a:solidFill>
                  <a:schemeClr val="tx1">
                    <a:alpha val="70000"/>
                  </a:schemeClr>
                </a:solidFill>
                <a:latin typeface="Arial" panose="020B0604020202020204" pitchFamily="34" charset="0"/>
                <a:cs typeface="Arial" panose="020B0604020202020204" pitchFamily="34" charset="0"/>
              </a:rPr>
              <a:t> nt. Ur </a:t>
            </a:r>
            <a:r>
              <a:rPr lang="en-US" sz="1000" b="0" i="0" err="1">
                <a:solidFill>
                  <a:schemeClr val="tx1">
                    <a:alpha val="70000"/>
                  </a:schemeClr>
                </a:solidFill>
                <a:latin typeface="Arial" panose="020B0604020202020204" pitchFamily="34" charset="0"/>
                <a:cs typeface="Arial" panose="020B0604020202020204" pitchFamily="34" charset="0"/>
              </a:rPr>
              <a:t>aut</a:t>
            </a:r>
            <a:r>
              <a:rPr lang="en-US" sz="1000" b="0" i="0">
                <a:solidFill>
                  <a:schemeClr val="tx1">
                    <a:alpha val="70000"/>
                  </a:schemeClr>
                </a:solidFill>
                <a:latin typeface="Arial" panose="020B0604020202020204" pitchFamily="34" charset="0"/>
                <a:cs typeface="Arial" panose="020B0604020202020204" pitchFamily="34" charset="0"/>
              </a:rPr>
              <a:t> </a:t>
            </a:r>
            <a:r>
              <a:rPr lang="en-US" sz="1000" b="0" i="0" err="1">
                <a:solidFill>
                  <a:schemeClr val="tx1">
                    <a:alpha val="70000"/>
                  </a:schemeClr>
                </a:solidFill>
                <a:latin typeface="Arial" panose="020B0604020202020204" pitchFamily="34" charset="0"/>
                <a:cs typeface="Arial" panose="020B0604020202020204" pitchFamily="34" charset="0"/>
              </a:rPr>
              <a:t>delibus</a:t>
            </a:r>
            <a:r>
              <a:rPr lang="en-US" sz="1000" b="0" i="0">
                <a:solidFill>
                  <a:schemeClr val="tx1">
                    <a:alpha val="70000"/>
                  </a:schemeClr>
                </a:solidFill>
                <a:latin typeface="Arial" panose="020B0604020202020204" pitchFamily="34" charset="0"/>
                <a:cs typeface="Arial" panose="020B0604020202020204" pitchFamily="34" charset="0"/>
              </a:rPr>
              <a:t>, qui </a:t>
            </a:r>
            <a:r>
              <a:rPr lang="en-US" sz="1000" b="0" i="0" err="1">
                <a:solidFill>
                  <a:schemeClr val="tx1">
                    <a:alpha val="70000"/>
                  </a:schemeClr>
                </a:solidFill>
                <a:latin typeface="Arial" panose="020B0604020202020204" pitchFamily="34" charset="0"/>
                <a:cs typeface="Arial" panose="020B0604020202020204" pitchFamily="34" charset="0"/>
              </a:rPr>
              <a:t>distius</a:t>
            </a:r>
            <a:r>
              <a:rPr lang="en-US" sz="1000" b="0" i="0">
                <a:solidFill>
                  <a:schemeClr val="tx1">
                    <a:alpha val="70000"/>
                  </a:schemeClr>
                </a:solidFill>
                <a:latin typeface="Arial" panose="020B0604020202020204" pitchFamily="34" charset="0"/>
                <a:cs typeface="Arial" panose="020B0604020202020204" pitchFamily="34" charset="0"/>
              </a:rPr>
              <a:t>, </a:t>
            </a:r>
            <a:r>
              <a:rPr lang="en-US" sz="1000" b="0" i="0" err="1">
                <a:solidFill>
                  <a:schemeClr val="tx1">
                    <a:alpha val="70000"/>
                  </a:schemeClr>
                </a:solidFill>
                <a:latin typeface="Arial" panose="020B0604020202020204" pitchFamily="34" charset="0"/>
                <a:cs typeface="Arial" panose="020B0604020202020204" pitchFamily="34" charset="0"/>
              </a:rPr>
              <a:t>quae</a:t>
            </a:r>
            <a:r>
              <a:rPr lang="en-US" sz="1000" b="0" i="0">
                <a:solidFill>
                  <a:schemeClr val="tx1">
                    <a:alpha val="70000"/>
                  </a:schemeClr>
                </a:solidFill>
                <a:latin typeface="Arial" panose="020B0604020202020204" pitchFamily="34" charset="0"/>
                <a:cs typeface="Arial" panose="020B0604020202020204" pitchFamily="34" charset="0"/>
              </a:rPr>
              <a:t> </a:t>
            </a:r>
            <a:r>
              <a:rPr lang="en-US" sz="1000" b="0" i="0" err="1">
                <a:solidFill>
                  <a:schemeClr val="tx1">
                    <a:alpha val="70000"/>
                  </a:schemeClr>
                </a:solidFill>
                <a:latin typeface="Arial" panose="020B0604020202020204" pitchFamily="34" charset="0"/>
                <a:cs typeface="Arial" panose="020B0604020202020204" pitchFamily="34" charset="0"/>
              </a:rPr>
              <a:t>ipsus</a:t>
            </a:r>
            <a:r>
              <a:rPr lang="en-US" sz="1000" b="0" i="0">
                <a:solidFill>
                  <a:schemeClr val="tx1">
                    <a:alpha val="70000"/>
                  </a:schemeClr>
                </a:solidFill>
                <a:latin typeface="Arial" panose="020B0604020202020204" pitchFamily="34" charset="0"/>
                <a:cs typeface="Arial" panose="020B0604020202020204" pitchFamily="34" charset="0"/>
              </a:rPr>
              <a:t> </a:t>
            </a:r>
            <a:r>
              <a:rPr lang="en-US" sz="1000" b="0" i="0" err="1">
                <a:solidFill>
                  <a:schemeClr val="tx1">
                    <a:alpha val="70000"/>
                  </a:schemeClr>
                </a:solidFill>
                <a:latin typeface="Arial" panose="020B0604020202020204" pitchFamily="34" charset="0"/>
                <a:cs typeface="Arial" panose="020B0604020202020204" pitchFamily="34" charset="0"/>
              </a:rPr>
              <a:t>maioreptas</a:t>
            </a:r>
            <a:r>
              <a:rPr lang="en-US" sz="1000" b="0" i="0">
                <a:solidFill>
                  <a:schemeClr val="tx1">
                    <a:alpha val="70000"/>
                  </a:schemeClr>
                </a:solidFill>
                <a:latin typeface="Arial" panose="020B0604020202020204" pitchFamily="34" charset="0"/>
                <a:cs typeface="Arial" panose="020B0604020202020204" pitchFamily="34" charset="0"/>
              </a:rPr>
              <a:t> net </a:t>
            </a:r>
            <a:r>
              <a:rPr lang="en-US" sz="1000" b="0" i="0" err="1">
                <a:solidFill>
                  <a:schemeClr val="tx1">
                    <a:alpha val="70000"/>
                  </a:schemeClr>
                </a:solidFill>
                <a:latin typeface="Arial" panose="020B0604020202020204" pitchFamily="34" charset="0"/>
                <a:cs typeface="Arial" panose="020B0604020202020204" pitchFamily="34" charset="0"/>
              </a:rPr>
              <a:t>aut</a:t>
            </a:r>
            <a:r>
              <a:rPr lang="en-US" sz="1000" b="0" i="0">
                <a:solidFill>
                  <a:schemeClr val="tx1">
                    <a:alpha val="70000"/>
                  </a:schemeClr>
                </a:solidFill>
                <a:latin typeface="Arial" panose="020B0604020202020204" pitchFamily="34" charset="0"/>
                <a:cs typeface="Arial" panose="020B0604020202020204" pitchFamily="34" charset="0"/>
              </a:rPr>
              <a:t> </a:t>
            </a:r>
            <a:r>
              <a:rPr lang="en-US" sz="1000" b="0" i="0" err="1">
                <a:solidFill>
                  <a:schemeClr val="tx1">
                    <a:alpha val="70000"/>
                  </a:schemeClr>
                </a:solidFill>
                <a:latin typeface="Arial" panose="020B0604020202020204" pitchFamily="34" charset="0"/>
                <a:cs typeface="Arial" panose="020B0604020202020204" pitchFamily="34" charset="0"/>
              </a:rPr>
              <a:t>ut</a:t>
            </a:r>
            <a:r>
              <a:rPr lang="en-US" sz="1000" b="0" i="0">
                <a:solidFill>
                  <a:schemeClr val="tx1">
                    <a:alpha val="70000"/>
                  </a:schemeClr>
                </a:solidFill>
                <a:latin typeface="Arial" panose="020B0604020202020204" pitchFamily="34" charset="0"/>
                <a:cs typeface="Arial" panose="020B0604020202020204" pitchFamily="34" charset="0"/>
              </a:rPr>
              <a:t> et ex </a:t>
            </a:r>
            <a:r>
              <a:rPr lang="en-US" sz="1000" b="0" i="0" err="1">
                <a:solidFill>
                  <a:schemeClr val="tx1">
                    <a:alpha val="70000"/>
                  </a:schemeClr>
                </a:solidFill>
                <a:latin typeface="Arial" panose="020B0604020202020204" pitchFamily="34" charset="0"/>
                <a:cs typeface="Arial" panose="020B0604020202020204" pitchFamily="34" charset="0"/>
              </a:rPr>
              <a:t>etur</a:t>
            </a:r>
            <a:r>
              <a:rPr lang="en-US" sz="1000" b="0" i="0">
                <a:solidFill>
                  <a:schemeClr val="tx1">
                    <a:alpha val="70000"/>
                  </a:schemeClr>
                </a:solidFill>
                <a:latin typeface="Arial" panose="020B0604020202020204" pitchFamily="34" charset="0"/>
                <a:cs typeface="Arial" panose="020B0604020202020204" pitchFamily="34" charset="0"/>
              </a:rPr>
              <a:t> </a:t>
            </a:r>
            <a:r>
              <a:rPr lang="en-US" sz="1000" b="0" i="0" err="1">
                <a:solidFill>
                  <a:schemeClr val="tx1">
                    <a:alpha val="70000"/>
                  </a:schemeClr>
                </a:solidFill>
                <a:latin typeface="Arial" panose="020B0604020202020204" pitchFamily="34" charset="0"/>
                <a:cs typeface="Arial" panose="020B0604020202020204" pitchFamily="34" charset="0"/>
              </a:rPr>
              <a:t>andenit</a:t>
            </a:r>
            <a:r>
              <a:rPr lang="en-US" sz="1000" b="0" i="0">
                <a:solidFill>
                  <a:schemeClr val="tx1">
                    <a:alpha val="70000"/>
                  </a:schemeClr>
                </a:solidFill>
                <a:latin typeface="Arial" panose="020B0604020202020204" pitchFamily="34" charset="0"/>
                <a:cs typeface="Arial" panose="020B0604020202020204" pitchFamily="34" charset="0"/>
              </a:rPr>
              <a:t> il </a:t>
            </a:r>
            <a:r>
              <a:rPr lang="en-US" sz="1000" b="0" i="0" err="1">
                <a:solidFill>
                  <a:schemeClr val="tx1">
                    <a:alpha val="70000"/>
                  </a:schemeClr>
                </a:solidFill>
                <a:latin typeface="Arial" panose="020B0604020202020204" pitchFamily="34" charset="0"/>
                <a:cs typeface="Arial" panose="020B0604020202020204" pitchFamily="34" charset="0"/>
              </a:rPr>
              <a:t>idest</a:t>
            </a:r>
            <a:r>
              <a:rPr lang="en-US" sz="1000" b="0" i="0">
                <a:solidFill>
                  <a:schemeClr val="tx1">
                    <a:alpha val="70000"/>
                  </a:schemeClr>
                </a:solidFill>
                <a:latin typeface="Arial" panose="020B0604020202020204" pitchFamily="34" charset="0"/>
                <a:cs typeface="Arial" panose="020B0604020202020204" pitchFamily="34" charset="0"/>
              </a:rPr>
              <a:t>, sit </a:t>
            </a:r>
            <a:r>
              <a:rPr lang="en-US" sz="1000" b="0" i="0" err="1">
                <a:solidFill>
                  <a:schemeClr val="tx1">
                    <a:alpha val="70000"/>
                  </a:schemeClr>
                </a:solidFill>
                <a:latin typeface="Arial" panose="020B0604020202020204" pitchFamily="34" charset="0"/>
                <a:cs typeface="Arial" panose="020B0604020202020204" pitchFamily="34" charset="0"/>
              </a:rPr>
              <a:t>prehendel</a:t>
            </a:r>
            <a:r>
              <a:rPr lang="en-US" sz="1000" b="0" i="0">
                <a:solidFill>
                  <a:schemeClr val="tx1">
                    <a:alpha val="70000"/>
                  </a:schemeClr>
                </a:solidFill>
                <a:latin typeface="Arial" panose="020B0604020202020204" pitchFamily="34" charset="0"/>
                <a:cs typeface="Arial" panose="020B0604020202020204" pitchFamily="34" charset="0"/>
              </a:rPr>
              <a:t> </a:t>
            </a:r>
            <a:r>
              <a:rPr lang="en-US" sz="1000" b="0" i="0" err="1">
                <a:solidFill>
                  <a:schemeClr val="tx1">
                    <a:alpha val="70000"/>
                  </a:schemeClr>
                </a:solidFill>
                <a:latin typeface="Arial" panose="020B0604020202020204" pitchFamily="34" charset="0"/>
                <a:cs typeface="Arial" panose="020B0604020202020204" pitchFamily="34" charset="0"/>
              </a:rPr>
              <a:t>est</a:t>
            </a:r>
            <a:r>
              <a:rPr lang="en-US" sz="1000" b="0" i="0">
                <a:solidFill>
                  <a:schemeClr val="tx1">
                    <a:alpha val="70000"/>
                  </a:schemeClr>
                </a:solidFill>
                <a:latin typeface="Arial" panose="020B0604020202020204" pitchFamily="34" charset="0"/>
                <a:cs typeface="Arial" panose="020B0604020202020204" pitchFamily="34" charset="0"/>
              </a:rPr>
              <a:t>, </a:t>
            </a:r>
            <a:r>
              <a:rPr lang="en-US" sz="1000" b="0" i="0" err="1">
                <a:solidFill>
                  <a:schemeClr val="tx1">
                    <a:alpha val="70000"/>
                  </a:schemeClr>
                </a:solidFill>
                <a:latin typeface="Arial" panose="020B0604020202020204" pitchFamily="34" charset="0"/>
                <a:cs typeface="Arial" panose="020B0604020202020204" pitchFamily="34" charset="0"/>
              </a:rPr>
              <a:t>inus</a:t>
            </a:r>
            <a:r>
              <a:rPr lang="en-US" sz="1000" b="0" i="0">
                <a:solidFill>
                  <a:schemeClr val="tx1">
                    <a:alpha val="70000"/>
                  </a:schemeClr>
                </a:solidFill>
                <a:latin typeface="Arial" panose="020B0604020202020204" pitchFamily="34" charset="0"/>
                <a:cs typeface="Arial" panose="020B0604020202020204" pitchFamily="34" charset="0"/>
              </a:rPr>
              <a:t>, none </a:t>
            </a:r>
            <a:r>
              <a:rPr lang="en-US" sz="1000" b="0" i="0" err="1">
                <a:solidFill>
                  <a:schemeClr val="tx1">
                    <a:alpha val="70000"/>
                  </a:schemeClr>
                </a:solidFill>
                <a:latin typeface="Arial" panose="020B0604020202020204" pitchFamily="34" charset="0"/>
                <a:cs typeface="Arial" panose="020B0604020202020204" pitchFamily="34" charset="0"/>
              </a:rPr>
              <a:t>ea</a:t>
            </a:r>
            <a:r>
              <a:rPr lang="en-US" sz="1000" b="0" i="0">
                <a:solidFill>
                  <a:schemeClr val="tx1">
                    <a:alpha val="70000"/>
                  </a:schemeClr>
                </a:solidFill>
                <a:latin typeface="Arial" panose="020B0604020202020204" pitchFamily="34" charset="0"/>
                <a:cs typeface="Arial" panose="020B0604020202020204" pitchFamily="34" charset="0"/>
              </a:rPr>
              <a:t> </a:t>
            </a:r>
            <a:r>
              <a:rPr lang="en-US" sz="1000" b="0" i="0" err="1">
                <a:solidFill>
                  <a:schemeClr val="tx1">
                    <a:alpha val="70000"/>
                  </a:schemeClr>
                </a:solidFill>
                <a:latin typeface="Arial" panose="020B0604020202020204" pitchFamily="34" charset="0"/>
                <a:cs typeface="Arial" panose="020B0604020202020204" pitchFamily="34" charset="0"/>
              </a:rPr>
              <a:t>secto</a:t>
            </a:r>
            <a:r>
              <a:rPr lang="en-US" sz="1000" b="0" i="0">
                <a:solidFill>
                  <a:schemeClr val="tx1">
                    <a:alpha val="70000"/>
                  </a:schemeClr>
                </a:solidFill>
                <a:latin typeface="Arial" panose="020B0604020202020204" pitchFamily="34" charset="0"/>
                <a:cs typeface="Arial" panose="020B0604020202020204" pitchFamily="34" charset="0"/>
              </a:rPr>
              <a:t> </a:t>
            </a:r>
            <a:r>
              <a:rPr lang="en-US" sz="1000" b="0" i="0" err="1">
                <a:solidFill>
                  <a:schemeClr val="tx1">
                    <a:alpha val="70000"/>
                  </a:schemeClr>
                </a:solidFill>
                <a:latin typeface="Arial" panose="020B0604020202020204" pitchFamily="34" charset="0"/>
                <a:cs typeface="Arial" panose="020B0604020202020204" pitchFamily="34" charset="0"/>
              </a:rPr>
              <a:t>volupta</a:t>
            </a:r>
            <a:r>
              <a:rPr lang="en-US" sz="1000" b="0" i="0">
                <a:solidFill>
                  <a:schemeClr val="tx1">
                    <a:alpha val="70000"/>
                  </a:schemeClr>
                </a:solidFill>
                <a:latin typeface="Arial" panose="020B0604020202020204" pitchFamily="34" charset="0"/>
                <a:cs typeface="Arial" panose="020B0604020202020204" pitchFamily="34" charset="0"/>
              </a:rPr>
              <a:t> </a:t>
            </a:r>
            <a:r>
              <a:rPr lang="en-US" sz="1000" b="0" i="0" err="1">
                <a:solidFill>
                  <a:schemeClr val="tx1">
                    <a:alpha val="70000"/>
                  </a:schemeClr>
                </a:solidFill>
                <a:latin typeface="Arial" panose="020B0604020202020204" pitchFamily="34" charset="0"/>
                <a:cs typeface="Arial" panose="020B0604020202020204" pitchFamily="34" charset="0"/>
              </a:rPr>
              <a:t>ectotatus</a:t>
            </a:r>
            <a:r>
              <a:rPr lang="en-US" sz="1000" b="0" i="0">
                <a:solidFill>
                  <a:schemeClr val="tx1">
                    <a:alpha val="70000"/>
                  </a:schemeClr>
                </a:solidFill>
                <a:latin typeface="Arial" panose="020B0604020202020204" pitchFamily="34" charset="0"/>
                <a:cs typeface="Arial" panose="020B0604020202020204" pitchFamily="34" charset="0"/>
              </a:rPr>
              <a:t> </a:t>
            </a:r>
            <a:r>
              <a:rPr lang="en-US" sz="1000" b="0" i="0" err="1">
                <a:solidFill>
                  <a:schemeClr val="tx1">
                    <a:alpha val="70000"/>
                  </a:schemeClr>
                </a:solidFill>
                <a:latin typeface="Arial" panose="020B0604020202020204" pitchFamily="34" charset="0"/>
                <a:cs typeface="Arial" panose="020B0604020202020204" pitchFamily="34" charset="0"/>
              </a:rPr>
              <a:t>eos</a:t>
            </a:r>
            <a:r>
              <a:rPr lang="en-US" sz="1000" b="0" i="0">
                <a:solidFill>
                  <a:schemeClr val="tx1">
                    <a:alpha val="70000"/>
                  </a:schemeClr>
                </a:solidFill>
                <a:latin typeface="Arial" panose="020B0604020202020204" pitchFamily="34" charset="0"/>
                <a:cs typeface="Arial" panose="020B0604020202020204" pitchFamily="34" charset="0"/>
              </a:rPr>
              <a:t> </a:t>
            </a:r>
            <a:r>
              <a:rPr lang="en-US" sz="1000" b="0" i="0" err="1">
                <a:solidFill>
                  <a:schemeClr val="tx1">
                    <a:alpha val="70000"/>
                  </a:schemeClr>
                </a:solidFill>
                <a:latin typeface="Arial" panose="020B0604020202020204" pitchFamily="34" charset="0"/>
                <a:cs typeface="Arial" panose="020B0604020202020204" pitchFamily="34" charset="0"/>
              </a:rPr>
              <a:t>evellabo</a:t>
            </a:r>
            <a:r>
              <a:rPr lang="en-US" sz="1000" b="0" i="0">
                <a:solidFill>
                  <a:schemeClr val="tx1">
                    <a:alpha val="70000"/>
                  </a:schemeClr>
                </a:solidFill>
                <a:latin typeface="Arial" panose="020B0604020202020204" pitchFamily="34" charset="0"/>
                <a:cs typeface="Arial" panose="020B0604020202020204" pitchFamily="34" charset="0"/>
              </a:rPr>
              <a:t>. Rum </a:t>
            </a:r>
            <a:r>
              <a:rPr lang="en-US" sz="1000" b="0" i="0" err="1">
                <a:solidFill>
                  <a:schemeClr val="tx1">
                    <a:alpha val="70000"/>
                  </a:schemeClr>
                </a:solidFill>
                <a:latin typeface="Arial" panose="020B0604020202020204" pitchFamily="34" charset="0"/>
                <a:cs typeface="Arial" panose="020B0604020202020204" pitchFamily="34" charset="0"/>
              </a:rPr>
              <a:t>quis</a:t>
            </a:r>
            <a:r>
              <a:rPr lang="en-US" sz="1000" b="0" i="0">
                <a:solidFill>
                  <a:schemeClr val="tx1">
                    <a:alpha val="70000"/>
                  </a:schemeClr>
                </a:solidFill>
                <a:latin typeface="Arial" panose="020B0604020202020204" pitchFamily="34" charset="0"/>
                <a:cs typeface="Arial" panose="020B0604020202020204" pitchFamily="34" charset="0"/>
              </a:rPr>
              <a:t> </a:t>
            </a:r>
            <a:r>
              <a:rPr lang="en-US" sz="1000" b="0" i="0" err="1">
                <a:solidFill>
                  <a:schemeClr val="tx1">
                    <a:alpha val="70000"/>
                  </a:schemeClr>
                </a:solidFill>
                <a:latin typeface="Arial" panose="020B0604020202020204" pitchFamily="34" charset="0"/>
                <a:cs typeface="Arial" panose="020B0604020202020204" pitchFamily="34" charset="0"/>
              </a:rPr>
              <a:t>volorec</a:t>
            </a:r>
            <a:r>
              <a:rPr lang="en-US" sz="1000" b="0" i="0">
                <a:solidFill>
                  <a:schemeClr val="tx1">
                    <a:alpha val="70000"/>
                  </a:schemeClr>
                </a:solidFill>
                <a:latin typeface="Arial" panose="020B0604020202020204" pitchFamily="34" charset="0"/>
                <a:cs typeface="Arial" panose="020B0604020202020204" pitchFamily="34" charset="0"/>
              </a:rPr>
              <a:t>.</a:t>
            </a:r>
          </a:p>
        </p:txBody>
      </p:sp>
      <p:sp>
        <p:nvSpPr>
          <p:cNvPr id="10" name="Freeform 86">
            <a:extLst>
              <a:ext uri="{FF2B5EF4-FFF2-40B4-BE49-F238E27FC236}">
                <a16:creationId xmlns:a16="http://schemas.microsoft.com/office/drawing/2014/main" id="{511704E5-7EA8-F34A-BC8E-82F8798FEA67}"/>
              </a:ext>
            </a:extLst>
          </p:cNvPr>
          <p:cNvSpPr>
            <a:spLocks noEditPoints="1"/>
          </p:cNvSpPr>
          <p:nvPr userDrawn="1"/>
        </p:nvSpPr>
        <p:spPr bwMode="auto">
          <a:xfrm>
            <a:off x="9435597" y="2676048"/>
            <a:ext cx="474024" cy="471301"/>
          </a:xfrm>
          <a:custGeom>
            <a:avLst/>
            <a:gdLst>
              <a:gd name="T0" fmla="*/ 157 w 162"/>
              <a:gd name="T1" fmla="*/ 37 h 160"/>
              <a:gd name="T2" fmla="*/ 84 w 162"/>
              <a:gd name="T3" fmla="*/ 1 h 160"/>
              <a:gd name="T4" fmla="*/ 78 w 162"/>
              <a:gd name="T5" fmla="*/ 1 h 160"/>
              <a:gd name="T6" fmla="*/ 5 w 162"/>
              <a:gd name="T7" fmla="*/ 37 h 160"/>
              <a:gd name="T8" fmla="*/ 1 w 162"/>
              <a:gd name="T9" fmla="*/ 43 h 160"/>
              <a:gd name="T10" fmla="*/ 5 w 162"/>
              <a:gd name="T11" fmla="*/ 49 h 160"/>
              <a:gd name="T12" fmla="*/ 78 w 162"/>
              <a:gd name="T13" fmla="*/ 86 h 160"/>
              <a:gd name="T14" fmla="*/ 81 w 162"/>
              <a:gd name="T15" fmla="*/ 86 h 160"/>
              <a:gd name="T16" fmla="*/ 84 w 162"/>
              <a:gd name="T17" fmla="*/ 86 h 160"/>
              <a:gd name="T18" fmla="*/ 157 w 162"/>
              <a:gd name="T19" fmla="*/ 49 h 160"/>
              <a:gd name="T20" fmla="*/ 161 w 162"/>
              <a:gd name="T21" fmla="*/ 43 h 160"/>
              <a:gd name="T22" fmla="*/ 157 w 162"/>
              <a:gd name="T23" fmla="*/ 37 h 160"/>
              <a:gd name="T24" fmla="*/ 81 w 162"/>
              <a:gd name="T25" fmla="*/ 73 h 160"/>
              <a:gd name="T26" fmla="*/ 22 w 162"/>
              <a:gd name="T27" fmla="*/ 43 h 160"/>
              <a:gd name="T28" fmla="*/ 81 w 162"/>
              <a:gd name="T29" fmla="*/ 14 h 160"/>
              <a:gd name="T30" fmla="*/ 140 w 162"/>
              <a:gd name="T31" fmla="*/ 43 h 160"/>
              <a:gd name="T32" fmla="*/ 81 w 162"/>
              <a:gd name="T33" fmla="*/ 73 h 160"/>
              <a:gd name="T34" fmla="*/ 157 w 162"/>
              <a:gd name="T35" fmla="*/ 123 h 160"/>
              <a:gd name="T36" fmla="*/ 84 w 162"/>
              <a:gd name="T37" fmla="*/ 159 h 160"/>
              <a:gd name="T38" fmla="*/ 81 w 162"/>
              <a:gd name="T39" fmla="*/ 160 h 160"/>
              <a:gd name="T40" fmla="*/ 78 w 162"/>
              <a:gd name="T41" fmla="*/ 159 h 160"/>
              <a:gd name="T42" fmla="*/ 5 w 162"/>
              <a:gd name="T43" fmla="*/ 123 h 160"/>
              <a:gd name="T44" fmla="*/ 2 w 162"/>
              <a:gd name="T45" fmla="*/ 114 h 160"/>
              <a:gd name="T46" fmla="*/ 10 w 162"/>
              <a:gd name="T47" fmla="*/ 111 h 160"/>
              <a:gd name="T48" fmla="*/ 81 w 162"/>
              <a:gd name="T49" fmla="*/ 146 h 160"/>
              <a:gd name="T50" fmla="*/ 152 w 162"/>
              <a:gd name="T51" fmla="*/ 111 h 160"/>
              <a:gd name="T52" fmla="*/ 160 w 162"/>
              <a:gd name="T53" fmla="*/ 114 h 160"/>
              <a:gd name="T54" fmla="*/ 157 w 162"/>
              <a:gd name="T55" fmla="*/ 123 h 160"/>
              <a:gd name="T56" fmla="*/ 157 w 162"/>
              <a:gd name="T57" fmla="*/ 86 h 160"/>
              <a:gd name="T58" fmla="*/ 84 w 162"/>
              <a:gd name="T59" fmla="*/ 123 h 160"/>
              <a:gd name="T60" fmla="*/ 81 w 162"/>
              <a:gd name="T61" fmla="*/ 123 h 160"/>
              <a:gd name="T62" fmla="*/ 78 w 162"/>
              <a:gd name="T63" fmla="*/ 123 h 160"/>
              <a:gd name="T64" fmla="*/ 5 w 162"/>
              <a:gd name="T65" fmla="*/ 86 h 160"/>
              <a:gd name="T66" fmla="*/ 2 w 162"/>
              <a:gd name="T67" fmla="*/ 77 h 160"/>
              <a:gd name="T68" fmla="*/ 10 w 162"/>
              <a:gd name="T69" fmla="*/ 74 h 160"/>
              <a:gd name="T70" fmla="*/ 81 w 162"/>
              <a:gd name="T71" fmla="*/ 110 h 160"/>
              <a:gd name="T72" fmla="*/ 152 w 162"/>
              <a:gd name="T73" fmla="*/ 74 h 160"/>
              <a:gd name="T74" fmla="*/ 160 w 162"/>
              <a:gd name="T75" fmla="*/ 77 h 160"/>
              <a:gd name="T76" fmla="*/ 157 w 162"/>
              <a:gd name="T77" fmla="*/ 8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2" h="160">
                <a:moveTo>
                  <a:pt x="157" y="37"/>
                </a:moveTo>
                <a:cubicBezTo>
                  <a:pt x="84" y="1"/>
                  <a:pt x="84" y="1"/>
                  <a:pt x="84" y="1"/>
                </a:cubicBezTo>
                <a:cubicBezTo>
                  <a:pt x="82" y="0"/>
                  <a:pt x="80" y="0"/>
                  <a:pt x="78" y="1"/>
                </a:cubicBezTo>
                <a:cubicBezTo>
                  <a:pt x="5" y="37"/>
                  <a:pt x="5" y="37"/>
                  <a:pt x="5" y="37"/>
                </a:cubicBezTo>
                <a:cubicBezTo>
                  <a:pt x="2" y="39"/>
                  <a:pt x="1" y="41"/>
                  <a:pt x="1" y="43"/>
                </a:cubicBezTo>
                <a:cubicBezTo>
                  <a:pt x="1" y="46"/>
                  <a:pt x="2" y="48"/>
                  <a:pt x="5" y="49"/>
                </a:cubicBezTo>
                <a:cubicBezTo>
                  <a:pt x="78" y="86"/>
                  <a:pt x="78" y="86"/>
                  <a:pt x="78" y="86"/>
                </a:cubicBezTo>
                <a:cubicBezTo>
                  <a:pt x="79" y="86"/>
                  <a:pt x="80" y="86"/>
                  <a:pt x="81" y="86"/>
                </a:cubicBezTo>
                <a:cubicBezTo>
                  <a:pt x="82" y="86"/>
                  <a:pt x="83" y="86"/>
                  <a:pt x="84" y="86"/>
                </a:cubicBezTo>
                <a:cubicBezTo>
                  <a:pt x="157" y="49"/>
                  <a:pt x="157" y="49"/>
                  <a:pt x="157" y="49"/>
                </a:cubicBezTo>
                <a:cubicBezTo>
                  <a:pt x="160" y="48"/>
                  <a:pt x="161" y="46"/>
                  <a:pt x="161" y="43"/>
                </a:cubicBezTo>
                <a:cubicBezTo>
                  <a:pt x="161" y="41"/>
                  <a:pt x="160" y="39"/>
                  <a:pt x="157" y="37"/>
                </a:cubicBezTo>
                <a:close/>
                <a:moveTo>
                  <a:pt x="81" y="73"/>
                </a:moveTo>
                <a:cubicBezTo>
                  <a:pt x="22" y="43"/>
                  <a:pt x="22" y="43"/>
                  <a:pt x="22" y="43"/>
                </a:cubicBezTo>
                <a:cubicBezTo>
                  <a:pt x="81" y="14"/>
                  <a:pt x="81" y="14"/>
                  <a:pt x="81" y="14"/>
                </a:cubicBezTo>
                <a:cubicBezTo>
                  <a:pt x="140" y="43"/>
                  <a:pt x="140" y="43"/>
                  <a:pt x="140" y="43"/>
                </a:cubicBezTo>
                <a:lnTo>
                  <a:pt x="81" y="73"/>
                </a:lnTo>
                <a:close/>
                <a:moveTo>
                  <a:pt x="157" y="123"/>
                </a:moveTo>
                <a:cubicBezTo>
                  <a:pt x="84" y="159"/>
                  <a:pt x="84" y="159"/>
                  <a:pt x="84" y="159"/>
                </a:cubicBezTo>
                <a:cubicBezTo>
                  <a:pt x="83" y="160"/>
                  <a:pt x="82" y="160"/>
                  <a:pt x="81" y="160"/>
                </a:cubicBezTo>
                <a:cubicBezTo>
                  <a:pt x="80" y="160"/>
                  <a:pt x="79" y="160"/>
                  <a:pt x="78" y="159"/>
                </a:cubicBezTo>
                <a:cubicBezTo>
                  <a:pt x="5" y="123"/>
                  <a:pt x="5" y="123"/>
                  <a:pt x="5" y="123"/>
                </a:cubicBezTo>
                <a:cubicBezTo>
                  <a:pt x="1" y="121"/>
                  <a:pt x="0" y="117"/>
                  <a:pt x="2" y="114"/>
                </a:cubicBezTo>
                <a:cubicBezTo>
                  <a:pt x="3" y="111"/>
                  <a:pt x="7" y="109"/>
                  <a:pt x="10" y="111"/>
                </a:cubicBezTo>
                <a:cubicBezTo>
                  <a:pt x="81" y="146"/>
                  <a:pt x="81" y="146"/>
                  <a:pt x="81" y="146"/>
                </a:cubicBezTo>
                <a:cubicBezTo>
                  <a:pt x="152" y="111"/>
                  <a:pt x="152" y="111"/>
                  <a:pt x="152" y="111"/>
                </a:cubicBezTo>
                <a:cubicBezTo>
                  <a:pt x="155" y="109"/>
                  <a:pt x="159" y="111"/>
                  <a:pt x="160" y="114"/>
                </a:cubicBezTo>
                <a:cubicBezTo>
                  <a:pt x="162" y="117"/>
                  <a:pt x="161" y="121"/>
                  <a:pt x="157" y="123"/>
                </a:cubicBezTo>
                <a:close/>
                <a:moveTo>
                  <a:pt x="157" y="86"/>
                </a:moveTo>
                <a:cubicBezTo>
                  <a:pt x="84" y="123"/>
                  <a:pt x="84" y="123"/>
                  <a:pt x="84" y="123"/>
                </a:cubicBezTo>
                <a:cubicBezTo>
                  <a:pt x="83" y="123"/>
                  <a:pt x="82" y="123"/>
                  <a:pt x="81" y="123"/>
                </a:cubicBezTo>
                <a:cubicBezTo>
                  <a:pt x="80" y="123"/>
                  <a:pt x="79" y="123"/>
                  <a:pt x="78" y="123"/>
                </a:cubicBezTo>
                <a:cubicBezTo>
                  <a:pt x="5" y="86"/>
                  <a:pt x="5" y="86"/>
                  <a:pt x="5" y="86"/>
                </a:cubicBezTo>
                <a:cubicBezTo>
                  <a:pt x="1" y="84"/>
                  <a:pt x="0" y="80"/>
                  <a:pt x="2" y="77"/>
                </a:cubicBezTo>
                <a:cubicBezTo>
                  <a:pt x="3" y="74"/>
                  <a:pt x="7" y="73"/>
                  <a:pt x="10" y="74"/>
                </a:cubicBezTo>
                <a:cubicBezTo>
                  <a:pt x="81" y="110"/>
                  <a:pt x="81" y="110"/>
                  <a:pt x="81" y="110"/>
                </a:cubicBezTo>
                <a:cubicBezTo>
                  <a:pt x="152" y="74"/>
                  <a:pt x="152" y="74"/>
                  <a:pt x="152" y="74"/>
                </a:cubicBezTo>
                <a:cubicBezTo>
                  <a:pt x="155" y="73"/>
                  <a:pt x="159" y="74"/>
                  <a:pt x="160" y="77"/>
                </a:cubicBezTo>
                <a:cubicBezTo>
                  <a:pt x="162" y="80"/>
                  <a:pt x="161" y="84"/>
                  <a:pt x="157" y="86"/>
                </a:cubicBezTo>
                <a:close/>
              </a:path>
            </a:pathLst>
          </a:custGeom>
          <a:solidFill>
            <a:srgbClr val="3D3381"/>
          </a:solidFill>
          <a:ln>
            <a:noFill/>
          </a:ln>
        </p:spPr>
        <p:txBody>
          <a:bodyPr vert="horz" wrap="square" lIns="91440" tIns="45720" rIns="91440" bIns="45720" numCol="1" anchor="t" anchorCtr="0" compatLnSpc="1">
            <a:prstTxWarp prst="textNoShape">
              <a:avLst/>
            </a:prstTxWarp>
          </a:bodyPr>
          <a:lstStyle/>
          <a:p>
            <a:endParaRPr lang="en-US" sz="1351"/>
          </a:p>
        </p:txBody>
      </p:sp>
      <p:grpSp>
        <p:nvGrpSpPr>
          <p:cNvPr id="14" name="Group 13">
            <a:extLst>
              <a:ext uri="{FF2B5EF4-FFF2-40B4-BE49-F238E27FC236}">
                <a16:creationId xmlns:a16="http://schemas.microsoft.com/office/drawing/2014/main" id="{5BF0403A-4F3D-A44F-9472-6512771D7116}"/>
              </a:ext>
            </a:extLst>
          </p:cNvPr>
          <p:cNvGrpSpPr/>
          <p:nvPr userDrawn="1"/>
        </p:nvGrpSpPr>
        <p:grpSpPr>
          <a:xfrm>
            <a:off x="0" y="5313057"/>
            <a:ext cx="12192000" cy="1559449"/>
            <a:chOff x="0" y="5313055"/>
            <a:chExt cx="12192000" cy="1559449"/>
          </a:xfrm>
        </p:grpSpPr>
        <p:pic>
          <p:nvPicPr>
            <p:cNvPr id="11" name="Picture 10">
              <a:extLst>
                <a:ext uri="{FF2B5EF4-FFF2-40B4-BE49-F238E27FC236}">
                  <a16:creationId xmlns:a16="http://schemas.microsoft.com/office/drawing/2014/main" id="{5A66ACDB-3594-DD4C-8BF8-F7D5A90E7A09}"/>
                </a:ext>
              </a:extLst>
            </p:cNvPr>
            <p:cNvPicPr>
              <a:picLocks noChangeAspect="1"/>
            </p:cNvPicPr>
            <p:nvPr userDrawn="1"/>
          </p:nvPicPr>
          <p:blipFill rotWithShape="1">
            <a:blip r:embed="rId2"/>
            <a:srcRect t="77254"/>
            <a:stretch/>
          </p:blipFill>
          <p:spPr>
            <a:xfrm>
              <a:off x="0" y="5313055"/>
              <a:ext cx="12192000" cy="1559449"/>
            </a:xfrm>
            <a:prstGeom prst="rect">
              <a:avLst/>
            </a:prstGeom>
          </p:spPr>
        </p:pic>
        <p:pic>
          <p:nvPicPr>
            <p:cNvPr id="12" name="Picture 11">
              <a:extLst>
                <a:ext uri="{FF2B5EF4-FFF2-40B4-BE49-F238E27FC236}">
                  <a16:creationId xmlns:a16="http://schemas.microsoft.com/office/drawing/2014/main" id="{299AC3A6-0739-034D-BFD8-63C769E5B95B}"/>
                </a:ext>
              </a:extLst>
            </p:cNvPr>
            <p:cNvPicPr>
              <a:picLocks noChangeAspect="1"/>
            </p:cNvPicPr>
            <p:nvPr userDrawn="1"/>
          </p:nvPicPr>
          <p:blipFill>
            <a:blip r:embed="rId3"/>
            <a:stretch>
              <a:fillRect/>
            </a:stretch>
          </p:blipFill>
          <p:spPr>
            <a:xfrm>
              <a:off x="15498" y="5945349"/>
              <a:ext cx="1983783" cy="690557"/>
            </a:xfrm>
            <a:prstGeom prst="rect">
              <a:avLst/>
            </a:prstGeom>
          </p:spPr>
        </p:pic>
      </p:grpSp>
    </p:spTree>
    <p:extLst>
      <p:ext uri="{BB962C8B-B14F-4D97-AF65-F5344CB8AC3E}">
        <p14:creationId xmlns:p14="http://schemas.microsoft.com/office/powerpoint/2010/main" val="19238807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50000" fill="hold" grpId="0" nodeType="withEffect">
                                  <p:stCondLst>
                                    <p:cond delay="75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1000" fill="hold"/>
                                        <p:tgtEl>
                                          <p:spTgt spid="6"/>
                                        </p:tgtEl>
                                        <p:attrNameLst>
                                          <p:attrName>ppt_x</p:attrName>
                                        </p:attrNameLst>
                                      </p:cBhvr>
                                      <p:tavLst>
                                        <p:tav tm="0">
                                          <p:val>
                                            <p:strVal val="#ppt_x"/>
                                          </p:val>
                                        </p:tav>
                                        <p:tav tm="100000">
                                          <p:val>
                                            <p:strVal val="#ppt_x"/>
                                          </p:val>
                                        </p:tav>
                                      </p:tavLst>
                                    </p:anim>
                                    <p:anim calcmode="lin" valueType="num">
                                      <p:cBhvr additive="base">
                                        <p:cTn id="8" dur="1000" fill="hold"/>
                                        <p:tgtEl>
                                          <p:spTgt spid="6"/>
                                        </p:tgtEl>
                                        <p:attrNameLst>
                                          <p:attrName>ppt_y</p:attrName>
                                        </p:attrNameLst>
                                      </p:cBhvr>
                                      <p:tavLst>
                                        <p:tav tm="0">
                                          <p:val>
                                            <p:strVal val="1+#ppt_h/2"/>
                                          </p:val>
                                        </p:tav>
                                        <p:tav tm="100000">
                                          <p:val>
                                            <p:strVal val="#ppt_y"/>
                                          </p:val>
                                        </p:tav>
                                      </p:tavLst>
                                    </p:anim>
                                  </p:childTnLst>
                                </p:cTn>
                              </p:par>
                              <p:par>
                                <p:cTn id="9" presetID="2" presetClass="entr" presetSubtype="4" decel="50000" fill="hold" grpId="0" nodeType="withEffect">
                                  <p:stCondLst>
                                    <p:cond delay="100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1000" fill="hold"/>
                                        <p:tgtEl>
                                          <p:spTgt spid="8"/>
                                        </p:tgtEl>
                                        <p:attrNameLst>
                                          <p:attrName>ppt_x</p:attrName>
                                        </p:attrNameLst>
                                      </p:cBhvr>
                                      <p:tavLst>
                                        <p:tav tm="0">
                                          <p:val>
                                            <p:strVal val="#ppt_x"/>
                                          </p:val>
                                        </p:tav>
                                        <p:tav tm="100000">
                                          <p:val>
                                            <p:strVal val="#ppt_x"/>
                                          </p:val>
                                        </p:tav>
                                      </p:tavLst>
                                    </p:anim>
                                    <p:anim calcmode="lin" valueType="num">
                                      <p:cBhvr additive="base">
                                        <p:cTn id="12" dur="1000" fill="hold"/>
                                        <p:tgtEl>
                                          <p:spTgt spid="8"/>
                                        </p:tgtEl>
                                        <p:attrNameLst>
                                          <p:attrName>ppt_y</p:attrName>
                                        </p:attrNameLst>
                                      </p:cBhvr>
                                      <p:tavLst>
                                        <p:tav tm="0">
                                          <p:val>
                                            <p:strVal val="1+#ppt_h/2"/>
                                          </p:val>
                                        </p:tav>
                                        <p:tav tm="100000">
                                          <p:val>
                                            <p:strVal val="#ppt_y"/>
                                          </p:val>
                                        </p:tav>
                                      </p:tavLst>
                                    </p:anim>
                                  </p:childTnLst>
                                </p:cTn>
                              </p:par>
                            </p:childTnLst>
                          </p:cTn>
                        </p:par>
                        <p:par>
                          <p:cTn id="13" fill="hold">
                            <p:stCondLst>
                              <p:cond delay="2000"/>
                            </p:stCondLst>
                            <p:childTnLst>
                              <p:par>
                                <p:cTn id="14" presetID="42" presetClass="entr" presetSubtype="0" fill="hold" grpId="0" nodeType="afterEffect">
                                  <p:stCondLst>
                                    <p:cond delay="0"/>
                                  </p:stCondLst>
                                  <p:childTnLst>
                                    <p:set>
                                      <p:cBhvr>
                                        <p:cTn id="15" dur="1" fill="hold">
                                          <p:stCondLst>
                                            <p:cond delay="0"/>
                                          </p:stCondLst>
                                        </p:cTn>
                                        <p:tgtEl>
                                          <p:spTgt spid="5">
                                            <p:txEl>
                                              <p:pRg st="0" end="0"/>
                                            </p:txEl>
                                          </p:spTgt>
                                        </p:tgtEl>
                                        <p:attrNameLst>
                                          <p:attrName>style.visibility</p:attrName>
                                        </p:attrNameLst>
                                      </p:cBhvr>
                                      <p:to>
                                        <p:strVal val="visible"/>
                                      </p:to>
                                    </p:set>
                                    <p:animEffect transition="in" filter="fade">
                                      <p:cBhvr>
                                        <p:cTn id="16" dur="500"/>
                                        <p:tgtEl>
                                          <p:spTgt spid="5">
                                            <p:txEl>
                                              <p:pRg st="0" end="0"/>
                                            </p:txEl>
                                          </p:spTgt>
                                        </p:tgtEl>
                                      </p:cBhvr>
                                    </p:animEffect>
                                    <p:anim calcmode="lin" valueType="num">
                                      <p:cBhvr>
                                        <p:cTn id="17" dur="500" fill="hold"/>
                                        <p:tgtEl>
                                          <p:spTgt spid="5">
                                            <p:txEl>
                                              <p:pRg st="0" end="0"/>
                                            </p:txEl>
                                          </p:spTgt>
                                        </p:tgtEl>
                                        <p:attrNameLst>
                                          <p:attrName>ppt_x</p:attrName>
                                        </p:attrNameLst>
                                      </p:cBhvr>
                                      <p:tavLst>
                                        <p:tav tm="0">
                                          <p:val>
                                            <p:strVal val="#ppt_x"/>
                                          </p:val>
                                        </p:tav>
                                        <p:tav tm="100000">
                                          <p:val>
                                            <p:strVal val="#ppt_x"/>
                                          </p:val>
                                        </p:tav>
                                      </p:tavLst>
                                    </p:anim>
                                    <p:anim calcmode="lin" valueType="num">
                                      <p:cBhvr>
                                        <p:cTn id="18" dur="500" fill="hold"/>
                                        <p:tgtEl>
                                          <p:spTgt spid="5">
                                            <p:txEl>
                                              <p:pRg st="0" end="0"/>
                                            </p:txEl>
                                          </p:spTgt>
                                        </p:tgtEl>
                                        <p:attrNameLst>
                                          <p:attrName>ppt_y</p:attrName>
                                        </p:attrNameLst>
                                      </p:cBhvr>
                                      <p:tavLst>
                                        <p:tav tm="0">
                                          <p:val>
                                            <p:strVal val="#ppt_y+.1"/>
                                          </p:val>
                                        </p:tav>
                                        <p:tav tm="100000">
                                          <p:val>
                                            <p:strVal val="#ppt_y"/>
                                          </p:val>
                                        </p:tav>
                                      </p:tavLst>
                                    </p:anim>
                                  </p:childTnLst>
                                </p:cTn>
                              </p:par>
                            </p:childTnLst>
                          </p:cTn>
                        </p:par>
                        <p:par>
                          <p:cTn id="19" fill="hold">
                            <p:stCondLst>
                              <p:cond delay="2500"/>
                            </p:stCondLst>
                            <p:childTnLst>
                              <p:par>
                                <p:cTn id="20" presetID="42" presetClass="entr" presetSubtype="0" fill="hold" grpId="0" nodeType="afterEffect">
                                  <p:stCondLst>
                                    <p:cond delay="0"/>
                                  </p:stCondLst>
                                  <p:childTnLst>
                                    <p:set>
                                      <p:cBhvr>
                                        <p:cTn id="21" dur="1" fill="hold">
                                          <p:stCondLst>
                                            <p:cond delay="0"/>
                                          </p:stCondLst>
                                        </p:cTn>
                                        <p:tgtEl>
                                          <p:spTgt spid="5">
                                            <p:txEl>
                                              <p:pRg st="1" end="1"/>
                                            </p:txEl>
                                          </p:spTgt>
                                        </p:tgtEl>
                                        <p:attrNameLst>
                                          <p:attrName>style.visibility</p:attrName>
                                        </p:attrNameLst>
                                      </p:cBhvr>
                                      <p:to>
                                        <p:strVal val="visible"/>
                                      </p:to>
                                    </p:set>
                                    <p:animEffect transition="in" filter="fade">
                                      <p:cBhvr>
                                        <p:cTn id="22" dur="500"/>
                                        <p:tgtEl>
                                          <p:spTgt spid="5">
                                            <p:txEl>
                                              <p:pRg st="1" end="1"/>
                                            </p:txEl>
                                          </p:spTgt>
                                        </p:tgtEl>
                                      </p:cBhvr>
                                    </p:animEffect>
                                    <p:anim calcmode="lin" valueType="num">
                                      <p:cBhvr>
                                        <p:cTn id="23" dur="500" fill="hold"/>
                                        <p:tgtEl>
                                          <p:spTgt spid="5">
                                            <p:txEl>
                                              <p:pRg st="1" end="1"/>
                                            </p:txEl>
                                          </p:spTgt>
                                        </p:tgtEl>
                                        <p:attrNameLst>
                                          <p:attrName>ppt_x</p:attrName>
                                        </p:attrNameLst>
                                      </p:cBhvr>
                                      <p:tavLst>
                                        <p:tav tm="0">
                                          <p:val>
                                            <p:strVal val="#ppt_x"/>
                                          </p:val>
                                        </p:tav>
                                        <p:tav tm="100000">
                                          <p:val>
                                            <p:strVal val="#ppt_x"/>
                                          </p:val>
                                        </p:tav>
                                      </p:tavLst>
                                    </p:anim>
                                    <p:anim calcmode="lin" valueType="num">
                                      <p:cBhvr>
                                        <p:cTn id="24" dur="500" fill="hold"/>
                                        <p:tgtEl>
                                          <p:spTgt spid="5">
                                            <p:txEl>
                                              <p:pRg st="1" end="1"/>
                                            </p:txEl>
                                          </p:spTgt>
                                        </p:tgtEl>
                                        <p:attrNameLst>
                                          <p:attrName>ppt_y</p:attrName>
                                        </p:attrNameLst>
                                      </p:cBhvr>
                                      <p:tavLst>
                                        <p:tav tm="0">
                                          <p:val>
                                            <p:strVal val="#ppt_y+.1"/>
                                          </p:val>
                                        </p:tav>
                                        <p:tav tm="100000">
                                          <p:val>
                                            <p:strVal val="#ppt_y"/>
                                          </p:val>
                                        </p:tav>
                                      </p:tavLst>
                                    </p:anim>
                                  </p:childTnLst>
                                </p:cTn>
                              </p:par>
                            </p:childTnLst>
                          </p:cTn>
                        </p:par>
                        <p:par>
                          <p:cTn id="25" fill="hold">
                            <p:stCondLst>
                              <p:cond delay="3000"/>
                            </p:stCondLst>
                            <p:childTnLst>
                              <p:par>
                                <p:cTn id="26" presetID="42" presetClass="entr" presetSubtype="0" fill="hold" grpId="0" nodeType="afterEffect">
                                  <p:stCondLst>
                                    <p:cond delay="0"/>
                                  </p:stCondLst>
                                  <p:childTnLst>
                                    <p:set>
                                      <p:cBhvr>
                                        <p:cTn id="27" dur="1" fill="hold">
                                          <p:stCondLst>
                                            <p:cond delay="0"/>
                                          </p:stCondLst>
                                        </p:cTn>
                                        <p:tgtEl>
                                          <p:spTgt spid="7">
                                            <p:txEl>
                                              <p:pRg st="0" end="0"/>
                                            </p:txEl>
                                          </p:spTgt>
                                        </p:tgtEl>
                                        <p:attrNameLst>
                                          <p:attrName>style.visibility</p:attrName>
                                        </p:attrNameLst>
                                      </p:cBhvr>
                                      <p:to>
                                        <p:strVal val="visible"/>
                                      </p:to>
                                    </p:set>
                                    <p:animEffect transition="in" filter="fade">
                                      <p:cBhvr>
                                        <p:cTn id="28" dur="500"/>
                                        <p:tgtEl>
                                          <p:spTgt spid="7">
                                            <p:txEl>
                                              <p:pRg st="0" end="0"/>
                                            </p:txEl>
                                          </p:spTgt>
                                        </p:tgtEl>
                                      </p:cBhvr>
                                    </p:animEffect>
                                    <p:anim calcmode="lin" valueType="num">
                                      <p:cBhvr>
                                        <p:cTn id="29" dur="500" fill="hold"/>
                                        <p:tgtEl>
                                          <p:spTgt spid="7">
                                            <p:txEl>
                                              <p:pRg st="0" end="0"/>
                                            </p:txEl>
                                          </p:spTgt>
                                        </p:tgtEl>
                                        <p:attrNameLst>
                                          <p:attrName>ppt_x</p:attrName>
                                        </p:attrNameLst>
                                      </p:cBhvr>
                                      <p:tavLst>
                                        <p:tav tm="0">
                                          <p:val>
                                            <p:strVal val="#ppt_x"/>
                                          </p:val>
                                        </p:tav>
                                        <p:tav tm="100000">
                                          <p:val>
                                            <p:strVal val="#ppt_x"/>
                                          </p:val>
                                        </p:tav>
                                      </p:tavLst>
                                    </p:anim>
                                    <p:anim calcmode="lin" valueType="num">
                                      <p:cBhvr>
                                        <p:cTn id="30" dur="500" fill="hold"/>
                                        <p:tgtEl>
                                          <p:spTgt spid="7">
                                            <p:txEl>
                                              <p:pRg st="0" end="0"/>
                                            </p:txEl>
                                          </p:spTgt>
                                        </p:tgtEl>
                                        <p:attrNameLst>
                                          <p:attrName>ppt_y</p:attrName>
                                        </p:attrNameLst>
                                      </p:cBhvr>
                                      <p:tavLst>
                                        <p:tav tm="0">
                                          <p:val>
                                            <p:strVal val="#ppt_y+.1"/>
                                          </p:val>
                                        </p:tav>
                                        <p:tav tm="100000">
                                          <p:val>
                                            <p:strVal val="#ppt_y"/>
                                          </p:val>
                                        </p:tav>
                                      </p:tavLst>
                                    </p:anim>
                                  </p:childTnLst>
                                </p:cTn>
                              </p:par>
                              <p:par>
                                <p:cTn id="31" presetID="2" presetClass="entr" presetSubtype="4" decel="50000" fill="hold" grpId="0" nodeType="withEffect">
                                  <p:stCondLst>
                                    <p:cond delay="750"/>
                                  </p:stCondLst>
                                  <p:childTnLst>
                                    <p:set>
                                      <p:cBhvr>
                                        <p:cTn id="32" dur="1" fill="hold">
                                          <p:stCondLst>
                                            <p:cond delay="0"/>
                                          </p:stCondLst>
                                        </p:cTn>
                                        <p:tgtEl>
                                          <p:spTgt spid="10"/>
                                        </p:tgtEl>
                                        <p:attrNameLst>
                                          <p:attrName>style.visibility</p:attrName>
                                        </p:attrNameLst>
                                      </p:cBhvr>
                                      <p:to>
                                        <p:strVal val="visible"/>
                                      </p:to>
                                    </p:set>
                                    <p:anim calcmode="lin" valueType="num">
                                      <p:cBhvr additive="base">
                                        <p:cTn id="33" dur="1000" fill="hold"/>
                                        <p:tgtEl>
                                          <p:spTgt spid="10"/>
                                        </p:tgtEl>
                                        <p:attrNameLst>
                                          <p:attrName>ppt_x</p:attrName>
                                        </p:attrNameLst>
                                      </p:cBhvr>
                                      <p:tavLst>
                                        <p:tav tm="0">
                                          <p:val>
                                            <p:strVal val="#ppt_x"/>
                                          </p:val>
                                        </p:tav>
                                        <p:tav tm="100000">
                                          <p:val>
                                            <p:strVal val="#ppt_x"/>
                                          </p:val>
                                        </p:tav>
                                      </p:tavLst>
                                    </p:anim>
                                    <p:anim calcmode="lin" valueType="num">
                                      <p:cBhvr additive="base">
                                        <p:cTn id="34" dur="1000" fill="hold"/>
                                        <p:tgtEl>
                                          <p:spTgt spid="10"/>
                                        </p:tgtEl>
                                        <p:attrNameLst>
                                          <p:attrName>ppt_y</p:attrName>
                                        </p:attrNameLst>
                                      </p:cBhvr>
                                      <p:tavLst>
                                        <p:tav tm="0">
                                          <p:val>
                                            <p:strVal val="1+#ppt_h/2"/>
                                          </p:val>
                                        </p:tav>
                                        <p:tav tm="100000">
                                          <p:val>
                                            <p:strVal val="#ppt_y"/>
                                          </p:val>
                                        </p:tav>
                                      </p:tavLst>
                                    </p:anim>
                                  </p:childTnLst>
                                </p:cTn>
                              </p:par>
                            </p:childTnLst>
                          </p:cTn>
                        </p:par>
                        <p:par>
                          <p:cTn id="35" fill="hold">
                            <p:stCondLst>
                              <p:cond delay="4750"/>
                            </p:stCondLst>
                            <p:childTnLst>
                              <p:par>
                                <p:cTn id="36" presetID="42" presetClass="entr" presetSubtype="0" fill="hold" grpId="0" nodeType="afterEffect">
                                  <p:stCondLst>
                                    <p:cond delay="0"/>
                                  </p:stCondLst>
                                  <p:childTnLst>
                                    <p:set>
                                      <p:cBhvr>
                                        <p:cTn id="37" dur="1" fill="hold">
                                          <p:stCondLst>
                                            <p:cond delay="0"/>
                                          </p:stCondLst>
                                        </p:cTn>
                                        <p:tgtEl>
                                          <p:spTgt spid="9">
                                            <p:txEl>
                                              <p:pRg st="0" end="0"/>
                                            </p:txEl>
                                          </p:spTgt>
                                        </p:tgtEl>
                                        <p:attrNameLst>
                                          <p:attrName>style.visibility</p:attrName>
                                        </p:attrNameLst>
                                      </p:cBhvr>
                                      <p:to>
                                        <p:strVal val="visible"/>
                                      </p:to>
                                    </p:set>
                                    <p:animEffect transition="in" filter="fade">
                                      <p:cBhvr>
                                        <p:cTn id="38" dur="500"/>
                                        <p:tgtEl>
                                          <p:spTgt spid="9">
                                            <p:txEl>
                                              <p:pRg st="0" end="0"/>
                                            </p:txEl>
                                          </p:spTgt>
                                        </p:tgtEl>
                                      </p:cBhvr>
                                    </p:animEffect>
                                    <p:anim calcmode="lin" valueType="num">
                                      <p:cBhvr>
                                        <p:cTn id="39" dur="500" fill="hold"/>
                                        <p:tgtEl>
                                          <p:spTgt spid="9">
                                            <p:txEl>
                                              <p:pRg st="0" end="0"/>
                                            </p:txEl>
                                          </p:spTgt>
                                        </p:tgtEl>
                                        <p:attrNameLst>
                                          <p:attrName>ppt_x</p:attrName>
                                        </p:attrNameLst>
                                      </p:cBhvr>
                                      <p:tavLst>
                                        <p:tav tm="0">
                                          <p:val>
                                            <p:strVal val="#ppt_x"/>
                                          </p:val>
                                        </p:tav>
                                        <p:tav tm="100000">
                                          <p:val>
                                            <p:strVal val="#ppt_x"/>
                                          </p:val>
                                        </p:tav>
                                      </p:tavLst>
                                    </p:anim>
                                    <p:anim calcmode="lin" valueType="num">
                                      <p:cBhvr>
                                        <p:cTn id="40" dur="500" fill="hold"/>
                                        <p:tgtEl>
                                          <p:spTgt spid="9">
                                            <p:txEl>
                                              <p:pRg st="0" end="0"/>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P spid="6" grpId="0" animBg="1"/>
      <p:bldP spid="7" grpId="0" build="p"/>
      <p:bldP spid="8" grpId="0" animBg="1"/>
      <p:bldP spid="9" grpId="0" build="p"/>
      <p:bldP spid="10" grpId="0" animBg="1"/>
    </p:bld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15A1A9A-F62A-214A-A5A5-35C0300A3410}"/>
              </a:ext>
            </a:extLst>
          </p:cNvPr>
          <p:cNvPicPr>
            <a:picLocks noChangeAspect="1"/>
          </p:cNvPicPr>
          <p:nvPr userDrawn="1"/>
        </p:nvPicPr>
        <p:blipFill rotWithShape="1">
          <a:blip r:embed="rId2"/>
          <a:srcRect t="77254"/>
          <a:stretch/>
        </p:blipFill>
        <p:spPr>
          <a:xfrm>
            <a:off x="0" y="5313057"/>
            <a:ext cx="12192000" cy="1559449"/>
          </a:xfrm>
          <a:prstGeom prst="rect">
            <a:avLst/>
          </a:prstGeom>
        </p:spPr>
      </p:pic>
      <p:pic>
        <p:nvPicPr>
          <p:cNvPr id="11" name="Picture 10">
            <a:extLst>
              <a:ext uri="{FF2B5EF4-FFF2-40B4-BE49-F238E27FC236}">
                <a16:creationId xmlns:a16="http://schemas.microsoft.com/office/drawing/2014/main" id="{3E706B7B-1565-7948-A9FC-6D786E187B09}"/>
              </a:ext>
            </a:extLst>
          </p:cNvPr>
          <p:cNvPicPr>
            <a:picLocks noChangeAspect="1"/>
          </p:cNvPicPr>
          <p:nvPr userDrawn="1"/>
        </p:nvPicPr>
        <p:blipFill>
          <a:blip r:embed="rId3"/>
          <a:stretch>
            <a:fillRect/>
          </a:stretch>
        </p:blipFill>
        <p:spPr>
          <a:xfrm>
            <a:off x="15498" y="5945349"/>
            <a:ext cx="1983783" cy="690557"/>
          </a:xfrm>
          <a:prstGeom prst="rect">
            <a:avLst/>
          </a:prstGeom>
        </p:spPr>
      </p:pic>
    </p:spTree>
    <p:extLst>
      <p:ext uri="{BB962C8B-B14F-4D97-AF65-F5344CB8AC3E}">
        <p14:creationId xmlns:p14="http://schemas.microsoft.com/office/powerpoint/2010/main" val="65193015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E046361-4200-A448-BE52-9FAD5E463B0F}"/>
              </a:ext>
            </a:extLst>
          </p:cNvPr>
          <p:cNvPicPr>
            <a:picLocks noChangeAspect="1"/>
          </p:cNvPicPr>
          <p:nvPr userDrawn="1"/>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308161937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5AA625-B8BD-F24C-9018-61AF5E22A722}"/>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en-US"/>
          </a:p>
        </p:txBody>
      </p:sp>
      <p:sp>
        <p:nvSpPr>
          <p:cNvPr id="3" name="Subtitle 2">
            <a:extLst>
              <a:ext uri="{FF2B5EF4-FFF2-40B4-BE49-F238E27FC236}">
                <a16:creationId xmlns:a16="http://schemas.microsoft.com/office/drawing/2014/main" id="{FE20BBB5-6DB7-C344-B09E-AE417F0AC93D}"/>
              </a:ext>
            </a:extLst>
          </p:cNvPr>
          <p:cNvSpPr>
            <a:spLocks noGrp="1"/>
          </p:cNvSpPr>
          <p:nvPr>
            <p:ph type="subTitle" idx="1"/>
          </p:nvPr>
        </p:nvSpPr>
        <p:spPr>
          <a:xfrm>
            <a:off x="1524000" y="3602037"/>
            <a:ext cx="9144000" cy="1655763"/>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a:t>Click to edit Master subtitle style</a:t>
            </a:r>
            <a:endParaRPr lang="en-US"/>
          </a:p>
        </p:txBody>
      </p:sp>
      <p:sp>
        <p:nvSpPr>
          <p:cNvPr id="4" name="Date Placeholder 3">
            <a:extLst>
              <a:ext uri="{FF2B5EF4-FFF2-40B4-BE49-F238E27FC236}">
                <a16:creationId xmlns:a16="http://schemas.microsoft.com/office/drawing/2014/main" id="{8F617F3A-8273-A947-B00C-288F764E0698}"/>
              </a:ext>
            </a:extLst>
          </p:cNvPr>
          <p:cNvSpPr>
            <a:spLocks noGrp="1"/>
          </p:cNvSpPr>
          <p:nvPr>
            <p:ph type="dt" sz="half" idx="10"/>
          </p:nvPr>
        </p:nvSpPr>
        <p:spPr>
          <a:xfrm>
            <a:off x="838200" y="6356351"/>
            <a:ext cx="2743200" cy="365125"/>
          </a:xfrm>
          <a:prstGeom prst="rect">
            <a:avLst/>
          </a:prstGeom>
        </p:spPr>
        <p:txBody>
          <a:bodyPr/>
          <a:lstStyle>
            <a:lvl1pPr>
              <a:defRPr>
                <a:latin typeface="Avenir Next" panose="020B0503020202020204" pitchFamily="34" charset="0"/>
              </a:defRPr>
            </a:lvl1pPr>
          </a:lstStyle>
          <a:p>
            <a:fld id="{A108A56D-8CC2-0048-9E73-0DB5E21B78A1}" type="datetimeFigureOut">
              <a:rPr lang="en-US" smtClean="0"/>
              <a:pPr/>
              <a:t>3/30/2026</a:t>
            </a:fld>
            <a:endParaRPr lang="en-US"/>
          </a:p>
        </p:txBody>
      </p:sp>
      <p:sp>
        <p:nvSpPr>
          <p:cNvPr id="5" name="Footer Placeholder 4">
            <a:extLst>
              <a:ext uri="{FF2B5EF4-FFF2-40B4-BE49-F238E27FC236}">
                <a16:creationId xmlns:a16="http://schemas.microsoft.com/office/drawing/2014/main" id="{6651FBFF-EB84-7747-8F6E-7CB187C14DFC}"/>
              </a:ext>
            </a:extLst>
          </p:cNvPr>
          <p:cNvSpPr>
            <a:spLocks noGrp="1"/>
          </p:cNvSpPr>
          <p:nvPr>
            <p:ph type="ftr" sz="quarter" idx="11"/>
          </p:nvPr>
        </p:nvSpPr>
        <p:spPr>
          <a:xfrm>
            <a:off x="4038600" y="6356351"/>
            <a:ext cx="4114800" cy="365125"/>
          </a:xfrm>
          <a:prstGeom prst="rect">
            <a:avLst/>
          </a:prstGeom>
        </p:spPr>
        <p:txBody>
          <a:bodyPr/>
          <a:lstStyle>
            <a:lvl1pPr>
              <a:defRPr>
                <a:latin typeface="+mn-lt"/>
              </a:defRPr>
            </a:lvl1pPr>
          </a:lstStyle>
          <a:p>
            <a:endParaRPr lang="en-US"/>
          </a:p>
        </p:txBody>
      </p:sp>
      <p:sp>
        <p:nvSpPr>
          <p:cNvPr id="6" name="Slide Number Placeholder 5">
            <a:extLst>
              <a:ext uri="{FF2B5EF4-FFF2-40B4-BE49-F238E27FC236}">
                <a16:creationId xmlns:a16="http://schemas.microsoft.com/office/drawing/2014/main" id="{02096E5F-6915-DF49-945F-9407599ECB12}"/>
              </a:ext>
            </a:extLst>
          </p:cNvPr>
          <p:cNvSpPr>
            <a:spLocks noGrp="1"/>
          </p:cNvSpPr>
          <p:nvPr>
            <p:ph type="sldNum" sz="quarter" idx="12"/>
          </p:nvPr>
        </p:nvSpPr>
        <p:spPr/>
        <p:txBody>
          <a:bodyPr/>
          <a:lstStyle>
            <a:lvl1pPr>
              <a:defRPr sz="1000">
                <a:latin typeface="+mn-lt"/>
              </a:defRPr>
            </a:lvl1pPr>
          </a:lstStyle>
          <a:p>
            <a:fld id="{617D90F0-DA80-5145-B5BC-962393EBAEF1}" type="slidenum">
              <a:rPr lang="en-US" smtClean="0"/>
              <a:pPr/>
              <a:t>‹#›</a:t>
            </a:fld>
            <a:endParaRPr lang="en-US"/>
          </a:p>
        </p:txBody>
      </p:sp>
    </p:spTree>
    <p:extLst>
      <p:ext uri="{BB962C8B-B14F-4D97-AF65-F5344CB8AC3E}">
        <p14:creationId xmlns:p14="http://schemas.microsoft.com/office/powerpoint/2010/main" val="113391458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divider blan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01A9196B-05EB-E2C1-7E72-D8811229D8D2}"/>
              </a:ext>
            </a:extLst>
          </p:cNvPr>
          <p:cNvSpPr>
            <a:spLocks noGrp="1"/>
          </p:cNvSpPr>
          <p:nvPr>
            <p:ph type="subTitle" idx="1"/>
          </p:nvPr>
        </p:nvSpPr>
        <p:spPr>
          <a:xfrm>
            <a:off x="442914" y="4217374"/>
            <a:ext cx="5537199" cy="283154"/>
          </a:xfr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10" name="Title 9">
            <a:extLst>
              <a:ext uri="{FF2B5EF4-FFF2-40B4-BE49-F238E27FC236}">
                <a16:creationId xmlns:a16="http://schemas.microsoft.com/office/drawing/2014/main" id="{61AC5D26-4661-1187-F6D3-B7AC649531E9}"/>
              </a:ext>
            </a:extLst>
          </p:cNvPr>
          <p:cNvSpPr>
            <a:spLocks noGrp="1"/>
          </p:cNvSpPr>
          <p:nvPr>
            <p:ph type="title" hasCustomPrompt="1"/>
          </p:nvPr>
        </p:nvSpPr>
        <p:spPr>
          <a:xfrm>
            <a:off x="442914" y="3145139"/>
            <a:ext cx="5537199" cy="567848"/>
          </a:xfrm>
        </p:spPr>
        <p:txBody>
          <a:bodyPr anchor="b" anchorCtr="0"/>
          <a:lstStyle>
            <a:lvl1pPr>
              <a:lnSpc>
                <a:spcPct val="90000"/>
              </a:lnSpc>
              <a:defRPr sz="4000" spc="-100" baseline="0">
                <a:solidFill>
                  <a:schemeClr val="tx1"/>
                </a:solidFill>
              </a:defRPr>
            </a:lvl1pPr>
          </a:lstStyle>
          <a:p>
            <a:r>
              <a:rPr lang="en-US"/>
              <a:t>Click to add title</a:t>
            </a:r>
            <a:endParaRPr lang="en-GB"/>
          </a:p>
        </p:txBody>
      </p:sp>
    </p:spTree>
    <p:extLst>
      <p:ext uri="{BB962C8B-B14F-4D97-AF65-F5344CB8AC3E}">
        <p14:creationId xmlns:p14="http://schemas.microsoft.com/office/powerpoint/2010/main" val="106323139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4D5FA6-2C0B-054D-984D-A781D7185504}"/>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E1C9760B-C18F-A74C-B736-222D0BABC7BB}"/>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CE8175DF-DE7B-1549-8DBC-87EB5A63FB11}"/>
              </a:ext>
            </a:extLst>
          </p:cNvPr>
          <p:cNvSpPr>
            <a:spLocks noGrp="1"/>
          </p:cNvSpPr>
          <p:nvPr>
            <p:ph type="dt" sz="half" idx="10"/>
          </p:nvPr>
        </p:nvSpPr>
        <p:spPr>
          <a:xfrm>
            <a:off x="838200" y="6356351"/>
            <a:ext cx="2743200" cy="365125"/>
          </a:xfrm>
          <a:prstGeom prst="rect">
            <a:avLst/>
          </a:prstGeom>
        </p:spPr>
        <p:txBody>
          <a:bodyPr/>
          <a:lstStyle/>
          <a:p>
            <a:fld id="{A108A56D-8CC2-0048-9E73-0DB5E21B78A1}" type="datetimeFigureOut">
              <a:rPr lang="en-US" smtClean="0"/>
              <a:t>3/30/2026</a:t>
            </a:fld>
            <a:endParaRPr lang="en-US"/>
          </a:p>
        </p:txBody>
      </p:sp>
      <p:sp>
        <p:nvSpPr>
          <p:cNvPr id="5" name="Footer Placeholder 4">
            <a:extLst>
              <a:ext uri="{FF2B5EF4-FFF2-40B4-BE49-F238E27FC236}">
                <a16:creationId xmlns:a16="http://schemas.microsoft.com/office/drawing/2014/main" id="{5076D9DE-0E75-6B4C-8F3B-81BCED7B3A7F}"/>
              </a:ext>
            </a:extLst>
          </p:cNvPr>
          <p:cNvSpPr>
            <a:spLocks noGrp="1"/>
          </p:cNvSpPr>
          <p:nvPr>
            <p:ph type="ftr" sz="quarter" idx="11"/>
          </p:nvPr>
        </p:nvSpPr>
        <p:spPr>
          <a:xfrm>
            <a:off x="4038600" y="6356351"/>
            <a:ext cx="4114800" cy="365125"/>
          </a:xfrm>
          <a:prstGeom prst="rect">
            <a:avLst/>
          </a:prstGeom>
        </p:spPr>
        <p:txBody>
          <a:bodyPr/>
          <a:lstStyle>
            <a:lvl1pPr>
              <a:defRPr>
                <a:latin typeface="+mn-lt"/>
              </a:defRPr>
            </a:lvl1pPr>
          </a:lstStyle>
          <a:p>
            <a:endParaRPr lang="en-US"/>
          </a:p>
        </p:txBody>
      </p:sp>
      <p:sp>
        <p:nvSpPr>
          <p:cNvPr id="6" name="Slide Number Placeholder 5">
            <a:extLst>
              <a:ext uri="{FF2B5EF4-FFF2-40B4-BE49-F238E27FC236}">
                <a16:creationId xmlns:a16="http://schemas.microsoft.com/office/drawing/2014/main" id="{B4FB21F8-211F-4C48-98DA-D1B760638EAE}"/>
              </a:ext>
            </a:extLst>
          </p:cNvPr>
          <p:cNvSpPr>
            <a:spLocks noGrp="1"/>
          </p:cNvSpPr>
          <p:nvPr>
            <p:ph type="sldNum" sz="quarter" idx="12"/>
          </p:nvPr>
        </p:nvSpPr>
        <p:spPr/>
        <p:txBody>
          <a:bodyPr/>
          <a:lstStyle>
            <a:lvl1pPr>
              <a:defRPr>
                <a:latin typeface="Avenir Next" panose="020B0503020202020204" pitchFamily="34" charset="0"/>
              </a:defRPr>
            </a:lvl1pPr>
          </a:lstStyle>
          <a:p>
            <a:fld id="{617D90F0-DA80-5145-B5BC-962393EBAEF1}" type="slidenum">
              <a:rPr lang="en-US" smtClean="0"/>
              <a:pPr/>
              <a:t>‹#›</a:t>
            </a:fld>
            <a:endParaRPr lang="en-US"/>
          </a:p>
        </p:txBody>
      </p:sp>
    </p:spTree>
    <p:extLst>
      <p:ext uri="{BB962C8B-B14F-4D97-AF65-F5344CB8AC3E}">
        <p14:creationId xmlns:p14="http://schemas.microsoft.com/office/powerpoint/2010/main" val="30361816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C6B68C-1A78-3F47-91BC-000EE3F0F180}"/>
              </a:ext>
            </a:extLst>
          </p:cNvPr>
          <p:cNvSpPr>
            <a:spLocks noGrp="1"/>
          </p:cNvSpPr>
          <p:nvPr>
            <p:ph type="title"/>
          </p:nvPr>
        </p:nvSpPr>
        <p:spPr>
          <a:xfrm>
            <a:off x="831851" y="1709740"/>
            <a:ext cx="10515600" cy="2852737"/>
          </a:xfrm>
        </p:spPr>
        <p:txBody>
          <a:bodyPr anchor="b"/>
          <a:lstStyle>
            <a:lvl1pPr>
              <a:defRPr sz="6000"/>
            </a:lvl1pPr>
          </a:lstStyle>
          <a:p>
            <a:r>
              <a:rPr lang="en-GB"/>
              <a:t>Click to edit Master title style</a:t>
            </a:r>
            <a:endParaRPr lang="en-US"/>
          </a:p>
        </p:txBody>
      </p:sp>
      <p:sp>
        <p:nvSpPr>
          <p:cNvPr id="3" name="Text Placeholder 2">
            <a:extLst>
              <a:ext uri="{FF2B5EF4-FFF2-40B4-BE49-F238E27FC236}">
                <a16:creationId xmlns:a16="http://schemas.microsoft.com/office/drawing/2014/main" id="{57674EAB-FE39-974E-BEE3-C67C8223D70B}"/>
              </a:ext>
            </a:extLst>
          </p:cNvPr>
          <p:cNvSpPr>
            <a:spLocks noGrp="1"/>
          </p:cNvSpPr>
          <p:nvPr>
            <p:ph type="body" idx="1"/>
          </p:nvPr>
        </p:nvSpPr>
        <p:spPr>
          <a:xfrm>
            <a:off x="831851" y="4589464"/>
            <a:ext cx="10515600" cy="1500187"/>
          </a:xfrm>
        </p:spPr>
        <p:txBody>
          <a:bodyPr/>
          <a:lstStyle>
            <a:lvl1pPr marL="0" indent="0">
              <a:buNone/>
              <a:defRPr sz="2400">
                <a:solidFill>
                  <a:schemeClr val="tx1">
                    <a:tint val="75000"/>
                  </a:schemeClr>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2C80DDD4-1B1A-EA44-ADBF-C2BBF958A135}"/>
              </a:ext>
            </a:extLst>
          </p:cNvPr>
          <p:cNvSpPr>
            <a:spLocks noGrp="1"/>
          </p:cNvSpPr>
          <p:nvPr>
            <p:ph type="dt" sz="half" idx="10"/>
          </p:nvPr>
        </p:nvSpPr>
        <p:spPr>
          <a:xfrm>
            <a:off x="838200" y="6356351"/>
            <a:ext cx="2743200" cy="365125"/>
          </a:xfrm>
          <a:prstGeom prst="rect">
            <a:avLst/>
          </a:prstGeom>
        </p:spPr>
        <p:txBody>
          <a:bodyPr/>
          <a:lstStyle/>
          <a:p>
            <a:fld id="{A108A56D-8CC2-0048-9E73-0DB5E21B78A1}" type="datetimeFigureOut">
              <a:rPr lang="en-US" smtClean="0"/>
              <a:t>3/30/2026</a:t>
            </a:fld>
            <a:endParaRPr lang="en-US"/>
          </a:p>
        </p:txBody>
      </p:sp>
      <p:sp>
        <p:nvSpPr>
          <p:cNvPr id="5" name="Footer Placeholder 4">
            <a:extLst>
              <a:ext uri="{FF2B5EF4-FFF2-40B4-BE49-F238E27FC236}">
                <a16:creationId xmlns:a16="http://schemas.microsoft.com/office/drawing/2014/main" id="{534C785A-7167-E546-837C-0D710488A58E}"/>
              </a:ext>
            </a:extLst>
          </p:cNvPr>
          <p:cNvSpPr>
            <a:spLocks noGrp="1"/>
          </p:cNvSpPr>
          <p:nvPr>
            <p:ph type="ftr" sz="quarter" idx="11"/>
          </p:nvPr>
        </p:nvSpPr>
        <p:spPr>
          <a:xfrm>
            <a:off x="4038600" y="6356351"/>
            <a:ext cx="4114800" cy="365125"/>
          </a:xfrm>
          <a:prstGeom prst="rect">
            <a:avLst/>
          </a:prstGeom>
        </p:spPr>
        <p:txBody>
          <a:bodyPr/>
          <a:lstStyle>
            <a:lvl1pPr>
              <a:defRPr b="0" i="0">
                <a:latin typeface="Arial" panose="020B0604020202020204" pitchFamily="34" charset="0"/>
                <a:cs typeface="Arial" panose="020B0604020202020204" pitchFamily="34" charset="0"/>
              </a:defRPr>
            </a:lvl1pPr>
          </a:lstStyle>
          <a:p>
            <a:endParaRPr lang="en-US"/>
          </a:p>
        </p:txBody>
      </p:sp>
      <p:sp>
        <p:nvSpPr>
          <p:cNvPr id="6" name="Slide Number Placeholder 5">
            <a:extLst>
              <a:ext uri="{FF2B5EF4-FFF2-40B4-BE49-F238E27FC236}">
                <a16:creationId xmlns:a16="http://schemas.microsoft.com/office/drawing/2014/main" id="{17AE386A-BFBC-664D-BD6A-40894C214BEF}"/>
              </a:ext>
            </a:extLst>
          </p:cNvPr>
          <p:cNvSpPr>
            <a:spLocks noGrp="1"/>
          </p:cNvSpPr>
          <p:nvPr>
            <p:ph type="sldNum" sz="quarter" idx="12"/>
          </p:nvPr>
        </p:nvSpPr>
        <p:spPr/>
        <p:txBody>
          <a:bodyPr/>
          <a:lstStyle>
            <a:lvl1pPr>
              <a:defRPr b="0" i="0">
                <a:latin typeface="Arial" panose="020B0604020202020204" pitchFamily="34" charset="0"/>
                <a:cs typeface="Arial" panose="020B0604020202020204" pitchFamily="34" charset="0"/>
              </a:defRPr>
            </a:lvl1pPr>
          </a:lstStyle>
          <a:p>
            <a:fld id="{617D90F0-DA80-5145-B5BC-962393EBAEF1}" type="slidenum">
              <a:rPr lang="en-US" smtClean="0"/>
              <a:pPr/>
              <a:t>‹#›</a:t>
            </a:fld>
            <a:endParaRPr lang="en-US"/>
          </a:p>
        </p:txBody>
      </p:sp>
    </p:spTree>
    <p:extLst>
      <p:ext uri="{BB962C8B-B14F-4D97-AF65-F5344CB8AC3E}">
        <p14:creationId xmlns:p14="http://schemas.microsoft.com/office/powerpoint/2010/main" val="224405213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CEB9C9-C34C-1C4E-A22E-ED36BB7AB96F}"/>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1C8E06CD-A851-B040-8F88-ACC1CF37F12E}"/>
              </a:ext>
            </a:extLst>
          </p:cNvPr>
          <p:cNvSpPr>
            <a:spLocks noGrp="1"/>
          </p:cNvSpPr>
          <p:nvPr>
            <p:ph sz="half" idx="1"/>
          </p:nvPr>
        </p:nvSpPr>
        <p:spPr>
          <a:xfrm>
            <a:off x="838200" y="1825625"/>
            <a:ext cx="5181600" cy="4351339"/>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a:extLst>
              <a:ext uri="{FF2B5EF4-FFF2-40B4-BE49-F238E27FC236}">
                <a16:creationId xmlns:a16="http://schemas.microsoft.com/office/drawing/2014/main" id="{FF911167-471C-594F-923B-6B63CE784F7E}"/>
              </a:ext>
            </a:extLst>
          </p:cNvPr>
          <p:cNvSpPr>
            <a:spLocks noGrp="1"/>
          </p:cNvSpPr>
          <p:nvPr>
            <p:ph sz="half" idx="2"/>
          </p:nvPr>
        </p:nvSpPr>
        <p:spPr>
          <a:xfrm>
            <a:off x="6172200" y="1825625"/>
            <a:ext cx="5181600" cy="4351339"/>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Date Placeholder 4">
            <a:extLst>
              <a:ext uri="{FF2B5EF4-FFF2-40B4-BE49-F238E27FC236}">
                <a16:creationId xmlns:a16="http://schemas.microsoft.com/office/drawing/2014/main" id="{191CD84B-3570-4F4F-AB4D-9AF4DFF7D9E7}"/>
              </a:ext>
            </a:extLst>
          </p:cNvPr>
          <p:cNvSpPr>
            <a:spLocks noGrp="1"/>
          </p:cNvSpPr>
          <p:nvPr>
            <p:ph type="dt" sz="half" idx="10"/>
          </p:nvPr>
        </p:nvSpPr>
        <p:spPr>
          <a:xfrm>
            <a:off x="838200" y="6356351"/>
            <a:ext cx="2743200" cy="365125"/>
          </a:xfrm>
          <a:prstGeom prst="rect">
            <a:avLst/>
          </a:prstGeom>
        </p:spPr>
        <p:txBody>
          <a:bodyPr/>
          <a:lstStyle>
            <a:lvl1pPr>
              <a:defRPr>
                <a:latin typeface="+mn-lt"/>
              </a:defRPr>
            </a:lvl1pPr>
          </a:lstStyle>
          <a:p>
            <a:fld id="{A108A56D-8CC2-0048-9E73-0DB5E21B78A1}" type="datetimeFigureOut">
              <a:rPr lang="en-US" smtClean="0"/>
              <a:pPr/>
              <a:t>3/30/2026</a:t>
            </a:fld>
            <a:endParaRPr lang="en-US"/>
          </a:p>
        </p:txBody>
      </p:sp>
      <p:sp>
        <p:nvSpPr>
          <p:cNvPr id="6" name="Footer Placeholder 5">
            <a:extLst>
              <a:ext uri="{FF2B5EF4-FFF2-40B4-BE49-F238E27FC236}">
                <a16:creationId xmlns:a16="http://schemas.microsoft.com/office/drawing/2014/main" id="{48200995-9336-BB4E-B0E7-F948A06FDB1D}"/>
              </a:ext>
            </a:extLst>
          </p:cNvPr>
          <p:cNvSpPr>
            <a:spLocks noGrp="1"/>
          </p:cNvSpPr>
          <p:nvPr>
            <p:ph type="ftr" sz="quarter" idx="11"/>
          </p:nvPr>
        </p:nvSpPr>
        <p:spPr>
          <a:xfrm>
            <a:off x="4038600" y="6356351"/>
            <a:ext cx="4114800" cy="365125"/>
          </a:xfrm>
          <a:prstGeom prst="rect">
            <a:avLst/>
          </a:prstGeom>
        </p:spPr>
        <p:txBody>
          <a:bodyPr/>
          <a:lstStyle>
            <a:lvl1pPr>
              <a:defRPr b="0" i="0">
                <a:latin typeface="+mn-lt"/>
              </a:defRPr>
            </a:lvl1pPr>
          </a:lstStyle>
          <a:p>
            <a:endParaRPr lang="en-US"/>
          </a:p>
        </p:txBody>
      </p:sp>
      <p:sp>
        <p:nvSpPr>
          <p:cNvPr id="7" name="Slide Number Placeholder 6">
            <a:extLst>
              <a:ext uri="{FF2B5EF4-FFF2-40B4-BE49-F238E27FC236}">
                <a16:creationId xmlns:a16="http://schemas.microsoft.com/office/drawing/2014/main" id="{3FF6BA58-B7B0-2048-88A0-2B03A7EB915A}"/>
              </a:ext>
            </a:extLst>
          </p:cNvPr>
          <p:cNvSpPr>
            <a:spLocks noGrp="1"/>
          </p:cNvSpPr>
          <p:nvPr>
            <p:ph type="sldNum" sz="quarter" idx="12"/>
          </p:nvPr>
        </p:nvSpPr>
        <p:spPr/>
        <p:txBody>
          <a:bodyPr/>
          <a:lstStyle>
            <a:lvl1pPr>
              <a:defRPr b="0" i="0">
                <a:latin typeface="Avenir Next" panose="020B0503020202020204" pitchFamily="34" charset="0"/>
              </a:defRPr>
            </a:lvl1pPr>
          </a:lstStyle>
          <a:p>
            <a:fld id="{617D90F0-DA80-5145-B5BC-962393EBAEF1}" type="slidenum">
              <a:rPr lang="en-US" smtClean="0"/>
              <a:pPr/>
              <a:t>‹#›</a:t>
            </a:fld>
            <a:endParaRPr lang="en-US"/>
          </a:p>
        </p:txBody>
      </p:sp>
    </p:spTree>
    <p:extLst>
      <p:ext uri="{BB962C8B-B14F-4D97-AF65-F5344CB8AC3E}">
        <p14:creationId xmlns:p14="http://schemas.microsoft.com/office/powerpoint/2010/main" val="408040467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3B94F7-CF33-5B44-A7BB-5AE2D9221A1F}"/>
              </a:ext>
            </a:extLst>
          </p:cNvPr>
          <p:cNvSpPr>
            <a:spLocks noGrp="1"/>
          </p:cNvSpPr>
          <p:nvPr>
            <p:ph type="title"/>
          </p:nvPr>
        </p:nvSpPr>
        <p:spPr>
          <a:xfrm>
            <a:off x="839788" y="365125"/>
            <a:ext cx="10515600" cy="1325563"/>
          </a:xfrm>
        </p:spPr>
        <p:txBody>
          <a:bodyPr/>
          <a:lstStyle/>
          <a:p>
            <a:r>
              <a:rPr lang="en-GB"/>
              <a:t>Click to edit Master title style</a:t>
            </a:r>
            <a:endParaRPr lang="en-US"/>
          </a:p>
        </p:txBody>
      </p:sp>
      <p:sp>
        <p:nvSpPr>
          <p:cNvPr id="3" name="Text Placeholder 2">
            <a:extLst>
              <a:ext uri="{FF2B5EF4-FFF2-40B4-BE49-F238E27FC236}">
                <a16:creationId xmlns:a16="http://schemas.microsoft.com/office/drawing/2014/main" id="{CEEAF9D8-0A25-0D45-894E-D78057680DC6}"/>
              </a:ext>
            </a:extLst>
          </p:cNvPr>
          <p:cNvSpPr>
            <a:spLocks noGrp="1"/>
          </p:cNvSpPr>
          <p:nvPr>
            <p:ph type="body" idx="1"/>
          </p:nvPr>
        </p:nvSpPr>
        <p:spPr>
          <a:xfrm>
            <a:off x="839789" y="1681163"/>
            <a:ext cx="5157787"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6EE314F1-6C4C-D140-8B2E-EDEC2247CFCE}"/>
              </a:ext>
            </a:extLst>
          </p:cNvPr>
          <p:cNvSpPr>
            <a:spLocks noGrp="1"/>
          </p:cNvSpPr>
          <p:nvPr>
            <p:ph sz="half" idx="2"/>
          </p:nvPr>
        </p:nvSpPr>
        <p:spPr>
          <a:xfrm>
            <a:off x="839789"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ext Placeholder 4">
            <a:extLst>
              <a:ext uri="{FF2B5EF4-FFF2-40B4-BE49-F238E27FC236}">
                <a16:creationId xmlns:a16="http://schemas.microsoft.com/office/drawing/2014/main" id="{06A9A8CC-9389-B841-BBE6-4393002D2151}"/>
              </a:ext>
            </a:extLst>
          </p:cNvPr>
          <p:cNvSpPr>
            <a:spLocks noGrp="1"/>
          </p:cNvSpPr>
          <p:nvPr>
            <p:ph type="body" sz="quarter" idx="3"/>
          </p:nvPr>
        </p:nvSpPr>
        <p:spPr>
          <a:xfrm>
            <a:off x="6172201" y="1681163"/>
            <a:ext cx="5183188"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3E5651B3-0DE5-304A-A010-B5D0A7F0BE89}"/>
              </a:ext>
            </a:extLst>
          </p:cNvPr>
          <p:cNvSpPr>
            <a:spLocks noGrp="1"/>
          </p:cNvSpPr>
          <p:nvPr>
            <p:ph sz="quarter" idx="4"/>
          </p:nvPr>
        </p:nvSpPr>
        <p:spPr>
          <a:xfrm>
            <a:off x="6172201"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Date Placeholder 6">
            <a:extLst>
              <a:ext uri="{FF2B5EF4-FFF2-40B4-BE49-F238E27FC236}">
                <a16:creationId xmlns:a16="http://schemas.microsoft.com/office/drawing/2014/main" id="{890D401D-2718-F14E-85F5-461897F1154E}"/>
              </a:ext>
            </a:extLst>
          </p:cNvPr>
          <p:cNvSpPr>
            <a:spLocks noGrp="1"/>
          </p:cNvSpPr>
          <p:nvPr>
            <p:ph type="dt" sz="half" idx="10"/>
          </p:nvPr>
        </p:nvSpPr>
        <p:spPr>
          <a:xfrm>
            <a:off x="838200" y="6356351"/>
            <a:ext cx="2743200" cy="365125"/>
          </a:xfrm>
          <a:prstGeom prst="rect">
            <a:avLst/>
          </a:prstGeom>
        </p:spPr>
        <p:txBody>
          <a:bodyPr/>
          <a:lstStyle/>
          <a:p>
            <a:fld id="{A108A56D-8CC2-0048-9E73-0DB5E21B78A1}" type="datetimeFigureOut">
              <a:rPr lang="en-US" smtClean="0"/>
              <a:t>3/30/2026</a:t>
            </a:fld>
            <a:endParaRPr lang="en-US"/>
          </a:p>
        </p:txBody>
      </p:sp>
      <p:sp>
        <p:nvSpPr>
          <p:cNvPr id="8" name="Footer Placeholder 7">
            <a:extLst>
              <a:ext uri="{FF2B5EF4-FFF2-40B4-BE49-F238E27FC236}">
                <a16:creationId xmlns:a16="http://schemas.microsoft.com/office/drawing/2014/main" id="{C6CFFD88-5CCA-3E4B-A262-28D9A2C8CA64}"/>
              </a:ext>
            </a:extLst>
          </p:cNvPr>
          <p:cNvSpPr>
            <a:spLocks noGrp="1"/>
          </p:cNvSpPr>
          <p:nvPr>
            <p:ph type="ftr" sz="quarter" idx="11"/>
          </p:nvPr>
        </p:nvSpPr>
        <p:spPr>
          <a:xfrm>
            <a:off x="4038600" y="6356351"/>
            <a:ext cx="4114800" cy="365125"/>
          </a:xfrm>
          <a:prstGeom prst="rect">
            <a:avLst/>
          </a:prstGeom>
        </p:spPr>
        <p:txBody>
          <a:bodyPr/>
          <a:lstStyle>
            <a:lvl1pPr>
              <a:defRPr b="0" i="0">
                <a:latin typeface="+mn-lt"/>
              </a:defRPr>
            </a:lvl1pPr>
          </a:lstStyle>
          <a:p>
            <a:endParaRPr lang="en-US"/>
          </a:p>
        </p:txBody>
      </p:sp>
      <p:sp>
        <p:nvSpPr>
          <p:cNvPr id="9" name="Slide Number Placeholder 8">
            <a:extLst>
              <a:ext uri="{FF2B5EF4-FFF2-40B4-BE49-F238E27FC236}">
                <a16:creationId xmlns:a16="http://schemas.microsoft.com/office/drawing/2014/main" id="{940C07A5-ADE4-2D42-8D81-C9460F7ADD38}"/>
              </a:ext>
            </a:extLst>
          </p:cNvPr>
          <p:cNvSpPr>
            <a:spLocks noGrp="1"/>
          </p:cNvSpPr>
          <p:nvPr>
            <p:ph type="sldNum" sz="quarter" idx="12"/>
          </p:nvPr>
        </p:nvSpPr>
        <p:spPr/>
        <p:txBody>
          <a:bodyPr/>
          <a:lstStyle>
            <a:lvl1pPr>
              <a:defRPr b="0" i="0">
                <a:latin typeface="+mn-lt"/>
              </a:defRPr>
            </a:lvl1pPr>
          </a:lstStyle>
          <a:p>
            <a:fld id="{617D90F0-DA80-5145-B5BC-962393EBAEF1}" type="slidenum">
              <a:rPr lang="en-US" smtClean="0"/>
              <a:pPr/>
              <a:t>‹#›</a:t>
            </a:fld>
            <a:endParaRPr lang="en-US"/>
          </a:p>
        </p:txBody>
      </p:sp>
    </p:spTree>
    <p:extLst>
      <p:ext uri="{BB962C8B-B14F-4D97-AF65-F5344CB8AC3E}">
        <p14:creationId xmlns:p14="http://schemas.microsoft.com/office/powerpoint/2010/main" val="173445180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62E65B-029D-C546-9EBB-933287CADC7C}"/>
              </a:ext>
            </a:extLst>
          </p:cNvPr>
          <p:cNvSpPr>
            <a:spLocks noGrp="1"/>
          </p:cNvSpPr>
          <p:nvPr>
            <p:ph type="title"/>
          </p:nvPr>
        </p:nvSpPr>
        <p:spPr/>
        <p:txBody>
          <a:bodyPr/>
          <a:lstStyle/>
          <a:p>
            <a:r>
              <a:rPr lang="en-GB"/>
              <a:t>Click to edit Master title style</a:t>
            </a:r>
            <a:endParaRPr lang="en-US"/>
          </a:p>
        </p:txBody>
      </p:sp>
      <p:sp>
        <p:nvSpPr>
          <p:cNvPr id="3" name="Date Placeholder 2">
            <a:extLst>
              <a:ext uri="{FF2B5EF4-FFF2-40B4-BE49-F238E27FC236}">
                <a16:creationId xmlns:a16="http://schemas.microsoft.com/office/drawing/2014/main" id="{F0BDA0A2-DD0C-6647-9C8D-121E8636FAD2}"/>
              </a:ext>
            </a:extLst>
          </p:cNvPr>
          <p:cNvSpPr>
            <a:spLocks noGrp="1"/>
          </p:cNvSpPr>
          <p:nvPr>
            <p:ph type="dt" sz="half" idx="10"/>
          </p:nvPr>
        </p:nvSpPr>
        <p:spPr>
          <a:xfrm>
            <a:off x="838200" y="6356351"/>
            <a:ext cx="2743200" cy="365125"/>
          </a:xfrm>
          <a:prstGeom prst="rect">
            <a:avLst/>
          </a:prstGeom>
        </p:spPr>
        <p:txBody>
          <a:bodyPr/>
          <a:lstStyle/>
          <a:p>
            <a:fld id="{A108A56D-8CC2-0048-9E73-0DB5E21B78A1}" type="datetimeFigureOut">
              <a:rPr lang="en-US" smtClean="0"/>
              <a:t>3/30/2026</a:t>
            </a:fld>
            <a:endParaRPr lang="en-US"/>
          </a:p>
        </p:txBody>
      </p:sp>
      <p:sp>
        <p:nvSpPr>
          <p:cNvPr id="4" name="Footer Placeholder 3">
            <a:extLst>
              <a:ext uri="{FF2B5EF4-FFF2-40B4-BE49-F238E27FC236}">
                <a16:creationId xmlns:a16="http://schemas.microsoft.com/office/drawing/2014/main" id="{F612520C-9A54-674B-B8C7-4335A2C90593}"/>
              </a:ext>
            </a:extLst>
          </p:cNvPr>
          <p:cNvSpPr>
            <a:spLocks noGrp="1"/>
          </p:cNvSpPr>
          <p:nvPr>
            <p:ph type="ftr" sz="quarter" idx="11"/>
          </p:nvPr>
        </p:nvSpPr>
        <p:spPr>
          <a:xfrm>
            <a:off x="4038600" y="6356351"/>
            <a:ext cx="4114800" cy="365125"/>
          </a:xfrm>
          <a:prstGeom prst="rect">
            <a:avLst/>
          </a:prstGeom>
        </p:spPr>
        <p:txBody>
          <a:bodyPr/>
          <a:lstStyle>
            <a:lvl1pPr>
              <a:defRPr b="0" i="0">
                <a:latin typeface="Arial" panose="020B0604020202020204" pitchFamily="34" charset="0"/>
                <a:cs typeface="Arial" panose="020B0604020202020204" pitchFamily="34" charset="0"/>
              </a:defRPr>
            </a:lvl1pPr>
          </a:lstStyle>
          <a:p>
            <a:endParaRPr lang="en-US"/>
          </a:p>
        </p:txBody>
      </p:sp>
      <p:sp>
        <p:nvSpPr>
          <p:cNvPr id="5" name="Slide Number Placeholder 4">
            <a:extLst>
              <a:ext uri="{FF2B5EF4-FFF2-40B4-BE49-F238E27FC236}">
                <a16:creationId xmlns:a16="http://schemas.microsoft.com/office/drawing/2014/main" id="{A88EEF28-C078-7B42-8835-9805C149B1BA}"/>
              </a:ext>
            </a:extLst>
          </p:cNvPr>
          <p:cNvSpPr>
            <a:spLocks noGrp="1"/>
          </p:cNvSpPr>
          <p:nvPr>
            <p:ph type="sldNum" sz="quarter" idx="12"/>
          </p:nvPr>
        </p:nvSpPr>
        <p:spPr/>
        <p:txBody>
          <a:bodyPr/>
          <a:lstStyle>
            <a:lvl1pPr>
              <a:defRPr b="0" i="0">
                <a:latin typeface="Arial" panose="020B0604020202020204" pitchFamily="34" charset="0"/>
                <a:cs typeface="Arial" panose="020B0604020202020204" pitchFamily="34" charset="0"/>
              </a:defRPr>
            </a:lvl1pPr>
          </a:lstStyle>
          <a:p>
            <a:fld id="{617D90F0-DA80-5145-B5BC-962393EBAEF1}" type="slidenum">
              <a:rPr lang="en-US" smtClean="0"/>
              <a:pPr/>
              <a:t>‹#›</a:t>
            </a:fld>
            <a:endParaRPr lang="en-US"/>
          </a:p>
        </p:txBody>
      </p:sp>
    </p:spTree>
    <p:extLst>
      <p:ext uri="{BB962C8B-B14F-4D97-AF65-F5344CB8AC3E}">
        <p14:creationId xmlns:p14="http://schemas.microsoft.com/office/powerpoint/2010/main" val="84309265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B4B5A5D-B6F0-2048-BE99-B73D0E386874}"/>
              </a:ext>
            </a:extLst>
          </p:cNvPr>
          <p:cNvSpPr>
            <a:spLocks noGrp="1"/>
          </p:cNvSpPr>
          <p:nvPr>
            <p:ph type="dt" sz="half" idx="10"/>
          </p:nvPr>
        </p:nvSpPr>
        <p:spPr>
          <a:xfrm>
            <a:off x="838200" y="6356351"/>
            <a:ext cx="2743200" cy="365125"/>
          </a:xfrm>
          <a:prstGeom prst="rect">
            <a:avLst/>
          </a:prstGeom>
        </p:spPr>
        <p:txBody>
          <a:bodyPr/>
          <a:lstStyle/>
          <a:p>
            <a:fld id="{A108A56D-8CC2-0048-9E73-0DB5E21B78A1}" type="datetimeFigureOut">
              <a:rPr lang="en-US" smtClean="0"/>
              <a:t>3/30/2026</a:t>
            </a:fld>
            <a:endParaRPr lang="en-US"/>
          </a:p>
        </p:txBody>
      </p:sp>
      <p:sp>
        <p:nvSpPr>
          <p:cNvPr id="3" name="Footer Placeholder 2">
            <a:extLst>
              <a:ext uri="{FF2B5EF4-FFF2-40B4-BE49-F238E27FC236}">
                <a16:creationId xmlns:a16="http://schemas.microsoft.com/office/drawing/2014/main" id="{EF04C142-5A20-3747-A7F7-871A84FA673C}"/>
              </a:ext>
            </a:extLst>
          </p:cNvPr>
          <p:cNvSpPr>
            <a:spLocks noGrp="1"/>
          </p:cNvSpPr>
          <p:nvPr>
            <p:ph type="ftr" sz="quarter" idx="11"/>
          </p:nvPr>
        </p:nvSpPr>
        <p:spPr>
          <a:xfrm>
            <a:off x="4038600" y="6356351"/>
            <a:ext cx="4114800" cy="365125"/>
          </a:xfrm>
          <a:prstGeom prst="rect">
            <a:avLst/>
          </a:prstGeom>
        </p:spPr>
        <p:txBody>
          <a:bodyPr/>
          <a:lstStyle>
            <a:lvl1pPr>
              <a:defRPr b="0" i="0">
                <a:latin typeface="+mn-lt"/>
              </a:defRPr>
            </a:lvl1pPr>
          </a:lstStyle>
          <a:p>
            <a:endParaRPr lang="en-US"/>
          </a:p>
        </p:txBody>
      </p:sp>
      <p:sp>
        <p:nvSpPr>
          <p:cNvPr id="4" name="Slide Number Placeholder 3">
            <a:extLst>
              <a:ext uri="{FF2B5EF4-FFF2-40B4-BE49-F238E27FC236}">
                <a16:creationId xmlns:a16="http://schemas.microsoft.com/office/drawing/2014/main" id="{83629A2B-8F57-2F4E-84C7-EB37AD797FD7}"/>
              </a:ext>
            </a:extLst>
          </p:cNvPr>
          <p:cNvSpPr>
            <a:spLocks noGrp="1"/>
          </p:cNvSpPr>
          <p:nvPr>
            <p:ph type="sldNum" sz="quarter" idx="12"/>
          </p:nvPr>
        </p:nvSpPr>
        <p:spPr/>
        <p:txBody>
          <a:bodyPr/>
          <a:lstStyle>
            <a:lvl1pPr>
              <a:defRPr b="0" i="0">
                <a:latin typeface="+mn-lt"/>
              </a:defRPr>
            </a:lvl1pPr>
          </a:lstStyle>
          <a:p>
            <a:fld id="{617D90F0-DA80-5145-B5BC-962393EBAEF1}" type="slidenum">
              <a:rPr lang="en-US" smtClean="0"/>
              <a:pPr/>
              <a:t>‹#›</a:t>
            </a:fld>
            <a:endParaRPr lang="en-US"/>
          </a:p>
        </p:txBody>
      </p:sp>
    </p:spTree>
    <p:extLst>
      <p:ext uri="{BB962C8B-B14F-4D97-AF65-F5344CB8AC3E}">
        <p14:creationId xmlns:p14="http://schemas.microsoft.com/office/powerpoint/2010/main" val="219997276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C63D1B-F596-7843-81EF-FBB9163B1862}"/>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Content Placeholder 2">
            <a:extLst>
              <a:ext uri="{FF2B5EF4-FFF2-40B4-BE49-F238E27FC236}">
                <a16:creationId xmlns:a16="http://schemas.microsoft.com/office/drawing/2014/main" id="{1BA7B6B0-17A7-F349-9EE4-C300A3A818E5}"/>
              </a:ext>
            </a:extLst>
          </p:cNvPr>
          <p:cNvSpPr>
            <a:spLocks noGrp="1"/>
          </p:cNvSpPr>
          <p:nvPr>
            <p:ph idx="1"/>
          </p:nvPr>
        </p:nvSpPr>
        <p:spPr>
          <a:xfrm>
            <a:off x="5183188"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Text Placeholder 3">
            <a:extLst>
              <a:ext uri="{FF2B5EF4-FFF2-40B4-BE49-F238E27FC236}">
                <a16:creationId xmlns:a16="http://schemas.microsoft.com/office/drawing/2014/main" id="{198F9B35-A133-8143-BBBA-E0AD5080F8B3}"/>
              </a:ext>
            </a:extLst>
          </p:cNvPr>
          <p:cNvSpPr>
            <a:spLocks noGrp="1"/>
          </p:cNvSpPr>
          <p:nvPr>
            <p:ph type="body" sz="half" idx="2"/>
          </p:nvPr>
        </p:nvSpPr>
        <p:spPr>
          <a:xfrm>
            <a:off x="839788" y="2057401"/>
            <a:ext cx="3932237"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BC31D85B-8CBE-AD48-A319-829C8EF2BC22}"/>
              </a:ext>
            </a:extLst>
          </p:cNvPr>
          <p:cNvSpPr>
            <a:spLocks noGrp="1"/>
          </p:cNvSpPr>
          <p:nvPr>
            <p:ph type="dt" sz="half" idx="10"/>
          </p:nvPr>
        </p:nvSpPr>
        <p:spPr>
          <a:xfrm>
            <a:off x="838200" y="6356351"/>
            <a:ext cx="2743200" cy="365125"/>
          </a:xfrm>
          <a:prstGeom prst="rect">
            <a:avLst/>
          </a:prstGeom>
        </p:spPr>
        <p:txBody>
          <a:bodyPr/>
          <a:lstStyle/>
          <a:p>
            <a:fld id="{A108A56D-8CC2-0048-9E73-0DB5E21B78A1}" type="datetimeFigureOut">
              <a:rPr lang="en-US" smtClean="0"/>
              <a:t>3/30/2026</a:t>
            </a:fld>
            <a:endParaRPr lang="en-US"/>
          </a:p>
        </p:txBody>
      </p:sp>
      <p:sp>
        <p:nvSpPr>
          <p:cNvPr id="6" name="Footer Placeholder 5">
            <a:extLst>
              <a:ext uri="{FF2B5EF4-FFF2-40B4-BE49-F238E27FC236}">
                <a16:creationId xmlns:a16="http://schemas.microsoft.com/office/drawing/2014/main" id="{54F7700A-80F5-8144-8EC5-71AF04E5D38D}"/>
              </a:ext>
            </a:extLst>
          </p:cNvPr>
          <p:cNvSpPr>
            <a:spLocks noGrp="1"/>
          </p:cNvSpPr>
          <p:nvPr>
            <p:ph type="ftr" sz="quarter" idx="11"/>
          </p:nvPr>
        </p:nvSpPr>
        <p:spPr>
          <a:xfrm>
            <a:off x="4038600" y="6356351"/>
            <a:ext cx="4114800" cy="365125"/>
          </a:xfrm>
          <a:prstGeom prst="rect">
            <a:avLst/>
          </a:prstGeom>
        </p:spPr>
        <p:txBody>
          <a:bodyPr/>
          <a:lstStyle>
            <a:lvl1pPr>
              <a:defRPr b="0" i="0">
                <a:latin typeface="+mn-lt"/>
              </a:defRPr>
            </a:lvl1pPr>
          </a:lstStyle>
          <a:p>
            <a:endParaRPr lang="en-US"/>
          </a:p>
        </p:txBody>
      </p:sp>
      <p:sp>
        <p:nvSpPr>
          <p:cNvPr id="7" name="Slide Number Placeholder 6">
            <a:extLst>
              <a:ext uri="{FF2B5EF4-FFF2-40B4-BE49-F238E27FC236}">
                <a16:creationId xmlns:a16="http://schemas.microsoft.com/office/drawing/2014/main" id="{2FCDB9D6-3F12-8542-98A9-9E1AD1C18450}"/>
              </a:ext>
            </a:extLst>
          </p:cNvPr>
          <p:cNvSpPr>
            <a:spLocks noGrp="1"/>
          </p:cNvSpPr>
          <p:nvPr>
            <p:ph type="sldNum" sz="quarter" idx="12"/>
          </p:nvPr>
        </p:nvSpPr>
        <p:spPr/>
        <p:txBody>
          <a:bodyPr/>
          <a:lstStyle>
            <a:lvl1pPr>
              <a:defRPr b="0" i="0">
                <a:latin typeface="+mn-lt"/>
              </a:defRPr>
            </a:lvl1pPr>
          </a:lstStyle>
          <a:p>
            <a:fld id="{617D90F0-DA80-5145-B5BC-962393EBAEF1}" type="slidenum">
              <a:rPr lang="en-US" smtClean="0"/>
              <a:pPr/>
              <a:t>‹#›</a:t>
            </a:fld>
            <a:endParaRPr lang="en-US"/>
          </a:p>
        </p:txBody>
      </p:sp>
    </p:spTree>
    <p:extLst>
      <p:ext uri="{BB962C8B-B14F-4D97-AF65-F5344CB8AC3E}">
        <p14:creationId xmlns:p14="http://schemas.microsoft.com/office/powerpoint/2010/main" val="226376943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872CF0-ED1B-804D-AE4E-EF1DA3E13C48}"/>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Picture Placeholder 2">
            <a:extLst>
              <a:ext uri="{FF2B5EF4-FFF2-40B4-BE49-F238E27FC236}">
                <a16:creationId xmlns:a16="http://schemas.microsoft.com/office/drawing/2014/main" id="{AC86B298-2445-3F4D-BD28-34222DC3DD98}"/>
              </a:ext>
            </a:extLst>
          </p:cNvPr>
          <p:cNvSpPr>
            <a:spLocks noGrp="1"/>
          </p:cNvSpPr>
          <p:nvPr>
            <p:ph type="pic" idx="1"/>
          </p:nvPr>
        </p:nvSpPr>
        <p:spPr>
          <a:xfrm>
            <a:off x="5183188" y="987426"/>
            <a:ext cx="6172200" cy="4873625"/>
          </a:xfrm>
        </p:spPr>
        <p:txBody>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endParaRPr lang="en-US"/>
          </a:p>
        </p:txBody>
      </p:sp>
      <p:sp>
        <p:nvSpPr>
          <p:cNvPr id="4" name="Text Placeholder 3">
            <a:extLst>
              <a:ext uri="{FF2B5EF4-FFF2-40B4-BE49-F238E27FC236}">
                <a16:creationId xmlns:a16="http://schemas.microsoft.com/office/drawing/2014/main" id="{6CDAFE24-64A5-3D48-A2D2-D61A303763E0}"/>
              </a:ext>
            </a:extLst>
          </p:cNvPr>
          <p:cNvSpPr>
            <a:spLocks noGrp="1"/>
          </p:cNvSpPr>
          <p:nvPr>
            <p:ph type="body" sz="half" idx="2"/>
          </p:nvPr>
        </p:nvSpPr>
        <p:spPr>
          <a:xfrm>
            <a:off x="839788" y="2057401"/>
            <a:ext cx="3932237"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B7598FE2-34AC-7C46-A5F2-ACF358297FC2}"/>
              </a:ext>
            </a:extLst>
          </p:cNvPr>
          <p:cNvSpPr>
            <a:spLocks noGrp="1"/>
          </p:cNvSpPr>
          <p:nvPr>
            <p:ph type="dt" sz="half" idx="10"/>
          </p:nvPr>
        </p:nvSpPr>
        <p:spPr>
          <a:xfrm>
            <a:off x="838200" y="6356351"/>
            <a:ext cx="2743200" cy="365125"/>
          </a:xfrm>
          <a:prstGeom prst="rect">
            <a:avLst/>
          </a:prstGeom>
        </p:spPr>
        <p:txBody>
          <a:bodyPr/>
          <a:lstStyle/>
          <a:p>
            <a:fld id="{A108A56D-8CC2-0048-9E73-0DB5E21B78A1}" type="datetimeFigureOut">
              <a:rPr lang="en-US" smtClean="0"/>
              <a:t>3/30/2026</a:t>
            </a:fld>
            <a:endParaRPr lang="en-US"/>
          </a:p>
        </p:txBody>
      </p:sp>
      <p:sp>
        <p:nvSpPr>
          <p:cNvPr id="6" name="Footer Placeholder 5">
            <a:extLst>
              <a:ext uri="{FF2B5EF4-FFF2-40B4-BE49-F238E27FC236}">
                <a16:creationId xmlns:a16="http://schemas.microsoft.com/office/drawing/2014/main" id="{25CDC666-7EAB-6340-B735-0D8B9D9DDCC9}"/>
              </a:ext>
            </a:extLst>
          </p:cNvPr>
          <p:cNvSpPr>
            <a:spLocks noGrp="1"/>
          </p:cNvSpPr>
          <p:nvPr>
            <p:ph type="ftr" sz="quarter" idx="11"/>
          </p:nvPr>
        </p:nvSpPr>
        <p:spPr>
          <a:xfrm>
            <a:off x="4038600" y="6356351"/>
            <a:ext cx="4114800" cy="365125"/>
          </a:xfrm>
          <a:prstGeom prst="rect">
            <a:avLst/>
          </a:prstGeom>
        </p:spPr>
        <p:txBody>
          <a:bodyPr/>
          <a:lstStyle>
            <a:lvl1pPr>
              <a:defRPr>
                <a:latin typeface="+mn-lt"/>
              </a:defRPr>
            </a:lvl1pPr>
          </a:lstStyle>
          <a:p>
            <a:endParaRPr lang="en-US"/>
          </a:p>
        </p:txBody>
      </p:sp>
      <p:sp>
        <p:nvSpPr>
          <p:cNvPr id="7" name="Slide Number Placeholder 6">
            <a:extLst>
              <a:ext uri="{FF2B5EF4-FFF2-40B4-BE49-F238E27FC236}">
                <a16:creationId xmlns:a16="http://schemas.microsoft.com/office/drawing/2014/main" id="{5DE6E960-45BA-7447-B257-F59DE544FD00}"/>
              </a:ext>
            </a:extLst>
          </p:cNvPr>
          <p:cNvSpPr>
            <a:spLocks noGrp="1"/>
          </p:cNvSpPr>
          <p:nvPr>
            <p:ph type="sldNum" sz="quarter" idx="12"/>
          </p:nvPr>
        </p:nvSpPr>
        <p:spPr/>
        <p:txBody>
          <a:bodyPr/>
          <a:lstStyle>
            <a:lvl1pPr>
              <a:defRPr>
                <a:latin typeface="+mn-lt"/>
              </a:defRPr>
            </a:lvl1pPr>
          </a:lstStyle>
          <a:p>
            <a:fld id="{617D90F0-DA80-5145-B5BC-962393EBAEF1}" type="slidenum">
              <a:rPr lang="en-US" smtClean="0"/>
              <a:pPr/>
              <a:t>‹#›</a:t>
            </a:fld>
            <a:endParaRPr lang="en-US"/>
          </a:p>
        </p:txBody>
      </p:sp>
    </p:spTree>
    <p:extLst>
      <p:ext uri="{BB962C8B-B14F-4D97-AF65-F5344CB8AC3E}">
        <p14:creationId xmlns:p14="http://schemas.microsoft.com/office/powerpoint/2010/main" val="373994124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1E94E8-64AB-8141-9FDC-73342C5486EE}"/>
              </a:ext>
            </a:extLst>
          </p:cNvPr>
          <p:cNvSpPr>
            <a:spLocks noGrp="1"/>
          </p:cNvSpPr>
          <p:nvPr>
            <p:ph type="title"/>
          </p:nvPr>
        </p:nvSpPr>
        <p:spPr/>
        <p:txBody>
          <a:bodyPr/>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6D3A39CF-3AAF-D942-AB4E-AED9068EF26A}"/>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B7487F17-D7C4-C94A-BE3C-E5D40C56EA17}"/>
              </a:ext>
            </a:extLst>
          </p:cNvPr>
          <p:cNvSpPr>
            <a:spLocks noGrp="1"/>
          </p:cNvSpPr>
          <p:nvPr>
            <p:ph type="dt" sz="half" idx="10"/>
          </p:nvPr>
        </p:nvSpPr>
        <p:spPr>
          <a:xfrm>
            <a:off x="838200" y="6356351"/>
            <a:ext cx="2743200" cy="365125"/>
          </a:xfrm>
          <a:prstGeom prst="rect">
            <a:avLst/>
          </a:prstGeom>
        </p:spPr>
        <p:txBody>
          <a:bodyPr/>
          <a:lstStyle>
            <a:lvl1pPr>
              <a:defRPr>
                <a:latin typeface="+mn-lt"/>
              </a:defRPr>
            </a:lvl1pPr>
          </a:lstStyle>
          <a:p>
            <a:fld id="{A108A56D-8CC2-0048-9E73-0DB5E21B78A1}" type="datetimeFigureOut">
              <a:rPr lang="en-US" smtClean="0"/>
              <a:pPr/>
              <a:t>3/30/2026</a:t>
            </a:fld>
            <a:endParaRPr lang="en-US"/>
          </a:p>
        </p:txBody>
      </p:sp>
      <p:sp>
        <p:nvSpPr>
          <p:cNvPr id="5" name="Footer Placeholder 4">
            <a:extLst>
              <a:ext uri="{FF2B5EF4-FFF2-40B4-BE49-F238E27FC236}">
                <a16:creationId xmlns:a16="http://schemas.microsoft.com/office/drawing/2014/main" id="{B971ACD1-9F87-F549-BB7A-0E0DA8BD7A08}"/>
              </a:ext>
            </a:extLst>
          </p:cNvPr>
          <p:cNvSpPr>
            <a:spLocks noGrp="1"/>
          </p:cNvSpPr>
          <p:nvPr>
            <p:ph type="ftr" sz="quarter" idx="11"/>
          </p:nvPr>
        </p:nvSpPr>
        <p:spPr>
          <a:xfrm>
            <a:off x="4038600" y="6356351"/>
            <a:ext cx="4114800" cy="365125"/>
          </a:xfrm>
          <a:prstGeom prst="rect">
            <a:avLst/>
          </a:prstGeom>
        </p:spPr>
        <p:txBody>
          <a:bodyPr/>
          <a:lstStyle>
            <a:lvl1pPr>
              <a:defRPr b="0" i="0">
                <a:latin typeface="+mn-lt"/>
              </a:defRPr>
            </a:lvl1pPr>
          </a:lstStyle>
          <a:p>
            <a:endParaRPr lang="en-US"/>
          </a:p>
        </p:txBody>
      </p:sp>
      <p:sp>
        <p:nvSpPr>
          <p:cNvPr id="6" name="Slide Number Placeholder 5">
            <a:extLst>
              <a:ext uri="{FF2B5EF4-FFF2-40B4-BE49-F238E27FC236}">
                <a16:creationId xmlns:a16="http://schemas.microsoft.com/office/drawing/2014/main" id="{7CA4031A-F502-5A47-A9D4-31B43C817123}"/>
              </a:ext>
            </a:extLst>
          </p:cNvPr>
          <p:cNvSpPr>
            <a:spLocks noGrp="1"/>
          </p:cNvSpPr>
          <p:nvPr>
            <p:ph type="sldNum" sz="quarter" idx="12"/>
          </p:nvPr>
        </p:nvSpPr>
        <p:spPr/>
        <p:txBody>
          <a:bodyPr/>
          <a:lstStyle>
            <a:lvl1pPr>
              <a:defRPr b="0" i="0">
                <a:latin typeface="Avenir Next" panose="020B0503020202020204" pitchFamily="34" charset="0"/>
              </a:defRPr>
            </a:lvl1pPr>
          </a:lstStyle>
          <a:p>
            <a:fld id="{617D90F0-DA80-5145-B5BC-962393EBAEF1}" type="slidenum">
              <a:rPr lang="en-US" smtClean="0"/>
              <a:pPr/>
              <a:t>‹#›</a:t>
            </a:fld>
            <a:endParaRPr lang="en-US"/>
          </a:p>
        </p:txBody>
      </p:sp>
    </p:spTree>
    <p:extLst>
      <p:ext uri="{BB962C8B-B14F-4D97-AF65-F5344CB8AC3E}">
        <p14:creationId xmlns:p14="http://schemas.microsoft.com/office/powerpoint/2010/main" val="336230175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A6021A7F-64DD-7B45-80E7-DF9DB4FBBB85}"/>
              </a:ext>
            </a:extLst>
          </p:cNvPr>
          <p:cNvSpPr>
            <a:spLocks noGrp="1"/>
          </p:cNvSpPr>
          <p:nvPr>
            <p:ph type="title" orient="vert"/>
          </p:nvPr>
        </p:nvSpPr>
        <p:spPr>
          <a:xfrm>
            <a:off x="8724901" y="365126"/>
            <a:ext cx="2628900" cy="5811839"/>
          </a:xfrm>
        </p:spPr>
        <p:txBody>
          <a:bodyPr vert="eaVert"/>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A27CD8A5-1E8E-BD4B-A33F-3D8FB2200352}"/>
              </a:ext>
            </a:extLst>
          </p:cNvPr>
          <p:cNvSpPr>
            <a:spLocks noGrp="1"/>
          </p:cNvSpPr>
          <p:nvPr>
            <p:ph type="body" orient="vert" idx="1"/>
          </p:nvPr>
        </p:nvSpPr>
        <p:spPr>
          <a:xfrm>
            <a:off x="838201" y="365126"/>
            <a:ext cx="7734300" cy="5811839"/>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076FB985-A103-ED44-8B20-0DBC0D245350}"/>
              </a:ext>
            </a:extLst>
          </p:cNvPr>
          <p:cNvSpPr>
            <a:spLocks noGrp="1"/>
          </p:cNvSpPr>
          <p:nvPr>
            <p:ph type="dt" sz="half" idx="10"/>
          </p:nvPr>
        </p:nvSpPr>
        <p:spPr>
          <a:xfrm>
            <a:off x="838200" y="6356351"/>
            <a:ext cx="2743200" cy="365125"/>
          </a:xfrm>
          <a:prstGeom prst="rect">
            <a:avLst/>
          </a:prstGeom>
        </p:spPr>
        <p:txBody>
          <a:bodyPr/>
          <a:lstStyle>
            <a:lvl1pPr>
              <a:defRPr b="0" i="0">
                <a:latin typeface="Avenir Next" panose="020B0503020202020204" pitchFamily="34" charset="0"/>
              </a:defRPr>
            </a:lvl1pPr>
          </a:lstStyle>
          <a:p>
            <a:fld id="{A108A56D-8CC2-0048-9E73-0DB5E21B78A1}" type="datetimeFigureOut">
              <a:rPr lang="en-US" smtClean="0"/>
              <a:pPr/>
              <a:t>3/30/2026</a:t>
            </a:fld>
            <a:endParaRPr lang="en-US"/>
          </a:p>
        </p:txBody>
      </p:sp>
      <p:sp>
        <p:nvSpPr>
          <p:cNvPr id="5" name="Footer Placeholder 4">
            <a:extLst>
              <a:ext uri="{FF2B5EF4-FFF2-40B4-BE49-F238E27FC236}">
                <a16:creationId xmlns:a16="http://schemas.microsoft.com/office/drawing/2014/main" id="{CBF635CC-C28D-8940-847B-5E07E1AEAAA8}"/>
              </a:ext>
            </a:extLst>
          </p:cNvPr>
          <p:cNvSpPr>
            <a:spLocks noGrp="1"/>
          </p:cNvSpPr>
          <p:nvPr>
            <p:ph type="ftr" sz="quarter" idx="11"/>
          </p:nvPr>
        </p:nvSpPr>
        <p:spPr>
          <a:xfrm>
            <a:off x="4038600" y="6356351"/>
            <a:ext cx="4114800" cy="365125"/>
          </a:xfrm>
          <a:prstGeom prst="rect">
            <a:avLst/>
          </a:prstGeom>
        </p:spPr>
        <p:txBody>
          <a:bodyPr/>
          <a:lstStyle>
            <a:lvl1pPr>
              <a:defRPr b="0" i="0">
                <a:latin typeface="Avenir Next" panose="020B0503020202020204" pitchFamily="34" charset="0"/>
              </a:defRPr>
            </a:lvl1pPr>
          </a:lstStyle>
          <a:p>
            <a:endParaRPr lang="en-US"/>
          </a:p>
        </p:txBody>
      </p:sp>
      <p:sp>
        <p:nvSpPr>
          <p:cNvPr id="6" name="Slide Number Placeholder 5">
            <a:extLst>
              <a:ext uri="{FF2B5EF4-FFF2-40B4-BE49-F238E27FC236}">
                <a16:creationId xmlns:a16="http://schemas.microsoft.com/office/drawing/2014/main" id="{D001D90B-8A21-C442-8713-CE4DECCFBAD3}"/>
              </a:ext>
            </a:extLst>
          </p:cNvPr>
          <p:cNvSpPr>
            <a:spLocks noGrp="1"/>
          </p:cNvSpPr>
          <p:nvPr>
            <p:ph type="sldNum" sz="quarter" idx="12"/>
          </p:nvPr>
        </p:nvSpPr>
        <p:spPr/>
        <p:txBody>
          <a:bodyPr/>
          <a:lstStyle/>
          <a:p>
            <a:fld id="{617D90F0-DA80-5145-B5BC-962393EBAEF1}" type="slidenum">
              <a:rPr lang="en-US" smtClean="0"/>
              <a:t>‹#›</a:t>
            </a:fld>
            <a:endParaRPr lang="en-US"/>
          </a:p>
        </p:txBody>
      </p:sp>
    </p:spTree>
    <p:extLst>
      <p:ext uri="{BB962C8B-B14F-4D97-AF65-F5344CB8AC3E}">
        <p14:creationId xmlns:p14="http://schemas.microsoft.com/office/powerpoint/2010/main" val="102890911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Section divider blan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01A9196B-05EB-E2C1-7E72-D8811229D8D2}"/>
              </a:ext>
            </a:extLst>
          </p:cNvPr>
          <p:cNvSpPr>
            <a:spLocks noGrp="1"/>
          </p:cNvSpPr>
          <p:nvPr>
            <p:ph type="subTitle" idx="1"/>
          </p:nvPr>
        </p:nvSpPr>
        <p:spPr>
          <a:xfrm>
            <a:off x="442914" y="4217374"/>
            <a:ext cx="5537199" cy="283154"/>
          </a:xfr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10" name="Title 9">
            <a:extLst>
              <a:ext uri="{FF2B5EF4-FFF2-40B4-BE49-F238E27FC236}">
                <a16:creationId xmlns:a16="http://schemas.microsoft.com/office/drawing/2014/main" id="{61AC5D26-4661-1187-F6D3-B7AC649531E9}"/>
              </a:ext>
            </a:extLst>
          </p:cNvPr>
          <p:cNvSpPr>
            <a:spLocks noGrp="1"/>
          </p:cNvSpPr>
          <p:nvPr>
            <p:ph type="title" hasCustomPrompt="1"/>
          </p:nvPr>
        </p:nvSpPr>
        <p:spPr>
          <a:xfrm>
            <a:off x="442914" y="3145139"/>
            <a:ext cx="5537199" cy="567848"/>
          </a:xfrm>
        </p:spPr>
        <p:txBody>
          <a:bodyPr anchor="b" anchorCtr="0"/>
          <a:lstStyle>
            <a:lvl1pPr>
              <a:lnSpc>
                <a:spcPct val="90000"/>
              </a:lnSpc>
              <a:defRPr sz="4000" spc="-100" baseline="0">
                <a:solidFill>
                  <a:schemeClr val="tx1"/>
                </a:solidFill>
              </a:defRPr>
            </a:lvl1pPr>
          </a:lstStyle>
          <a:p>
            <a:r>
              <a:rPr lang="en-US"/>
              <a:t>Click to add title</a:t>
            </a:r>
            <a:endParaRPr lang="en-GB"/>
          </a:p>
        </p:txBody>
      </p:sp>
      <p:sp>
        <p:nvSpPr>
          <p:cNvPr id="6" name="Picture Placeholder 35">
            <a:extLst>
              <a:ext uri="{FF2B5EF4-FFF2-40B4-BE49-F238E27FC236}">
                <a16:creationId xmlns:a16="http://schemas.microsoft.com/office/drawing/2014/main" id="{FE78654A-8D24-CF2B-A2EB-9FE413E22D9C}"/>
              </a:ext>
            </a:extLst>
          </p:cNvPr>
          <p:cNvSpPr>
            <a:spLocks noGrp="1" noChangeAspect="1"/>
          </p:cNvSpPr>
          <p:nvPr>
            <p:ph type="pic" sz="quarter" idx="11"/>
          </p:nvPr>
        </p:nvSpPr>
        <p:spPr>
          <a:xfrm>
            <a:off x="7064944" y="780213"/>
            <a:ext cx="6477802" cy="6550029"/>
          </a:xfrm>
          <a:custGeom>
            <a:avLst/>
            <a:gdLst>
              <a:gd name="connsiteX0" fmla="*/ 1639429 w 3199793"/>
              <a:gd name="connsiteY0" fmla="*/ 0 h 3191437"/>
              <a:gd name="connsiteX1" fmla="*/ 2751117 w 3199793"/>
              <a:gd name="connsiteY1" fmla="*/ 389641 h 3191437"/>
              <a:gd name="connsiteX2" fmla="*/ 3199793 w 3199793"/>
              <a:gd name="connsiteY2" fmla="*/ 1495689 h 3191437"/>
              <a:gd name="connsiteX3" fmla="*/ 2982599 w 3199793"/>
              <a:gd name="connsiteY3" fmla="*/ 2594114 h 3191437"/>
              <a:gd name="connsiteX4" fmla="*/ 1940452 w 3199793"/>
              <a:gd name="connsiteY4" fmla="*/ 3191437 h 3191437"/>
              <a:gd name="connsiteX5" fmla="*/ 565846 w 3199793"/>
              <a:gd name="connsiteY5" fmla="*/ 2984708 h 3191437"/>
              <a:gd name="connsiteX6" fmla="*/ 0 w 3199793"/>
              <a:gd name="connsiteY6" fmla="*/ 1993934 h 3191437"/>
              <a:gd name="connsiteX7" fmla="*/ 135270 w 3199793"/>
              <a:gd name="connsiteY7" fmla="*/ 1144154 h 3191437"/>
              <a:gd name="connsiteX8" fmla="*/ 453439 w 3199793"/>
              <a:gd name="connsiteY8" fmla="*/ 307712 h 3191437"/>
              <a:gd name="connsiteX0" fmla="*/ 1783146 w 3199793"/>
              <a:gd name="connsiteY0" fmla="*/ 0 h 3181856"/>
              <a:gd name="connsiteX1" fmla="*/ 2751117 w 3199793"/>
              <a:gd name="connsiteY1" fmla="*/ 380060 h 3181856"/>
              <a:gd name="connsiteX2" fmla="*/ 3199793 w 3199793"/>
              <a:gd name="connsiteY2" fmla="*/ 1486108 h 3181856"/>
              <a:gd name="connsiteX3" fmla="*/ 2982599 w 3199793"/>
              <a:gd name="connsiteY3" fmla="*/ 2584533 h 3181856"/>
              <a:gd name="connsiteX4" fmla="*/ 1940452 w 3199793"/>
              <a:gd name="connsiteY4" fmla="*/ 3181856 h 3181856"/>
              <a:gd name="connsiteX5" fmla="*/ 565846 w 3199793"/>
              <a:gd name="connsiteY5" fmla="*/ 2975127 h 3181856"/>
              <a:gd name="connsiteX6" fmla="*/ 0 w 3199793"/>
              <a:gd name="connsiteY6" fmla="*/ 1984353 h 3181856"/>
              <a:gd name="connsiteX7" fmla="*/ 135270 w 3199793"/>
              <a:gd name="connsiteY7" fmla="*/ 1134573 h 3181856"/>
              <a:gd name="connsiteX8" fmla="*/ 453439 w 3199793"/>
              <a:gd name="connsiteY8" fmla="*/ 298131 h 3181856"/>
              <a:gd name="connsiteX9" fmla="*/ 1783146 w 3199793"/>
              <a:gd name="connsiteY9" fmla="*/ 0 h 3181856"/>
              <a:gd name="connsiteX0" fmla="*/ 1783146 w 3199793"/>
              <a:gd name="connsiteY0" fmla="*/ 0 h 3181856"/>
              <a:gd name="connsiteX1" fmla="*/ 2751117 w 3199793"/>
              <a:gd name="connsiteY1" fmla="*/ 380060 h 3181856"/>
              <a:gd name="connsiteX2" fmla="*/ 3199793 w 3199793"/>
              <a:gd name="connsiteY2" fmla="*/ 1486108 h 3181856"/>
              <a:gd name="connsiteX3" fmla="*/ 2982599 w 3199793"/>
              <a:gd name="connsiteY3" fmla="*/ 2584533 h 3181856"/>
              <a:gd name="connsiteX4" fmla="*/ 1940452 w 3199793"/>
              <a:gd name="connsiteY4" fmla="*/ 3181856 h 3181856"/>
              <a:gd name="connsiteX5" fmla="*/ 565846 w 3199793"/>
              <a:gd name="connsiteY5" fmla="*/ 2975127 h 3181856"/>
              <a:gd name="connsiteX6" fmla="*/ 0 w 3199793"/>
              <a:gd name="connsiteY6" fmla="*/ 1984353 h 3181856"/>
              <a:gd name="connsiteX7" fmla="*/ 135270 w 3199793"/>
              <a:gd name="connsiteY7" fmla="*/ 1134573 h 3181856"/>
              <a:gd name="connsiteX8" fmla="*/ 453439 w 3199793"/>
              <a:gd name="connsiteY8" fmla="*/ 298131 h 3181856"/>
              <a:gd name="connsiteX9" fmla="*/ 1783146 w 3199793"/>
              <a:gd name="connsiteY9" fmla="*/ 0 h 3181856"/>
              <a:gd name="connsiteX0" fmla="*/ 1783146 w 3199793"/>
              <a:gd name="connsiteY0" fmla="*/ 0 h 3181856"/>
              <a:gd name="connsiteX1" fmla="*/ 2751117 w 3199793"/>
              <a:gd name="connsiteY1" fmla="*/ 380060 h 3181856"/>
              <a:gd name="connsiteX2" fmla="*/ 3199793 w 3199793"/>
              <a:gd name="connsiteY2" fmla="*/ 1486108 h 3181856"/>
              <a:gd name="connsiteX3" fmla="*/ 2982599 w 3199793"/>
              <a:gd name="connsiteY3" fmla="*/ 2584533 h 3181856"/>
              <a:gd name="connsiteX4" fmla="*/ 1940452 w 3199793"/>
              <a:gd name="connsiteY4" fmla="*/ 3181856 h 3181856"/>
              <a:gd name="connsiteX5" fmla="*/ 565846 w 3199793"/>
              <a:gd name="connsiteY5" fmla="*/ 2975127 h 3181856"/>
              <a:gd name="connsiteX6" fmla="*/ 0 w 3199793"/>
              <a:gd name="connsiteY6" fmla="*/ 1984353 h 3181856"/>
              <a:gd name="connsiteX7" fmla="*/ 135270 w 3199793"/>
              <a:gd name="connsiteY7" fmla="*/ 1134573 h 3181856"/>
              <a:gd name="connsiteX8" fmla="*/ 712130 w 3199793"/>
              <a:gd name="connsiteY8" fmla="*/ 120879 h 3181856"/>
              <a:gd name="connsiteX9" fmla="*/ 1783146 w 3199793"/>
              <a:gd name="connsiteY9" fmla="*/ 0 h 3181856"/>
              <a:gd name="connsiteX0" fmla="*/ 1783146 w 3199793"/>
              <a:gd name="connsiteY0" fmla="*/ 0 h 3181856"/>
              <a:gd name="connsiteX1" fmla="*/ 2751117 w 3199793"/>
              <a:gd name="connsiteY1" fmla="*/ 380060 h 3181856"/>
              <a:gd name="connsiteX2" fmla="*/ 3199793 w 3199793"/>
              <a:gd name="connsiteY2" fmla="*/ 1486108 h 3181856"/>
              <a:gd name="connsiteX3" fmla="*/ 2982599 w 3199793"/>
              <a:gd name="connsiteY3" fmla="*/ 2584533 h 3181856"/>
              <a:gd name="connsiteX4" fmla="*/ 1940452 w 3199793"/>
              <a:gd name="connsiteY4" fmla="*/ 3181856 h 3181856"/>
              <a:gd name="connsiteX5" fmla="*/ 565846 w 3199793"/>
              <a:gd name="connsiteY5" fmla="*/ 2975127 h 3181856"/>
              <a:gd name="connsiteX6" fmla="*/ 0 w 3199793"/>
              <a:gd name="connsiteY6" fmla="*/ 1984353 h 3181856"/>
              <a:gd name="connsiteX7" fmla="*/ 87364 w 3199793"/>
              <a:gd name="connsiteY7" fmla="*/ 746536 h 3181856"/>
              <a:gd name="connsiteX8" fmla="*/ 712130 w 3199793"/>
              <a:gd name="connsiteY8" fmla="*/ 120879 h 3181856"/>
              <a:gd name="connsiteX9" fmla="*/ 1783146 w 3199793"/>
              <a:gd name="connsiteY9" fmla="*/ 0 h 3181856"/>
              <a:gd name="connsiteX0" fmla="*/ 1783146 w 3199793"/>
              <a:gd name="connsiteY0" fmla="*/ 0 h 3181856"/>
              <a:gd name="connsiteX1" fmla="*/ 2751117 w 3199793"/>
              <a:gd name="connsiteY1" fmla="*/ 380060 h 3181856"/>
              <a:gd name="connsiteX2" fmla="*/ 3199793 w 3199793"/>
              <a:gd name="connsiteY2" fmla="*/ 1486108 h 3181856"/>
              <a:gd name="connsiteX3" fmla="*/ 2982599 w 3199793"/>
              <a:gd name="connsiteY3" fmla="*/ 2584533 h 3181856"/>
              <a:gd name="connsiteX4" fmla="*/ 1940452 w 3199793"/>
              <a:gd name="connsiteY4" fmla="*/ 3181856 h 3181856"/>
              <a:gd name="connsiteX5" fmla="*/ 565846 w 3199793"/>
              <a:gd name="connsiteY5" fmla="*/ 2975127 h 3181856"/>
              <a:gd name="connsiteX6" fmla="*/ 0 w 3199793"/>
              <a:gd name="connsiteY6" fmla="*/ 1984353 h 3181856"/>
              <a:gd name="connsiteX7" fmla="*/ 87364 w 3199793"/>
              <a:gd name="connsiteY7" fmla="*/ 746536 h 3181856"/>
              <a:gd name="connsiteX8" fmla="*/ 712130 w 3199793"/>
              <a:gd name="connsiteY8" fmla="*/ 120879 h 3181856"/>
              <a:gd name="connsiteX9" fmla="*/ 1783146 w 3199793"/>
              <a:gd name="connsiteY9" fmla="*/ 0 h 3181856"/>
              <a:gd name="connsiteX0" fmla="*/ 1783146 w 3199793"/>
              <a:gd name="connsiteY0" fmla="*/ 0 h 3181856"/>
              <a:gd name="connsiteX1" fmla="*/ 2751117 w 3199793"/>
              <a:gd name="connsiteY1" fmla="*/ 380060 h 3181856"/>
              <a:gd name="connsiteX2" fmla="*/ 3199793 w 3199793"/>
              <a:gd name="connsiteY2" fmla="*/ 1486108 h 3181856"/>
              <a:gd name="connsiteX3" fmla="*/ 2982599 w 3199793"/>
              <a:gd name="connsiteY3" fmla="*/ 2584533 h 3181856"/>
              <a:gd name="connsiteX4" fmla="*/ 1940452 w 3199793"/>
              <a:gd name="connsiteY4" fmla="*/ 3181856 h 3181856"/>
              <a:gd name="connsiteX5" fmla="*/ 565846 w 3199793"/>
              <a:gd name="connsiteY5" fmla="*/ 2975127 h 3181856"/>
              <a:gd name="connsiteX6" fmla="*/ 0 w 3199793"/>
              <a:gd name="connsiteY6" fmla="*/ 1984353 h 3181856"/>
              <a:gd name="connsiteX7" fmla="*/ 87364 w 3199793"/>
              <a:gd name="connsiteY7" fmla="*/ 746536 h 3181856"/>
              <a:gd name="connsiteX8" fmla="*/ 712130 w 3199793"/>
              <a:gd name="connsiteY8" fmla="*/ 120879 h 3181856"/>
              <a:gd name="connsiteX9" fmla="*/ 1783146 w 3199793"/>
              <a:gd name="connsiteY9" fmla="*/ 0 h 3181856"/>
              <a:gd name="connsiteX0" fmla="*/ 1955607 w 3372254"/>
              <a:gd name="connsiteY0" fmla="*/ 0 h 3181856"/>
              <a:gd name="connsiteX1" fmla="*/ 2923578 w 3372254"/>
              <a:gd name="connsiteY1" fmla="*/ 380060 h 3181856"/>
              <a:gd name="connsiteX2" fmla="*/ 3372254 w 3372254"/>
              <a:gd name="connsiteY2" fmla="*/ 1486108 h 3181856"/>
              <a:gd name="connsiteX3" fmla="*/ 3155060 w 3372254"/>
              <a:gd name="connsiteY3" fmla="*/ 2584533 h 3181856"/>
              <a:gd name="connsiteX4" fmla="*/ 2112913 w 3372254"/>
              <a:gd name="connsiteY4" fmla="*/ 3181856 h 3181856"/>
              <a:gd name="connsiteX5" fmla="*/ 738307 w 3372254"/>
              <a:gd name="connsiteY5" fmla="*/ 2975127 h 3181856"/>
              <a:gd name="connsiteX6" fmla="*/ 0 w 3372254"/>
              <a:gd name="connsiteY6" fmla="*/ 1807102 h 3181856"/>
              <a:gd name="connsiteX7" fmla="*/ 259825 w 3372254"/>
              <a:gd name="connsiteY7" fmla="*/ 746536 h 3181856"/>
              <a:gd name="connsiteX8" fmla="*/ 884591 w 3372254"/>
              <a:gd name="connsiteY8" fmla="*/ 120879 h 3181856"/>
              <a:gd name="connsiteX9" fmla="*/ 1955607 w 3372254"/>
              <a:gd name="connsiteY9" fmla="*/ 0 h 3181856"/>
              <a:gd name="connsiteX0" fmla="*/ 1955607 w 3372254"/>
              <a:gd name="connsiteY0" fmla="*/ 0 h 3181856"/>
              <a:gd name="connsiteX1" fmla="*/ 2923578 w 3372254"/>
              <a:gd name="connsiteY1" fmla="*/ 380060 h 3181856"/>
              <a:gd name="connsiteX2" fmla="*/ 3372254 w 3372254"/>
              <a:gd name="connsiteY2" fmla="*/ 1486108 h 3181856"/>
              <a:gd name="connsiteX3" fmla="*/ 3155060 w 3372254"/>
              <a:gd name="connsiteY3" fmla="*/ 2584533 h 3181856"/>
              <a:gd name="connsiteX4" fmla="*/ 2112913 w 3372254"/>
              <a:gd name="connsiteY4" fmla="*/ 3181856 h 3181856"/>
              <a:gd name="connsiteX5" fmla="*/ 455663 w 3372254"/>
              <a:gd name="connsiteY5" fmla="*/ 2869735 h 3181856"/>
              <a:gd name="connsiteX6" fmla="*/ 0 w 3372254"/>
              <a:gd name="connsiteY6" fmla="*/ 1807102 h 3181856"/>
              <a:gd name="connsiteX7" fmla="*/ 259825 w 3372254"/>
              <a:gd name="connsiteY7" fmla="*/ 746536 h 3181856"/>
              <a:gd name="connsiteX8" fmla="*/ 884591 w 3372254"/>
              <a:gd name="connsiteY8" fmla="*/ 120879 h 3181856"/>
              <a:gd name="connsiteX9" fmla="*/ 1955607 w 3372254"/>
              <a:gd name="connsiteY9" fmla="*/ 0 h 3181856"/>
              <a:gd name="connsiteX0" fmla="*/ 1955607 w 3372254"/>
              <a:gd name="connsiteY0" fmla="*/ 0 h 3181856"/>
              <a:gd name="connsiteX1" fmla="*/ 2923578 w 3372254"/>
              <a:gd name="connsiteY1" fmla="*/ 380060 h 3181856"/>
              <a:gd name="connsiteX2" fmla="*/ 3372254 w 3372254"/>
              <a:gd name="connsiteY2" fmla="*/ 1486108 h 3181856"/>
              <a:gd name="connsiteX3" fmla="*/ 3155060 w 3372254"/>
              <a:gd name="connsiteY3" fmla="*/ 2584533 h 3181856"/>
              <a:gd name="connsiteX4" fmla="*/ 2112913 w 3372254"/>
              <a:gd name="connsiteY4" fmla="*/ 3181856 h 3181856"/>
              <a:gd name="connsiteX5" fmla="*/ 455663 w 3372254"/>
              <a:gd name="connsiteY5" fmla="*/ 2869735 h 3181856"/>
              <a:gd name="connsiteX6" fmla="*/ 0 w 3372254"/>
              <a:gd name="connsiteY6" fmla="*/ 1807102 h 3181856"/>
              <a:gd name="connsiteX7" fmla="*/ 259825 w 3372254"/>
              <a:gd name="connsiteY7" fmla="*/ 746536 h 3181856"/>
              <a:gd name="connsiteX8" fmla="*/ 884591 w 3372254"/>
              <a:gd name="connsiteY8" fmla="*/ 120879 h 3181856"/>
              <a:gd name="connsiteX9" fmla="*/ 1955607 w 3372254"/>
              <a:gd name="connsiteY9" fmla="*/ 0 h 3181856"/>
              <a:gd name="connsiteX0" fmla="*/ 1955607 w 3372254"/>
              <a:gd name="connsiteY0" fmla="*/ 0 h 3244134"/>
              <a:gd name="connsiteX1" fmla="*/ 2923578 w 3372254"/>
              <a:gd name="connsiteY1" fmla="*/ 380060 h 3244134"/>
              <a:gd name="connsiteX2" fmla="*/ 3372254 w 3372254"/>
              <a:gd name="connsiteY2" fmla="*/ 1486108 h 3244134"/>
              <a:gd name="connsiteX3" fmla="*/ 3155060 w 3372254"/>
              <a:gd name="connsiteY3" fmla="*/ 2584533 h 3244134"/>
              <a:gd name="connsiteX4" fmla="*/ 1293725 w 3372254"/>
              <a:gd name="connsiteY4" fmla="*/ 3244134 h 3244134"/>
              <a:gd name="connsiteX5" fmla="*/ 455663 w 3372254"/>
              <a:gd name="connsiteY5" fmla="*/ 2869735 h 3244134"/>
              <a:gd name="connsiteX6" fmla="*/ 0 w 3372254"/>
              <a:gd name="connsiteY6" fmla="*/ 1807102 h 3244134"/>
              <a:gd name="connsiteX7" fmla="*/ 259825 w 3372254"/>
              <a:gd name="connsiteY7" fmla="*/ 746536 h 3244134"/>
              <a:gd name="connsiteX8" fmla="*/ 884591 w 3372254"/>
              <a:gd name="connsiteY8" fmla="*/ 120879 h 3244134"/>
              <a:gd name="connsiteX9" fmla="*/ 1955607 w 3372254"/>
              <a:gd name="connsiteY9" fmla="*/ 0 h 3244134"/>
              <a:gd name="connsiteX0" fmla="*/ 1955607 w 3372254"/>
              <a:gd name="connsiteY0" fmla="*/ 0 h 3245440"/>
              <a:gd name="connsiteX1" fmla="*/ 2923578 w 3372254"/>
              <a:gd name="connsiteY1" fmla="*/ 380060 h 3245440"/>
              <a:gd name="connsiteX2" fmla="*/ 3372254 w 3372254"/>
              <a:gd name="connsiteY2" fmla="*/ 1486108 h 3245440"/>
              <a:gd name="connsiteX3" fmla="*/ 3155060 w 3372254"/>
              <a:gd name="connsiteY3" fmla="*/ 2584533 h 3245440"/>
              <a:gd name="connsiteX4" fmla="*/ 1293725 w 3372254"/>
              <a:gd name="connsiteY4" fmla="*/ 3244134 h 3245440"/>
              <a:gd name="connsiteX5" fmla="*/ 455663 w 3372254"/>
              <a:gd name="connsiteY5" fmla="*/ 2869735 h 3245440"/>
              <a:gd name="connsiteX6" fmla="*/ 0 w 3372254"/>
              <a:gd name="connsiteY6" fmla="*/ 1807102 h 3245440"/>
              <a:gd name="connsiteX7" fmla="*/ 259825 w 3372254"/>
              <a:gd name="connsiteY7" fmla="*/ 746536 h 3245440"/>
              <a:gd name="connsiteX8" fmla="*/ 884591 w 3372254"/>
              <a:gd name="connsiteY8" fmla="*/ 120879 h 3245440"/>
              <a:gd name="connsiteX9" fmla="*/ 1955607 w 3372254"/>
              <a:gd name="connsiteY9" fmla="*/ 0 h 3245440"/>
              <a:gd name="connsiteX0" fmla="*/ 1955607 w 3372254"/>
              <a:gd name="connsiteY0" fmla="*/ 0 h 3360130"/>
              <a:gd name="connsiteX1" fmla="*/ 2923578 w 3372254"/>
              <a:gd name="connsiteY1" fmla="*/ 380060 h 3360130"/>
              <a:gd name="connsiteX2" fmla="*/ 3372254 w 3372254"/>
              <a:gd name="connsiteY2" fmla="*/ 1486108 h 3360130"/>
              <a:gd name="connsiteX3" fmla="*/ 2048437 w 3372254"/>
              <a:gd name="connsiteY3" fmla="*/ 3260004 h 3360130"/>
              <a:gd name="connsiteX4" fmla="*/ 1293725 w 3372254"/>
              <a:gd name="connsiteY4" fmla="*/ 3244134 h 3360130"/>
              <a:gd name="connsiteX5" fmla="*/ 455663 w 3372254"/>
              <a:gd name="connsiteY5" fmla="*/ 2869735 h 3360130"/>
              <a:gd name="connsiteX6" fmla="*/ 0 w 3372254"/>
              <a:gd name="connsiteY6" fmla="*/ 1807102 h 3360130"/>
              <a:gd name="connsiteX7" fmla="*/ 259825 w 3372254"/>
              <a:gd name="connsiteY7" fmla="*/ 746536 h 3360130"/>
              <a:gd name="connsiteX8" fmla="*/ 884591 w 3372254"/>
              <a:gd name="connsiteY8" fmla="*/ 120879 h 3360130"/>
              <a:gd name="connsiteX9" fmla="*/ 1955607 w 3372254"/>
              <a:gd name="connsiteY9" fmla="*/ 0 h 3360130"/>
              <a:gd name="connsiteX0" fmla="*/ 1955607 w 2923578"/>
              <a:gd name="connsiteY0" fmla="*/ 0 h 3360130"/>
              <a:gd name="connsiteX1" fmla="*/ 2923578 w 2923578"/>
              <a:gd name="connsiteY1" fmla="*/ 380060 h 3360130"/>
              <a:gd name="connsiteX2" fmla="*/ 2821338 w 2923578"/>
              <a:gd name="connsiteY2" fmla="*/ 2947233 h 3360130"/>
              <a:gd name="connsiteX3" fmla="*/ 2048437 w 2923578"/>
              <a:gd name="connsiteY3" fmla="*/ 3260004 h 3360130"/>
              <a:gd name="connsiteX4" fmla="*/ 1293725 w 2923578"/>
              <a:gd name="connsiteY4" fmla="*/ 3244134 h 3360130"/>
              <a:gd name="connsiteX5" fmla="*/ 455663 w 2923578"/>
              <a:gd name="connsiteY5" fmla="*/ 2869735 h 3360130"/>
              <a:gd name="connsiteX6" fmla="*/ 0 w 2923578"/>
              <a:gd name="connsiteY6" fmla="*/ 1807102 h 3360130"/>
              <a:gd name="connsiteX7" fmla="*/ 259825 w 2923578"/>
              <a:gd name="connsiteY7" fmla="*/ 746536 h 3360130"/>
              <a:gd name="connsiteX8" fmla="*/ 884591 w 2923578"/>
              <a:gd name="connsiteY8" fmla="*/ 120879 h 3360130"/>
              <a:gd name="connsiteX9" fmla="*/ 1955607 w 2923578"/>
              <a:gd name="connsiteY9" fmla="*/ 0 h 3360130"/>
              <a:gd name="connsiteX0" fmla="*/ 1955607 w 2821338"/>
              <a:gd name="connsiteY0" fmla="*/ 0 h 3360130"/>
              <a:gd name="connsiteX1" fmla="*/ 2463682 w 2821338"/>
              <a:gd name="connsiteY1" fmla="*/ 806421 h 3360130"/>
              <a:gd name="connsiteX2" fmla="*/ 2821338 w 2821338"/>
              <a:gd name="connsiteY2" fmla="*/ 2947233 h 3360130"/>
              <a:gd name="connsiteX3" fmla="*/ 2048437 w 2821338"/>
              <a:gd name="connsiteY3" fmla="*/ 3260004 h 3360130"/>
              <a:gd name="connsiteX4" fmla="*/ 1293725 w 2821338"/>
              <a:gd name="connsiteY4" fmla="*/ 3244134 h 3360130"/>
              <a:gd name="connsiteX5" fmla="*/ 455663 w 2821338"/>
              <a:gd name="connsiteY5" fmla="*/ 2869735 h 3360130"/>
              <a:gd name="connsiteX6" fmla="*/ 0 w 2821338"/>
              <a:gd name="connsiteY6" fmla="*/ 1807102 h 3360130"/>
              <a:gd name="connsiteX7" fmla="*/ 259825 w 2821338"/>
              <a:gd name="connsiteY7" fmla="*/ 746536 h 3360130"/>
              <a:gd name="connsiteX8" fmla="*/ 884591 w 2821338"/>
              <a:gd name="connsiteY8" fmla="*/ 120879 h 3360130"/>
              <a:gd name="connsiteX9" fmla="*/ 1955607 w 2821338"/>
              <a:gd name="connsiteY9" fmla="*/ 0 h 3360130"/>
              <a:gd name="connsiteX0" fmla="*/ 1955607 w 3014598"/>
              <a:gd name="connsiteY0" fmla="*/ 0 h 3360130"/>
              <a:gd name="connsiteX1" fmla="*/ 3014598 w 3014598"/>
              <a:gd name="connsiteY1" fmla="*/ 523777 h 3360130"/>
              <a:gd name="connsiteX2" fmla="*/ 2821338 w 3014598"/>
              <a:gd name="connsiteY2" fmla="*/ 2947233 h 3360130"/>
              <a:gd name="connsiteX3" fmla="*/ 2048437 w 3014598"/>
              <a:gd name="connsiteY3" fmla="*/ 3260004 h 3360130"/>
              <a:gd name="connsiteX4" fmla="*/ 1293725 w 3014598"/>
              <a:gd name="connsiteY4" fmla="*/ 3244134 h 3360130"/>
              <a:gd name="connsiteX5" fmla="*/ 455663 w 3014598"/>
              <a:gd name="connsiteY5" fmla="*/ 2869735 h 3360130"/>
              <a:gd name="connsiteX6" fmla="*/ 0 w 3014598"/>
              <a:gd name="connsiteY6" fmla="*/ 1807102 h 3360130"/>
              <a:gd name="connsiteX7" fmla="*/ 259825 w 3014598"/>
              <a:gd name="connsiteY7" fmla="*/ 746536 h 3360130"/>
              <a:gd name="connsiteX8" fmla="*/ 884591 w 3014598"/>
              <a:gd name="connsiteY8" fmla="*/ 120879 h 3360130"/>
              <a:gd name="connsiteX9" fmla="*/ 1955607 w 3014598"/>
              <a:gd name="connsiteY9" fmla="*/ 0 h 3360130"/>
              <a:gd name="connsiteX0" fmla="*/ 1955607 w 3014598"/>
              <a:gd name="connsiteY0" fmla="*/ 0 h 3360130"/>
              <a:gd name="connsiteX1" fmla="*/ 3014598 w 3014598"/>
              <a:gd name="connsiteY1" fmla="*/ 523777 h 3360130"/>
              <a:gd name="connsiteX2" fmla="*/ 2821338 w 3014598"/>
              <a:gd name="connsiteY2" fmla="*/ 2947233 h 3360130"/>
              <a:gd name="connsiteX3" fmla="*/ 2048437 w 3014598"/>
              <a:gd name="connsiteY3" fmla="*/ 3260004 h 3360130"/>
              <a:gd name="connsiteX4" fmla="*/ 1293725 w 3014598"/>
              <a:gd name="connsiteY4" fmla="*/ 3244134 h 3360130"/>
              <a:gd name="connsiteX5" fmla="*/ 455663 w 3014598"/>
              <a:gd name="connsiteY5" fmla="*/ 2869735 h 3360130"/>
              <a:gd name="connsiteX6" fmla="*/ 0 w 3014598"/>
              <a:gd name="connsiteY6" fmla="*/ 1807102 h 3360130"/>
              <a:gd name="connsiteX7" fmla="*/ 259825 w 3014598"/>
              <a:gd name="connsiteY7" fmla="*/ 746536 h 3360130"/>
              <a:gd name="connsiteX8" fmla="*/ 884591 w 3014598"/>
              <a:gd name="connsiteY8" fmla="*/ 120879 h 3360130"/>
              <a:gd name="connsiteX9" fmla="*/ 1955607 w 3014598"/>
              <a:gd name="connsiteY9" fmla="*/ 0 h 3360130"/>
              <a:gd name="connsiteX0" fmla="*/ 1955607 w 3014598"/>
              <a:gd name="connsiteY0" fmla="*/ 0 h 3355435"/>
              <a:gd name="connsiteX1" fmla="*/ 3014598 w 3014598"/>
              <a:gd name="connsiteY1" fmla="*/ 523777 h 3355435"/>
              <a:gd name="connsiteX2" fmla="*/ 2821338 w 3014598"/>
              <a:gd name="connsiteY2" fmla="*/ 2947233 h 3355435"/>
              <a:gd name="connsiteX3" fmla="*/ 2048437 w 3014598"/>
              <a:gd name="connsiteY3" fmla="*/ 3260004 h 3355435"/>
              <a:gd name="connsiteX4" fmla="*/ 1293725 w 3014598"/>
              <a:gd name="connsiteY4" fmla="*/ 3244134 h 3355435"/>
              <a:gd name="connsiteX5" fmla="*/ 455663 w 3014598"/>
              <a:gd name="connsiteY5" fmla="*/ 2869735 h 3355435"/>
              <a:gd name="connsiteX6" fmla="*/ 0 w 3014598"/>
              <a:gd name="connsiteY6" fmla="*/ 1807102 h 3355435"/>
              <a:gd name="connsiteX7" fmla="*/ 259825 w 3014598"/>
              <a:gd name="connsiteY7" fmla="*/ 746536 h 3355435"/>
              <a:gd name="connsiteX8" fmla="*/ 884591 w 3014598"/>
              <a:gd name="connsiteY8" fmla="*/ 120879 h 3355435"/>
              <a:gd name="connsiteX9" fmla="*/ 1955607 w 3014598"/>
              <a:gd name="connsiteY9" fmla="*/ 0 h 3355435"/>
              <a:gd name="connsiteX0" fmla="*/ 1955607 w 3014598"/>
              <a:gd name="connsiteY0" fmla="*/ 0 h 3260004"/>
              <a:gd name="connsiteX1" fmla="*/ 3014598 w 3014598"/>
              <a:gd name="connsiteY1" fmla="*/ 523777 h 3260004"/>
              <a:gd name="connsiteX2" fmla="*/ 2821338 w 3014598"/>
              <a:gd name="connsiteY2" fmla="*/ 2947233 h 3260004"/>
              <a:gd name="connsiteX3" fmla="*/ 2048437 w 3014598"/>
              <a:gd name="connsiteY3" fmla="*/ 3260004 h 3260004"/>
              <a:gd name="connsiteX4" fmla="*/ 1293725 w 3014598"/>
              <a:gd name="connsiteY4" fmla="*/ 3244134 h 3260004"/>
              <a:gd name="connsiteX5" fmla="*/ 455663 w 3014598"/>
              <a:gd name="connsiteY5" fmla="*/ 2869735 h 3260004"/>
              <a:gd name="connsiteX6" fmla="*/ 0 w 3014598"/>
              <a:gd name="connsiteY6" fmla="*/ 1807102 h 3260004"/>
              <a:gd name="connsiteX7" fmla="*/ 259825 w 3014598"/>
              <a:gd name="connsiteY7" fmla="*/ 746536 h 3260004"/>
              <a:gd name="connsiteX8" fmla="*/ 884591 w 3014598"/>
              <a:gd name="connsiteY8" fmla="*/ 120879 h 3260004"/>
              <a:gd name="connsiteX9" fmla="*/ 1955607 w 3014598"/>
              <a:gd name="connsiteY9" fmla="*/ 0 h 3260004"/>
              <a:gd name="connsiteX0" fmla="*/ 1955607 w 3014598"/>
              <a:gd name="connsiteY0" fmla="*/ 0 h 3260004"/>
              <a:gd name="connsiteX1" fmla="*/ 3014598 w 3014598"/>
              <a:gd name="connsiteY1" fmla="*/ 523777 h 3260004"/>
              <a:gd name="connsiteX2" fmla="*/ 2821338 w 3014598"/>
              <a:gd name="connsiteY2" fmla="*/ 2947233 h 3260004"/>
              <a:gd name="connsiteX3" fmla="*/ 2048437 w 3014598"/>
              <a:gd name="connsiteY3" fmla="*/ 3260004 h 3260004"/>
              <a:gd name="connsiteX4" fmla="*/ 1293725 w 3014598"/>
              <a:gd name="connsiteY4" fmla="*/ 3244134 h 3260004"/>
              <a:gd name="connsiteX5" fmla="*/ 455663 w 3014598"/>
              <a:gd name="connsiteY5" fmla="*/ 2869735 h 3260004"/>
              <a:gd name="connsiteX6" fmla="*/ 0 w 3014598"/>
              <a:gd name="connsiteY6" fmla="*/ 1807102 h 3260004"/>
              <a:gd name="connsiteX7" fmla="*/ 259825 w 3014598"/>
              <a:gd name="connsiteY7" fmla="*/ 746536 h 3260004"/>
              <a:gd name="connsiteX8" fmla="*/ 884591 w 3014598"/>
              <a:gd name="connsiteY8" fmla="*/ 120879 h 3260004"/>
              <a:gd name="connsiteX9" fmla="*/ 1955607 w 3014598"/>
              <a:gd name="connsiteY9" fmla="*/ 0 h 3260004"/>
              <a:gd name="connsiteX0" fmla="*/ 1955607 w 3014598"/>
              <a:gd name="connsiteY0" fmla="*/ 0 h 3260004"/>
              <a:gd name="connsiteX1" fmla="*/ 3014598 w 3014598"/>
              <a:gd name="connsiteY1" fmla="*/ 523777 h 3260004"/>
              <a:gd name="connsiteX2" fmla="*/ 2907878 w 3014598"/>
              <a:gd name="connsiteY2" fmla="*/ 1810555 h 3260004"/>
              <a:gd name="connsiteX3" fmla="*/ 2821338 w 3014598"/>
              <a:gd name="connsiteY3" fmla="*/ 2947233 h 3260004"/>
              <a:gd name="connsiteX4" fmla="*/ 2048437 w 3014598"/>
              <a:gd name="connsiteY4" fmla="*/ 3260004 h 3260004"/>
              <a:gd name="connsiteX5" fmla="*/ 1293725 w 3014598"/>
              <a:gd name="connsiteY5" fmla="*/ 3244134 h 3260004"/>
              <a:gd name="connsiteX6" fmla="*/ 455663 w 3014598"/>
              <a:gd name="connsiteY6" fmla="*/ 2869735 h 3260004"/>
              <a:gd name="connsiteX7" fmla="*/ 0 w 3014598"/>
              <a:gd name="connsiteY7" fmla="*/ 1807102 h 3260004"/>
              <a:gd name="connsiteX8" fmla="*/ 259825 w 3014598"/>
              <a:gd name="connsiteY8" fmla="*/ 746536 h 3260004"/>
              <a:gd name="connsiteX9" fmla="*/ 884591 w 3014598"/>
              <a:gd name="connsiteY9" fmla="*/ 120879 h 3260004"/>
              <a:gd name="connsiteX10" fmla="*/ 1955607 w 3014598"/>
              <a:gd name="connsiteY10" fmla="*/ 0 h 3260004"/>
              <a:gd name="connsiteX0" fmla="*/ 1955607 w 3224056"/>
              <a:gd name="connsiteY0" fmla="*/ 0 h 3260004"/>
              <a:gd name="connsiteX1" fmla="*/ 3014598 w 3224056"/>
              <a:gd name="connsiteY1" fmla="*/ 523777 h 3260004"/>
              <a:gd name="connsiteX2" fmla="*/ 3224056 w 3224056"/>
              <a:gd name="connsiteY2" fmla="*/ 1331498 h 3260004"/>
              <a:gd name="connsiteX3" fmla="*/ 2821338 w 3224056"/>
              <a:gd name="connsiteY3" fmla="*/ 2947233 h 3260004"/>
              <a:gd name="connsiteX4" fmla="*/ 2048437 w 3224056"/>
              <a:gd name="connsiteY4" fmla="*/ 3260004 h 3260004"/>
              <a:gd name="connsiteX5" fmla="*/ 1293725 w 3224056"/>
              <a:gd name="connsiteY5" fmla="*/ 3244134 h 3260004"/>
              <a:gd name="connsiteX6" fmla="*/ 455663 w 3224056"/>
              <a:gd name="connsiteY6" fmla="*/ 2869735 h 3260004"/>
              <a:gd name="connsiteX7" fmla="*/ 0 w 3224056"/>
              <a:gd name="connsiteY7" fmla="*/ 1807102 h 3260004"/>
              <a:gd name="connsiteX8" fmla="*/ 259825 w 3224056"/>
              <a:gd name="connsiteY8" fmla="*/ 746536 h 3260004"/>
              <a:gd name="connsiteX9" fmla="*/ 884591 w 3224056"/>
              <a:gd name="connsiteY9" fmla="*/ 120879 h 3260004"/>
              <a:gd name="connsiteX10" fmla="*/ 1955607 w 3224056"/>
              <a:gd name="connsiteY10" fmla="*/ 0 h 3260004"/>
              <a:gd name="connsiteX0" fmla="*/ 1955607 w 3224056"/>
              <a:gd name="connsiteY0" fmla="*/ 0 h 3260004"/>
              <a:gd name="connsiteX1" fmla="*/ 3014598 w 3224056"/>
              <a:gd name="connsiteY1" fmla="*/ 523777 h 3260004"/>
              <a:gd name="connsiteX2" fmla="*/ 3224056 w 3224056"/>
              <a:gd name="connsiteY2" fmla="*/ 1331498 h 3260004"/>
              <a:gd name="connsiteX3" fmla="*/ 2970155 w 3224056"/>
              <a:gd name="connsiteY3" fmla="*/ 2313565 h 3260004"/>
              <a:gd name="connsiteX4" fmla="*/ 2821338 w 3224056"/>
              <a:gd name="connsiteY4" fmla="*/ 2947233 h 3260004"/>
              <a:gd name="connsiteX5" fmla="*/ 2048437 w 3224056"/>
              <a:gd name="connsiteY5" fmla="*/ 3260004 h 3260004"/>
              <a:gd name="connsiteX6" fmla="*/ 1293725 w 3224056"/>
              <a:gd name="connsiteY6" fmla="*/ 3244134 h 3260004"/>
              <a:gd name="connsiteX7" fmla="*/ 455663 w 3224056"/>
              <a:gd name="connsiteY7" fmla="*/ 2869735 h 3260004"/>
              <a:gd name="connsiteX8" fmla="*/ 0 w 3224056"/>
              <a:gd name="connsiteY8" fmla="*/ 1807102 h 3260004"/>
              <a:gd name="connsiteX9" fmla="*/ 259825 w 3224056"/>
              <a:gd name="connsiteY9" fmla="*/ 746536 h 3260004"/>
              <a:gd name="connsiteX10" fmla="*/ 884591 w 3224056"/>
              <a:gd name="connsiteY10" fmla="*/ 120879 h 3260004"/>
              <a:gd name="connsiteX11" fmla="*/ 1955607 w 3224056"/>
              <a:gd name="connsiteY11" fmla="*/ 0 h 3260004"/>
              <a:gd name="connsiteX0" fmla="*/ 1955607 w 3224056"/>
              <a:gd name="connsiteY0" fmla="*/ 0 h 3260004"/>
              <a:gd name="connsiteX1" fmla="*/ 3014598 w 3224056"/>
              <a:gd name="connsiteY1" fmla="*/ 523777 h 3260004"/>
              <a:gd name="connsiteX2" fmla="*/ 3224056 w 3224056"/>
              <a:gd name="connsiteY2" fmla="*/ 1331498 h 3260004"/>
              <a:gd name="connsiteX3" fmla="*/ 3171359 w 3224056"/>
              <a:gd name="connsiteY3" fmla="*/ 2265660 h 3260004"/>
              <a:gd name="connsiteX4" fmla="*/ 2821338 w 3224056"/>
              <a:gd name="connsiteY4" fmla="*/ 2947233 h 3260004"/>
              <a:gd name="connsiteX5" fmla="*/ 2048437 w 3224056"/>
              <a:gd name="connsiteY5" fmla="*/ 3260004 h 3260004"/>
              <a:gd name="connsiteX6" fmla="*/ 1293725 w 3224056"/>
              <a:gd name="connsiteY6" fmla="*/ 3244134 h 3260004"/>
              <a:gd name="connsiteX7" fmla="*/ 455663 w 3224056"/>
              <a:gd name="connsiteY7" fmla="*/ 2869735 h 3260004"/>
              <a:gd name="connsiteX8" fmla="*/ 0 w 3224056"/>
              <a:gd name="connsiteY8" fmla="*/ 1807102 h 3260004"/>
              <a:gd name="connsiteX9" fmla="*/ 259825 w 3224056"/>
              <a:gd name="connsiteY9" fmla="*/ 746536 h 3260004"/>
              <a:gd name="connsiteX10" fmla="*/ 884591 w 3224056"/>
              <a:gd name="connsiteY10" fmla="*/ 120879 h 3260004"/>
              <a:gd name="connsiteX11" fmla="*/ 1955607 w 3224056"/>
              <a:gd name="connsiteY11" fmla="*/ 0 h 3260004"/>
              <a:gd name="connsiteX0" fmla="*/ 1955607 w 3224056"/>
              <a:gd name="connsiteY0" fmla="*/ 0 h 3260004"/>
              <a:gd name="connsiteX1" fmla="*/ 3014598 w 3224056"/>
              <a:gd name="connsiteY1" fmla="*/ 523777 h 3260004"/>
              <a:gd name="connsiteX2" fmla="*/ 3224056 w 3224056"/>
              <a:gd name="connsiteY2" fmla="*/ 1331498 h 3260004"/>
              <a:gd name="connsiteX3" fmla="*/ 3171359 w 3224056"/>
              <a:gd name="connsiteY3" fmla="*/ 2265660 h 3260004"/>
              <a:gd name="connsiteX4" fmla="*/ 2821338 w 3224056"/>
              <a:gd name="connsiteY4" fmla="*/ 2947233 h 3260004"/>
              <a:gd name="connsiteX5" fmla="*/ 2048437 w 3224056"/>
              <a:gd name="connsiteY5" fmla="*/ 3260004 h 3260004"/>
              <a:gd name="connsiteX6" fmla="*/ 1293725 w 3224056"/>
              <a:gd name="connsiteY6" fmla="*/ 3244134 h 3260004"/>
              <a:gd name="connsiteX7" fmla="*/ 455663 w 3224056"/>
              <a:gd name="connsiteY7" fmla="*/ 2869735 h 3260004"/>
              <a:gd name="connsiteX8" fmla="*/ 0 w 3224056"/>
              <a:gd name="connsiteY8" fmla="*/ 1807102 h 3260004"/>
              <a:gd name="connsiteX9" fmla="*/ 259825 w 3224056"/>
              <a:gd name="connsiteY9" fmla="*/ 746536 h 3260004"/>
              <a:gd name="connsiteX10" fmla="*/ 884591 w 3224056"/>
              <a:gd name="connsiteY10" fmla="*/ 120879 h 3260004"/>
              <a:gd name="connsiteX11" fmla="*/ 1955607 w 3224056"/>
              <a:gd name="connsiteY11" fmla="*/ 0 h 3260004"/>
              <a:gd name="connsiteX0" fmla="*/ 1955607 w 3224056"/>
              <a:gd name="connsiteY0" fmla="*/ 0 h 3260004"/>
              <a:gd name="connsiteX1" fmla="*/ 3014598 w 3224056"/>
              <a:gd name="connsiteY1" fmla="*/ 523777 h 3260004"/>
              <a:gd name="connsiteX2" fmla="*/ 3224056 w 3224056"/>
              <a:gd name="connsiteY2" fmla="*/ 1331498 h 3260004"/>
              <a:gd name="connsiteX3" fmla="*/ 3171359 w 3224056"/>
              <a:gd name="connsiteY3" fmla="*/ 2265660 h 3260004"/>
              <a:gd name="connsiteX4" fmla="*/ 2821338 w 3224056"/>
              <a:gd name="connsiteY4" fmla="*/ 2947233 h 3260004"/>
              <a:gd name="connsiteX5" fmla="*/ 2048437 w 3224056"/>
              <a:gd name="connsiteY5" fmla="*/ 3260004 h 3260004"/>
              <a:gd name="connsiteX6" fmla="*/ 1293725 w 3224056"/>
              <a:gd name="connsiteY6" fmla="*/ 3244134 h 3260004"/>
              <a:gd name="connsiteX7" fmla="*/ 455663 w 3224056"/>
              <a:gd name="connsiteY7" fmla="*/ 2869735 h 3260004"/>
              <a:gd name="connsiteX8" fmla="*/ 0 w 3224056"/>
              <a:gd name="connsiteY8" fmla="*/ 1807102 h 3260004"/>
              <a:gd name="connsiteX9" fmla="*/ 259825 w 3224056"/>
              <a:gd name="connsiteY9" fmla="*/ 746536 h 3260004"/>
              <a:gd name="connsiteX10" fmla="*/ 884591 w 3224056"/>
              <a:gd name="connsiteY10" fmla="*/ 120879 h 3260004"/>
              <a:gd name="connsiteX11" fmla="*/ 1955607 w 3224056"/>
              <a:gd name="connsiteY11" fmla="*/ 0 h 3260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24056" h="3260004">
                <a:moveTo>
                  <a:pt x="1955607" y="0"/>
                </a:moveTo>
                <a:lnTo>
                  <a:pt x="3014598" y="523777"/>
                </a:lnTo>
                <a:lnTo>
                  <a:pt x="3224056" y="1331498"/>
                </a:lnTo>
                <a:lnTo>
                  <a:pt x="3171359" y="2265660"/>
                </a:lnTo>
                <a:lnTo>
                  <a:pt x="2821338" y="2947233"/>
                </a:lnTo>
                <a:lnTo>
                  <a:pt x="2048437" y="3260004"/>
                </a:lnTo>
                <a:lnTo>
                  <a:pt x="1293725" y="3244134"/>
                </a:lnTo>
                <a:lnTo>
                  <a:pt x="455663" y="2869735"/>
                </a:lnTo>
                <a:lnTo>
                  <a:pt x="0" y="1807102"/>
                </a:lnTo>
                <a:lnTo>
                  <a:pt x="259825" y="746536"/>
                </a:lnTo>
                <a:lnTo>
                  <a:pt x="884591" y="120879"/>
                </a:lnTo>
                <a:lnTo>
                  <a:pt x="1955607" y="0"/>
                </a:lnTo>
                <a:close/>
              </a:path>
            </a:pathLst>
          </a:custGeom>
          <a:solidFill>
            <a:schemeClr val="bg1">
              <a:lumMod val="95000"/>
            </a:schemeClr>
          </a:solidFill>
        </p:spPr>
        <p:txBody>
          <a:bodyPr wrap="square" anchor="ctr" anchorCtr="1">
            <a:noAutofit/>
          </a:bodyPr>
          <a:lstStyle>
            <a:lvl1pPr>
              <a:defRPr b="0"/>
            </a:lvl1pPr>
          </a:lstStyle>
          <a:p>
            <a:r>
              <a:rPr lang="en-GB"/>
              <a:t>Click icon to add picture</a:t>
            </a:r>
          </a:p>
        </p:txBody>
      </p:sp>
    </p:spTree>
    <p:extLst>
      <p:ext uri="{BB962C8B-B14F-4D97-AF65-F5344CB8AC3E}">
        <p14:creationId xmlns:p14="http://schemas.microsoft.com/office/powerpoint/2010/main" val="422609733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Image/Title (centred) text">
    <p:spTree>
      <p:nvGrpSpPr>
        <p:cNvPr id="1" name=""/>
        <p:cNvGrpSpPr/>
        <p:nvPr/>
      </p:nvGrpSpPr>
      <p:grpSpPr>
        <a:xfrm>
          <a:off x="0" y="0"/>
          <a:ext cx="0" cy="0"/>
          <a:chOff x="0" y="0"/>
          <a:chExt cx="0" cy="0"/>
        </a:xfrm>
      </p:grpSpPr>
      <p:sp>
        <p:nvSpPr>
          <p:cNvPr id="6" name="Picture Placeholder 5" descr="&quot;&quot;">
            <a:extLst>
              <a:ext uri="{C183D7F6-B498-43B3-948B-1728B52AA6E4}">
                <adec:decorative xmlns:adec="http://schemas.microsoft.com/office/drawing/2017/decorative" val="0"/>
              </a:ext>
            </a:extLst>
          </p:cNvPr>
          <p:cNvSpPr>
            <a:spLocks noGrp="1"/>
          </p:cNvSpPr>
          <p:nvPr>
            <p:ph type="pic" sz="quarter" idx="11"/>
          </p:nvPr>
        </p:nvSpPr>
        <p:spPr>
          <a:xfrm>
            <a:off x="0" y="0"/>
            <a:ext cx="6096000" cy="6858000"/>
          </a:xfrm>
          <a:prstGeom prst="rect">
            <a:avLst/>
          </a:prstGeom>
          <a:solidFill>
            <a:schemeClr val="tx1">
              <a:lumMod val="20000"/>
              <a:lumOff val="80000"/>
            </a:schemeClr>
          </a:solidFill>
        </p:spPr>
        <p:txBody>
          <a:bodyPr/>
          <a:lstStyle>
            <a:lvl1pPr marL="0" indent="0">
              <a:buNone/>
              <a:defRPr sz="2133">
                <a:latin typeface="+mn-lt"/>
              </a:defRPr>
            </a:lvl1pPr>
          </a:lstStyle>
          <a:p>
            <a:r>
              <a:rPr lang="en-GB"/>
              <a:t>Drag picture to placeholder or click icon to add</a:t>
            </a:r>
            <a:endParaRPr lang="en-US"/>
          </a:p>
        </p:txBody>
      </p:sp>
      <p:sp>
        <p:nvSpPr>
          <p:cNvPr id="7" name="Title 3"/>
          <p:cNvSpPr>
            <a:spLocks noGrp="1"/>
          </p:cNvSpPr>
          <p:nvPr>
            <p:ph type="title" hasCustomPrompt="1"/>
          </p:nvPr>
        </p:nvSpPr>
        <p:spPr>
          <a:xfrm>
            <a:off x="1337734" y="2556024"/>
            <a:ext cx="5046133" cy="1707651"/>
          </a:xfrm>
          <a:prstGeom prst="rect">
            <a:avLst/>
          </a:prstGeom>
          <a:solidFill>
            <a:schemeClr val="bg1"/>
          </a:solidFill>
        </p:spPr>
        <p:txBody>
          <a:bodyPr vert="horz" lIns="360000" tIns="187200" rIns="360000" bIns="187200">
            <a:spAutoFit/>
          </a:bodyPr>
          <a:lstStyle>
            <a:lvl1pPr algn="l">
              <a:defRPr sz="4800" b="1" baseline="0">
                <a:solidFill>
                  <a:schemeClr val="tx1"/>
                </a:solidFill>
              </a:defRPr>
            </a:lvl1pPr>
          </a:lstStyle>
          <a:p>
            <a:r>
              <a:rPr lang="en-GB"/>
              <a:t>Click to add title</a:t>
            </a:r>
            <a:endParaRPr lang="en-US"/>
          </a:p>
        </p:txBody>
      </p:sp>
      <p:sp>
        <p:nvSpPr>
          <p:cNvPr id="12" name="Text Placeholder 6"/>
          <p:cNvSpPr>
            <a:spLocks noGrp="1"/>
          </p:cNvSpPr>
          <p:nvPr>
            <p:ph type="body" sz="quarter" idx="12" hasCustomPrompt="1"/>
          </p:nvPr>
        </p:nvSpPr>
        <p:spPr>
          <a:xfrm>
            <a:off x="6858000" y="931132"/>
            <a:ext cx="4842933" cy="410369"/>
          </a:xfrm>
          <a:prstGeom prst="rect">
            <a:avLst/>
          </a:prstGeom>
          <a:solidFill>
            <a:schemeClr val="bg2">
              <a:alpha val="50000"/>
            </a:schemeClr>
          </a:solidFill>
        </p:spPr>
        <p:txBody>
          <a:bodyPr wrap="square" lIns="0" tIns="0" rIns="0" bIns="0" anchor="t" anchorCtr="0">
            <a:noAutofit/>
          </a:bodyPr>
          <a:lstStyle>
            <a:lvl1pPr marL="0" indent="0">
              <a:buNone/>
              <a:defRPr sz="3200" b="0" i="0" spc="0" baseline="0">
                <a:solidFill>
                  <a:schemeClr val="tx1"/>
                </a:solidFill>
                <a:latin typeface="+mj-lt"/>
                <a:cs typeface="Georgia"/>
              </a:defRPr>
            </a:lvl1pPr>
            <a:lvl2pPr marL="609585" indent="0">
              <a:buNone/>
              <a:defRPr b="1" i="0">
                <a:solidFill>
                  <a:srgbClr val="E4042C"/>
                </a:solidFill>
                <a:latin typeface="Arial"/>
                <a:cs typeface="Arial"/>
              </a:defRPr>
            </a:lvl2pPr>
            <a:lvl3pPr marL="1219170" indent="0">
              <a:buNone/>
              <a:defRPr b="1" i="0">
                <a:solidFill>
                  <a:srgbClr val="E4042C"/>
                </a:solidFill>
                <a:latin typeface="Arial"/>
                <a:cs typeface="Arial"/>
              </a:defRPr>
            </a:lvl3pPr>
            <a:lvl4pPr marL="1828754" indent="0">
              <a:buNone/>
              <a:defRPr b="1" i="0">
                <a:solidFill>
                  <a:srgbClr val="E4042C"/>
                </a:solidFill>
                <a:latin typeface="Arial"/>
                <a:cs typeface="Arial"/>
              </a:defRPr>
            </a:lvl4pPr>
            <a:lvl5pPr marL="2438339" indent="0">
              <a:buNone/>
              <a:defRPr b="1" i="0">
                <a:solidFill>
                  <a:srgbClr val="E4042C"/>
                </a:solidFill>
                <a:latin typeface="Arial"/>
                <a:cs typeface="Arial"/>
              </a:defRPr>
            </a:lvl5pPr>
          </a:lstStyle>
          <a:p>
            <a:pPr lvl="0"/>
            <a:r>
              <a:rPr lang="en-GB"/>
              <a:t>Click to add section title</a:t>
            </a:r>
            <a:endParaRPr lang="en-US"/>
          </a:p>
        </p:txBody>
      </p:sp>
      <p:sp>
        <p:nvSpPr>
          <p:cNvPr id="8" name="Text Placeholder 11"/>
          <p:cNvSpPr>
            <a:spLocks noGrp="1"/>
          </p:cNvSpPr>
          <p:nvPr>
            <p:ph type="body" sz="quarter" idx="18"/>
          </p:nvPr>
        </p:nvSpPr>
        <p:spPr>
          <a:xfrm>
            <a:off x="6858000" y="1454009"/>
            <a:ext cx="4842933" cy="2104048"/>
          </a:xfrm>
          <a:prstGeom prst="rect">
            <a:avLst/>
          </a:prstGeom>
        </p:spPr>
        <p:txBody>
          <a:bodyPr lIns="0">
            <a:noAutofit/>
          </a:bodyPr>
          <a:lstStyle>
            <a:lvl1pPr marL="263993" indent="-263993">
              <a:spcBef>
                <a:spcPts val="400"/>
              </a:spcBef>
              <a:spcAft>
                <a:spcPts val="400"/>
              </a:spcAft>
              <a:buFont typeface="Lucida Grande"/>
              <a:buChar char="-"/>
              <a:defRPr sz="2400" b="0" i="0">
                <a:solidFill>
                  <a:schemeClr val="tx1"/>
                </a:solidFill>
                <a:latin typeface="Arial"/>
                <a:cs typeface="Arial"/>
              </a:defRPr>
            </a:lvl1pPr>
            <a:lvl2pPr marL="604785" indent="-283193">
              <a:spcBef>
                <a:spcPts val="400"/>
              </a:spcBef>
              <a:spcAft>
                <a:spcPts val="400"/>
              </a:spcAft>
              <a:buFont typeface="Lucida Grande"/>
              <a:buChar char="-"/>
              <a:defRPr sz="2400" b="0" i="0">
                <a:solidFill>
                  <a:schemeClr val="tx1"/>
                </a:solidFill>
                <a:latin typeface="Arial"/>
                <a:cs typeface="Arial"/>
              </a:defRPr>
            </a:lvl2pPr>
            <a:lvl3pPr marL="854379" indent="-211195">
              <a:spcBef>
                <a:spcPts val="400"/>
              </a:spcBef>
              <a:spcAft>
                <a:spcPts val="400"/>
              </a:spcAft>
              <a:buFont typeface="Lucida Grande"/>
              <a:buChar char="-"/>
              <a:defRPr sz="2400" b="0" i="0">
                <a:solidFill>
                  <a:schemeClr val="tx1"/>
                </a:solidFill>
                <a:latin typeface="Arial"/>
                <a:cs typeface="Arial"/>
              </a:defRPr>
            </a:lvl3pPr>
            <a:lvl4pPr>
              <a:defRPr sz="2400" b="0" i="0">
                <a:solidFill>
                  <a:schemeClr val="tx1"/>
                </a:solidFill>
                <a:latin typeface="Arial"/>
                <a:cs typeface="Arial"/>
              </a:defRPr>
            </a:lvl4pPr>
            <a:lvl5pPr>
              <a:defRPr sz="2400" b="0" i="0">
                <a:solidFill>
                  <a:schemeClr val="tx1"/>
                </a:solidFill>
                <a:latin typeface="Arial"/>
                <a:cs typeface="Arial"/>
              </a:defRPr>
            </a:lvl5pPr>
          </a:lstStyle>
          <a:p>
            <a:pPr lvl="0"/>
            <a:r>
              <a:rPr lang="en-GB"/>
              <a:t>Click to edit Master text styles</a:t>
            </a:r>
          </a:p>
          <a:p>
            <a:pPr lvl="1"/>
            <a:r>
              <a:rPr lang="en-GB"/>
              <a:t>Second level</a:t>
            </a:r>
          </a:p>
          <a:p>
            <a:pPr lvl="2"/>
            <a:r>
              <a:rPr lang="en-GB"/>
              <a:t>Third level</a:t>
            </a:r>
          </a:p>
        </p:txBody>
      </p:sp>
      <p:pic>
        <p:nvPicPr>
          <p:cNvPr id="11" name="Picture 10" descr="&quot;&quot;">
            <a:extLst>
              <a:ext uri="{C183D7F6-B498-43B3-948B-1728B52AA6E4}">
                <adec:decorative xmlns:adec="http://schemas.microsoft.com/office/drawing/2017/decorative" val="0"/>
              </a:ext>
            </a:extLst>
          </p:cNvPr>
          <p:cNvPicPr>
            <a:picLocks noChangeAspect="1"/>
          </p:cNvPicPr>
          <p:nvPr userDrawn="1"/>
        </p:nvPicPr>
        <p:blipFill>
          <a:blip r:embed="rId2"/>
          <a:stretch>
            <a:fillRect/>
          </a:stretch>
        </p:blipFill>
        <p:spPr>
          <a:xfrm>
            <a:off x="9889067" y="6433975"/>
            <a:ext cx="1811867" cy="197447"/>
          </a:xfrm>
          <a:prstGeom prst="rect">
            <a:avLst/>
          </a:prstGeom>
        </p:spPr>
      </p:pic>
      <p:sp>
        <p:nvSpPr>
          <p:cNvPr id="9" name="Slide Number Placeholder 5">
            <a:extLst>
              <a:ext uri="{FF2B5EF4-FFF2-40B4-BE49-F238E27FC236}">
                <a16:creationId xmlns:a16="http://schemas.microsoft.com/office/drawing/2014/main" id="{FD5121BD-3184-7B4E-AF38-5D06A178DB61}"/>
              </a:ext>
            </a:extLst>
          </p:cNvPr>
          <p:cNvSpPr>
            <a:spLocks noGrp="1"/>
          </p:cNvSpPr>
          <p:nvPr>
            <p:ph type="sldNum" sz="quarter" idx="4"/>
          </p:nvPr>
        </p:nvSpPr>
        <p:spPr>
          <a:xfrm>
            <a:off x="9302579"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5306F20-FBA2-4746-AE9F-DFBA4FFD6FE5}" type="slidenum">
              <a:rPr lang="en-US" smtClean="0"/>
              <a:t>‹#›</a:t>
            </a:fld>
            <a:endParaRPr lang="en-US"/>
          </a:p>
        </p:txBody>
      </p:sp>
    </p:spTree>
    <p:extLst>
      <p:ext uri="{BB962C8B-B14F-4D97-AF65-F5344CB8AC3E}">
        <p14:creationId xmlns:p14="http://schemas.microsoft.com/office/powerpoint/2010/main" val="7271614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Title/Bullet list one column">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818896" y="1618375"/>
            <a:ext cx="10543371" cy="517001"/>
          </a:xfrm>
          <a:prstGeom prst="rect">
            <a:avLst/>
          </a:prstGeom>
        </p:spPr>
        <p:txBody>
          <a:bodyPr vert="horz" wrap="square" lIns="0" tIns="0" rIns="0" bIns="0">
            <a:spAutoFit/>
          </a:bodyPr>
          <a:lstStyle>
            <a:lvl1pPr algn="l">
              <a:defRPr sz="3733" b="1"/>
            </a:lvl1pPr>
          </a:lstStyle>
          <a:p>
            <a:r>
              <a:rPr lang="en-GB"/>
              <a:t>Click to add title</a:t>
            </a:r>
            <a:endParaRPr lang="en-US"/>
          </a:p>
        </p:txBody>
      </p:sp>
      <p:sp>
        <p:nvSpPr>
          <p:cNvPr id="11" name="Text Placeholder 11"/>
          <p:cNvSpPr>
            <a:spLocks noGrp="1"/>
          </p:cNvSpPr>
          <p:nvPr>
            <p:ph type="body" sz="quarter" idx="20" hasCustomPrompt="1"/>
          </p:nvPr>
        </p:nvSpPr>
        <p:spPr>
          <a:xfrm>
            <a:off x="818896" y="2461477"/>
            <a:ext cx="10543371" cy="4021875"/>
          </a:xfrm>
          <a:prstGeom prst="rect">
            <a:avLst/>
          </a:prstGeom>
        </p:spPr>
        <p:txBody>
          <a:bodyPr lIns="0">
            <a:noAutofit/>
          </a:bodyPr>
          <a:lstStyle>
            <a:lvl1pPr marL="263993" indent="-263993">
              <a:spcBef>
                <a:spcPts val="400"/>
              </a:spcBef>
              <a:spcAft>
                <a:spcPts val="400"/>
              </a:spcAft>
              <a:buFont typeface="Lucida Grande"/>
              <a:buChar char="-"/>
              <a:defRPr sz="2400" b="0" i="0" baseline="0">
                <a:solidFill>
                  <a:schemeClr val="tx1"/>
                </a:solidFill>
                <a:latin typeface="Arial"/>
                <a:cs typeface="Arial"/>
              </a:defRPr>
            </a:lvl1pPr>
            <a:lvl2pPr marL="604785" indent="-283193">
              <a:spcBef>
                <a:spcPts val="400"/>
              </a:spcBef>
              <a:spcAft>
                <a:spcPts val="400"/>
              </a:spcAft>
              <a:buFont typeface="Lucida Grande"/>
              <a:buChar char="-"/>
              <a:defRPr sz="2400" b="0" i="0">
                <a:solidFill>
                  <a:schemeClr val="tx1"/>
                </a:solidFill>
                <a:latin typeface="Arial"/>
                <a:cs typeface="Arial"/>
              </a:defRPr>
            </a:lvl2pPr>
            <a:lvl3pPr marL="854379" indent="-211195">
              <a:spcBef>
                <a:spcPts val="400"/>
              </a:spcBef>
              <a:spcAft>
                <a:spcPts val="400"/>
              </a:spcAft>
              <a:buFont typeface="Lucida Grande"/>
              <a:buChar char="-"/>
              <a:defRPr sz="2400" b="0" i="0">
                <a:solidFill>
                  <a:schemeClr val="tx1"/>
                </a:solidFill>
                <a:latin typeface="Arial"/>
                <a:cs typeface="Arial"/>
              </a:defRPr>
            </a:lvl3pPr>
            <a:lvl4pPr>
              <a:defRPr sz="2400" b="0" i="0">
                <a:solidFill>
                  <a:schemeClr val="tx1"/>
                </a:solidFill>
                <a:latin typeface="Arial"/>
                <a:cs typeface="Arial"/>
              </a:defRPr>
            </a:lvl4pPr>
            <a:lvl5pPr>
              <a:defRPr sz="2400" b="0" i="0">
                <a:solidFill>
                  <a:schemeClr val="tx1"/>
                </a:solidFill>
                <a:latin typeface="Arial"/>
                <a:cs typeface="Arial"/>
              </a:defRPr>
            </a:lvl5pPr>
          </a:lstStyle>
          <a:p>
            <a:pPr lvl="0"/>
            <a:r>
              <a:rPr lang="en-GB"/>
              <a:t>First level</a:t>
            </a:r>
          </a:p>
          <a:p>
            <a:pPr lvl="1"/>
            <a:r>
              <a:rPr lang="en-GB"/>
              <a:t>Second level</a:t>
            </a:r>
          </a:p>
          <a:p>
            <a:pPr lvl="2"/>
            <a:r>
              <a:rPr lang="en-GB"/>
              <a:t>Third level</a:t>
            </a:r>
          </a:p>
        </p:txBody>
      </p:sp>
      <p:pic>
        <p:nvPicPr>
          <p:cNvPr id="10" name="Picture 9" descr="&quot;&quot;">
            <a:extLst>
              <a:ext uri="{C183D7F6-B498-43B3-948B-1728B52AA6E4}">
                <adec:decorative xmlns:adec="http://schemas.microsoft.com/office/drawing/2017/decorative" val="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18896" y="467283"/>
            <a:ext cx="10554208" cy="824992"/>
          </a:xfrm>
          <a:prstGeom prst="rect">
            <a:avLst/>
          </a:prstGeom>
        </p:spPr>
      </p:pic>
      <p:sp>
        <p:nvSpPr>
          <p:cNvPr id="7" name="Slide Number Placeholder 5">
            <a:extLst>
              <a:ext uri="{FF2B5EF4-FFF2-40B4-BE49-F238E27FC236}">
                <a16:creationId xmlns:a16="http://schemas.microsoft.com/office/drawing/2014/main" id="{9008E442-552C-ED40-8CDA-74FA4F65F66D}"/>
              </a:ext>
            </a:extLst>
          </p:cNvPr>
          <p:cNvSpPr>
            <a:spLocks noGrp="1"/>
          </p:cNvSpPr>
          <p:nvPr>
            <p:ph type="sldNum" sz="quarter" idx="4"/>
          </p:nvPr>
        </p:nvSpPr>
        <p:spPr>
          <a:xfrm>
            <a:off x="9302579"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5306F20-FBA2-4746-AE9F-DFBA4FFD6FE5}" type="slidenum">
              <a:rPr lang="en-US" smtClean="0"/>
              <a:t>‹#›</a:t>
            </a:fld>
            <a:endParaRPr lang="en-US"/>
          </a:p>
        </p:txBody>
      </p:sp>
    </p:spTree>
    <p:extLst>
      <p:ext uri="{BB962C8B-B14F-4D97-AF65-F5344CB8AC3E}">
        <p14:creationId xmlns:p14="http://schemas.microsoft.com/office/powerpoint/2010/main" val="425768075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1_Text/Multiple images opt2">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818896" y="1371671"/>
            <a:ext cx="4199467" cy="1034001"/>
          </a:xfrm>
          <a:prstGeom prst="rect">
            <a:avLst/>
          </a:prstGeom>
        </p:spPr>
        <p:txBody>
          <a:bodyPr vert="horz" wrap="square" lIns="0" tIns="0" rIns="0" bIns="0">
            <a:spAutoFit/>
          </a:bodyPr>
          <a:lstStyle>
            <a:lvl1pPr algn="l">
              <a:defRPr sz="3733" b="1"/>
            </a:lvl1pPr>
          </a:lstStyle>
          <a:p>
            <a:r>
              <a:rPr lang="en-GB"/>
              <a:t>Click to add title</a:t>
            </a:r>
            <a:endParaRPr lang="en-US"/>
          </a:p>
        </p:txBody>
      </p:sp>
      <p:sp>
        <p:nvSpPr>
          <p:cNvPr id="12" name="Text Placeholder 6"/>
          <p:cNvSpPr>
            <a:spLocks noGrp="1"/>
          </p:cNvSpPr>
          <p:nvPr>
            <p:ph type="body" sz="quarter" idx="19" hasCustomPrompt="1"/>
          </p:nvPr>
        </p:nvSpPr>
        <p:spPr>
          <a:xfrm>
            <a:off x="818896" y="2488998"/>
            <a:ext cx="3888571" cy="410369"/>
          </a:xfrm>
          <a:prstGeom prst="rect">
            <a:avLst/>
          </a:prstGeom>
          <a:solidFill>
            <a:schemeClr val="bg2">
              <a:alpha val="50000"/>
            </a:schemeClr>
          </a:solidFill>
        </p:spPr>
        <p:txBody>
          <a:bodyPr wrap="square" lIns="0" tIns="0" rIns="0" bIns="0" anchor="t" anchorCtr="0">
            <a:noAutofit/>
          </a:bodyPr>
          <a:lstStyle>
            <a:lvl1pPr marL="0" indent="0">
              <a:buNone/>
              <a:defRPr sz="3200" b="0" i="0" spc="0" baseline="0">
                <a:solidFill>
                  <a:schemeClr val="tx1"/>
                </a:solidFill>
                <a:latin typeface="+mj-lt"/>
                <a:cs typeface="Georgia"/>
              </a:defRPr>
            </a:lvl1pPr>
            <a:lvl2pPr marL="609585" indent="0">
              <a:buNone/>
              <a:defRPr b="1" i="0">
                <a:solidFill>
                  <a:srgbClr val="E4042C"/>
                </a:solidFill>
                <a:latin typeface="Arial"/>
                <a:cs typeface="Arial"/>
              </a:defRPr>
            </a:lvl2pPr>
            <a:lvl3pPr marL="1219170" indent="0">
              <a:buNone/>
              <a:defRPr b="1" i="0">
                <a:solidFill>
                  <a:srgbClr val="E4042C"/>
                </a:solidFill>
                <a:latin typeface="Arial"/>
                <a:cs typeface="Arial"/>
              </a:defRPr>
            </a:lvl3pPr>
            <a:lvl4pPr marL="1828754" indent="0">
              <a:buNone/>
              <a:defRPr b="1" i="0">
                <a:solidFill>
                  <a:srgbClr val="E4042C"/>
                </a:solidFill>
                <a:latin typeface="Arial"/>
                <a:cs typeface="Arial"/>
              </a:defRPr>
            </a:lvl4pPr>
            <a:lvl5pPr marL="2438339" indent="0">
              <a:buNone/>
              <a:defRPr b="1" i="0">
                <a:solidFill>
                  <a:srgbClr val="E4042C"/>
                </a:solidFill>
                <a:latin typeface="Arial"/>
                <a:cs typeface="Arial"/>
              </a:defRPr>
            </a:lvl5pPr>
          </a:lstStyle>
          <a:p>
            <a:pPr lvl="0"/>
            <a:r>
              <a:rPr lang="en-GB"/>
              <a:t>Subhead</a:t>
            </a:r>
            <a:endParaRPr lang="en-US"/>
          </a:p>
        </p:txBody>
      </p:sp>
      <p:sp>
        <p:nvSpPr>
          <p:cNvPr id="16" name="Text Placeholder 11"/>
          <p:cNvSpPr>
            <a:spLocks noGrp="1"/>
          </p:cNvSpPr>
          <p:nvPr>
            <p:ph type="body" sz="quarter" idx="20"/>
          </p:nvPr>
        </p:nvSpPr>
        <p:spPr>
          <a:xfrm>
            <a:off x="818896" y="3132668"/>
            <a:ext cx="3888571" cy="3266017"/>
          </a:xfrm>
          <a:prstGeom prst="rect">
            <a:avLst/>
          </a:prstGeom>
        </p:spPr>
        <p:txBody>
          <a:bodyPr lIns="0">
            <a:noAutofit/>
          </a:bodyPr>
          <a:lstStyle>
            <a:lvl1pPr marL="263993" indent="-263993">
              <a:spcBef>
                <a:spcPts val="400"/>
              </a:spcBef>
              <a:spcAft>
                <a:spcPts val="400"/>
              </a:spcAft>
              <a:buFont typeface="Lucida Grande"/>
              <a:buChar char="-"/>
              <a:defRPr sz="2400" b="0" i="0">
                <a:solidFill>
                  <a:schemeClr val="tx1"/>
                </a:solidFill>
                <a:latin typeface="Arial"/>
                <a:cs typeface="Arial"/>
              </a:defRPr>
            </a:lvl1pPr>
            <a:lvl2pPr marL="604785" indent="-283193">
              <a:spcBef>
                <a:spcPts val="400"/>
              </a:spcBef>
              <a:spcAft>
                <a:spcPts val="400"/>
              </a:spcAft>
              <a:buFont typeface="Lucida Grande"/>
              <a:buChar char="-"/>
              <a:defRPr sz="2400" b="0" i="0">
                <a:solidFill>
                  <a:schemeClr val="tx1"/>
                </a:solidFill>
                <a:latin typeface="Arial"/>
                <a:cs typeface="Arial"/>
              </a:defRPr>
            </a:lvl2pPr>
            <a:lvl3pPr marL="854379" indent="-211195">
              <a:spcBef>
                <a:spcPts val="400"/>
              </a:spcBef>
              <a:spcAft>
                <a:spcPts val="400"/>
              </a:spcAft>
              <a:buFont typeface="Lucida Grande"/>
              <a:buChar char="-"/>
              <a:defRPr sz="2400" b="0" i="0">
                <a:solidFill>
                  <a:schemeClr val="tx1"/>
                </a:solidFill>
                <a:latin typeface="Arial"/>
                <a:cs typeface="Arial"/>
              </a:defRPr>
            </a:lvl3pPr>
            <a:lvl4pPr>
              <a:defRPr sz="2400" b="0" i="0">
                <a:solidFill>
                  <a:schemeClr val="tx1"/>
                </a:solidFill>
                <a:latin typeface="Arial"/>
                <a:cs typeface="Arial"/>
              </a:defRPr>
            </a:lvl4pPr>
            <a:lvl5pPr>
              <a:defRPr sz="2400" b="0" i="0">
                <a:solidFill>
                  <a:schemeClr val="tx1"/>
                </a:solidFill>
                <a:latin typeface="Arial"/>
                <a:cs typeface="Arial"/>
              </a:defRPr>
            </a:lvl5pPr>
          </a:lstStyle>
          <a:p>
            <a:pPr lvl="0"/>
            <a:r>
              <a:rPr lang="en-GB"/>
              <a:t>Click to edit Master text styles</a:t>
            </a:r>
          </a:p>
          <a:p>
            <a:pPr lvl="1"/>
            <a:r>
              <a:rPr lang="en-GB"/>
              <a:t>Second level</a:t>
            </a:r>
          </a:p>
          <a:p>
            <a:pPr lvl="2"/>
            <a:r>
              <a:rPr lang="en-GB"/>
              <a:t>Third level</a:t>
            </a:r>
          </a:p>
        </p:txBody>
      </p:sp>
      <p:sp>
        <p:nvSpPr>
          <p:cNvPr id="9" name="Picture Placeholder 2" descr="&quot;&quot;">
            <a:extLst>
              <a:ext uri="{C183D7F6-B498-43B3-948B-1728B52AA6E4}">
                <adec:decorative xmlns:adec="http://schemas.microsoft.com/office/drawing/2017/decorative" val="0"/>
              </a:ext>
            </a:extLst>
          </p:cNvPr>
          <p:cNvSpPr>
            <a:spLocks noGrp="1"/>
          </p:cNvSpPr>
          <p:nvPr>
            <p:ph type="pic" sz="quarter" idx="10"/>
          </p:nvPr>
        </p:nvSpPr>
        <p:spPr>
          <a:xfrm>
            <a:off x="5926667" y="1601413"/>
            <a:ext cx="6265333" cy="2327121"/>
          </a:xfrm>
          <a:prstGeom prst="rect">
            <a:avLst/>
          </a:prstGeom>
          <a:solidFill>
            <a:schemeClr val="tx2">
              <a:lumMod val="20000"/>
              <a:lumOff val="80000"/>
            </a:schemeClr>
          </a:solidFill>
        </p:spPr>
        <p:txBody>
          <a:bodyPr vert="horz"/>
          <a:lstStyle>
            <a:lvl1pPr marL="0" indent="0">
              <a:buNone/>
              <a:defRPr sz="2133">
                <a:latin typeface="+mj-lt"/>
              </a:defRPr>
            </a:lvl1pPr>
          </a:lstStyle>
          <a:p>
            <a:r>
              <a:rPr lang="en-GB"/>
              <a:t>Drag picture to placeholder or click icon to add</a:t>
            </a:r>
            <a:endParaRPr lang="en-US"/>
          </a:p>
        </p:txBody>
      </p:sp>
      <p:sp>
        <p:nvSpPr>
          <p:cNvPr id="14" name="Picture Placeholder 4" descr="&quot;&quot;">
            <a:extLst>
              <a:ext uri="{C183D7F6-B498-43B3-948B-1728B52AA6E4}">
                <adec:decorative xmlns:adec="http://schemas.microsoft.com/office/drawing/2017/decorative" val="0"/>
              </a:ext>
            </a:extLst>
          </p:cNvPr>
          <p:cNvSpPr>
            <a:spLocks noGrp="1"/>
          </p:cNvSpPr>
          <p:nvPr>
            <p:ph type="pic" sz="quarter" idx="11"/>
          </p:nvPr>
        </p:nvSpPr>
        <p:spPr>
          <a:xfrm>
            <a:off x="4876800" y="4182533"/>
            <a:ext cx="2785533" cy="2675467"/>
          </a:xfrm>
          <a:prstGeom prst="rect">
            <a:avLst/>
          </a:prstGeom>
          <a:solidFill>
            <a:schemeClr val="tx1">
              <a:lumMod val="20000"/>
              <a:lumOff val="80000"/>
            </a:schemeClr>
          </a:solidFill>
        </p:spPr>
        <p:txBody>
          <a:bodyPr vert="horz"/>
          <a:lstStyle>
            <a:lvl1pPr marL="0" indent="0">
              <a:buNone/>
              <a:defRPr sz="2133">
                <a:latin typeface="+mn-lt"/>
              </a:defRPr>
            </a:lvl1pPr>
          </a:lstStyle>
          <a:p>
            <a:r>
              <a:rPr lang="en-GB"/>
              <a:t>Drag picture to placeholder or click icon to add</a:t>
            </a:r>
            <a:endParaRPr lang="en-US"/>
          </a:p>
        </p:txBody>
      </p:sp>
      <p:sp>
        <p:nvSpPr>
          <p:cNvPr id="15" name="Picture Placeholder 4" descr="&quot;&quot;">
            <a:extLst>
              <a:ext uri="{C183D7F6-B498-43B3-948B-1728B52AA6E4}">
                <adec:decorative xmlns:adec="http://schemas.microsoft.com/office/drawing/2017/decorative" val="0"/>
              </a:ext>
            </a:extLst>
          </p:cNvPr>
          <p:cNvSpPr>
            <a:spLocks noGrp="1"/>
          </p:cNvSpPr>
          <p:nvPr>
            <p:ph type="pic" sz="quarter" idx="18"/>
          </p:nvPr>
        </p:nvSpPr>
        <p:spPr>
          <a:xfrm>
            <a:off x="7941734" y="4182534"/>
            <a:ext cx="3979333" cy="2173817"/>
          </a:xfrm>
          <a:prstGeom prst="rect">
            <a:avLst/>
          </a:prstGeom>
          <a:solidFill>
            <a:schemeClr val="tx1">
              <a:lumMod val="20000"/>
              <a:lumOff val="80000"/>
            </a:schemeClr>
          </a:solidFill>
        </p:spPr>
        <p:txBody>
          <a:bodyPr vert="horz"/>
          <a:lstStyle>
            <a:lvl1pPr marL="0" indent="0">
              <a:buNone/>
              <a:defRPr sz="2133">
                <a:latin typeface="+mn-lt"/>
              </a:defRPr>
            </a:lvl1pPr>
          </a:lstStyle>
          <a:p>
            <a:r>
              <a:rPr lang="en-GB"/>
              <a:t>Drag picture to placeholder or click icon to add</a:t>
            </a:r>
            <a:endParaRPr lang="en-US"/>
          </a:p>
        </p:txBody>
      </p:sp>
      <p:pic>
        <p:nvPicPr>
          <p:cNvPr id="10" name="Picture 9" descr="&quot;&quot;">
            <a:extLst>
              <a:ext uri="{C183D7F6-B498-43B3-948B-1728B52AA6E4}">
                <adec:decorative xmlns:adec="http://schemas.microsoft.com/office/drawing/2017/decorative" val="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18896" y="467283"/>
            <a:ext cx="10554208" cy="824992"/>
          </a:xfrm>
          <a:prstGeom prst="rect">
            <a:avLst/>
          </a:prstGeom>
        </p:spPr>
      </p:pic>
      <p:sp>
        <p:nvSpPr>
          <p:cNvPr id="13" name="Slide Number Placeholder 5">
            <a:extLst>
              <a:ext uri="{FF2B5EF4-FFF2-40B4-BE49-F238E27FC236}">
                <a16:creationId xmlns:a16="http://schemas.microsoft.com/office/drawing/2014/main" id="{E8C1839C-E96C-4544-9ABF-388A484FA962}"/>
              </a:ext>
            </a:extLst>
          </p:cNvPr>
          <p:cNvSpPr>
            <a:spLocks noGrp="1"/>
          </p:cNvSpPr>
          <p:nvPr>
            <p:ph type="sldNum" sz="quarter" idx="4"/>
          </p:nvPr>
        </p:nvSpPr>
        <p:spPr>
          <a:xfrm>
            <a:off x="9302579"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5306F20-FBA2-4746-AE9F-DFBA4FFD6FE5}" type="slidenum">
              <a:rPr lang="en-US" smtClean="0"/>
              <a:t>‹#›</a:t>
            </a:fld>
            <a:endParaRPr lang="en-US"/>
          </a:p>
        </p:txBody>
      </p:sp>
    </p:spTree>
    <p:extLst>
      <p:ext uri="{BB962C8B-B14F-4D97-AF65-F5344CB8AC3E}">
        <p14:creationId xmlns:p14="http://schemas.microsoft.com/office/powerpoint/2010/main" val="4006739484"/>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Text/Multiple images opt3">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818896" y="1355043"/>
            <a:ext cx="4199467" cy="1034001"/>
          </a:xfrm>
          <a:prstGeom prst="rect">
            <a:avLst/>
          </a:prstGeom>
        </p:spPr>
        <p:txBody>
          <a:bodyPr vert="horz" wrap="square" lIns="0" tIns="0" rIns="0" bIns="0">
            <a:spAutoFit/>
          </a:bodyPr>
          <a:lstStyle>
            <a:lvl1pPr algn="l">
              <a:defRPr sz="3733" b="1"/>
            </a:lvl1pPr>
          </a:lstStyle>
          <a:p>
            <a:r>
              <a:rPr lang="en-GB"/>
              <a:t>Click to add title</a:t>
            </a:r>
            <a:endParaRPr lang="en-US"/>
          </a:p>
        </p:txBody>
      </p:sp>
      <p:sp>
        <p:nvSpPr>
          <p:cNvPr id="16" name="Text Placeholder 6"/>
          <p:cNvSpPr>
            <a:spLocks noGrp="1"/>
          </p:cNvSpPr>
          <p:nvPr>
            <p:ph type="body" sz="quarter" idx="19" hasCustomPrompt="1"/>
          </p:nvPr>
        </p:nvSpPr>
        <p:spPr>
          <a:xfrm>
            <a:off x="818896" y="2488998"/>
            <a:ext cx="3888571" cy="410369"/>
          </a:xfrm>
          <a:prstGeom prst="rect">
            <a:avLst/>
          </a:prstGeom>
          <a:solidFill>
            <a:schemeClr val="bg2">
              <a:alpha val="50000"/>
            </a:schemeClr>
          </a:solidFill>
        </p:spPr>
        <p:txBody>
          <a:bodyPr wrap="square" lIns="0" tIns="0" rIns="0" bIns="0" anchor="t" anchorCtr="0">
            <a:noAutofit/>
          </a:bodyPr>
          <a:lstStyle>
            <a:lvl1pPr marL="0" indent="0">
              <a:buNone/>
              <a:defRPr sz="3200" b="0" i="0" spc="0" baseline="0">
                <a:solidFill>
                  <a:schemeClr val="tx1"/>
                </a:solidFill>
                <a:latin typeface="+mj-lt"/>
                <a:cs typeface="Georgia"/>
              </a:defRPr>
            </a:lvl1pPr>
            <a:lvl2pPr marL="609585" indent="0">
              <a:buNone/>
              <a:defRPr b="1" i="0">
                <a:solidFill>
                  <a:srgbClr val="E4042C"/>
                </a:solidFill>
                <a:latin typeface="Arial"/>
                <a:cs typeface="Arial"/>
              </a:defRPr>
            </a:lvl2pPr>
            <a:lvl3pPr marL="1219170" indent="0">
              <a:buNone/>
              <a:defRPr b="1" i="0">
                <a:solidFill>
                  <a:srgbClr val="E4042C"/>
                </a:solidFill>
                <a:latin typeface="Arial"/>
                <a:cs typeface="Arial"/>
              </a:defRPr>
            </a:lvl3pPr>
            <a:lvl4pPr marL="1828754" indent="0">
              <a:buNone/>
              <a:defRPr b="1" i="0">
                <a:solidFill>
                  <a:srgbClr val="E4042C"/>
                </a:solidFill>
                <a:latin typeface="Arial"/>
                <a:cs typeface="Arial"/>
              </a:defRPr>
            </a:lvl4pPr>
            <a:lvl5pPr marL="2438339" indent="0">
              <a:buNone/>
              <a:defRPr b="1" i="0">
                <a:solidFill>
                  <a:srgbClr val="E4042C"/>
                </a:solidFill>
                <a:latin typeface="Arial"/>
                <a:cs typeface="Arial"/>
              </a:defRPr>
            </a:lvl5pPr>
          </a:lstStyle>
          <a:p>
            <a:pPr lvl="0"/>
            <a:r>
              <a:rPr lang="en-GB"/>
              <a:t>Subhead</a:t>
            </a:r>
            <a:endParaRPr lang="en-US"/>
          </a:p>
        </p:txBody>
      </p:sp>
      <p:sp>
        <p:nvSpPr>
          <p:cNvPr id="17" name="Text Placeholder 11"/>
          <p:cNvSpPr>
            <a:spLocks noGrp="1"/>
          </p:cNvSpPr>
          <p:nvPr>
            <p:ph type="body" sz="quarter" idx="20"/>
          </p:nvPr>
        </p:nvSpPr>
        <p:spPr>
          <a:xfrm>
            <a:off x="818896" y="3132668"/>
            <a:ext cx="3888571" cy="3266017"/>
          </a:xfrm>
          <a:prstGeom prst="rect">
            <a:avLst/>
          </a:prstGeom>
        </p:spPr>
        <p:txBody>
          <a:bodyPr lIns="0">
            <a:noAutofit/>
          </a:bodyPr>
          <a:lstStyle>
            <a:lvl1pPr marL="263993" indent="-263993">
              <a:spcBef>
                <a:spcPts val="400"/>
              </a:spcBef>
              <a:spcAft>
                <a:spcPts val="400"/>
              </a:spcAft>
              <a:buFont typeface="Lucida Grande"/>
              <a:buChar char="-"/>
              <a:defRPr sz="2400" b="0" i="0">
                <a:solidFill>
                  <a:schemeClr val="tx1"/>
                </a:solidFill>
                <a:latin typeface="Arial"/>
                <a:cs typeface="Arial"/>
              </a:defRPr>
            </a:lvl1pPr>
            <a:lvl2pPr marL="604785" indent="-283193">
              <a:spcBef>
                <a:spcPts val="400"/>
              </a:spcBef>
              <a:spcAft>
                <a:spcPts val="400"/>
              </a:spcAft>
              <a:buFont typeface="Lucida Grande"/>
              <a:buChar char="-"/>
              <a:defRPr sz="2400" b="0" i="0">
                <a:solidFill>
                  <a:schemeClr val="tx1"/>
                </a:solidFill>
                <a:latin typeface="Arial"/>
                <a:cs typeface="Arial"/>
              </a:defRPr>
            </a:lvl2pPr>
            <a:lvl3pPr marL="854379" indent="-211195">
              <a:spcBef>
                <a:spcPts val="400"/>
              </a:spcBef>
              <a:spcAft>
                <a:spcPts val="400"/>
              </a:spcAft>
              <a:buFont typeface="Lucida Grande"/>
              <a:buChar char="-"/>
              <a:defRPr sz="2400" b="0" i="0">
                <a:solidFill>
                  <a:schemeClr val="tx1"/>
                </a:solidFill>
                <a:latin typeface="Arial"/>
                <a:cs typeface="Arial"/>
              </a:defRPr>
            </a:lvl3pPr>
            <a:lvl4pPr>
              <a:defRPr sz="2400" b="0" i="0">
                <a:solidFill>
                  <a:schemeClr val="tx1"/>
                </a:solidFill>
                <a:latin typeface="Arial"/>
                <a:cs typeface="Arial"/>
              </a:defRPr>
            </a:lvl4pPr>
            <a:lvl5pPr>
              <a:defRPr sz="2400" b="0" i="0">
                <a:solidFill>
                  <a:schemeClr val="tx1"/>
                </a:solidFill>
                <a:latin typeface="Arial"/>
                <a:cs typeface="Arial"/>
              </a:defRPr>
            </a:lvl5pPr>
          </a:lstStyle>
          <a:p>
            <a:pPr lvl="0"/>
            <a:r>
              <a:rPr lang="en-GB"/>
              <a:t>Click to edit Master text styles</a:t>
            </a:r>
          </a:p>
          <a:p>
            <a:pPr lvl="1"/>
            <a:r>
              <a:rPr lang="en-GB"/>
              <a:t>Second level</a:t>
            </a:r>
          </a:p>
          <a:p>
            <a:pPr lvl="2"/>
            <a:r>
              <a:rPr lang="en-GB"/>
              <a:t>Third level</a:t>
            </a:r>
          </a:p>
        </p:txBody>
      </p:sp>
      <p:sp>
        <p:nvSpPr>
          <p:cNvPr id="3" name="Picture Placeholder 2" descr="&quot;&quot;">
            <a:extLst>
              <a:ext uri="{C183D7F6-B498-43B3-948B-1728B52AA6E4}">
                <adec:decorative xmlns:adec="http://schemas.microsoft.com/office/drawing/2017/decorative" val="0"/>
              </a:ext>
            </a:extLst>
          </p:cNvPr>
          <p:cNvSpPr>
            <a:spLocks noGrp="1"/>
          </p:cNvSpPr>
          <p:nvPr>
            <p:ph type="pic" sz="quarter" idx="10"/>
          </p:nvPr>
        </p:nvSpPr>
        <p:spPr>
          <a:xfrm>
            <a:off x="9736667" y="1601412"/>
            <a:ext cx="2455333" cy="4172855"/>
          </a:xfrm>
          <a:prstGeom prst="rect">
            <a:avLst/>
          </a:prstGeom>
          <a:solidFill>
            <a:schemeClr val="tx2">
              <a:lumMod val="20000"/>
              <a:lumOff val="80000"/>
            </a:schemeClr>
          </a:solidFill>
        </p:spPr>
        <p:txBody>
          <a:bodyPr vert="horz"/>
          <a:lstStyle>
            <a:lvl1pPr marL="0" indent="0">
              <a:buNone/>
              <a:defRPr sz="2133">
                <a:latin typeface="+mn-lt"/>
              </a:defRPr>
            </a:lvl1pPr>
          </a:lstStyle>
          <a:p>
            <a:r>
              <a:rPr lang="en-GB"/>
              <a:t>Drag picture to placeholder or click icon to add</a:t>
            </a:r>
            <a:endParaRPr lang="en-US"/>
          </a:p>
        </p:txBody>
      </p:sp>
      <p:sp>
        <p:nvSpPr>
          <p:cNvPr id="5" name="Picture Placeholder 4" descr="&quot;&quot;">
            <a:extLst>
              <a:ext uri="{C183D7F6-B498-43B3-948B-1728B52AA6E4}">
                <adec:decorative xmlns:adec="http://schemas.microsoft.com/office/drawing/2017/decorative" val="0"/>
              </a:ext>
            </a:extLst>
          </p:cNvPr>
          <p:cNvSpPr>
            <a:spLocks noGrp="1"/>
          </p:cNvSpPr>
          <p:nvPr>
            <p:ph type="pic" sz="quarter" idx="11"/>
          </p:nvPr>
        </p:nvSpPr>
        <p:spPr>
          <a:xfrm>
            <a:off x="6045200" y="1602317"/>
            <a:ext cx="3386667" cy="2675467"/>
          </a:xfrm>
          <a:prstGeom prst="rect">
            <a:avLst/>
          </a:prstGeom>
          <a:solidFill>
            <a:schemeClr val="tx1">
              <a:lumMod val="20000"/>
              <a:lumOff val="80000"/>
            </a:schemeClr>
          </a:solidFill>
        </p:spPr>
        <p:txBody>
          <a:bodyPr vert="horz"/>
          <a:lstStyle>
            <a:lvl1pPr marL="0" indent="0">
              <a:buNone/>
              <a:defRPr sz="2133">
                <a:latin typeface="+mn-lt"/>
              </a:defRPr>
            </a:lvl1pPr>
          </a:lstStyle>
          <a:p>
            <a:r>
              <a:rPr lang="en-GB"/>
              <a:t>Drag picture to placeholder or click icon to add</a:t>
            </a:r>
            <a:endParaRPr lang="en-US"/>
          </a:p>
        </p:txBody>
      </p:sp>
      <p:sp>
        <p:nvSpPr>
          <p:cNvPr id="12" name="Picture Placeholder 4" descr="&quot;&quot;">
            <a:extLst>
              <a:ext uri="{C183D7F6-B498-43B3-948B-1728B52AA6E4}">
                <adec:decorative xmlns:adec="http://schemas.microsoft.com/office/drawing/2017/decorative" val="0"/>
              </a:ext>
            </a:extLst>
          </p:cNvPr>
          <p:cNvSpPr>
            <a:spLocks noGrp="1"/>
          </p:cNvSpPr>
          <p:nvPr>
            <p:ph type="pic" sz="quarter" idx="18"/>
          </p:nvPr>
        </p:nvSpPr>
        <p:spPr>
          <a:xfrm>
            <a:off x="5147734" y="4588933"/>
            <a:ext cx="4284133" cy="2269067"/>
          </a:xfrm>
          <a:prstGeom prst="rect">
            <a:avLst/>
          </a:prstGeom>
          <a:solidFill>
            <a:schemeClr val="tx1">
              <a:lumMod val="20000"/>
              <a:lumOff val="80000"/>
            </a:schemeClr>
          </a:solidFill>
        </p:spPr>
        <p:txBody>
          <a:bodyPr vert="horz"/>
          <a:lstStyle>
            <a:lvl1pPr marL="0" indent="0">
              <a:buNone/>
              <a:defRPr sz="2133">
                <a:latin typeface="+mn-lt"/>
              </a:defRPr>
            </a:lvl1pPr>
          </a:lstStyle>
          <a:p>
            <a:r>
              <a:rPr lang="en-GB"/>
              <a:t>Drag picture to placeholder or click icon to add</a:t>
            </a:r>
            <a:endParaRPr lang="en-US"/>
          </a:p>
        </p:txBody>
      </p:sp>
      <p:pic>
        <p:nvPicPr>
          <p:cNvPr id="10" name="Picture 9" descr="&quot;&quot;">
            <a:extLst>
              <a:ext uri="{C183D7F6-B498-43B3-948B-1728B52AA6E4}">
                <adec:decorative xmlns:adec="http://schemas.microsoft.com/office/drawing/2017/decorative" val="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18896" y="467283"/>
            <a:ext cx="10554208" cy="824992"/>
          </a:xfrm>
          <a:prstGeom prst="rect">
            <a:avLst/>
          </a:prstGeom>
        </p:spPr>
      </p:pic>
      <p:sp>
        <p:nvSpPr>
          <p:cNvPr id="9" name="Slide Number Placeholder 5">
            <a:extLst>
              <a:ext uri="{FF2B5EF4-FFF2-40B4-BE49-F238E27FC236}">
                <a16:creationId xmlns:a16="http://schemas.microsoft.com/office/drawing/2014/main" id="{06CC22BD-2E67-5141-997D-78A8A2FD82DC}"/>
              </a:ext>
            </a:extLst>
          </p:cNvPr>
          <p:cNvSpPr>
            <a:spLocks noGrp="1"/>
          </p:cNvSpPr>
          <p:nvPr>
            <p:ph type="sldNum" sz="quarter" idx="4"/>
          </p:nvPr>
        </p:nvSpPr>
        <p:spPr>
          <a:xfrm>
            <a:off x="9302579"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5306F20-FBA2-4746-AE9F-DFBA4FFD6FE5}" type="slidenum">
              <a:rPr lang="en-US" smtClean="0"/>
              <a:t>‹#›</a:t>
            </a:fld>
            <a:endParaRPr lang="en-US"/>
          </a:p>
        </p:txBody>
      </p:sp>
    </p:spTree>
    <p:extLst>
      <p:ext uri="{BB962C8B-B14F-4D97-AF65-F5344CB8AC3E}">
        <p14:creationId xmlns:p14="http://schemas.microsoft.com/office/powerpoint/2010/main" val="2152429402"/>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Title left/Text right">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818896" y="1355043"/>
            <a:ext cx="4199467" cy="1034001"/>
          </a:xfrm>
          <a:prstGeom prst="rect">
            <a:avLst/>
          </a:prstGeom>
        </p:spPr>
        <p:txBody>
          <a:bodyPr vert="horz" wrap="square" lIns="0" tIns="0" rIns="0" bIns="0">
            <a:spAutoFit/>
          </a:bodyPr>
          <a:lstStyle>
            <a:lvl1pPr algn="l">
              <a:defRPr sz="3733" b="1"/>
            </a:lvl1pPr>
          </a:lstStyle>
          <a:p>
            <a:r>
              <a:rPr lang="en-GB"/>
              <a:t>Click to add title</a:t>
            </a:r>
            <a:endParaRPr lang="en-US"/>
          </a:p>
        </p:txBody>
      </p:sp>
      <p:sp>
        <p:nvSpPr>
          <p:cNvPr id="7" name="Text Placeholder 6"/>
          <p:cNvSpPr>
            <a:spLocks noGrp="1"/>
          </p:cNvSpPr>
          <p:nvPr>
            <p:ph type="body" sz="quarter" idx="13" hasCustomPrompt="1"/>
          </p:nvPr>
        </p:nvSpPr>
        <p:spPr>
          <a:xfrm>
            <a:off x="818896" y="2929265"/>
            <a:ext cx="4842933" cy="410369"/>
          </a:xfrm>
          <a:prstGeom prst="rect">
            <a:avLst/>
          </a:prstGeom>
          <a:solidFill>
            <a:schemeClr val="bg2">
              <a:alpha val="50000"/>
            </a:schemeClr>
          </a:solidFill>
        </p:spPr>
        <p:txBody>
          <a:bodyPr wrap="square" lIns="0" tIns="0" rIns="0" bIns="0" anchor="t" anchorCtr="0">
            <a:noAutofit/>
          </a:bodyPr>
          <a:lstStyle>
            <a:lvl1pPr marL="0" indent="0">
              <a:buNone/>
              <a:defRPr sz="3200" b="0" i="0" spc="0" baseline="0">
                <a:solidFill>
                  <a:schemeClr val="tx1"/>
                </a:solidFill>
                <a:latin typeface="+mj-lt"/>
                <a:cs typeface="Georgia"/>
              </a:defRPr>
            </a:lvl1pPr>
            <a:lvl2pPr marL="609585" indent="0">
              <a:buNone/>
              <a:defRPr b="1" i="0">
                <a:solidFill>
                  <a:srgbClr val="E4042C"/>
                </a:solidFill>
                <a:latin typeface="Arial"/>
                <a:cs typeface="Arial"/>
              </a:defRPr>
            </a:lvl2pPr>
            <a:lvl3pPr marL="1219170" indent="0">
              <a:buNone/>
              <a:defRPr b="1" i="0">
                <a:solidFill>
                  <a:srgbClr val="E4042C"/>
                </a:solidFill>
                <a:latin typeface="Arial"/>
                <a:cs typeface="Arial"/>
              </a:defRPr>
            </a:lvl3pPr>
            <a:lvl4pPr marL="1828754" indent="0">
              <a:buNone/>
              <a:defRPr b="1" i="0">
                <a:solidFill>
                  <a:srgbClr val="E4042C"/>
                </a:solidFill>
                <a:latin typeface="Arial"/>
                <a:cs typeface="Arial"/>
              </a:defRPr>
            </a:lvl4pPr>
            <a:lvl5pPr marL="2438339" indent="0">
              <a:buNone/>
              <a:defRPr b="1" i="0">
                <a:solidFill>
                  <a:srgbClr val="E4042C"/>
                </a:solidFill>
                <a:latin typeface="Arial"/>
                <a:cs typeface="Arial"/>
              </a:defRPr>
            </a:lvl5pPr>
          </a:lstStyle>
          <a:p>
            <a:pPr lvl="0"/>
            <a:r>
              <a:rPr lang="en-GB"/>
              <a:t>Click to add subhead</a:t>
            </a:r>
            <a:endParaRPr lang="en-US"/>
          </a:p>
        </p:txBody>
      </p:sp>
      <p:sp>
        <p:nvSpPr>
          <p:cNvPr id="9" name="Text Placeholder 11"/>
          <p:cNvSpPr>
            <a:spLocks noGrp="1"/>
          </p:cNvSpPr>
          <p:nvPr>
            <p:ph type="body" sz="quarter" idx="21"/>
          </p:nvPr>
        </p:nvSpPr>
        <p:spPr>
          <a:xfrm>
            <a:off x="6079067" y="1604294"/>
            <a:ext cx="5621867" cy="4931973"/>
          </a:xfrm>
          <a:prstGeom prst="rect">
            <a:avLst/>
          </a:prstGeom>
        </p:spPr>
        <p:txBody>
          <a:bodyPr lIns="0">
            <a:noAutofit/>
          </a:bodyPr>
          <a:lstStyle>
            <a:lvl1pPr marL="263993" indent="-263993">
              <a:spcBef>
                <a:spcPts val="400"/>
              </a:spcBef>
              <a:spcAft>
                <a:spcPts val="400"/>
              </a:spcAft>
              <a:buFont typeface="Lucida Grande"/>
              <a:buChar char="-"/>
              <a:defRPr sz="2400" b="0" i="0">
                <a:solidFill>
                  <a:schemeClr val="tx1"/>
                </a:solidFill>
                <a:latin typeface="Arial"/>
                <a:cs typeface="Arial"/>
              </a:defRPr>
            </a:lvl1pPr>
            <a:lvl2pPr marL="604785" indent="-283193">
              <a:spcBef>
                <a:spcPts val="400"/>
              </a:spcBef>
              <a:spcAft>
                <a:spcPts val="400"/>
              </a:spcAft>
              <a:buFont typeface="Lucida Grande"/>
              <a:buChar char="-"/>
              <a:defRPr sz="2400" b="0" i="0">
                <a:solidFill>
                  <a:schemeClr val="tx1"/>
                </a:solidFill>
                <a:latin typeface="Arial"/>
                <a:cs typeface="Arial"/>
              </a:defRPr>
            </a:lvl2pPr>
            <a:lvl3pPr marL="854379" indent="-211195">
              <a:spcBef>
                <a:spcPts val="400"/>
              </a:spcBef>
              <a:spcAft>
                <a:spcPts val="400"/>
              </a:spcAft>
              <a:buFont typeface="Lucida Grande"/>
              <a:buChar char="-"/>
              <a:defRPr sz="2400" b="0" i="0">
                <a:solidFill>
                  <a:schemeClr val="tx1"/>
                </a:solidFill>
                <a:latin typeface="Arial"/>
                <a:cs typeface="Arial"/>
              </a:defRPr>
            </a:lvl3pPr>
            <a:lvl4pPr>
              <a:defRPr sz="2400" b="0" i="0">
                <a:solidFill>
                  <a:schemeClr val="tx1"/>
                </a:solidFill>
                <a:latin typeface="Arial"/>
                <a:cs typeface="Arial"/>
              </a:defRPr>
            </a:lvl4pPr>
            <a:lvl5pPr>
              <a:defRPr sz="2400" b="0" i="0">
                <a:solidFill>
                  <a:schemeClr val="tx1"/>
                </a:solidFill>
                <a:latin typeface="Arial"/>
                <a:cs typeface="Arial"/>
              </a:defRPr>
            </a:lvl5pPr>
          </a:lstStyle>
          <a:p>
            <a:pPr lvl="0"/>
            <a:r>
              <a:rPr lang="en-GB"/>
              <a:t>Click to edit Master text styles</a:t>
            </a:r>
          </a:p>
          <a:p>
            <a:pPr lvl="1"/>
            <a:r>
              <a:rPr lang="en-GB"/>
              <a:t>Second level</a:t>
            </a:r>
          </a:p>
          <a:p>
            <a:pPr lvl="2"/>
            <a:r>
              <a:rPr lang="en-GB"/>
              <a:t>Third level</a:t>
            </a:r>
          </a:p>
        </p:txBody>
      </p:sp>
      <p:pic>
        <p:nvPicPr>
          <p:cNvPr id="10" name="Picture 9" descr="&quot;&quot;">
            <a:extLst>
              <a:ext uri="{C183D7F6-B498-43B3-948B-1728B52AA6E4}">
                <adec:decorative xmlns:adec="http://schemas.microsoft.com/office/drawing/2017/decorative" val="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18896" y="467283"/>
            <a:ext cx="10554208" cy="824992"/>
          </a:xfrm>
          <a:prstGeom prst="rect">
            <a:avLst/>
          </a:prstGeom>
        </p:spPr>
      </p:pic>
      <p:sp>
        <p:nvSpPr>
          <p:cNvPr id="8" name="Slide Number Placeholder 5">
            <a:extLst>
              <a:ext uri="{FF2B5EF4-FFF2-40B4-BE49-F238E27FC236}">
                <a16:creationId xmlns:a16="http://schemas.microsoft.com/office/drawing/2014/main" id="{9633F8C1-4EA3-184A-9B17-D7331273E90B}"/>
              </a:ext>
            </a:extLst>
          </p:cNvPr>
          <p:cNvSpPr>
            <a:spLocks noGrp="1"/>
          </p:cNvSpPr>
          <p:nvPr>
            <p:ph type="sldNum" sz="quarter" idx="4"/>
          </p:nvPr>
        </p:nvSpPr>
        <p:spPr>
          <a:xfrm>
            <a:off x="9302579"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5306F20-FBA2-4746-AE9F-DFBA4FFD6FE5}" type="slidenum">
              <a:rPr lang="en-US" smtClean="0"/>
              <a:t>‹#›</a:t>
            </a:fld>
            <a:endParaRPr lang="en-US"/>
          </a:p>
        </p:txBody>
      </p:sp>
    </p:spTree>
    <p:extLst>
      <p:ext uri="{BB962C8B-B14F-4D97-AF65-F5344CB8AC3E}">
        <p14:creationId xmlns:p14="http://schemas.microsoft.com/office/powerpoint/2010/main" val="218229109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9541DB-9159-52E1-36ED-A2271EFDC027}"/>
              </a:ext>
            </a:extLst>
          </p:cNvPr>
          <p:cNvSpPr>
            <a:spLocks noGrp="1"/>
          </p:cNvSpPr>
          <p:nvPr>
            <p:ph type="title"/>
          </p:nvPr>
        </p:nvSpPr>
        <p:spPr>
          <a:xfrm>
            <a:off x="442914" y="404813"/>
            <a:ext cx="11306174" cy="382284"/>
          </a:xfrm>
        </p:spPr>
        <p:txBody>
          <a:bodyPr/>
          <a:lstStyle/>
          <a:p>
            <a:r>
              <a:rPr lang="en-GB"/>
              <a:t>Click to edit Master title style</a:t>
            </a:r>
          </a:p>
        </p:txBody>
      </p:sp>
      <p:sp>
        <p:nvSpPr>
          <p:cNvPr id="3" name="Content Placeholder 2">
            <a:extLst>
              <a:ext uri="{FF2B5EF4-FFF2-40B4-BE49-F238E27FC236}">
                <a16:creationId xmlns:a16="http://schemas.microsoft.com/office/drawing/2014/main" id="{D66370DB-D8BA-987C-5976-9F9A695233D7}"/>
              </a:ext>
            </a:extLst>
          </p:cNvPr>
          <p:cNvSpPr>
            <a:spLocks noGrp="1"/>
          </p:cNvSpPr>
          <p:nvPr>
            <p:ph idx="1"/>
          </p:nvPr>
        </p:nvSpPr>
        <p:spPr>
          <a:xfrm>
            <a:off x="457200" y="1483198"/>
            <a:ext cx="5524500" cy="4549301"/>
          </a:xfrm>
        </p:spPr>
        <p:txBody>
          <a:bodyPr/>
          <a:lstStyle>
            <a:lvl1pPr>
              <a:spcAft>
                <a:spcPts val="800"/>
              </a:spcAft>
              <a:defRPr/>
            </a:lvl1pPr>
            <a:lvl2pPr>
              <a:spcAft>
                <a:spcPts val="800"/>
              </a:spcAft>
              <a:defRPr/>
            </a:lvl2pPr>
            <a:lvl3pPr>
              <a:lnSpc>
                <a:spcPct val="111000"/>
              </a:lnSpc>
              <a:spcAft>
                <a:spcPts val="800"/>
              </a:spcAft>
              <a:defRPr/>
            </a:lvl3pPr>
            <a:lvl4pPr>
              <a:spcAft>
                <a:spcPts val="800"/>
              </a:spcAft>
              <a:defRPr/>
            </a:lvl4pPr>
            <a:lvl5pPr>
              <a:spcAft>
                <a:spcPts val="800"/>
              </a:spcAf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0F414784-DF0B-C117-2497-A8A415ABF3CE}"/>
              </a:ext>
            </a:extLst>
          </p:cNvPr>
          <p:cNvSpPr>
            <a:spLocks noGrp="1"/>
          </p:cNvSpPr>
          <p:nvPr>
            <p:ph type="dt" sz="half" idx="10"/>
          </p:nvPr>
        </p:nvSpPr>
        <p:spPr/>
        <p:txBody>
          <a:bodyPr/>
          <a:lstStyle/>
          <a:p>
            <a:r>
              <a:rPr lang="en-US"/>
              <a:t>25 March 2026</a:t>
            </a:r>
            <a:endParaRPr lang="en-GB"/>
          </a:p>
        </p:txBody>
      </p:sp>
      <p:sp>
        <p:nvSpPr>
          <p:cNvPr id="5" name="Footer Placeholder 4">
            <a:extLst>
              <a:ext uri="{FF2B5EF4-FFF2-40B4-BE49-F238E27FC236}">
                <a16:creationId xmlns:a16="http://schemas.microsoft.com/office/drawing/2014/main" id="{746C971E-9D30-B3A7-DEE4-B7BB3F23D10F}"/>
              </a:ext>
            </a:extLst>
          </p:cNvPr>
          <p:cNvSpPr>
            <a:spLocks noGrp="1"/>
          </p:cNvSpPr>
          <p:nvPr>
            <p:ph type="ftr" sz="quarter" idx="11"/>
          </p:nvPr>
        </p:nvSpPr>
        <p:spPr/>
        <p:txBody>
          <a:bodyPr/>
          <a:lstStyle/>
          <a:p>
            <a:r>
              <a:rPr lang="en-GB"/>
              <a:t>Q member event</a:t>
            </a:r>
          </a:p>
        </p:txBody>
      </p:sp>
      <p:sp>
        <p:nvSpPr>
          <p:cNvPr id="6" name="Slide Number Placeholder 5">
            <a:extLst>
              <a:ext uri="{FF2B5EF4-FFF2-40B4-BE49-F238E27FC236}">
                <a16:creationId xmlns:a16="http://schemas.microsoft.com/office/drawing/2014/main" id="{F736F856-1147-9EF5-CC3C-F2CDFD6CB6DE}"/>
              </a:ext>
            </a:extLst>
          </p:cNvPr>
          <p:cNvSpPr>
            <a:spLocks noGrp="1"/>
          </p:cNvSpPr>
          <p:nvPr>
            <p:ph type="sldNum" sz="quarter" idx="12"/>
          </p:nvPr>
        </p:nvSpPr>
        <p:spPr/>
        <p:txBody>
          <a:bodyPr/>
          <a:lstStyle/>
          <a:p>
            <a:fld id="{C790EBD1-482B-4C6F-AFC1-9F7ACF0A1A11}" type="slidenum">
              <a:rPr lang="en-GB" smtClean="0"/>
              <a:t>‹#›</a:t>
            </a:fld>
            <a:endParaRPr lang="en-GB"/>
          </a:p>
        </p:txBody>
      </p:sp>
      <p:sp>
        <p:nvSpPr>
          <p:cNvPr id="9" name="Content Placeholder 8">
            <a:extLst>
              <a:ext uri="{FF2B5EF4-FFF2-40B4-BE49-F238E27FC236}">
                <a16:creationId xmlns:a16="http://schemas.microsoft.com/office/drawing/2014/main" id="{AED06443-0DF1-13B5-D07D-375DDA5E10E1}"/>
              </a:ext>
            </a:extLst>
          </p:cNvPr>
          <p:cNvSpPr>
            <a:spLocks noGrp="1"/>
          </p:cNvSpPr>
          <p:nvPr>
            <p:ph sz="quarter" idx="13"/>
          </p:nvPr>
        </p:nvSpPr>
        <p:spPr>
          <a:xfrm>
            <a:off x="6210300" y="1484312"/>
            <a:ext cx="5524499" cy="4548187"/>
          </a:xfrm>
        </p:spPr>
        <p:txBody>
          <a:bodyPr/>
          <a:lstStyle>
            <a:lvl1pPr>
              <a:spcAft>
                <a:spcPts val="800"/>
              </a:spcAft>
              <a:defRPr/>
            </a:lvl1pPr>
            <a:lvl2pPr>
              <a:spcAft>
                <a:spcPts val="800"/>
              </a:spcAft>
              <a:defRPr/>
            </a:lvl2pPr>
            <a:lvl3pPr>
              <a:spcAft>
                <a:spcPts val="800"/>
              </a:spcAft>
              <a:defRPr/>
            </a:lvl3pPr>
            <a:lvl4pPr>
              <a:spcAft>
                <a:spcPts val="800"/>
              </a:spcAft>
              <a:defRPr/>
            </a:lvl4pPr>
            <a:lvl5pPr>
              <a:spcAft>
                <a:spcPts val="800"/>
              </a:spcAf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8" name="Freeform 5">
            <a:extLst>
              <a:ext uri="{FF2B5EF4-FFF2-40B4-BE49-F238E27FC236}">
                <a16:creationId xmlns:a16="http://schemas.microsoft.com/office/drawing/2014/main" id="{285D1613-29F1-4180-C0D1-7F577C684273}"/>
              </a:ext>
            </a:extLst>
          </p:cNvPr>
          <p:cNvSpPr>
            <a:spLocks/>
          </p:cNvSpPr>
          <p:nvPr userDrawn="1"/>
        </p:nvSpPr>
        <p:spPr bwMode="auto">
          <a:xfrm>
            <a:off x="457200" y="6184803"/>
            <a:ext cx="11293312" cy="57600"/>
          </a:xfrm>
          <a:custGeom>
            <a:avLst/>
            <a:gdLst>
              <a:gd name="T0" fmla="*/ 11754 w 11830"/>
              <a:gd name="T1" fmla="*/ 5 h 60"/>
              <a:gd name="T2" fmla="*/ 11665 w 11830"/>
              <a:gd name="T3" fmla="*/ 3 h 60"/>
              <a:gd name="T4" fmla="*/ 10458 w 11830"/>
              <a:gd name="T5" fmla="*/ 8 h 60"/>
              <a:gd name="T6" fmla="*/ 9631 w 11830"/>
              <a:gd name="T7" fmla="*/ 9 h 60"/>
              <a:gd name="T8" fmla="*/ 9276 w 11830"/>
              <a:gd name="T9" fmla="*/ 7 h 60"/>
              <a:gd name="T10" fmla="*/ 8873 w 11830"/>
              <a:gd name="T11" fmla="*/ 7 h 60"/>
              <a:gd name="T12" fmla="*/ 8453 w 11830"/>
              <a:gd name="T13" fmla="*/ 4 h 60"/>
              <a:gd name="T14" fmla="*/ 7526 w 11830"/>
              <a:gd name="T15" fmla="*/ 4 h 60"/>
              <a:gd name="T16" fmla="*/ 7003 w 11830"/>
              <a:gd name="T17" fmla="*/ 2 h 60"/>
              <a:gd name="T18" fmla="*/ 6547 w 11830"/>
              <a:gd name="T19" fmla="*/ 3 h 60"/>
              <a:gd name="T20" fmla="*/ 6086 w 11830"/>
              <a:gd name="T21" fmla="*/ 5 h 60"/>
              <a:gd name="T22" fmla="*/ 5731 w 11830"/>
              <a:gd name="T23" fmla="*/ 6 h 60"/>
              <a:gd name="T24" fmla="*/ 5501 w 11830"/>
              <a:gd name="T25" fmla="*/ 3 h 60"/>
              <a:gd name="T26" fmla="*/ 5358 w 11830"/>
              <a:gd name="T27" fmla="*/ 3 h 60"/>
              <a:gd name="T28" fmla="*/ 5047 w 11830"/>
              <a:gd name="T29" fmla="*/ 3 h 60"/>
              <a:gd name="T30" fmla="*/ 4870 w 11830"/>
              <a:gd name="T31" fmla="*/ 5 h 60"/>
              <a:gd name="T32" fmla="*/ 4531 w 11830"/>
              <a:gd name="T33" fmla="*/ 6 h 60"/>
              <a:gd name="T34" fmla="*/ 4227 w 11830"/>
              <a:gd name="T35" fmla="*/ 7 h 60"/>
              <a:gd name="T36" fmla="*/ 3756 w 11830"/>
              <a:gd name="T37" fmla="*/ 8 h 60"/>
              <a:gd name="T38" fmla="*/ 3345 w 11830"/>
              <a:gd name="T39" fmla="*/ 8 h 60"/>
              <a:gd name="T40" fmla="*/ 2866 w 11830"/>
              <a:gd name="T41" fmla="*/ 7 h 60"/>
              <a:gd name="T42" fmla="*/ 2614 w 11830"/>
              <a:gd name="T43" fmla="*/ 5 h 60"/>
              <a:gd name="T44" fmla="*/ 2388 w 11830"/>
              <a:gd name="T45" fmla="*/ 8 h 60"/>
              <a:gd name="T46" fmla="*/ 2137 w 11830"/>
              <a:gd name="T47" fmla="*/ 3 h 60"/>
              <a:gd name="T48" fmla="*/ 1820 w 11830"/>
              <a:gd name="T49" fmla="*/ 4 h 60"/>
              <a:gd name="T50" fmla="*/ 1474 w 11830"/>
              <a:gd name="T51" fmla="*/ 3 h 60"/>
              <a:gd name="T52" fmla="*/ 1351 w 11830"/>
              <a:gd name="T53" fmla="*/ 2 h 60"/>
              <a:gd name="T54" fmla="*/ 1145 w 11830"/>
              <a:gd name="T55" fmla="*/ 2 h 60"/>
              <a:gd name="T56" fmla="*/ 871 w 11830"/>
              <a:gd name="T57" fmla="*/ 3 h 60"/>
              <a:gd name="T58" fmla="*/ 639 w 11830"/>
              <a:gd name="T59" fmla="*/ 4 h 60"/>
              <a:gd name="T60" fmla="*/ 457 w 11830"/>
              <a:gd name="T61" fmla="*/ 3 h 60"/>
              <a:gd name="T62" fmla="*/ 157 w 11830"/>
              <a:gd name="T63" fmla="*/ 3 h 60"/>
              <a:gd name="T64" fmla="*/ 83 w 11830"/>
              <a:gd name="T65" fmla="*/ 54 h 60"/>
              <a:gd name="T66" fmla="*/ 1390 w 11830"/>
              <a:gd name="T67" fmla="*/ 50 h 60"/>
              <a:gd name="T68" fmla="*/ 2221 w 11830"/>
              <a:gd name="T69" fmla="*/ 49 h 60"/>
              <a:gd name="T70" fmla="*/ 2606 w 11830"/>
              <a:gd name="T71" fmla="*/ 52 h 60"/>
              <a:gd name="T72" fmla="*/ 2985 w 11830"/>
              <a:gd name="T73" fmla="*/ 52 h 60"/>
              <a:gd name="T74" fmla="*/ 3428 w 11830"/>
              <a:gd name="T75" fmla="*/ 54 h 60"/>
              <a:gd name="T76" fmla="*/ 4520 w 11830"/>
              <a:gd name="T77" fmla="*/ 54 h 60"/>
              <a:gd name="T78" fmla="*/ 4885 w 11830"/>
              <a:gd name="T79" fmla="*/ 53 h 60"/>
              <a:gd name="T80" fmla="*/ 5255 w 11830"/>
              <a:gd name="T81" fmla="*/ 54 h 60"/>
              <a:gd name="T82" fmla="*/ 5655 w 11830"/>
              <a:gd name="T83" fmla="*/ 51 h 60"/>
              <a:gd name="T84" fmla="*/ 6196 w 11830"/>
              <a:gd name="T85" fmla="*/ 54 h 60"/>
              <a:gd name="T86" fmla="*/ 6491 w 11830"/>
              <a:gd name="T87" fmla="*/ 56 h 60"/>
              <a:gd name="T88" fmla="*/ 6723 w 11830"/>
              <a:gd name="T89" fmla="*/ 57 h 60"/>
              <a:gd name="T90" fmla="*/ 6936 w 11830"/>
              <a:gd name="T91" fmla="*/ 54 h 60"/>
              <a:gd name="T92" fmla="*/ 7150 w 11830"/>
              <a:gd name="T93" fmla="*/ 53 h 60"/>
              <a:gd name="T94" fmla="*/ 7433 w 11830"/>
              <a:gd name="T95" fmla="*/ 52 h 60"/>
              <a:gd name="T96" fmla="*/ 7830 w 11830"/>
              <a:gd name="T97" fmla="*/ 52 h 60"/>
              <a:gd name="T98" fmla="*/ 8274 w 11830"/>
              <a:gd name="T99" fmla="*/ 51 h 60"/>
              <a:gd name="T100" fmla="*/ 8700 w 11830"/>
              <a:gd name="T101" fmla="*/ 50 h 60"/>
              <a:gd name="T102" fmla="*/ 9077 w 11830"/>
              <a:gd name="T103" fmla="*/ 51 h 60"/>
              <a:gd name="T104" fmla="*/ 9302 w 11830"/>
              <a:gd name="T105" fmla="*/ 53 h 60"/>
              <a:gd name="T106" fmla="*/ 9538 w 11830"/>
              <a:gd name="T107" fmla="*/ 54 h 60"/>
              <a:gd name="T108" fmla="*/ 9855 w 11830"/>
              <a:gd name="T109" fmla="*/ 55 h 60"/>
              <a:gd name="T110" fmla="*/ 10279 w 11830"/>
              <a:gd name="T111" fmla="*/ 55 h 60"/>
              <a:gd name="T112" fmla="*/ 10495 w 11830"/>
              <a:gd name="T113" fmla="*/ 58 h 60"/>
              <a:gd name="T114" fmla="*/ 10755 w 11830"/>
              <a:gd name="T115" fmla="*/ 56 h 60"/>
              <a:gd name="T116" fmla="*/ 11049 w 11830"/>
              <a:gd name="T117" fmla="*/ 58 h 60"/>
              <a:gd name="T118" fmla="*/ 11259 w 11830"/>
              <a:gd name="T119" fmla="*/ 55 h 60"/>
              <a:gd name="T120" fmla="*/ 11479 w 11830"/>
              <a:gd name="T121" fmla="*/ 51 h 60"/>
              <a:gd name="T122" fmla="*/ 11691 w 11830"/>
              <a:gd name="T123" fmla="*/ 5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830" h="60">
                <a:moveTo>
                  <a:pt x="11828" y="47"/>
                </a:moveTo>
                <a:lnTo>
                  <a:pt x="11828" y="47"/>
                </a:lnTo>
                <a:cubicBezTo>
                  <a:pt x="11828" y="46"/>
                  <a:pt x="11828" y="46"/>
                  <a:pt x="11829" y="45"/>
                </a:cubicBezTo>
                <a:cubicBezTo>
                  <a:pt x="11829" y="45"/>
                  <a:pt x="11828" y="44"/>
                  <a:pt x="11828" y="43"/>
                </a:cubicBezTo>
                <a:cubicBezTo>
                  <a:pt x="11828" y="43"/>
                  <a:pt x="11828" y="43"/>
                  <a:pt x="11828" y="43"/>
                </a:cubicBezTo>
                <a:cubicBezTo>
                  <a:pt x="11828" y="42"/>
                  <a:pt x="11829" y="42"/>
                  <a:pt x="11829" y="42"/>
                </a:cubicBezTo>
                <a:cubicBezTo>
                  <a:pt x="11829" y="42"/>
                  <a:pt x="11829" y="41"/>
                  <a:pt x="11829" y="41"/>
                </a:cubicBezTo>
                <a:cubicBezTo>
                  <a:pt x="11830" y="40"/>
                  <a:pt x="11829" y="39"/>
                  <a:pt x="11829" y="38"/>
                </a:cubicBezTo>
                <a:cubicBezTo>
                  <a:pt x="11829" y="38"/>
                  <a:pt x="11829" y="37"/>
                  <a:pt x="11829" y="37"/>
                </a:cubicBezTo>
                <a:cubicBezTo>
                  <a:pt x="11829" y="36"/>
                  <a:pt x="11829" y="35"/>
                  <a:pt x="11829" y="34"/>
                </a:cubicBezTo>
                <a:cubicBezTo>
                  <a:pt x="11829" y="32"/>
                  <a:pt x="11829" y="31"/>
                  <a:pt x="11829" y="30"/>
                </a:cubicBezTo>
                <a:cubicBezTo>
                  <a:pt x="11829" y="27"/>
                  <a:pt x="11828" y="25"/>
                  <a:pt x="11827" y="22"/>
                </a:cubicBezTo>
                <a:cubicBezTo>
                  <a:pt x="11826" y="21"/>
                  <a:pt x="11826" y="20"/>
                  <a:pt x="11825" y="19"/>
                </a:cubicBezTo>
                <a:cubicBezTo>
                  <a:pt x="11825" y="19"/>
                  <a:pt x="11825" y="18"/>
                  <a:pt x="11825" y="18"/>
                </a:cubicBezTo>
                <a:cubicBezTo>
                  <a:pt x="11824" y="17"/>
                  <a:pt x="11824" y="17"/>
                  <a:pt x="11824" y="16"/>
                </a:cubicBezTo>
                <a:cubicBezTo>
                  <a:pt x="11823" y="15"/>
                  <a:pt x="11824" y="13"/>
                  <a:pt x="11824" y="11"/>
                </a:cubicBezTo>
                <a:cubicBezTo>
                  <a:pt x="11823" y="9"/>
                  <a:pt x="11823" y="8"/>
                  <a:pt x="11822" y="6"/>
                </a:cubicBezTo>
                <a:cubicBezTo>
                  <a:pt x="11822" y="6"/>
                  <a:pt x="11821" y="6"/>
                  <a:pt x="11821" y="6"/>
                </a:cubicBezTo>
                <a:cubicBezTo>
                  <a:pt x="11821" y="5"/>
                  <a:pt x="11818" y="4"/>
                  <a:pt x="11817" y="4"/>
                </a:cubicBezTo>
                <a:cubicBezTo>
                  <a:pt x="11808" y="3"/>
                  <a:pt x="11807" y="5"/>
                  <a:pt x="11799" y="4"/>
                </a:cubicBezTo>
                <a:cubicBezTo>
                  <a:pt x="11794" y="3"/>
                  <a:pt x="11790" y="4"/>
                  <a:pt x="11784" y="4"/>
                </a:cubicBezTo>
                <a:cubicBezTo>
                  <a:pt x="11782" y="4"/>
                  <a:pt x="11775" y="4"/>
                  <a:pt x="11772" y="4"/>
                </a:cubicBezTo>
                <a:cubicBezTo>
                  <a:pt x="11770" y="4"/>
                  <a:pt x="11761" y="5"/>
                  <a:pt x="11760" y="5"/>
                </a:cubicBezTo>
                <a:cubicBezTo>
                  <a:pt x="11759" y="5"/>
                  <a:pt x="11759" y="5"/>
                  <a:pt x="11759" y="5"/>
                </a:cubicBezTo>
                <a:cubicBezTo>
                  <a:pt x="11757" y="5"/>
                  <a:pt x="11756" y="5"/>
                  <a:pt x="11754" y="5"/>
                </a:cubicBezTo>
                <a:cubicBezTo>
                  <a:pt x="11754" y="5"/>
                  <a:pt x="11754" y="5"/>
                  <a:pt x="11753" y="5"/>
                </a:cubicBezTo>
                <a:cubicBezTo>
                  <a:pt x="11751" y="5"/>
                  <a:pt x="11749" y="5"/>
                  <a:pt x="11747" y="5"/>
                </a:cubicBezTo>
                <a:cubicBezTo>
                  <a:pt x="11747" y="4"/>
                  <a:pt x="11747" y="4"/>
                  <a:pt x="11747" y="4"/>
                </a:cubicBezTo>
                <a:cubicBezTo>
                  <a:pt x="11746" y="4"/>
                  <a:pt x="11744" y="3"/>
                  <a:pt x="11743" y="4"/>
                </a:cubicBezTo>
                <a:cubicBezTo>
                  <a:pt x="11743" y="4"/>
                  <a:pt x="11743" y="4"/>
                  <a:pt x="11744" y="4"/>
                </a:cubicBezTo>
                <a:cubicBezTo>
                  <a:pt x="11744" y="4"/>
                  <a:pt x="11744" y="4"/>
                  <a:pt x="11744" y="4"/>
                </a:cubicBezTo>
                <a:cubicBezTo>
                  <a:pt x="11738" y="4"/>
                  <a:pt x="11732" y="4"/>
                  <a:pt x="11726" y="4"/>
                </a:cubicBezTo>
                <a:cubicBezTo>
                  <a:pt x="11724" y="4"/>
                  <a:pt x="11723" y="4"/>
                  <a:pt x="11722" y="4"/>
                </a:cubicBezTo>
                <a:cubicBezTo>
                  <a:pt x="11720" y="4"/>
                  <a:pt x="11719" y="4"/>
                  <a:pt x="11717" y="4"/>
                </a:cubicBezTo>
                <a:cubicBezTo>
                  <a:pt x="11716" y="4"/>
                  <a:pt x="11714" y="4"/>
                  <a:pt x="11713" y="4"/>
                </a:cubicBezTo>
                <a:cubicBezTo>
                  <a:pt x="11712" y="4"/>
                  <a:pt x="11710" y="4"/>
                  <a:pt x="11710" y="4"/>
                </a:cubicBezTo>
                <a:cubicBezTo>
                  <a:pt x="11710" y="4"/>
                  <a:pt x="11710" y="4"/>
                  <a:pt x="11710" y="4"/>
                </a:cubicBezTo>
                <a:cubicBezTo>
                  <a:pt x="11708" y="4"/>
                  <a:pt x="11707" y="4"/>
                  <a:pt x="11706" y="4"/>
                </a:cubicBezTo>
                <a:cubicBezTo>
                  <a:pt x="11705" y="4"/>
                  <a:pt x="11704" y="4"/>
                  <a:pt x="11704" y="4"/>
                </a:cubicBezTo>
                <a:cubicBezTo>
                  <a:pt x="11703" y="4"/>
                  <a:pt x="11702" y="4"/>
                  <a:pt x="11701" y="4"/>
                </a:cubicBezTo>
                <a:cubicBezTo>
                  <a:pt x="11701" y="4"/>
                  <a:pt x="11701" y="4"/>
                  <a:pt x="11701" y="4"/>
                </a:cubicBezTo>
                <a:cubicBezTo>
                  <a:pt x="11700" y="4"/>
                  <a:pt x="11700" y="4"/>
                  <a:pt x="11699" y="4"/>
                </a:cubicBezTo>
                <a:cubicBezTo>
                  <a:pt x="11699" y="4"/>
                  <a:pt x="11698" y="4"/>
                  <a:pt x="11698" y="4"/>
                </a:cubicBezTo>
                <a:cubicBezTo>
                  <a:pt x="11698" y="4"/>
                  <a:pt x="11698" y="4"/>
                  <a:pt x="11698" y="4"/>
                </a:cubicBezTo>
                <a:cubicBezTo>
                  <a:pt x="11691" y="4"/>
                  <a:pt x="11683" y="4"/>
                  <a:pt x="11676" y="4"/>
                </a:cubicBezTo>
                <a:cubicBezTo>
                  <a:pt x="11676" y="3"/>
                  <a:pt x="11676" y="3"/>
                  <a:pt x="11675" y="3"/>
                </a:cubicBezTo>
                <a:cubicBezTo>
                  <a:pt x="11675" y="3"/>
                  <a:pt x="11675" y="3"/>
                  <a:pt x="11675" y="4"/>
                </a:cubicBezTo>
                <a:cubicBezTo>
                  <a:pt x="11674" y="4"/>
                  <a:pt x="11673" y="4"/>
                  <a:pt x="11672" y="4"/>
                </a:cubicBezTo>
                <a:cubicBezTo>
                  <a:pt x="11671" y="3"/>
                  <a:pt x="11671" y="3"/>
                  <a:pt x="11670" y="3"/>
                </a:cubicBezTo>
                <a:cubicBezTo>
                  <a:pt x="11668" y="3"/>
                  <a:pt x="11667" y="3"/>
                  <a:pt x="11665" y="3"/>
                </a:cubicBezTo>
                <a:cubicBezTo>
                  <a:pt x="11662" y="3"/>
                  <a:pt x="11659" y="3"/>
                  <a:pt x="11658" y="3"/>
                </a:cubicBezTo>
                <a:cubicBezTo>
                  <a:pt x="11657" y="4"/>
                  <a:pt x="11655" y="3"/>
                  <a:pt x="11653" y="3"/>
                </a:cubicBezTo>
                <a:cubicBezTo>
                  <a:pt x="11653" y="3"/>
                  <a:pt x="11653" y="3"/>
                  <a:pt x="11652" y="3"/>
                </a:cubicBezTo>
                <a:cubicBezTo>
                  <a:pt x="11652" y="3"/>
                  <a:pt x="11652" y="3"/>
                  <a:pt x="11652" y="3"/>
                </a:cubicBezTo>
                <a:cubicBezTo>
                  <a:pt x="11651" y="3"/>
                  <a:pt x="11649" y="3"/>
                  <a:pt x="11648" y="3"/>
                </a:cubicBezTo>
                <a:cubicBezTo>
                  <a:pt x="11648" y="3"/>
                  <a:pt x="11647" y="3"/>
                  <a:pt x="11647" y="3"/>
                </a:cubicBezTo>
                <a:cubicBezTo>
                  <a:pt x="11646" y="3"/>
                  <a:pt x="11645" y="3"/>
                  <a:pt x="11644" y="3"/>
                </a:cubicBezTo>
                <a:cubicBezTo>
                  <a:pt x="11643" y="3"/>
                  <a:pt x="11643" y="3"/>
                  <a:pt x="11642" y="3"/>
                </a:cubicBezTo>
                <a:cubicBezTo>
                  <a:pt x="11632" y="3"/>
                  <a:pt x="11623" y="3"/>
                  <a:pt x="11613" y="3"/>
                </a:cubicBezTo>
                <a:cubicBezTo>
                  <a:pt x="11604" y="3"/>
                  <a:pt x="11595" y="4"/>
                  <a:pt x="11586" y="4"/>
                </a:cubicBezTo>
                <a:cubicBezTo>
                  <a:pt x="11579" y="4"/>
                  <a:pt x="11572" y="4"/>
                  <a:pt x="11565" y="4"/>
                </a:cubicBezTo>
                <a:cubicBezTo>
                  <a:pt x="11554" y="4"/>
                  <a:pt x="11542" y="3"/>
                  <a:pt x="11531" y="5"/>
                </a:cubicBezTo>
                <a:cubicBezTo>
                  <a:pt x="11526" y="5"/>
                  <a:pt x="11523" y="6"/>
                  <a:pt x="11517" y="6"/>
                </a:cubicBezTo>
                <a:cubicBezTo>
                  <a:pt x="11512" y="6"/>
                  <a:pt x="11507" y="6"/>
                  <a:pt x="11501" y="6"/>
                </a:cubicBezTo>
                <a:cubicBezTo>
                  <a:pt x="11363" y="5"/>
                  <a:pt x="11024" y="4"/>
                  <a:pt x="10959" y="5"/>
                </a:cubicBezTo>
                <a:cubicBezTo>
                  <a:pt x="10945" y="5"/>
                  <a:pt x="10915" y="5"/>
                  <a:pt x="10892" y="5"/>
                </a:cubicBezTo>
                <a:cubicBezTo>
                  <a:pt x="10868" y="5"/>
                  <a:pt x="10833" y="6"/>
                  <a:pt x="10813" y="6"/>
                </a:cubicBezTo>
                <a:cubicBezTo>
                  <a:pt x="10702" y="7"/>
                  <a:pt x="10658" y="7"/>
                  <a:pt x="10548" y="7"/>
                </a:cubicBezTo>
                <a:cubicBezTo>
                  <a:pt x="10538" y="7"/>
                  <a:pt x="10528" y="7"/>
                  <a:pt x="10518" y="7"/>
                </a:cubicBezTo>
                <a:cubicBezTo>
                  <a:pt x="10515" y="7"/>
                  <a:pt x="10511" y="7"/>
                  <a:pt x="10507" y="7"/>
                </a:cubicBezTo>
                <a:cubicBezTo>
                  <a:pt x="10504" y="7"/>
                  <a:pt x="10501" y="8"/>
                  <a:pt x="10499" y="8"/>
                </a:cubicBezTo>
                <a:cubicBezTo>
                  <a:pt x="10494" y="9"/>
                  <a:pt x="10493" y="9"/>
                  <a:pt x="10488" y="8"/>
                </a:cubicBezTo>
                <a:cubicBezTo>
                  <a:pt x="10485" y="7"/>
                  <a:pt x="10481" y="6"/>
                  <a:pt x="10477" y="7"/>
                </a:cubicBezTo>
                <a:cubicBezTo>
                  <a:pt x="10476" y="7"/>
                  <a:pt x="10476" y="8"/>
                  <a:pt x="10475" y="8"/>
                </a:cubicBezTo>
                <a:cubicBezTo>
                  <a:pt x="10471" y="9"/>
                  <a:pt x="10463" y="8"/>
                  <a:pt x="10458" y="8"/>
                </a:cubicBezTo>
                <a:cubicBezTo>
                  <a:pt x="10452" y="8"/>
                  <a:pt x="10445" y="8"/>
                  <a:pt x="10439" y="8"/>
                </a:cubicBezTo>
                <a:cubicBezTo>
                  <a:pt x="10426" y="8"/>
                  <a:pt x="10413" y="8"/>
                  <a:pt x="10400" y="8"/>
                </a:cubicBezTo>
                <a:cubicBezTo>
                  <a:pt x="10360" y="8"/>
                  <a:pt x="10325" y="8"/>
                  <a:pt x="10322" y="8"/>
                </a:cubicBezTo>
                <a:cubicBezTo>
                  <a:pt x="10320" y="8"/>
                  <a:pt x="10318" y="9"/>
                  <a:pt x="10316" y="9"/>
                </a:cubicBezTo>
                <a:cubicBezTo>
                  <a:pt x="10314" y="8"/>
                  <a:pt x="10311" y="7"/>
                  <a:pt x="10306" y="8"/>
                </a:cubicBezTo>
                <a:cubicBezTo>
                  <a:pt x="10301" y="8"/>
                  <a:pt x="10296" y="8"/>
                  <a:pt x="10289" y="8"/>
                </a:cubicBezTo>
                <a:cubicBezTo>
                  <a:pt x="10282" y="8"/>
                  <a:pt x="10275" y="8"/>
                  <a:pt x="10267" y="8"/>
                </a:cubicBezTo>
                <a:cubicBezTo>
                  <a:pt x="10253" y="8"/>
                  <a:pt x="10238" y="8"/>
                  <a:pt x="10223" y="8"/>
                </a:cubicBezTo>
                <a:cubicBezTo>
                  <a:pt x="10158" y="8"/>
                  <a:pt x="10092" y="8"/>
                  <a:pt x="10027" y="7"/>
                </a:cubicBezTo>
                <a:cubicBezTo>
                  <a:pt x="9998" y="7"/>
                  <a:pt x="9969" y="7"/>
                  <a:pt x="9941" y="7"/>
                </a:cubicBezTo>
                <a:cubicBezTo>
                  <a:pt x="9920" y="7"/>
                  <a:pt x="9898" y="7"/>
                  <a:pt x="9877" y="7"/>
                </a:cubicBezTo>
                <a:cubicBezTo>
                  <a:pt x="9857" y="7"/>
                  <a:pt x="9836" y="7"/>
                  <a:pt x="9815" y="7"/>
                </a:cubicBezTo>
                <a:cubicBezTo>
                  <a:pt x="9806" y="7"/>
                  <a:pt x="9797" y="7"/>
                  <a:pt x="9788" y="7"/>
                </a:cubicBezTo>
                <a:lnTo>
                  <a:pt x="9776" y="7"/>
                </a:lnTo>
                <a:cubicBezTo>
                  <a:pt x="9773" y="7"/>
                  <a:pt x="9766" y="7"/>
                  <a:pt x="9764" y="7"/>
                </a:cubicBezTo>
                <a:cubicBezTo>
                  <a:pt x="9762" y="7"/>
                  <a:pt x="9761" y="7"/>
                  <a:pt x="9759" y="7"/>
                </a:cubicBezTo>
                <a:cubicBezTo>
                  <a:pt x="9759" y="7"/>
                  <a:pt x="9758" y="7"/>
                  <a:pt x="9757" y="7"/>
                </a:cubicBezTo>
                <a:cubicBezTo>
                  <a:pt x="9753" y="7"/>
                  <a:pt x="9751" y="9"/>
                  <a:pt x="9747" y="9"/>
                </a:cubicBezTo>
                <a:cubicBezTo>
                  <a:pt x="9744" y="9"/>
                  <a:pt x="9740" y="8"/>
                  <a:pt x="9737" y="7"/>
                </a:cubicBezTo>
                <a:cubicBezTo>
                  <a:pt x="9732" y="7"/>
                  <a:pt x="9725" y="7"/>
                  <a:pt x="9720" y="7"/>
                </a:cubicBezTo>
                <a:cubicBezTo>
                  <a:pt x="9711" y="7"/>
                  <a:pt x="9703" y="7"/>
                  <a:pt x="9694" y="7"/>
                </a:cubicBezTo>
                <a:cubicBezTo>
                  <a:pt x="9689" y="7"/>
                  <a:pt x="9664" y="6"/>
                  <a:pt x="9662" y="8"/>
                </a:cubicBezTo>
                <a:cubicBezTo>
                  <a:pt x="9662" y="9"/>
                  <a:pt x="9662" y="9"/>
                  <a:pt x="9662" y="9"/>
                </a:cubicBezTo>
                <a:cubicBezTo>
                  <a:pt x="9661" y="10"/>
                  <a:pt x="9650" y="10"/>
                  <a:pt x="9648" y="10"/>
                </a:cubicBezTo>
                <a:cubicBezTo>
                  <a:pt x="9645" y="10"/>
                  <a:pt x="9632" y="10"/>
                  <a:pt x="9631" y="9"/>
                </a:cubicBezTo>
                <a:cubicBezTo>
                  <a:pt x="9631" y="8"/>
                  <a:pt x="9628" y="8"/>
                  <a:pt x="9627" y="9"/>
                </a:cubicBezTo>
                <a:cubicBezTo>
                  <a:pt x="9623" y="9"/>
                  <a:pt x="9625" y="10"/>
                  <a:pt x="9620" y="10"/>
                </a:cubicBezTo>
                <a:cubicBezTo>
                  <a:pt x="9618" y="10"/>
                  <a:pt x="9615" y="10"/>
                  <a:pt x="9613" y="10"/>
                </a:cubicBezTo>
                <a:cubicBezTo>
                  <a:pt x="9610" y="10"/>
                  <a:pt x="9610" y="8"/>
                  <a:pt x="9607" y="8"/>
                </a:cubicBezTo>
                <a:cubicBezTo>
                  <a:pt x="9600" y="7"/>
                  <a:pt x="9590" y="7"/>
                  <a:pt x="9582" y="7"/>
                </a:cubicBezTo>
                <a:cubicBezTo>
                  <a:pt x="9575" y="7"/>
                  <a:pt x="9567" y="7"/>
                  <a:pt x="9562" y="9"/>
                </a:cubicBezTo>
                <a:cubicBezTo>
                  <a:pt x="9558" y="10"/>
                  <a:pt x="9555" y="9"/>
                  <a:pt x="9550" y="9"/>
                </a:cubicBezTo>
                <a:cubicBezTo>
                  <a:pt x="9544" y="8"/>
                  <a:pt x="9538" y="8"/>
                  <a:pt x="9532" y="8"/>
                </a:cubicBezTo>
                <a:cubicBezTo>
                  <a:pt x="9525" y="8"/>
                  <a:pt x="9521" y="8"/>
                  <a:pt x="9515" y="9"/>
                </a:cubicBezTo>
                <a:cubicBezTo>
                  <a:pt x="9512" y="9"/>
                  <a:pt x="9508" y="10"/>
                  <a:pt x="9506" y="10"/>
                </a:cubicBezTo>
                <a:cubicBezTo>
                  <a:pt x="9503" y="10"/>
                  <a:pt x="9500" y="9"/>
                  <a:pt x="9498" y="9"/>
                </a:cubicBezTo>
                <a:cubicBezTo>
                  <a:pt x="9496" y="9"/>
                  <a:pt x="9494" y="8"/>
                  <a:pt x="9492" y="8"/>
                </a:cubicBezTo>
                <a:cubicBezTo>
                  <a:pt x="9487" y="7"/>
                  <a:pt x="9481" y="7"/>
                  <a:pt x="9476" y="7"/>
                </a:cubicBezTo>
                <a:cubicBezTo>
                  <a:pt x="9469" y="7"/>
                  <a:pt x="9462" y="7"/>
                  <a:pt x="9455" y="7"/>
                </a:cubicBezTo>
                <a:cubicBezTo>
                  <a:pt x="9434" y="7"/>
                  <a:pt x="9413" y="7"/>
                  <a:pt x="9392" y="7"/>
                </a:cubicBezTo>
                <a:cubicBezTo>
                  <a:pt x="9382" y="7"/>
                  <a:pt x="9373" y="7"/>
                  <a:pt x="9364" y="7"/>
                </a:cubicBezTo>
                <a:cubicBezTo>
                  <a:pt x="9358" y="7"/>
                  <a:pt x="9351" y="7"/>
                  <a:pt x="9345" y="8"/>
                </a:cubicBezTo>
                <a:cubicBezTo>
                  <a:pt x="9340" y="8"/>
                  <a:pt x="9337" y="9"/>
                  <a:pt x="9333" y="10"/>
                </a:cubicBezTo>
                <a:cubicBezTo>
                  <a:pt x="9330" y="10"/>
                  <a:pt x="9326" y="10"/>
                  <a:pt x="9323" y="9"/>
                </a:cubicBezTo>
                <a:cubicBezTo>
                  <a:pt x="9321" y="9"/>
                  <a:pt x="9314" y="9"/>
                  <a:pt x="9306" y="9"/>
                </a:cubicBezTo>
                <a:cubicBezTo>
                  <a:pt x="9303" y="9"/>
                  <a:pt x="9299" y="10"/>
                  <a:pt x="9296" y="9"/>
                </a:cubicBezTo>
                <a:cubicBezTo>
                  <a:pt x="9294" y="9"/>
                  <a:pt x="9293" y="9"/>
                  <a:pt x="9293" y="8"/>
                </a:cubicBezTo>
                <a:cubicBezTo>
                  <a:pt x="9293" y="8"/>
                  <a:pt x="9294" y="8"/>
                  <a:pt x="9294" y="8"/>
                </a:cubicBezTo>
                <a:cubicBezTo>
                  <a:pt x="9294" y="7"/>
                  <a:pt x="9292" y="7"/>
                  <a:pt x="9290" y="7"/>
                </a:cubicBezTo>
                <a:cubicBezTo>
                  <a:pt x="9286" y="7"/>
                  <a:pt x="9281" y="7"/>
                  <a:pt x="9276" y="7"/>
                </a:cubicBezTo>
                <a:cubicBezTo>
                  <a:pt x="9263" y="7"/>
                  <a:pt x="9250" y="6"/>
                  <a:pt x="9247" y="6"/>
                </a:cubicBezTo>
                <a:cubicBezTo>
                  <a:pt x="9245" y="6"/>
                  <a:pt x="9225" y="6"/>
                  <a:pt x="9204" y="6"/>
                </a:cubicBezTo>
                <a:cubicBezTo>
                  <a:pt x="9197" y="6"/>
                  <a:pt x="9190" y="7"/>
                  <a:pt x="9183" y="7"/>
                </a:cubicBezTo>
                <a:cubicBezTo>
                  <a:pt x="9180" y="7"/>
                  <a:pt x="9171" y="6"/>
                  <a:pt x="9169" y="7"/>
                </a:cubicBezTo>
                <a:cubicBezTo>
                  <a:pt x="9167" y="8"/>
                  <a:pt x="9167" y="8"/>
                  <a:pt x="9164" y="9"/>
                </a:cubicBezTo>
                <a:cubicBezTo>
                  <a:pt x="9162" y="9"/>
                  <a:pt x="9158" y="8"/>
                  <a:pt x="9157" y="8"/>
                </a:cubicBezTo>
                <a:cubicBezTo>
                  <a:pt x="9157" y="8"/>
                  <a:pt x="9157" y="8"/>
                  <a:pt x="9157" y="7"/>
                </a:cubicBezTo>
                <a:cubicBezTo>
                  <a:pt x="9155" y="6"/>
                  <a:pt x="9138" y="7"/>
                  <a:pt x="9134" y="7"/>
                </a:cubicBezTo>
                <a:cubicBezTo>
                  <a:pt x="9111" y="7"/>
                  <a:pt x="9099" y="6"/>
                  <a:pt x="9083" y="5"/>
                </a:cubicBezTo>
                <a:cubicBezTo>
                  <a:pt x="9070" y="4"/>
                  <a:pt x="9019" y="4"/>
                  <a:pt x="8990" y="5"/>
                </a:cubicBezTo>
                <a:cubicBezTo>
                  <a:pt x="8986" y="5"/>
                  <a:pt x="8982" y="5"/>
                  <a:pt x="8978" y="6"/>
                </a:cubicBezTo>
                <a:cubicBezTo>
                  <a:pt x="8976" y="6"/>
                  <a:pt x="8973" y="6"/>
                  <a:pt x="8971" y="6"/>
                </a:cubicBezTo>
                <a:cubicBezTo>
                  <a:pt x="8970" y="6"/>
                  <a:pt x="8969" y="6"/>
                  <a:pt x="8968" y="6"/>
                </a:cubicBezTo>
                <a:cubicBezTo>
                  <a:pt x="8966" y="6"/>
                  <a:pt x="8965" y="6"/>
                  <a:pt x="8964" y="6"/>
                </a:cubicBezTo>
                <a:cubicBezTo>
                  <a:pt x="8963" y="6"/>
                  <a:pt x="8961" y="6"/>
                  <a:pt x="8959" y="6"/>
                </a:cubicBezTo>
                <a:cubicBezTo>
                  <a:pt x="8956" y="6"/>
                  <a:pt x="8954" y="6"/>
                  <a:pt x="8951" y="6"/>
                </a:cubicBezTo>
                <a:cubicBezTo>
                  <a:pt x="8948" y="5"/>
                  <a:pt x="8944" y="6"/>
                  <a:pt x="8941" y="6"/>
                </a:cubicBezTo>
                <a:cubicBezTo>
                  <a:pt x="8935" y="6"/>
                  <a:pt x="8931" y="5"/>
                  <a:pt x="8926" y="6"/>
                </a:cubicBezTo>
                <a:cubicBezTo>
                  <a:pt x="8923" y="7"/>
                  <a:pt x="8920" y="8"/>
                  <a:pt x="8915" y="7"/>
                </a:cubicBezTo>
                <a:cubicBezTo>
                  <a:pt x="8912" y="7"/>
                  <a:pt x="8909" y="6"/>
                  <a:pt x="8906" y="6"/>
                </a:cubicBezTo>
                <a:cubicBezTo>
                  <a:pt x="8905" y="6"/>
                  <a:pt x="8904" y="6"/>
                  <a:pt x="8903" y="6"/>
                </a:cubicBezTo>
                <a:cubicBezTo>
                  <a:pt x="8902" y="6"/>
                  <a:pt x="8902" y="6"/>
                  <a:pt x="8901" y="6"/>
                </a:cubicBezTo>
                <a:cubicBezTo>
                  <a:pt x="8900" y="6"/>
                  <a:pt x="8900" y="6"/>
                  <a:pt x="8900" y="6"/>
                </a:cubicBezTo>
                <a:cubicBezTo>
                  <a:pt x="8895" y="8"/>
                  <a:pt x="8887" y="8"/>
                  <a:pt x="8880" y="8"/>
                </a:cubicBezTo>
                <a:cubicBezTo>
                  <a:pt x="8877" y="8"/>
                  <a:pt x="8874" y="8"/>
                  <a:pt x="8873" y="7"/>
                </a:cubicBezTo>
                <a:cubicBezTo>
                  <a:pt x="8871" y="7"/>
                  <a:pt x="8871" y="6"/>
                  <a:pt x="8869" y="6"/>
                </a:cubicBezTo>
                <a:cubicBezTo>
                  <a:pt x="8867" y="5"/>
                  <a:pt x="8865" y="6"/>
                  <a:pt x="8864" y="6"/>
                </a:cubicBezTo>
                <a:cubicBezTo>
                  <a:pt x="8859" y="7"/>
                  <a:pt x="8855" y="5"/>
                  <a:pt x="8849" y="5"/>
                </a:cubicBezTo>
                <a:cubicBezTo>
                  <a:pt x="8844" y="5"/>
                  <a:pt x="8839" y="5"/>
                  <a:pt x="8834" y="5"/>
                </a:cubicBezTo>
                <a:cubicBezTo>
                  <a:pt x="8830" y="5"/>
                  <a:pt x="8811" y="4"/>
                  <a:pt x="8809" y="6"/>
                </a:cubicBezTo>
                <a:cubicBezTo>
                  <a:pt x="8808" y="6"/>
                  <a:pt x="8809" y="6"/>
                  <a:pt x="8809" y="6"/>
                </a:cubicBezTo>
                <a:cubicBezTo>
                  <a:pt x="8808" y="8"/>
                  <a:pt x="8800" y="7"/>
                  <a:pt x="8797" y="7"/>
                </a:cubicBezTo>
                <a:cubicBezTo>
                  <a:pt x="8791" y="7"/>
                  <a:pt x="8789" y="7"/>
                  <a:pt x="8784" y="6"/>
                </a:cubicBezTo>
                <a:cubicBezTo>
                  <a:pt x="8782" y="6"/>
                  <a:pt x="8780" y="6"/>
                  <a:pt x="8778" y="5"/>
                </a:cubicBezTo>
                <a:cubicBezTo>
                  <a:pt x="8776" y="5"/>
                  <a:pt x="8773" y="6"/>
                  <a:pt x="8773" y="6"/>
                </a:cubicBezTo>
                <a:cubicBezTo>
                  <a:pt x="8772" y="6"/>
                  <a:pt x="8772" y="7"/>
                  <a:pt x="8772" y="7"/>
                </a:cubicBezTo>
                <a:cubicBezTo>
                  <a:pt x="8772" y="7"/>
                  <a:pt x="8771" y="7"/>
                  <a:pt x="8770" y="7"/>
                </a:cubicBezTo>
                <a:cubicBezTo>
                  <a:pt x="8768" y="7"/>
                  <a:pt x="8765" y="7"/>
                  <a:pt x="8763" y="7"/>
                </a:cubicBezTo>
                <a:cubicBezTo>
                  <a:pt x="8760" y="7"/>
                  <a:pt x="8758" y="6"/>
                  <a:pt x="8757" y="6"/>
                </a:cubicBezTo>
                <a:cubicBezTo>
                  <a:pt x="8757" y="5"/>
                  <a:pt x="8757" y="5"/>
                  <a:pt x="8755" y="5"/>
                </a:cubicBezTo>
                <a:cubicBezTo>
                  <a:pt x="8752" y="5"/>
                  <a:pt x="8750" y="5"/>
                  <a:pt x="8747" y="5"/>
                </a:cubicBezTo>
                <a:cubicBezTo>
                  <a:pt x="8728" y="5"/>
                  <a:pt x="8684" y="4"/>
                  <a:pt x="8673" y="4"/>
                </a:cubicBezTo>
                <a:cubicBezTo>
                  <a:pt x="8670" y="4"/>
                  <a:pt x="8662" y="4"/>
                  <a:pt x="8655" y="4"/>
                </a:cubicBezTo>
                <a:cubicBezTo>
                  <a:pt x="8648" y="4"/>
                  <a:pt x="8636" y="4"/>
                  <a:pt x="8628" y="4"/>
                </a:cubicBezTo>
                <a:cubicBezTo>
                  <a:pt x="8620" y="3"/>
                  <a:pt x="8606" y="3"/>
                  <a:pt x="8597" y="3"/>
                </a:cubicBezTo>
                <a:cubicBezTo>
                  <a:pt x="8584" y="3"/>
                  <a:pt x="8569" y="2"/>
                  <a:pt x="8557" y="3"/>
                </a:cubicBezTo>
                <a:cubicBezTo>
                  <a:pt x="8554" y="3"/>
                  <a:pt x="8552" y="3"/>
                  <a:pt x="8548" y="3"/>
                </a:cubicBezTo>
                <a:cubicBezTo>
                  <a:pt x="8540" y="3"/>
                  <a:pt x="8531" y="3"/>
                  <a:pt x="8523" y="3"/>
                </a:cubicBezTo>
                <a:cubicBezTo>
                  <a:pt x="8505" y="3"/>
                  <a:pt x="8482" y="4"/>
                  <a:pt x="8471" y="4"/>
                </a:cubicBezTo>
                <a:cubicBezTo>
                  <a:pt x="8465" y="4"/>
                  <a:pt x="8459" y="4"/>
                  <a:pt x="8453" y="4"/>
                </a:cubicBezTo>
                <a:cubicBezTo>
                  <a:pt x="8451" y="4"/>
                  <a:pt x="8449" y="4"/>
                  <a:pt x="8449" y="5"/>
                </a:cubicBezTo>
                <a:cubicBezTo>
                  <a:pt x="8449" y="5"/>
                  <a:pt x="8452" y="6"/>
                  <a:pt x="8452" y="6"/>
                </a:cubicBezTo>
                <a:cubicBezTo>
                  <a:pt x="8449" y="6"/>
                  <a:pt x="8446" y="6"/>
                  <a:pt x="8444" y="6"/>
                </a:cubicBezTo>
                <a:cubicBezTo>
                  <a:pt x="8442" y="6"/>
                  <a:pt x="8441" y="6"/>
                  <a:pt x="8441" y="6"/>
                </a:cubicBezTo>
                <a:cubicBezTo>
                  <a:pt x="8441" y="5"/>
                  <a:pt x="8441" y="5"/>
                  <a:pt x="8441" y="5"/>
                </a:cubicBezTo>
                <a:cubicBezTo>
                  <a:pt x="8441" y="5"/>
                  <a:pt x="8441" y="5"/>
                  <a:pt x="8440" y="5"/>
                </a:cubicBezTo>
                <a:cubicBezTo>
                  <a:pt x="8436" y="4"/>
                  <a:pt x="8429" y="4"/>
                  <a:pt x="8425" y="4"/>
                </a:cubicBezTo>
                <a:cubicBezTo>
                  <a:pt x="8422" y="4"/>
                  <a:pt x="8415" y="5"/>
                  <a:pt x="8413" y="5"/>
                </a:cubicBezTo>
                <a:cubicBezTo>
                  <a:pt x="8410" y="4"/>
                  <a:pt x="8407" y="5"/>
                  <a:pt x="8407" y="5"/>
                </a:cubicBezTo>
                <a:cubicBezTo>
                  <a:pt x="8405" y="7"/>
                  <a:pt x="8404" y="7"/>
                  <a:pt x="8400" y="6"/>
                </a:cubicBezTo>
                <a:cubicBezTo>
                  <a:pt x="8399" y="6"/>
                  <a:pt x="8397" y="6"/>
                  <a:pt x="8397" y="5"/>
                </a:cubicBezTo>
                <a:cubicBezTo>
                  <a:pt x="8396" y="5"/>
                  <a:pt x="8394" y="4"/>
                  <a:pt x="8393" y="4"/>
                </a:cubicBezTo>
                <a:cubicBezTo>
                  <a:pt x="8390" y="4"/>
                  <a:pt x="8381" y="4"/>
                  <a:pt x="8379" y="3"/>
                </a:cubicBezTo>
                <a:cubicBezTo>
                  <a:pt x="8379" y="3"/>
                  <a:pt x="8379" y="3"/>
                  <a:pt x="8378" y="3"/>
                </a:cubicBezTo>
                <a:cubicBezTo>
                  <a:pt x="8378" y="3"/>
                  <a:pt x="8376" y="3"/>
                  <a:pt x="8374" y="3"/>
                </a:cubicBezTo>
                <a:cubicBezTo>
                  <a:pt x="8371" y="3"/>
                  <a:pt x="8368" y="3"/>
                  <a:pt x="8364" y="4"/>
                </a:cubicBezTo>
                <a:cubicBezTo>
                  <a:pt x="8361" y="4"/>
                  <a:pt x="8357" y="4"/>
                  <a:pt x="8353" y="4"/>
                </a:cubicBezTo>
                <a:cubicBezTo>
                  <a:pt x="8343" y="4"/>
                  <a:pt x="8334" y="4"/>
                  <a:pt x="8325" y="4"/>
                </a:cubicBezTo>
                <a:cubicBezTo>
                  <a:pt x="8306" y="4"/>
                  <a:pt x="8287" y="4"/>
                  <a:pt x="8268" y="4"/>
                </a:cubicBezTo>
                <a:cubicBezTo>
                  <a:pt x="8215" y="4"/>
                  <a:pt x="8163" y="4"/>
                  <a:pt x="8152" y="4"/>
                </a:cubicBezTo>
                <a:cubicBezTo>
                  <a:pt x="8142" y="4"/>
                  <a:pt x="8100" y="4"/>
                  <a:pt x="8059" y="4"/>
                </a:cubicBezTo>
                <a:cubicBezTo>
                  <a:pt x="8018" y="4"/>
                  <a:pt x="7950" y="4"/>
                  <a:pt x="7909" y="4"/>
                </a:cubicBezTo>
                <a:cubicBezTo>
                  <a:pt x="7867" y="4"/>
                  <a:pt x="7758" y="4"/>
                  <a:pt x="7667" y="4"/>
                </a:cubicBezTo>
                <a:cubicBezTo>
                  <a:pt x="7636" y="4"/>
                  <a:pt x="7604" y="4"/>
                  <a:pt x="7573" y="4"/>
                </a:cubicBezTo>
                <a:cubicBezTo>
                  <a:pt x="7557" y="4"/>
                  <a:pt x="7542" y="4"/>
                  <a:pt x="7526" y="4"/>
                </a:cubicBezTo>
                <a:cubicBezTo>
                  <a:pt x="7519" y="4"/>
                  <a:pt x="7511" y="3"/>
                  <a:pt x="7504" y="4"/>
                </a:cubicBezTo>
                <a:cubicBezTo>
                  <a:pt x="7498" y="4"/>
                  <a:pt x="7497" y="5"/>
                  <a:pt x="7492" y="4"/>
                </a:cubicBezTo>
                <a:cubicBezTo>
                  <a:pt x="7487" y="3"/>
                  <a:pt x="7480" y="4"/>
                  <a:pt x="7475" y="4"/>
                </a:cubicBezTo>
                <a:cubicBezTo>
                  <a:pt x="7468" y="4"/>
                  <a:pt x="7462" y="4"/>
                  <a:pt x="7455" y="4"/>
                </a:cubicBezTo>
                <a:cubicBezTo>
                  <a:pt x="7442" y="4"/>
                  <a:pt x="7428" y="4"/>
                  <a:pt x="7415" y="4"/>
                </a:cubicBezTo>
                <a:cubicBezTo>
                  <a:pt x="7401" y="4"/>
                  <a:pt x="7387" y="4"/>
                  <a:pt x="7373" y="4"/>
                </a:cubicBezTo>
                <a:cubicBezTo>
                  <a:pt x="7363" y="4"/>
                  <a:pt x="7348" y="4"/>
                  <a:pt x="7340" y="5"/>
                </a:cubicBezTo>
                <a:cubicBezTo>
                  <a:pt x="7338" y="5"/>
                  <a:pt x="7335" y="5"/>
                  <a:pt x="7332" y="5"/>
                </a:cubicBezTo>
                <a:cubicBezTo>
                  <a:pt x="7324" y="4"/>
                  <a:pt x="7314" y="4"/>
                  <a:pt x="7306" y="4"/>
                </a:cubicBezTo>
                <a:cubicBezTo>
                  <a:pt x="7290" y="4"/>
                  <a:pt x="7251" y="4"/>
                  <a:pt x="7218" y="4"/>
                </a:cubicBezTo>
                <a:cubicBezTo>
                  <a:pt x="7200" y="4"/>
                  <a:pt x="7181" y="5"/>
                  <a:pt x="7163" y="4"/>
                </a:cubicBezTo>
                <a:cubicBezTo>
                  <a:pt x="7160" y="4"/>
                  <a:pt x="7158" y="4"/>
                  <a:pt x="7156" y="4"/>
                </a:cubicBezTo>
                <a:cubicBezTo>
                  <a:pt x="7155" y="4"/>
                  <a:pt x="7154" y="3"/>
                  <a:pt x="7153" y="3"/>
                </a:cubicBezTo>
                <a:cubicBezTo>
                  <a:pt x="7149" y="3"/>
                  <a:pt x="7141" y="3"/>
                  <a:pt x="7136" y="3"/>
                </a:cubicBezTo>
                <a:cubicBezTo>
                  <a:pt x="7132" y="3"/>
                  <a:pt x="7127" y="4"/>
                  <a:pt x="7122" y="4"/>
                </a:cubicBezTo>
                <a:cubicBezTo>
                  <a:pt x="7118" y="4"/>
                  <a:pt x="7114" y="4"/>
                  <a:pt x="7111" y="4"/>
                </a:cubicBezTo>
                <a:cubicBezTo>
                  <a:pt x="7108" y="5"/>
                  <a:pt x="7107" y="5"/>
                  <a:pt x="7104" y="5"/>
                </a:cubicBezTo>
                <a:cubicBezTo>
                  <a:pt x="7100" y="5"/>
                  <a:pt x="7096" y="4"/>
                  <a:pt x="7092" y="4"/>
                </a:cubicBezTo>
                <a:cubicBezTo>
                  <a:pt x="7087" y="4"/>
                  <a:pt x="7084" y="5"/>
                  <a:pt x="7080" y="5"/>
                </a:cubicBezTo>
                <a:cubicBezTo>
                  <a:pt x="7078" y="5"/>
                  <a:pt x="7077" y="5"/>
                  <a:pt x="7075" y="5"/>
                </a:cubicBezTo>
                <a:cubicBezTo>
                  <a:pt x="7068" y="4"/>
                  <a:pt x="7057" y="4"/>
                  <a:pt x="7049" y="4"/>
                </a:cubicBezTo>
                <a:cubicBezTo>
                  <a:pt x="7041" y="4"/>
                  <a:pt x="7033" y="4"/>
                  <a:pt x="7025" y="4"/>
                </a:cubicBezTo>
                <a:cubicBezTo>
                  <a:pt x="7021" y="4"/>
                  <a:pt x="7012" y="5"/>
                  <a:pt x="7009" y="4"/>
                </a:cubicBezTo>
                <a:cubicBezTo>
                  <a:pt x="7006" y="3"/>
                  <a:pt x="7007" y="3"/>
                  <a:pt x="7006" y="3"/>
                </a:cubicBezTo>
                <a:cubicBezTo>
                  <a:pt x="7005" y="2"/>
                  <a:pt x="7004" y="2"/>
                  <a:pt x="7003" y="2"/>
                </a:cubicBezTo>
                <a:cubicBezTo>
                  <a:pt x="6999" y="2"/>
                  <a:pt x="6995" y="1"/>
                  <a:pt x="6991" y="2"/>
                </a:cubicBezTo>
                <a:cubicBezTo>
                  <a:pt x="6990" y="2"/>
                  <a:pt x="6988" y="2"/>
                  <a:pt x="6988" y="2"/>
                </a:cubicBezTo>
                <a:cubicBezTo>
                  <a:pt x="6987" y="3"/>
                  <a:pt x="6989" y="3"/>
                  <a:pt x="6989" y="3"/>
                </a:cubicBezTo>
                <a:cubicBezTo>
                  <a:pt x="6989" y="3"/>
                  <a:pt x="6988" y="4"/>
                  <a:pt x="6986" y="4"/>
                </a:cubicBezTo>
                <a:cubicBezTo>
                  <a:pt x="6980" y="5"/>
                  <a:pt x="6972" y="5"/>
                  <a:pt x="6965" y="5"/>
                </a:cubicBezTo>
                <a:cubicBezTo>
                  <a:pt x="6956" y="4"/>
                  <a:pt x="6948" y="3"/>
                  <a:pt x="6940" y="3"/>
                </a:cubicBezTo>
                <a:cubicBezTo>
                  <a:pt x="6931" y="3"/>
                  <a:pt x="6921" y="2"/>
                  <a:pt x="6912" y="3"/>
                </a:cubicBezTo>
                <a:cubicBezTo>
                  <a:pt x="6905" y="3"/>
                  <a:pt x="6900" y="4"/>
                  <a:pt x="6892" y="3"/>
                </a:cubicBezTo>
                <a:cubicBezTo>
                  <a:pt x="6888" y="3"/>
                  <a:pt x="6884" y="3"/>
                  <a:pt x="6880" y="3"/>
                </a:cubicBezTo>
                <a:cubicBezTo>
                  <a:pt x="6876" y="3"/>
                  <a:pt x="6873" y="3"/>
                  <a:pt x="6869" y="3"/>
                </a:cubicBezTo>
                <a:cubicBezTo>
                  <a:pt x="6865" y="2"/>
                  <a:pt x="6860" y="2"/>
                  <a:pt x="6856" y="2"/>
                </a:cubicBezTo>
                <a:cubicBezTo>
                  <a:pt x="6849" y="2"/>
                  <a:pt x="6842" y="2"/>
                  <a:pt x="6835" y="2"/>
                </a:cubicBezTo>
                <a:cubicBezTo>
                  <a:pt x="6827" y="2"/>
                  <a:pt x="6816" y="1"/>
                  <a:pt x="6808" y="2"/>
                </a:cubicBezTo>
                <a:cubicBezTo>
                  <a:pt x="6803" y="3"/>
                  <a:pt x="6807" y="4"/>
                  <a:pt x="6802" y="4"/>
                </a:cubicBezTo>
                <a:cubicBezTo>
                  <a:pt x="6797" y="5"/>
                  <a:pt x="6790" y="5"/>
                  <a:pt x="6785" y="5"/>
                </a:cubicBezTo>
                <a:cubicBezTo>
                  <a:pt x="6780" y="5"/>
                  <a:pt x="6748" y="3"/>
                  <a:pt x="6747" y="5"/>
                </a:cubicBezTo>
                <a:cubicBezTo>
                  <a:pt x="6747" y="5"/>
                  <a:pt x="6747" y="5"/>
                  <a:pt x="6746" y="5"/>
                </a:cubicBezTo>
                <a:cubicBezTo>
                  <a:pt x="6738" y="5"/>
                  <a:pt x="6731" y="5"/>
                  <a:pt x="6723" y="5"/>
                </a:cubicBezTo>
                <a:cubicBezTo>
                  <a:pt x="6688" y="4"/>
                  <a:pt x="6663" y="3"/>
                  <a:pt x="6625" y="4"/>
                </a:cubicBezTo>
                <a:cubicBezTo>
                  <a:pt x="6612" y="4"/>
                  <a:pt x="6598" y="4"/>
                  <a:pt x="6584" y="4"/>
                </a:cubicBezTo>
                <a:cubicBezTo>
                  <a:pt x="6584" y="4"/>
                  <a:pt x="6584" y="4"/>
                  <a:pt x="6584" y="3"/>
                </a:cubicBezTo>
                <a:cubicBezTo>
                  <a:pt x="6583" y="3"/>
                  <a:pt x="6583" y="3"/>
                  <a:pt x="6582" y="3"/>
                </a:cubicBezTo>
                <a:cubicBezTo>
                  <a:pt x="6580" y="3"/>
                  <a:pt x="6578" y="3"/>
                  <a:pt x="6576" y="3"/>
                </a:cubicBezTo>
                <a:cubicBezTo>
                  <a:pt x="6570" y="4"/>
                  <a:pt x="6567" y="3"/>
                  <a:pt x="6561" y="3"/>
                </a:cubicBezTo>
                <a:cubicBezTo>
                  <a:pt x="6556" y="2"/>
                  <a:pt x="6550" y="2"/>
                  <a:pt x="6547" y="3"/>
                </a:cubicBezTo>
                <a:cubicBezTo>
                  <a:pt x="6546" y="3"/>
                  <a:pt x="6546" y="3"/>
                  <a:pt x="6546" y="3"/>
                </a:cubicBezTo>
                <a:cubicBezTo>
                  <a:pt x="6543" y="4"/>
                  <a:pt x="6532" y="4"/>
                  <a:pt x="6528" y="4"/>
                </a:cubicBezTo>
                <a:cubicBezTo>
                  <a:pt x="6522" y="4"/>
                  <a:pt x="6516" y="4"/>
                  <a:pt x="6510" y="4"/>
                </a:cubicBezTo>
                <a:cubicBezTo>
                  <a:pt x="6490" y="4"/>
                  <a:pt x="6471" y="4"/>
                  <a:pt x="6467" y="4"/>
                </a:cubicBezTo>
                <a:cubicBezTo>
                  <a:pt x="6459" y="4"/>
                  <a:pt x="6452" y="4"/>
                  <a:pt x="6444" y="4"/>
                </a:cubicBezTo>
                <a:cubicBezTo>
                  <a:pt x="6443" y="3"/>
                  <a:pt x="6441" y="3"/>
                  <a:pt x="6441" y="3"/>
                </a:cubicBezTo>
                <a:cubicBezTo>
                  <a:pt x="6439" y="3"/>
                  <a:pt x="6438" y="3"/>
                  <a:pt x="6433" y="3"/>
                </a:cubicBezTo>
                <a:cubicBezTo>
                  <a:pt x="6429" y="3"/>
                  <a:pt x="6424" y="3"/>
                  <a:pt x="6420" y="3"/>
                </a:cubicBezTo>
                <a:cubicBezTo>
                  <a:pt x="6418" y="3"/>
                  <a:pt x="6417" y="3"/>
                  <a:pt x="6416" y="3"/>
                </a:cubicBezTo>
                <a:cubicBezTo>
                  <a:pt x="6414" y="3"/>
                  <a:pt x="6415" y="3"/>
                  <a:pt x="6414" y="3"/>
                </a:cubicBezTo>
                <a:cubicBezTo>
                  <a:pt x="6411" y="4"/>
                  <a:pt x="6405" y="3"/>
                  <a:pt x="6401" y="4"/>
                </a:cubicBezTo>
                <a:cubicBezTo>
                  <a:pt x="6393" y="4"/>
                  <a:pt x="6385" y="4"/>
                  <a:pt x="6377" y="3"/>
                </a:cubicBezTo>
                <a:cubicBezTo>
                  <a:pt x="6369" y="3"/>
                  <a:pt x="6362" y="3"/>
                  <a:pt x="6355" y="4"/>
                </a:cubicBezTo>
                <a:cubicBezTo>
                  <a:pt x="6351" y="4"/>
                  <a:pt x="6348" y="5"/>
                  <a:pt x="6344" y="5"/>
                </a:cubicBezTo>
                <a:cubicBezTo>
                  <a:pt x="6338" y="6"/>
                  <a:pt x="6333" y="5"/>
                  <a:pt x="6328" y="5"/>
                </a:cubicBezTo>
                <a:cubicBezTo>
                  <a:pt x="6313" y="4"/>
                  <a:pt x="6295" y="5"/>
                  <a:pt x="6280" y="5"/>
                </a:cubicBezTo>
                <a:cubicBezTo>
                  <a:pt x="6255" y="5"/>
                  <a:pt x="6229" y="6"/>
                  <a:pt x="6221" y="6"/>
                </a:cubicBezTo>
                <a:cubicBezTo>
                  <a:pt x="6215" y="6"/>
                  <a:pt x="6206" y="6"/>
                  <a:pt x="6202" y="7"/>
                </a:cubicBezTo>
                <a:cubicBezTo>
                  <a:pt x="6201" y="7"/>
                  <a:pt x="6201" y="7"/>
                  <a:pt x="6200" y="7"/>
                </a:cubicBezTo>
                <a:cubicBezTo>
                  <a:pt x="6200" y="7"/>
                  <a:pt x="6199" y="7"/>
                  <a:pt x="6199" y="7"/>
                </a:cubicBezTo>
                <a:cubicBezTo>
                  <a:pt x="6197" y="7"/>
                  <a:pt x="6195" y="7"/>
                  <a:pt x="6193" y="7"/>
                </a:cubicBezTo>
                <a:cubicBezTo>
                  <a:pt x="6192" y="7"/>
                  <a:pt x="6191" y="7"/>
                  <a:pt x="6189" y="6"/>
                </a:cubicBezTo>
                <a:cubicBezTo>
                  <a:pt x="6181" y="5"/>
                  <a:pt x="6168" y="6"/>
                  <a:pt x="6158" y="6"/>
                </a:cubicBezTo>
                <a:cubicBezTo>
                  <a:pt x="6147" y="6"/>
                  <a:pt x="6136" y="6"/>
                  <a:pt x="6124" y="6"/>
                </a:cubicBezTo>
                <a:cubicBezTo>
                  <a:pt x="6111" y="6"/>
                  <a:pt x="6099" y="6"/>
                  <a:pt x="6086" y="5"/>
                </a:cubicBezTo>
                <a:cubicBezTo>
                  <a:pt x="6079" y="5"/>
                  <a:pt x="6073" y="5"/>
                  <a:pt x="6066" y="5"/>
                </a:cubicBezTo>
                <a:cubicBezTo>
                  <a:pt x="6062" y="5"/>
                  <a:pt x="6059" y="6"/>
                  <a:pt x="6055" y="6"/>
                </a:cubicBezTo>
                <a:cubicBezTo>
                  <a:pt x="6054" y="6"/>
                  <a:pt x="6053" y="6"/>
                  <a:pt x="6051" y="6"/>
                </a:cubicBezTo>
                <a:cubicBezTo>
                  <a:pt x="6050" y="6"/>
                  <a:pt x="6049" y="7"/>
                  <a:pt x="6047" y="7"/>
                </a:cubicBezTo>
                <a:cubicBezTo>
                  <a:pt x="6039" y="6"/>
                  <a:pt x="6032" y="5"/>
                  <a:pt x="6024" y="5"/>
                </a:cubicBezTo>
                <a:cubicBezTo>
                  <a:pt x="6015" y="5"/>
                  <a:pt x="6007" y="5"/>
                  <a:pt x="5998" y="5"/>
                </a:cubicBezTo>
                <a:cubicBezTo>
                  <a:pt x="5991" y="5"/>
                  <a:pt x="5984" y="6"/>
                  <a:pt x="5977" y="6"/>
                </a:cubicBezTo>
                <a:cubicBezTo>
                  <a:pt x="5971" y="6"/>
                  <a:pt x="5966" y="6"/>
                  <a:pt x="5962" y="7"/>
                </a:cubicBezTo>
                <a:cubicBezTo>
                  <a:pt x="5960" y="8"/>
                  <a:pt x="5957" y="8"/>
                  <a:pt x="5954" y="8"/>
                </a:cubicBezTo>
                <a:cubicBezTo>
                  <a:pt x="5949" y="8"/>
                  <a:pt x="5943" y="8"/>
                  <a:pt x="5937" y="8"/>
                </a:cubicBezTo>
                <a:cubicBezTo>
                  <a:pt x="5932" y="8"/>
                  <a:pt x="5926" y="8"/>
                  <a:pt x="5920" y="8"/>
                </a:cubicBezTo>
                <a:cubicBezTo>
                  <a:pt x="5918" y="8"/>
                  <a:pt x="5916" y="8"/>
                  <a:pt x="5914" y="8"/>
                </a:cubicBezTo>
                <a:cubicBezTo>
                  <a:pt x="5913" y="9"/>
                  <a:pt x="5913" y="9"/>
                  <a:pt x="5913" y="9"/>
                </a:cubicBezTo>
                <a:cubicBezTo>
                  <a:pt x="5912" y="9"/>
                  <a:pt x="5912" y="9"/>
                  <a:pt x="5911" y="9"/>
                </a:cubicBezTo>
                <a:cubicBezTo>
                  <a:pt x="5909" y="9"/>
                  <a:pt x="5906" y="9"/>
                  <a:pt x="5904" y="8"/>
                </a:cubicBezTo>
                <a:cubicBezTo>
                  <a:pt x="5900" y="8"/>
                  <a:pt x="5895" y="8"/>
                  <a:pt x="5890" y="8"/>
                </a:cubicBezTo>
                <a:cubicBezTo>
                  <a:pt x="5885" y="7"/>
                  <a:pt x="5880" y="7"/>
                  <a:pt x="5876" y="7"/>
                </a:cubicBezTo>
                <a:cubicBezTo>
                  <a:pt x="5875" y="7"/>
                  <a:pt x="5873" y="7"/>
                  <a:pt x="5872" y="7"/>
                </a:cubicBezTo>
                <a:cubicBezTo>
                  <a:pt x="5864" y="7"/>
                  <a:pt x="5855" y="7"/>
                  <a:pt x="5848" y="7"/>
                </a:cubicBezTo>
                <a:cubicBezTo>
                  <a:pt x="5843" y="7"/>
                  <a:pt x="5839" y="7"/>
                  <a:pt x="5834" y="7"/>
                </a:cubicBezTo>
                <a:cubicBezTo>
                  <a:pt x="5829" y="7"/>
                  <a:pt x="5825" y="7"/>
                  <a:pt x="5820" y="6"/>
                </a:cubicBezTo>
                <a:cubicBezTo>
                  <a:pt x="5817" y="6"/>
                  <a:pt x="5815" y="5"/>
                  <a:pt x="5811" y="5"/>
                </a:cubicBezTo>
                <a:cubicBezTo>
                  <a:pt x="5804" y="5"/>
                  <a:pt x="5797" y="5"/>
                  <a:pt x="5790" y="5"/>
                </a:cubicBezTo>
                <a:cubicBezTo>
                  <a:pt x="5771" y="5"/>
                  <a:pt x="5753" y="6"/>
                  <a:pt x="5734" y="6"/>
                </a:cubicBezTo>
                <a:cubicBezTo>
                  <a:pt x="5733" y="6"/>
                  <a:pt x="5732" y="6"/>
                  <a:pt x="5731" y="6"/>
                </a:cubicBezTo>
                <a:cubicBezTo>
                  <a:pt x="5729" y="6"/>
                  <a:pt x="5727" y="5"/>
                  <a:pt x="5726" y="5"/>
                </a:cubicBezTo>
                <a:cubicBezTo>
                  <a:pt x="5723" y="5"/>
                  <a:pt x="5720" y="4"/>
                  <a:pt x="5716" y="4"/>
                </a:cubicBezTo>
                <a:cubicBezTo>
                  <a:pt x="5714" y="4"/>
                  <a:pt x="5710" y="4"/>
                  <a:pt x="5707" y="4"/>
                </a:cubicBezTo>
                <a:cubicBezTo>
                  <a:pt x="5700" y="4"/>
                  <a:pt x="5694" y="4"/>
                  <a:pt x="5687" y="4"/>
                </a:cubicBezTo>
                <a:cubicBezTo>
                  <a:pt x="5680" y="4"/>
                  <a:pt x="5674" y="4"/>
                  <a:pt x="5668" y="4"/>
                </a:cubicBezTo>
                <a:cubicBezTo>
                  <a:pt x="5665" y="4"/>
                  <a:pt x="5663" y="4"/>
                  <a:pt x="5660" y="4"/>
                </a:cubicBezTo>
                <a:cubicBezTo>
                  <a:pt x="5658" y="4"/>
                  <a:pt x="5655" y="4"/>
                  <a:pt x="5653" y="4"/>
                </a:cubicBezTo>
                <a:cubicBezTo>
                  <a:pt x="5650" y="4"/>
                  <a:pt x="5643" y="7"/>
                  <a:pt x="5638" y="6"/>
                </a:cubicBezTo>
                <a:cubicBezTo>
                  <a:pt x="5635" y="5"/>
                  <a:pt x="5640" y="4"/>
                  <a:pt x="5638" y="3"/>
                </a:cubicBezTo>
                <a:cubicBezTo>
                  <a:pt x="5636" y="3"/>
                  <a:pt x="5627" y="3"/>
                  <a:pt x="5625" y="3"/>
                </a:cubicBezTo>
                <a:cubicBezTo>
                  <a:pt x="5624" y="3"/>
                  <a:pt x="5625" y="3"/>
                  <a:pt x="5627" y="3"/>
                </a:cubicBezTo>
                <a:cubicBezTo>
                  <a:pt x="5629" y="3"/>
                  <a:pt x="5631" y="4"/>
                  <a:pt x="5631" y="4"/>
                </a:cubicBezTo>
                <a:cubicBezTo>
                  <a:pt x="5631" y="5"/>
                  <a:pt x="5630" y="5"/>
                  <a:pt x="5630" y="5"/>
                </a:cubicBezTo>
                <a:cubicBezTo>
                  <a:pt x="5626" y="5"/>
                  <a:pt x="5621" y="5"/>
                  <a:pt x="5617" y="5"/>
                </a:cubicBezTo>
                <a:cubicBezTo>
                  <a:pt x="5614" y="5"/>
                  <a:pt x="5612" y="5"/>
                  <a:pt x="5609" y="5"/>
                </a:cubicBezTo>
                <a:cubicBezTo>
                  <a:pt x="5608" y="5"/>
                  <a:pt x="5606" y="5"/>
                  <a:pt x="5603" y="5"/>
                </a:cubicBezTo>
                <a:cubicBezTo>
                  <a:pt x="5603" y="4"/>
                  <a:pt x="5602" y="4"/>
                  <a:pt x="5600" y="4"/>
                </a:cubicBezTo>
                <a:cubicBezTo>
                  <a:pt x="5599" y="4"/>
                  <a:pt x="5598" y="5"/>
                  <a:pt x="5598" y="5"/>
                </a:cubicBezTo>
                <a:cubicBezTo>
                  <a:pt x="5598" y="5"/>
                  <a:pt x="5598" y="5"/>
                  <a:pt x="5598" y="5"/>
                </a:cubicBezTo>
                <a:cubicBezTo>
                  <a:pt x="5600" y="7"/>
                  <a:pt x="5590" y="6"/>
                  <a:pt x="5586" y="6"/>
                </a:cubicBezTo>
                <a:cubicBezTo>
                  <a:pt x="5579" y="6"/>
                  <a:pt x="5570" y="5"/>
                  <a:pt x="5566" y="4"/>
                </a:cubicBezTo>
                <a:cubicBezTo>
                  <a:pt x="5559" y="3"/>
                  <a:pt x="5552" y="3"/>
                  <a:pt x="5545" y="3"/>
                </a:cubicBezTo>
                <a:cubicBezTo>
                  <a:pt x="5539" y="3"/>
                  <a:pt x="5533" y="3"/>
                  <a:pt x="5528" y="3"/>
                </a:cubicBezTo>
                <a:cubicBezTo>
                  <a:pt x="5522" y="3"/>
                  <a:pt x="5517" y="3"/>
                  <a:pt x="5511" y="3"/>
                </a:cubicBezTo>
                <a:cubicBezTo>
                  <a:pt x="5509" y="3"/>
                  <a:pt x="5501" y="3"/>
                  <a:pt x="5501" y="3"/>
                </a:cubicBezTo>
                <a:cubicBezTo>
                  <a:pt x="5500" y="3"/>
                  <a:pt x="5498" y="3"/>
                  <a:pt x="5497" y="3"/>
                </a:cubicBezTo>
                <a:cubicBezTo>
                  <a:pt x="5497" y="4"/>
                  <a:pt x="5497" y="4"/>
                  <a:pt x="5497" y="4"/>
                </a:cubicBezTo>
                <a:cubicBezTo>
                  <a:pt x="5497" y="4"/>
                  <a:pt x="5498" y="4"/>
                  <a:pt x="5498" y="5"/>
                </a:cubicBezTo>
                <a:cubicBezTo>
                  <a:pt x="5497" y="5"/>
                  <a:pt x="5489" y="5"/>
                  <a:pt x="5489" y="5"/>
                </a:cubicBezTo>
                <a:cubicBezTo>
                  <a:pt x="5489" y="4"/>
                  <a:pt x="5491" y="4"/>
                  <a:pt x="5491" y="4"/>
                </a:cubicBezTo>
                <a:cubicBezTo>
                  <a:pt x="5491" y="3"/>
                  <a:pt x="5480" y="3"/>
                  <a:pt x="5478" y="3"/>
                </a:cubicBezTo>
                <a:cubicBezTo>
                  <a:pt x="5474" y="3"/>
                  <a:pt x="5471" y="3"/>
                  <a:pt x="5467" y="3"/>
                </a:cubicBezTo>
                <a:cubicBezTo>
                  <a:pt x="5466" y="3"/>
                  <a:pt x="5465" y="3"/>
                  <a:pt x="5464" y="3"/>
                </a:cubicBezTo>
                <a:cubicBezTo>
                  <a:pt x="5463" y="3"/>
                  <a:pt x="5461" y="3"/>
                  <a:pt x="5460" y="3"/>
                </a:cubicBezTo>
                <a:cubicBezTo>
                  <a:pt x="5458" y="3"/>
                  <a:pt x="5456" y="3"/>
                  <a:pt x="5455" y="3"/>
                </a:cubicBezTo>
                <a:cubicBezTo>
                  <a:pt x="5454" y="3"/>
                  <a:pt x="5453" y="3"/>
                  <a:pt x="5453" y="3"/>
                </a:cubicBezTo>
                <a:cubicBezTo>
                  <a:pt x="5449" y="4"/>
                  <a:pt x="5461" y="5"/>
                  <a:pt x="5463" y="5"/>
                </a:cubicBezTo>
                <a:cubicBezTo>
                  <a:pt x="5465" y="4"/>
                  <a:pt x="5469" y="4"/>
                  <a:pt x="5469" y="5"/>
                </a:cubicBezTo>
                <a:cubicBezTo>
                  <a:pt x="5469" y="6"/>
                  <a:pt x="5468" y="6"/>
                  <a:pt x="5464" y="6"/>
                </a:cubicBezTo>
                <a:cubicBezTo>
                  <a:pt x="5459" y="6"/>
                  <a:pt x="5455" y="6"/>
                  <a:pt x="5450" y="6"/>
                </a:cubicBezTo>
                <a:cubicBezTo>
                  <a:pt x="5441" y="6"/>
                  <a:pt x="5432" y="6"/>
                  <a:pt x="5423" y="6"/>
                </a:cubicBezTo>
                <a:cubicBezTo>
                  <a:pt x="5412" y="6"/>
                  <a:pt x="5402" y="6"/>
                  <a:pt x="5391" y="5"/>
                </a:cubicBezTo>
                <a:cubicBezTo>
                  <a:pt x="5387" y="5"/>
                  <a:pt x="5383" y="5"/>
                  <a:pt x="5379" y="5"/>
                </a:cubicBezTo>
                <a:cubicBezTo>
                  <a:pt x="5376" y="5"/>
                  <a:pt x="5373" y="5"/>
                  <a:pt x="5370" y="5"/>
                </a:cubicBezTo>
                <a:cubicBezTo>
                  <a:pt x="5371" y="5"/>
                  <a:pt x="5371" y="5"/>
                  <a:pt x="5371" y="5"/>
                </a:cubicBezTo>
                <a:cubicBezTo>
                  <a:pt x="5369" y="5"/>
                  <a:pt x="5368" y="5"/>
                  <a:pt x="5366" y="5"/>
                </a:cubicBezTo>
                <a:cubicBezTo>
                  <a:pt x="5364" y="4"/>
                  <a:pt x="5372" y="4"/>
                  <a:pt x="5373" y="3"/>
                </a:cubicBezTo>
                <a:cubicBezTo>
                  <a:pt x="5375" y="3"/>
                  <a:pt x="5371" y="3"/>
                  <a:pt x="5368" y="3"/>
                </a:cubicBezTo>
                <a:cubicBezTo>
                  <a:pt x="5366" y="3"/>
                  <a:pt x="5366" y="4"/>
                  <a:pt x="5363" y="4"/>
                </a:cubicBezTo>
                <a:cubicBezTo>
                  <a:pt x="5360" y="4"/>
                  <a:pt x="5359" y="3"/>
                  <a:pt x="5358" y="3"/>
                </a:cubicBezTo>
                <a:cubicBezTo>
                  <a:pt x="5355" y="3"/>
                  <a:pt x="5352" y="3"/>
                  <a:pt x="5349" y="3"/>
                </a:cubicBezTo>
                <a:cubicBezTo>
                  <a:pt x="5343" y="3"/>
                  <a:pt x="5337" y="3"/>
                  <a:pt x="5331" y="3"/>
                </a:cubicBezTo>
                <a:cubicBezTo>
                  <a:pt x="5318" y="3"/>
                  <a:pt x="5307" y="3"/>
                  <a:pt x="5305" y="3"/>
                </a:cubicBezTo>
                <a:cubicBezTo>
                  <a:pt x="5300" y="3"/>
                  <a:pt x="5291" y="3"/>
                  <a:pt x="5287" y="2"/>
                </a:cubicBezTo>
                <a:cubicBezTo>
                  <a:pt x="5285" y="2"/>
                  <a:pt x="5283" y="2"/>
                  <a:pt x="5281" y="3"/>
                </a:cubicBezTo>
                <a:cubicBezTo>
                  <a:pt x="5281" y="3"/>
                  <a:pt x="5281" y="3"/>
                  <a:pt x="5281" y="3"/>
                </a:cubicBezTo>
                <a:cubicBezTo>
                  <a:pt x="5281" y="4"/>
                  <a:pt x="5281" y="4"/>
                  <a:pt x="5279" y="4"/>
                </a:cubicBezTo>
                <a:cubicBezTo>
                  <a:pt x="5276" y="4"/>
                  <a:pt x="5273" y="3"/>
                  <a:pt x="5271" y="3"/>
                </a:cubicBezTo>
                <a:cubicBezTo>
                  <a:pt x="5268" y="3"/>
                  <a:pt x="5265" y="3"/>
                  <a:pt x="5262" y="3"/>
                </a:cubicBezTo>
                <a:cubicBezTo>
                  <a:pt x="5256" y="3"/>
                  <a:pt x="5250" y="3"/>
                  <a:pt x="5243" y="3"/>
                </a:cubicBezTo>
                <a:cubicBezTo>
                  <a:pt x="5241" y="3"/>
                  <a:pt x="5239" y="3"/>
                  <a:pt x="5236" y="3"/>
                </a:cubicBezTo>
                <a:cubicBezTo>
                  <a:pt x="5236" y="3"/>
                  <a:pt x="5236" y="3"/>
                  <a:pt x="5236" y="4"/>
                </a:cubicBezTo>
                <a:cubicBezTo>
                  <a:pt x="5223" y="4"/>
                  <a:pt x="5211" y="3"/>
                  <a:pt x="5199" y="3"/>
                </a:cubicBezTo>
                <a:cubicBezTo>
                  <a:pt x="5191" y="3"/>
                  <a:pt x="5184" y="3"/>
                  <a:pt x="5177" y="3"/>
                </a:cubicBezTo>
                <a:cubicBezTo>
                  <a:pt x="5175" y="3"/>
                  <a:pt x="5173" y="3"/>
                  <a:pt x="5170" y="3"/>
                </a:cubicBezTo>
                <a:cubicBezTo>
                  <a:pt x="5169" y="3"/>
                  <a:pt x="5162" y="4"/>
                  <a:pt x="5164" y="3"/>
                </a:cubicBezTo>
                <a:cubicBezTo>
                  <a:pt x="5165" y="3"/>
                  <a:pt x="5173" y="3"/>
                  <a:pt x="5172" y="2"/>
                </a:cubicBezTo>
                <a:cubicBezTo>
                  <a:pt x="5172" y="1"/>
                  <a:pt x="5166" y="2"/>
                  <a:pt x="5165" y="2"/>
                </a:cubicBezTo>
                <a:cubicBezTo>
                  <a:pt x="5163" y="3"/>
                  <a:pt x="5159" y="3"/>
                  <a:pt x="5157" y="3"/>
                </a:cubicBezTo>
                <a:cubicBezTo>
                  <a:pt x="5155" y="3"/>
                  <a:pt x="5153" y="3"/>
                  <a:pt x="5153" y="3"/>
                </a:cubicBezTo>
                <a:cubicBezTo>
                  <a:pt x="5153" y="3"/>
                  <a:pt x="5153" y="3"/>
                  <a:pt x="5152" y="3"/>
                </a:cubicBezTo>
                <a:cubicBezTo>
                  <a:pt x="5145" y="2"/>
                  <a:pt x="5136" y="2"/>
                  <a:pt x="5129" y="2"/>
                </a:cubicBezTo>
                <a:cubicBezTo>
                  <a:pt x="5115" y="1"/>
                  <a:pt x="5101" y="2"/>
                  <a:pt x="5087" y="2"/>
                </a:cubicBezTo>
                <a:cubicBezTo>
                  <a:pt x="5080" y="2"/>
                  <a:pt x="5073" y="3"/>
                  <a:pt x="5066" y="3"/>
                </a:cubicBezTo>
                <a:cubicBezTo>
                  <a:pt x="5060" y="3"/>
                  <a:pt x="5053" y="3"/>
                  <a:pt x="5047" y="3"/>
                </a:cubicBezTo>
                <a:cubicBezTo>
                  <a:pt x="5046" y="3"/>
                  <a:pt x="5046" y="3"/>
                  <a:pt x="5045" y="3"/>
                </a:cubicBezTo>
                <a:cubicBezTo>
                  <a:pt x="5045" y="3"/>
                  <a:pt x="5044" y="3"/>
                  <a:pt x="5044" y="3"/>
                </a:cubicBezTo>
                <a:cubicBezTo>
                  <a:pt x="5041" y="3"/>
                  <a:pt x="5038" y="3"/>
                  <a:pt x="5035" y="3"/>
                </a:cubicBezTo>
                <a:cubicBezTo>
                  <a:pt x="5034" y="3"/>
                  <a:pt x="5031" y="3"/>
                  <a:pt x="5031" y="3"/>
                </a:cubicBezTo>
                <a:cubicBezTo>
                  <a:pt x="5030" y="4"/>
                  <a:pt x="5031" y="4"/>
                  <a:pt x="5028" y="4"/>
                </a:cubicBezTo>
                <a:cubicBezTo>
                  <a:pt x="5025" y="5"/>
                  <a:pt x="5021" y="4"/>
                  <a:pt x="5019" y="4"/>
                </a:cubicBezTo>
                <a:cubicBezTo>
                  <a:pt x="5016" y="4"/>
                  <a:pt x="5012" y="3"/>
                  <a:pt x="5007" y="4"/>
                </a:cubicBezTo>
                <a:cubicBezTo>
                  <a:pt x="5005" y="4"/>
                  <a:pt x="5002" y="5"/>
                  <a:pt x="4998" y="5"/>
                </a:cubicBezTo>
                <a:cubicBezTo>
                  <a:pt x="4995" y="5"/>
                  <a:pt x="4990" y="5"/>
                  <a:pt x="4987" y="5"/>
                </a:cubicBezTo>
                <a:cubicBezTo>
                  <a:pt x="4978" y="5"/>
                  <a:pt x="4964" y="5"/>
                  <a:pt x="4956" y="4"/>
                </a:cubicBezTo>
                <a:cubicBezTo>
                  <a:pt x="4953" y="4"/>
                  <a:pt x="4950" y="4"/>
                  <a:pt x="4946" y="3"/>
                </a:cubicBezTo>
                <a:cubicBezTo>
                  <a:pt x="4944" y="3"/>
                  <a:pt x="4942" y="3"/>
                  <a:pt x="4938" y="4"/>
                </a:cubicBezTo>
                <a:cubicBezTo>
                  <a:pt x="4937" y="4"/>
                  <a:pt x="4936" y="4"/>
                  <a:pt x="4935" y="3"/>
                </a:cubicBezTo>
                <a:cubicBezTo>
                  <a:pt x="4929" y="3"/>
                  <a:pt x="4925" y="4"/>
                  <a:pt x="4922" y="5"/>
                </a:cubicBezTo>
                <a:cubicBezTo>
                  <a:pt x="4921" y="5"/>
                  <a:pt x="4917" y="5"/>
                  <a:pt x="4916" y="5"/>
                </a:cubicBezTo>
                <a:cubicBezTo>
                  <a:pt x="4914" y="5"/>
                  <a:pt x="4913" y="4"/>
                  <a:pt x="4911" y="4"/>
                </a:cubicBezTo>
                <a:cubicBezTo>
                  <a:pt x="4908" y="3"/>
                  <a:pt x="4905" y="3"/>
                  <a:pt x="4901" y="3"/>
                </a:cubicBezTo>
                <a:cubicBezTo>
                  <a:pt x="4900" y="3"/>
                  <a:pt x="4899" y="3"/>
                  <a:pt x="4897" y="3"/>
                </a:cubicBezTo>
                <a:cubicBezTo>
                  <a:pt x="4895" y="3"/>
                  <a:pt x="4896" y="3"/>
                  <a:pt x="4894" y="3"/>
                </a:cubicBezTo>
                <a:cubicBezTo>
                  <a:pt x="4893" y="3"/>
                  <a:pt x="4892" y="3"/>
                  <a:pt x="4891" y="3"/>
                </a:cubicBezTo>
                <a:cubicBezTo>
                  <a:pt x="4891" y="3"/>
                  <a:pt x="4890" y="3"/>
                  <a:pt x="4888" y="3"/>
                </a:cubicBezTo>
                <a:cubicBezTo>
                  <a:pt x="4886" y="3"/>
                  <a:pt x="4885" y="3"/>
                  <a:pt x="4884" y="4"/>
                </a:cubicBezTo>
                <a:cubicBezTo>
                  <a:pt x="4883" y="4"/>
                  <a:pt x="4883" y="5"/>
                  <a:pt x="4884" y="5"/>
                </a:cubicBezTo>
                <a:cubicBezTo>
                  <a:pt x="4882" y="5"/>
                  <a:pt x="4880" y="5"/>
                  <a:pt x="4878" y="5"/>
                </a:cubicBezTo>
                <a:cubicBezTo>
                  <a:pt x="4875" y="5"/>
                  <a:pt x="4872" y="5"/>
                  <a:pt x="4870" y="5"/>
                </a:cubicBezTo>
                <a:cubicBezTo>
                  <a:pt x="4860" y="5"/>
                  <a:pt x="4850" y="4"/>
                  <a:pt x="4840" y="4"/>
                </a:cubicBezTo>
                <a:cubicBezTo>
                  <a:pt x="4836" y="4"/>
                  <a:pt x="4832" y="4"/>
                  <a:pt x="4828" y="3"/>
                </a:cubicBezTo>
                <a:cubicBezTo>
                  <a:pt x="4825" y="3"/>
                  <a:pt x="4821" y="3"/>
                  <a:pt x="4819" y="3"/>
                </a:cubicBezTo>
                <a:cubicBezTo>
                  <a:pt x="4815" y="3"/>
                  <a:pt x="4812" y="3"/>
                  <a:pt x="4807" y="3"/>
                </a:cubicBezTo>
                <a:cubicBezTo>
                  <a:pt x="4803" y="3"/>
                  <a:pt x="4798" y="3"/>
                  <a:pt x="4795" y="3"/>
                </a:cubicBezTo>
                <a:cubicBezTo>
                  <a:pt x="4793" y="3"/>
                  <a:pt x="4792" y="3"/>
                  <a:pt x="4791" y="4"/>
                </a:cubicBezTo>
                <a:cubicBezTo>
                  <a:pt x="4790" y="4"/>
                  <a:pt x="4790" y="4"/>
                  <a:pt x="4789" y="4"/>
                </a:cubicBezTo>
                <a:cubicBezTo>
                  <a:pt x="4788" y="5"/>
                  <a:pt x="4786" y="5"/>
                  <a:pt x="4784" y="5"/>
                </a:cubicBezTo>
                <a:cubicBezTo>
                  <a:pt x="4772" y="5"/>
                  <a:pt x="4761" y="2"/>
                  <a:pt x="4749" y="3"/>
                </a:cubicBezTo>
                <a:cubicBezTo>
                  <a:pt x="4748" y="3"/>
                  <a:pt x="4747" y="3"/>
                  <a:pt x="4745" y="3"/>
                </a:cubicBezTo>
                <a:cubicBezTo>
                  <a:pt x="4741" y="4"/>
                  <a:pt x="4736" y="4"/>
                  <a:pt x="4730" y="4"/>
                </a:cubicBezTo>
                <a:cubicBezTo>
                  <a:pt x="4727" y="4"/>
                  <a:pt x="4724" y="4"/>
                  <a:pt x="4720" y="4"/>
                </a:cubicBezTo>
                <a:cubicBezTo>
                  <a:pt x="4718" y="4"/>
                  <a:pt x="4717" y="5"/>
                  <a:pt x="4715" y="5"/>
                </a:cubicBezTo>
                <a:cubicBezTo>
                  <a:pt x="4713" y="5"/>
                  <a:pt x="4712" y="6"/>
                  <a:pt x="4709" y="6"/>
                </a:cubicBezTo>
                <a:cubicBezTo>
                  <a:pt x="4705" y="6"/>
                  <a:pt x="4701" y="6"/>
                  <a:pt x="4697" y="6"/>
                </a:cubicBezTo>
                <a:cubicBezTo>
                  <a:pt x="4695" y="5"/>
                  <a:pt x="4693" y="5"/>
                  <a:pt x="4690" y="5"/>
                </a:cubicBezTo>
                <a:cubicBezTo>
                  <a:pt x="4687" y="4"/>
                  <a:pt x="4681" y="4"/>
                  <a:pt x="4677" y="4"/>
                </a:cubicBezTo>
                <a:cubicBezTo>
                  <a:pt x="4672" y="4"/>
                  <a:pt x="4668" y="4"/>
                  <a:pt x="4663" y="4"/>
                </a:cubicBezTo>
                <a:cubicBezTo>
                  <a:pt x="4658" y="4"/>
                  <a:pt x="4653" y="4"/>
                  <a:pt x="4648" y="4"/>
                </a:cubicBezTo>
                <a:cubicBezTo>
                  <a:pt x="4645" y="4"/>
                  <a:pt x="4641" y="4"/>
                  <a:pt x="4638" y="4"/>
                </a:cubicBezTo>
                <a:cubicBezTo>
                  <a:pt x="4634" y="5"/>
                  <a:pt x="4635" y="7"/>
                  <a:pt x="4630" y="7"/>
                </a:cubicBezTo>
                <a:cubicBezTo>
                  <a:pt x="4625" y="7"/>
                  <a:pt x="4620" y="6"/>
                  <a:pt x="4616" y="6"/>
                </a:cubicBezTo>
                <a:cubicBezTo>
                  <a:pt x="4611" y="6"/>
                  <a:pt x="4605" y="6"/>
                  <a:pt x="4600" y="6"/>
                </a:cubicBezTo>
                <a:cubicBezTo>
                  <a:pt x="4593" y="6"/>
                  <a:pt x="4586" y="6"/>
                  <a:pt x="4579" y="6"/>
                </a:cubicBezTo>
                <a:cubicBezTo>
                  <a:pt x="4563" y="6"/>
                  <a:pt x="4547" y="6"/>
                  <a:pt x="4531" y="6"/>
                </a:cubicBezTo>
                <a:cubicBezTo>
                  <a:pt x="4527" y="6"/>
                  <a:pt x="4522" y="6"/>
                  <a:pt x="4518" y="6"/>
                </a:cubicBezTo>
                <a:cubicBezTo>
                  <a:pt x="4514" y="6"/>
                  <a:pt x="4511" y="5"/>
                  <a:pt x="4507" y="5"/>
                </a:cubicBezTo>
                <a:cubicBezTo>
                  <a:pt x="4506" y="5"/>
                  <a:pt x="4505" y="5"/>
                  <a:pt x="4504" y="5"/>
                </a:cubicBezTo>
                <a:cubicBezTo>
                  <a:pt x="4503" y="5"/>
                  <a:pt x="4503" y="5"/>
                  <a:pt x="4503" y="5"/>
                </a:cubicBezTo>
                <a:cubicBezTo>
                  <a:pt x="4500" y="6"/>
                  <a:pt x="4496" y="6"/>
                  <a:pt x="4493" y="6"/>
                </a:cubicBezTo>
                <a:cubicBezTo>
                  <a:pt x="4490" y="6"/>
                  <a:pt x="4486" y="6"/>
                  <a:pt x="4482" y="6"/>
                </a:cubicBezTo>
                <a:cubicBezTo>
                  <a:pt x="4476" y="6"/>
                  <a:pt x="4469" y="6"/>
                  <a:pt x="4463" y="6"/>
                </a:cubicBezTo>
                <a:cubicBezTo>
                  <a:pt x="4460" y="6"/>
                  <a:pt x="4453" y="7"/>
                  <a:pt x="4450" y="6"/>
                </a:cubicBezTo>
                <a:cubicBezTo>
                  <a:pt x="4449" y="6"/>
                  <a:pt x="4449" y="5"/>
                  <a:pt x="4448" y="5"/>
                </a:cubicBezTo>
                <a:cubicBezTo>
                  <a:pt x="4446" y="5"/>
                  <a:pt x="4445" y="5"/>
                  <a:pt x="4443" y="5"/>
                </a:cubicBezTo>
                <a:cubicBezTo>
                  <a:pt x="4443" y="5"/>
                  <a:pt x="4444" y="6"/>
                  <a:pt x="4444" y="6"/>
                </a:cubicBezTo>
                <a:cubicBezTo>
                  <a:pt x="4449" y="7"/>
                  <a:pt x="4438" y="9"/>
                  <a:pt x="4434" y="8"/>
                </a:cubicBezTo>
                <a:cubicBezTo>
                  <a:pt x="4431" y="8"/>
                  <a:pt x="4432" y="7"/>
                  <a:pt x="4430" y="6"/>
                </a:cubicBezTo>
                <a:cubicBezTo>
                  <a:pt x="4428" y="6"/>
                  <a:pt x="4426" y="6"/>
                  <a:pt x="4424" y="6"/>
                </a:cubicBezTo>
                <a:cubicBezTo>
                  <a:pt x="4420" y="6"/>
                  <a:pt x="4417" y="6"/>
                  <a:pt x="4414" y="6"/>
                </a:cubicBezTo>
                <a:cubicBezTo>
                  <a:pt x="4411" y="6"/>
                  <a:pt x="4406" y="5"/>
                  <a:pt x="4403" y="5"/>
                </a:cubicBezTo>
                <a:cubicBezTo>
                  <a:pt x="4402" y="5"/>
                  <a:pt x="4402" y="6"/>
                  <a:pt x="4401" y="6"/>
                </a:cubicBezTo>
                <a:cubicBezTo>
                  <a:pt x="4397" y="7"/>
                  <a:pt x="4396" y="6"/>
                  <a:pt x="4393" y="6"/>
                </a:cubicBezTo>
                <a:cubicBezTo>
                  <a:pt x="4390" y="5"/>
                  <a:pt x="4386" y="6"/>
                  <a:pt x="4384" y="7"/>
                </a:cubicBezTo>
                <a:cubicBezTo>
                  <a:pt x="4381" y="7"/>
                  <a:pt x="4380" y="7"/>
                  <a:pt x="4377" y="7"/>
                </a:cubicBezTo>
                <a:cubicBezTo>
                  <a:pt x="4377" y="7"/>
                  <a:pt x="4376" y="7"/>
                  <a:pt x="4375" y="7"/>
                </a:cubicBezTo>
                <a:cubicBezTo>
                  <a:pt x="4374" y="7"/>
                  <a:pt x="4373" y="7"/>
                  <a:pt x="4372" y="6"/>
                </a:cubicBezTo>
                <a:cubicBezTo>
                  <a:pt x="4368" y="6"/>
                  <a:pt x="4360" y="6"/>
                  <a:pt x="4356" y="6"/>
                </a:cubicBezTo>
                <a:cubicBezTo>
                  <a:pt x="4296" y="6"/>
                  <a:pt x="4270" y="7"/>
                  <a:pt x="4267" y="7"/>
                </a:cubicBezTo>
                <a:cubicBezTo>
                  <a:pt x="4266" y="7"/>
                  <a:pt x="4234" y="7"/>
                  <a:pt x="4227" y="7"/>
                </a:cubicBezTo>
                <a:cubicBezTo>
                  <a:pt x="4224" y="7"/>
                  <a:pt x="4219" y="6"/>
                  <a:pt x="4216" y="6"/>
                </a:cubicBezTo>
                <a:cubicBezTo>
                  <a:pt x="4213" y="5"/>
                  <a:pt x="4211" y="5"/>
                  <a:pt x="4208" y="5"/>
                </a:cubicBezTo>
                <a:cubicBezTo>
                  <a:pt x="4205" y="5"/>
                  <a:pt x="4203" y="5"/>
                  <a:pt x="4200" y="5"/>
                </a:cubicBezTo>
                <a:cubicBezTo>
                  <a:pt x="4199" y="5"/>
                  <a:pt x="4197" y="5"/>
                  <a:pt x="4196" y="5"/>
                </a:cubicBezTo>
                <a:cubicBezTo>
                  <a:pt x="4195" y="4"/>
                  <a:pt x="4197" y="4"/>
                  <a:pt x="4195" y="4"/>
                </a:cubicBezTo>
                <a:cubicBezTo>
                  <a:pt x="4194" y="3"/>
                  <a:pt x="4190" y="3"/>
                  <a:pt x="4187" y="3"/>
                </a:cubicBezTo>
                <a:cubicBezTo>
                  <a:pt x="4184" y="3"/>
                  <a:pt x="4179" y="4"/>
                  <a:pt x="4176" y="4"/>
                </a:cubicBezTo>
                <a:cubicBezTo>
                  <a:pt x="4171" y="4"/>
                  <a:pt x="4165" y="5"/>
                  <a:pt x="4158" y="4"/>
                </a:cubicBezTo>
                <a:cubicBezTo>
                  <a:pt x="4158" y="4"/>
                  <a:pt x="4157" y="3"/>
                  <a:pt x="4156" y="3"/>
                </a:cubicBezTo>
                <a:cubicBezTo>
                  <a:pt x="4152" y="3"/>
                  <a:pt x="4151" y="4"/>
                  <a:pt x="4149" y="4"/>
                </a:cubicBezTo>
                <a:cubicBezTo>
                  <a:pt x="4147" y="5"/>
                  <a:pt x="4143" y="5"/>
                  <a:pt x="4140" y="5"/>
                </a:cubicBezTo>
                <a:cubicBezTo>
                  <a:pt x="4134" y="5"/>
                  <a:pt x="4128" y="5"/>
                  <a:pt x="4122" y="5"/>
                </a:cubicBezTo>
                <a:cubicBezTo>
                  <a:pt x="4104" y="5"/>
                  <a:pt x="4086" y="5"/>
                  <a:pt x="4080" y="5"/>
                </a:cubicBezTo>
                <a:cubicBezTo>
                  <a:pt x="4075" y="5"/>
                  <a:pt x="4068" y="5"/>
                  <a:pt x="4064" y="6"/>
                </a:cubicBezTo>
                <a:cubicBezTo>
                  <a:pt x="4061" y="6"/>
                  <a:pt x="4058" y="6"/>
                  <a:pt x="4056" y="6"/>
                </a:cubicBezTo>
                <a:cubicBezTo>
                  <a:pt x="4054" y="7"/>
                  <a:pt x="4053" y="7"/>
                  <a:pt x="4051" y="7"/>
                </a:cubicBezTo>
                <a:cubicBezTo>
                  <a:pt x="4046" y="8"/>
                  <a:pt x="4039" y="7"/>
                  <a:pt x="4034" y="7"/>
                </a:cubicBezTo>
                <a:cubicBezTo>
                  <a:pt x="4031" y="7"/>
                  <a:pt x="4027" y="6"/>
                  <a:pt x="4023" y="6"/>
                </a:cubicBezTo>
                <a:cubicBezTo>
                  <a:pt x="4020" y="6"/>
                  <a:pt x="4018" y="6"/>
                  <a:pt x="4015" y="6"/>
                </a:cubicBezTo>
                <a:cubicBezTo>
                  <a:pt x="4006" y="6"/>
                  <a:pt x="3998" y="6"/>
                  <a:pt x="3989" y="6"/>
                </a:cubicBezTo>
                <a:cubicBezTo>
                  <a:pt x="3971" y="7"/>
                  <a:pt x="3946" y="7"/>
                  <a:pt x="3918" y="7"/>
                </a:cubicBezTo>
                <a:cubicBezTo>
                  <a:pt x="3864" y="7"/>
                  <a:pt x="3806" y="7"/>
                  <a:pt x="3791" y="7"/>
                </a:cubicBezTo>
                <a:cubicBezTo>
                  <a:pt x="3785" y="7"/>
                  <a:pt x="3779" y="7"/>
                  <a:pt x="3773" y="7"/>
                </a:cubicBezTo>
                <a:cubicBezTo>
                  <a:pt x="3769" y="7"/>
                  <a:pt x="3763" y="7"/>
                  <a:pt x="3760" y="8"/>
                </a:cubicBezTo>
                <a:cubicBezTo>
                  <a:pt x="3758" y="8"/>
                  <a:pt x="3757" y="8"/>
                  <a:pt x="3756" y="8"/>
                </a:cubicBezTo>
                <a:cubicBezTo>
                  <a:pt x="3755" y="8"/>
                  <a:pt x="3754" y="8"/>
                  <a:pt x="3752" y="8"/>
                </a:cubicBezTo>
                <a:cubicBezTo>
                  <a:pt x="3752" y="8"/>
                  <a:pt x="3751" y="8"/>
                  <a:pt x="3751" y="8"/>
                </a:cubicBezTo>
                <a:cubicBezTo>
                  <a:pt x="3746" y="8"/>
                  <a:pt x="3741" y="8"/>
                  <a:pt x="3737" y="8"/>
                </a:cubicBezTo>
                <a:cubicBezTo>
                  <a:pt x="3732" y="8"/>
                  <a:pt x="3728" y="8"/>
                  <a:pt x="3723" y="8"/>
                </a:cubicBezTo>
                <a:cubicBezTo>
                  <a:pt x="3718" y="8"/>
                  <a:pt x="3713" y="7"/>
                  <a:pt x="3708" y="8"/>
                </a:cubicBezTo>
                <a:cubicBezTo>
                  <a:pt x="3708" y="8"/>
                  <a:pt x="3707" y="8"/>
                  <a:pt x="3706" y="8"/>
                </a:cubicBezTo>
                <a:cubicBezTo>
                  <a:pt x="3700" y="9"/>
                  <a:pt x="3695" y="9"/>
                  <a:pt x="3687" y="9"/>
                </a:cubicBezTo>
                <a:cubicBezTo>
                  <a:pt x="3687" y="9"/>
                  <a:pt x="3686" y="9"/>
                  <a:pt x="3686" y="9"/>
                </a:cubicBezTo>
                <a:cubicBezTo>
                  <a:pt x="3684" y="8"/>
                  <a:pt x="3685" y="8"/>
                  <a:pt x="3685" y="7"/>
                </a:cubicBezTo>
                <a:cubicBezTo>
                  <a:pt x="3680" y="6"/>
                  <a:pt x="3672" y="7"/>
                  <a:pt x="3666" y="7"/>
                </a:cubicBezTo>
                <a:cubicBezTo>
                  <a:pt x="3659" y="7"/>
                  <a:pt x="3652" y="8"/>
                  <a:pt x="3644" y="8"/>
                </a:cubicBezTo>
                <a:cubicBezTo>
                  <a:pt x="3637" y="7"/>
                  <a:pt x="3630" y="7"/>
                  <a:pt x="3622" y="7"/>
                </a:cubicBezTo>
                <a:cubicBezTo>
                  <a:pt x="3617" y="7"/>
                  <a:pt x="3598" y="7"/>
                  <a:pt x="3579" y="7"/>
                </a:cubicBezTo>
                <a:cubicBezTo>
                  <a:pt x="3573" y="7"/>
                  <a:pt x="3566" y="7"/>
                  <a:pt x="3560" y="7"/>
                </a:cubicBezTo>
                <a:cubicBezTo>
                  <a:pt x="3555" y="8"/>
                  <a:pt x="3549" y="8"/>
                  <a:pt x="3545" y="8"/>
                </a:cubicBezTo>
                <a:cubicBezTo>
                  <a:pt x="3543" y="8"/>
                  <a:pt x="3541" y="9"/>
                  <a:pt x="3539" y="9"/>
                </a:cubicBezTo>
                <a:cubicBezTo>
                  <a:pt x="3536" y="9"/>
                  <a:pt x="3532" y="8"/>
                  <a:pt x="3529" y="8"/>
                </a:cubicBezTo>
                <a:cubicBezTo>
                  <a:pt x="3520" y="7"/>
                  <a:pt x="3510" y="8"/>
                  <a:pt x="3501" y="7"/>
                </a:cubicBezTo>
                <a:cubicBezTo>
                  <a:pt x="3491" y="7"/>
                  <a:pt x="3481" y="7"/>
                  <a:pt x="3471" y="7"/>
                </a:cubicBezTo>
                <a:cubicBezTo>
                  <a:pt x="3460" y="7"/>
                  <a:pt x="3449" y="7"/>
                  <a:pt x="3438" y="7"/>
                </a:cubicBezTo>
                <a:cubicBezTo>
                  <a:pt x="3433" y="7"/>
                  <a:pt x="3429" y="7"/>
                  <a:pt x="3424" y="7"/>
                </a:cubicBezTo>
                <a:cubicBezTo>
                  <a:pt x="3419" y="8"/>
                  <a:pt x="3415" y="7"/>
                  <a:pt x="3410" y="8"/>
                </a:cubicBezTo>
                <a:cubicBezTo>
                  <a:pt x="3404" y="8"/>
                  <a:pt x="3399" y="9"/>
                  <a:pt x="3393" y="9"/>
                </a:cubicBezTo>
                <a:cubicBezTo>
                  <a:pt x="3385" y="9"/>
                  <a:pt x="3377" y="9"/>
                  <a:pt x="3369" y="8"/>
                </a:cubicBezTo>
                <a:cubicBezTo>
                  <a:pt x="3361" y="8"/>
                  <a:pt x="3353" y="8"/>
                  <a:pt x="3345" y="8"/>
                </a:cubicBezTo>
                <a:cubicBezTo>
                  <a:pt x="3326" y="8"/>
                  <a:pt x="3308" y="8"/>
                  <a:pt x="3290" y="8"/>
                </a:cubicBezTo>
                <a:cubicBezTo>
                  <a:pt x="3276" y="8"/>
                  <a:pt x="3263" y="8"/>
                  <a:pt x="3250" y="8"/>
                </a:cubicBezTo>
                <a:cubicBezTo>
                  <a:pt x="3238" y="8"/>
                  <a:pt x="3227" y="8"/>
                  <a:pt x="3216" y="8"/>
                </a:cubicBezTo>
                <a:cubicBezTo>
                  <a:pt x="3213" y="9"/>
                  <a:pt x="3209" y="9"/>
                  <a:pt x="3206" y="9"/>
                </a:cubicBezTo>
                <a:cubicBezTo>
                  <a:pt x="3205" y="9"/>
                  <a:pt x="3204" y="9"/>
                  <a:pt x="3202" y="9"/>
                </a:cubicBezTo>
                <a:cubicBezTo>
                  <a:pt x="3200" y="9"/>
                  <a:pt x="3198" y="9"/>
                  <a:pt x="3196" y="9"/>
                </a:cubicBezTo>
                <a:cubicBezTo>
                  <a:pt x="3195" y="10"/>
                  <a:pt x="3193" y="9"/>
                  <a:pt x="3193" y="9"/>
                </a:cubicBezTo>
                <a:cubicBezTo>
                  <a:pt x="3191" y="8"/>
                  <a:pt x="3180" y="8"/>
                  <a:pt x="3176" y="8"/>
                </a:cubicBezTo>
                <a:cubicBezTo>
                  <a:pt x="3173" y="7"/>
                  <a:pt x="3163" y="7"/>
                  <a:pt x="3160" y="7"/>
                </a:cubicBezTo>
                <a:cubicBezTo>
                  <a:pt x="3160" y="8"/>
                  <a:pt x="3160" y="8"/>
                  <a:pt x="3159" y="8"/>
                </a:cubicBezTo>
                <a:cubicBezTo>
                  <a:pt x="3159" y="8"/>
                  <a:pt x="3158" y="8"/>
                  <a:pt x="3157" y="8"/>
                </a:cubicBezTo>
                <a:cubicBezTo>
                  <a:pt x="3152" y="8"/>
                  <a:pt x="3147" y="8"/>
                  <a:pt x="3142" y="8"/>
                </a:cubicBezTo>
                <a:cubicBezTo>
                  <a:pt x="3133" y="8"/>
                  <a:pt x="3117" y="8"/>
                  <a:pt x="3108" y="8"/>
                </a:cubicBezTo>
                <a:cubicBezTo>
                  <a:pt x="3092" y="8"/>
                  <a:pt x="3051" y="8"/>
                  <a:pt x="3027" y="8"/>
                </a:cubicBezTo>
                <a:cubicBezTo>
                  <a:pt x="3022" y="8"/>
                  <a:pt x="3011" y="8"/>
                  <a:pt x="3001" y="8"/>
                </a:cubicBezTo>
                <a:cubicBezTo>
                  <a:pt x="2994" y="8"/>
                  <a:pt x="2987" y="9"/>
                  <a:pt x="2980" y="8"/>
                </a:cubicBezTo>
                <a:cubicBezTo>
                  <a:pt x="2977" y="7"/>
                  <a:pt x="2976" y="7"/>
                  <a:pt x="2973" y="7"/>
                </a:cubicBezTo>
                <a:cubicBezTo>
                  <a:pt x="2969" y="7"/>
                  <a:pt x="2965" y="7"/>
                  <a:pt x="2962" y="7"/>
                </a:cubicBezTo>
                <a:cubicBezTo>
                  <a:pt x="2955" y="8"/>
                  <a:pt x="2944" y="8"/>
                  <a:pt x="2938" y="7"/>
                </a:cubicBezTo>
                <a:cubicBezTo>
                  <a:pt x="2934" y="7"/>
                  <a:pt x="2931" y="7"/>
                  <a:pt x="2928" y="7"/>
                </a:cubicBezTo>
                <a:cubicBezTo>
                  <a:pt x="2927" y="6"/>
                  <a:pt x="2925" y="6"/>
                  <a:pt x="2924" y="7"/>
                </a:cubicBezTo>
                <a:cubicBezTo>
                  <a:pt x="2923" y="7"/>
                  <a:pt x="2923" y="7"/>
                  <a:pt x="2922" y="7"/>
                </a:cubicBezTo>
                <a:cubicBezTo>
                  <a:pt x="2919" y="8"/>
                  <a:pt x="2915" y="7"/>
                  <a:pt x="2911" y="7"/>
                </a:cubicBezTo>
                <a:cubicBezTo>
                  <a:pt x="2906" y="7"/>
                  <a:pt x="2901" y="7"/>
                  <a:pt x="2896" y="7"/>
                </a:cubicBezTo>
                <a:cubicBezTo>
                  <a:pt x="2886" y="7"/>
                  <a:pt x="2876" y="7"/>
                  <a:pt x="2866" y="7"/>
                </a:cubicBezTo>
                <a:cubicBezTo>
                  <a:pt x="2848" y="7"/>
                  <a:pt x="2830" y="7"/>
                  <a:pt x="2813" y="7"/>
                </a:cubicBezTo>
                <a:cubicBezTo>
                  <a:pt x="2810" y="8"/>
                  <a:pt x="2807" y="8"/>
                  <a:pt x="2804" y="8"/>
                </a:cubicBezTo>
                <a:cubicBezTo>
                  <a:pt x="2803" y="9"/>
                  <a:pt x="2801" y="9"/>
                  <a:pt x="2799" y="9"/>
                </a:cubicBezTo>
                <a:cubicBezTo>
                  <a:pt x="2798" y="9"/>
                  <a:pt x="2797" y="9"/>
                  <a:pt x="2797" y="9"/>
                </a:cubicBezTo>
                <a:cubicBezTo>
                  <a:pt x="2793" y="9"/>
                  <a:pt x="2791" y="9"/>
                  <a:pt x="2788" y="8"/>
                </a:cubicBezTo>
                <a:cubicBezTo>
                  <a:pt x="2784" y="8"/>
                  <a:pt x="2780" y="8"/>
                  <a:pt x="2776" y="8"/>
                </a:cubicBezTo>
                <a:cubicBezTo>
                  <a:pt x="2772" y="7"/>
                  <a:pt x="2763" y="7"/>
                  <a:pt x="2761" y="8"/>
                </a:cubicBezTo>
                <a:cubicBezTo>
                  <a:pt x="2760" y="8"/>
                  <a:pt x="2760" y="9"/>
                  <a:pt x="2759" y="9"/>
                </a:cubicBezTo>
                <a:cubicBezTo>
                  <a:pt x="2759" y="9"/>
                  <a:pt x="2757" y="9"/>
                  <a:pt x="2756" y="9"/>
                </a:cubicBezTo>
                <a:cubicBezTo>
                  <a:pt x="2755" y="9"/>
                  <a:pt x="2754" y="9"/>
                  <a:pt x="2751" y="8"/>
                </a:cubicBezTo>
                <a:cubicBezTo>
                  <a:pt x="2750" y="7"/>
                  <a:pt x="2742" y="7"/>
                  <a:pt x="2738" y="7"/>
                </a:cubicBezTo>
                <a:cubicBezTo>
                  <a:pt x="2732" y="7"/>
                  <a:pt x="2726" y="7"/>
                  <a:pt x="2720" y="6"/>
                </a:cubicBezTo>
                <a:cubicBezTo>
                  <a:pt x="2720" y="6"/>
                  <a:pt x="2719" y="6"/>
                  <a:pt x="2718" y="6"/>
                </a:cubicBezTo>
                <a:cubicBezTo>
                  <a:pt x="2716" y="6"/>
                  <a:pt x="2714" y="6"/>
                  <a:pt x="2713" y="6"/>
                </a:cubicBezTo>
                <a:cubicBezTo>
                  <a:pt x="2712" y="7"/>
                  <a:pt x="2710" y="7"/>
                  <a:pt x="2710" y="7"/>
                </a:cubicBezTo>
                <a:cubicBezTo>
                  <a:pt x="2709" y="7"/>
                  <a:pt x="2707" y="7"/>
                  <a:pt x="2706" y="7"/>
                </a:cubicBezTo>
                <a:cubicBezTo>
                  <a:pt x="2705" y="8"/>
                  <a:pt x="2703" y="7"/>
                  <a:pt x="2702" y="7"/>
                </a:cubicBezTo>
                <a:cubicBezTo>
                  <a:pt x="2702" y="7"/>
                  <a:pt x="2702" y="6"/>
                  <a:pt x="2702" y="6"/>
                </a:cubicBezTo>
                <a:cubicBezTo>
                  <a:pt x="2700" y="6"/>
                  <a:pt x="2699" y="5"/>
                  <a:pt x="2698" y="5"/>
                </a:cubicBezTo>
                <a:cubicBezTo>
                  <a:pt x="2693" y="5"/>
                  <a:pt x="2691" y="7"/>
                  <a:pt x="2687" y="7"/>
                </a:cubicBezTo>
                <a:cubicBezTo>
                  <a:pt x="2684" y="7"/>
                  <a:pt x="2682" y="7"/>
                  <a:pt x="2679" y="7"/>
                </a:cubicBezTo>
                <a:cubicBezTo>
                  <a:pt x="2674" y="7"/>
                  <a:pt x="2669" y="7"/>
                  <a:pt x="2664" y="7"/>
                </a:cubicBezTo>
                <a:cubicBezTo>
                  <a:pt x="2650" y="7"/>
                  <a:pt x="2633" y="7"/>
                  <a:pt x="2626" y="7"/>
                </a:cubicBezTo>
                <a:cubicBezTo>
                  <a:pt x="2623" y="6"/>
                  <a:pt x="2618" y="6"/>
                  <a:pt x="2615" y="6"/>
                </a:cubicBezTo>
                <a:cubicBezTo>
                  <a:pt x="2615" y="6"/>
                  <a:pt x="2614" y="6"/>
                  <a:pt x="2614" y="5"/>
                </a:cubicBezTo>
                <a:cubicBezTo>
                  <a:pt x="2613" y="5"/>
                  <a:pt x="2611" y="4"/>
                  <a:pt x="2608" y="5"/>
                </a:cubicBezTo>
                <a:cubicBezTo>
                  <a:pt x="2606" y="5"/>
                  <a:pt x="2609" y="6"/>
                  <a:pt x="2605" y="7"/>
                </a:cubicBezTo>
                <a:cubicBezTo>
                  <a:pt x="2601" y="7"/>
                  <a:pt x="2594" y="7"/>
                  <a:pt x="2590" y="6"/>
                </a:cubicBezTo>
                <a:cubicBezTo>
                  <a:pt x="2577" y="6"/>
                  <a:pt x="2564" y="6"/>
                  <a:pt x="2551" y="6"/>
                </a:cubicBezTo>
                <a:cubicBezTo>
                  <a:pt x="2546" y="6"/>
                  <a:pt x="2541" y="6"/>
                  <a:pt x="2536" y="6"/>
                </a:cubicBezTo>
                <a:cubicBezTo>
                  <a:pt x="2534" y="6"/>
                  <a:pt x="2531" y="6"/>
                  <a:pt x="2529" y="6"/>
                </a:cubicBezTo>
                <a:cubicBezTo>
                  <a:pt x="2528" y="6"/>
                  <a:pt x="2526" y="5"/>
                  <a:pt x="2525" y="5"/>
                </a:cubicBezTo>
                <a:cubicBezTo>
                  <a:pt x="2524" y="5"/>
                  <a:pt x="2522" y="5"/>
                  <a:pt x="2521" y="5"/>
                </a:cubicBezTo>
                <a:cubicBezTo>
                  <a:pt x="2520" y="5"/>
                  <a:pt x="2518" y="5"/>
                  <a:pt x="2517" y="5"/>
                </a:cubicBezTo>
                <a:cubicBezTo>
                  <a:pt x="2514" y="5"/>
                  <a:pt x="2515" y="6"/>
                  <a:pt x="2514" y="6"/>
                </a:cubicBezTo>
                <a:cubicBezTo>
                  <a:pt x="2513" y="7"/>
                  <a:pt x="2510" y="7"/>
                  <a:pt x="2508" y="7"/>
                </a:cubicBezTo>
                <a:cubicBezTo>
                  <a:pt x="2501" y="8"/>
                  <a:pt x="2493" y="8"/>
                  <a:pt x="2486" y="8"/>
                </a:cubicBezTo>
                <a:cubicBezTo>
                  <a:pt x="2481" y="8"/>
                  <a:pt x="2476" y="8"/>
                  <a:pt x="2471" y="8"/>
                </a:cubicBezTo>
                <a:cubicBezTo>
                  <a:pt x="2468" y="7"/>
                  <a:pt x="2464" y="7"/>
                  <a:pt x="2460" y="7"/>
                </a:cubicBezTo>
                <a:cubicBezTo>
                  <a:pt x="2458" y="6"/>
                  <a:pt x="2455" y="6"/>
                  <a:pt x="2454" y="6"/>
                </a:cubicBezTo>
                <a:cubicBezTo>
                  <a:pt x="2453" y="6"/>
                  <a:pt x="2453" y="6"/>
                  <a:pt x="2453" y="6"/>
                </a:cubicBezTo>
                <a:cubicBezTo>
                  <a:pt x="2451" y="5"/>
                  <a:pt x="2450" y="5"/>
                  <a:pt x="2449" y="6"/>
                </a:cubicBezTo>
                <a:cubicBezTo>
                  <a:pt x="2448" y="6"/>
                  <a:pt x="2447" y="6"/>
                  <a:pt x="2447" y="6"/>
                </a:cubicBezTo>
                <a:cubicBezTo>
                  <a:pt x="2447" y="6"/>
                  <a:pt x="2446" y="6"/>
                  <a:pt x="2445" y="6"/>
                </a:cubicBezTo>
                <a:cubicBezTo>
                  <a:pt x="2440" y="6"/>
                  <a:pt x="2434" y="5"/>
                  <a:pt x="2429" y="6"/>
                </a:cubicBezTo>
                <a:cubicBezTo>
                  <a:pt x="2428" y="6"/>
                  <a:pt x="2428" y="6"/>
                  <a:pt x="2426" y="6"/>
                </a:cubicBezTo>
                <a:cubicBezTo>
                  <a:pt x="2422" y="5"/>
                  <a:pt x="2417" y="6"/>
                  <a:pt x="2414" y="6"/>
                </a:cubicBezTo>
                <a:cubicBezTo>
                  <a:pt x="2411" y="7"/>
                  <a:pt x="2408" y="7"/>
                  <a:pt x="2405" y="7"/>
                </a:cubicBezTo>
                <a:cubicBezTo>
                  <a:pt x="2402" y="8"/>
                  <a:pt x="2400" y="8"/>
                  <a:pt x="2398" y="9"/>
                </a:cubicBezTo>
                <a:cubicBezTo>
                  <a:pt x="2394" y="9"/>
                  <a:pt x="2391" y="9"/>
                  <a:pt x="2388" y="8"/>
                </a:cubicBezTo>
                <a:cubicBezTo>
                  <a:pt x="2384" y="8"/>
                  <a:pt x="2381" y="7"/>
                  <a:pt x="2378" y="7"/>
                </a:cubicBezTo>
                <a:cubicBezTo>
                  <a:pt x="2370" y="7"/>
                  <a:pt x="2363" y="6"/>
                  <a:pt x="2356" y="6"/>
                </a:cubicBezTo>
                <a:cubicBezTo>
                  <a:pt x="2350" y="6"/>
                  <a:pt x="2344" y="6"/>
                  <a:pt x="2338" y="6"/>
                </a:cubicBezTo>
                <a:cubicBezTo>
                  <a:pt x="2334" y="5"/>
                  <a:pt x="2329" y="5"/>
                  <a:pt x="2326" y="5"/>
                </a:cubicBezTo>
                <a:cubicBezTo>
                  <a:pt x="2325" y="5"/>
                  <a:pt x="2324" y="4"/>
                  <a:pt x="2323" y="4"/>
                </a:cubicBezTo>
                <a:cubicBezTo>
                  <a:pt x="2322" y="4"/>
                  <a:pt x="2321" y="4"/>
                  <a:pt x="2321" y="5"/>
                </a:cubicBezTo>
                <a:cubicBezTo>
                  <a:pt x="2320" y="5"/>
                  <a:pt x="2319" y="5"/>
                  <a:pt x="2318" y="5"/>
                </a:cubicBezTo>
                <a:cubicBezTo>
                  <a:pt x="2318" y="5"/>
                  <a:pt x="2317" y="5"/>
                  <a:pt x="2317" y="5"/>
                </a:cubicBezTo>
                <a:cubicBezTo>
                  <a:pt x="2317" y="4"/>
                  <a:pt x="2315" y="5"/>
                  <a:pt x="2315" y="5"/>
                </a:cubicBezTo>
                <a:cubicBezTo>
                  <a:pt x="2314" y="5"/>
                  <a:pt x="2313" y="5"/>
                  <a:pt x="2312" y="5"/>
                </a:cubicBezTo>
                <a:cubicBezTo>
                  <a:pt x="2311" y="5"/>
                  <a:pt x="2310" y="5"/>
                  <a:pt x="2309" y="5"/>
                </a:cubicBezTo>
                <a:cubicBezTo>
                  <a:pt x="2308" y="5"/>
                  <a:pt x="2307" y="5"/>
                  <a:pt x="2302" y="5"/>
                </a:cubicBezTo>
                <a:cubicBezTo>
                  <a:pt x="2287" y="5"/>
                  <a:pt x="2273" y="6"/>
                  <a:pt x="2258" y="6"/>
                </a:cubicBezTo>
                <a:cubicBezTo>
                  <a:pt x="2252" y="6"/>
                  <a:pt x="2246" y="6"/>
                  <a:pt x="2240" y="6"/>
                </a:cubicBezTo>
                <a:cubicBezTo>
                  <a:pt x="2235" y="6"/>
                  <a:pt x="2233" y="6"/>
                  <a:pt x="2229" y="5"/>
                </a:cubicBezTo>
                <a:cubicBezTo>
                  <a:pt x="2227" y="5"/>
                  <a:pt x="2226" y="4"/>
                  <a:pt x="2224" y="4"/>
                </a:cubicBezTo>
                <a:lnTo>
                  <a:pt x="2212" y="3"/>
                </a:lnTo>
                <a:cubicBezTo>
                  <a:pt x="2209" y="3"/>
                  <a:pt x="2203" y="3"/>
                  <a:pt x="2200" y="3"/>
                </a:cubicBezTo>
                <a:cubicBezTo>
                  <a:pt x="2200" y="5"/>
                  <a:pt x="2191" y="4"/>
                  <a:pt x="2189" y="3"/>
                </a:cubicBezTo>
                <a:cubicBezTo>
                  <a:pt x="2182" y="3"/>
                  <a:pt x="2175" y="3"/>
                  <a:pt x="2168" y="3"/>
                </a:cubicBezTo>
                <a:cubicBezTo>
                  <a:pt x="2165" y="3"/>
                  <a:pt x="2162" y="3"/>
                  <a:pt x="2159" y="3"/>
                </a:cubicBezTo>
                <a:cubicBezTo>
                  <a:pt x="2156" y="3"/>
                  <a:pt x="2154" y="4"/>
                  <a:pt x="2152" y="4"/>
                </a:cubicBezTo>
                <a:cubicBezTo>
                  <a:pt x="2150" y="4"/>
                  <a:pt x="2147" y="5"/>
                  <a:pt x="2144" y="4"/>
                </a:cubicBezTo>
                <a:cubicBezTo>
                  <a:pt x="2144" y="4"/>
                  <a:pt x="2143" y="4"/>
                  <a:pt x="2142" y="4"/>
                </a:cubicBezTo>
                <a:cubicBezTo>
                  <a:pt x="2144" y="3"/>
                  <a:pt x="2139" y="3"/>
                  <a:pt x="2137" y="3"/>
                </a:cubicBezTo>
                <a:cubicBezTo>
                  <a:pt x="2135" y="3"/>
                  <a:pt x="2133" y="3"/>
                  <a:pt x="2131" y="3"/>
                </a:cubicBezTo>
                <a:cubicBezTo>
                  <a:pt x="2129" y="3"/>
                  <a:pt x="2123" y="3"/>
                  <a:pt x="2122" y="3"/>
                </a:cubicBezTo>
                <a:cubicBezTo>
                  <a:pt x="2121" y="3"/>
                  <a:pt x="2121" y="4"/>
                  <a:pt x="2121" y="4"/>
                </a:cubicBezTo>
                <a:cubicBezTo>
                  <a:pt x="2121" y="4"/>
                  <a:pt x="2120" y="4"/>
                  <a:pt x="2119" y="5"/>
                </a:cubicBezTo>
                <a:cubicBezTo>
                  <a:pt x="2116" y="5"/>
                  <a:pt x="2112" y="5"/>
                  <a:pt x="2108" y="5"/>
                </a:cubicBezTo>
                <a:cubicBezTo>
                  <a:pt x="2103" y="5"/>
                  <a:pt x="2098" y="5"/>
                  <a:pt x="2093" y="4"/>
                </a:cubicBezTo>
                <a:cubicBezTo>
                  <a:pt x="2080" y="4"/>
                  <a:pt x="2048" y="3"/>
                  <a:pt x="2024" y="3"/>
                </a:cubicBezTo>
                <a:cubicBezTo>
                  <a:pt x="2015" y="3"/>
                  <a:pt x="2007" y="3"/>
                  <a:pt x="1999" y="3"/>
                </a:cubicBezTo>
                <a:cubicBezTo>
                  <a:pt x="1992" y="3"/>
                  <a:pt x="1984" y="4"/>
                  <a:pt x="1977" y="3"/>
                </a:cubicBezTo>
                <a:cubicBezTo>
                  <a:pt x="1974" y="3"/>
                  <a:pt x="1972" y="3"/>
                  <a:pt x="1969" y="3"/>
                </a:cubicBezTo>
                <a:cubicBezTo>
                  <a:pt x="1968" y="3"/>
                  <a:pt x="1968" y="3"/>
                  <a:pt x="1967" y="3"/>
                </a:cubicBezTo>
                <a:cubicBezTo>
                  <a:pt x="1966" y="3"/>
                  <a:pt x="1964" y="3"/>
                  <a:pt x="1963" y="3"/>
                </a:cubicBezTo>
                <a:cubicBezTo>
                  <a:pt x="1962" y="3"/>
                  <a:pt x="1962" y="3"/>
                  <a:pt x="1961" y="4"/>
                </a:cubicBezTo>
                <a:cubicBezTo>
                  <a:pt x="1961" y="4"/>
                  <a:pt x="1961" y="4"/>
                  <a:pt x="1958" y="4"/>
                </a:cubicBezTo>
                <a:cubicBezTo>
                  <a:pt x="1955" y="4"/>
                  <a:pt x="1952" y="4"/>
                  <a:pt x="1949" y="4"/>
                </a:cubicBezTo>
                <a:cubicBezTo>
                  <a:pt x="1944" y="3"/>
                  <a:pt x="1934" y="3"/>
                  <a:pt x="1927" y="3"/>
                </a:cubicBezTo>
                <a:cubicBezTo>
                  <a:pt x="1924" y="3"/>
                  <a:pt x="1921" y="3"/>
                  <a:pt x="1918" y="3"/>
                </a:cubicBezTo>
                <a:cubicBezTo>
                  <a:pt x="1916" y="3"/>
                  <a:pt x="1913" y="3"/>
                  <a:pt x="1910" y="3"/>
                </a:cubicBezTo>
                <a:cubicBezTo>
                  <a:pt x="1910" y="3"/>
                  <a:pt x="1909" y="3"/>
                  <a:pt x="1908" y="3"/>
                </a:cubicBezTo>
                <a:cubicBezTo>
                  <a:pt x="1908" y="3"/>
                  <a:pt x="1908" y="3"/>
                  <a:pt x="1910" y="3"/>
                </a:cubicBezTo>
                <a:cubicBezTo>
                  <a:pt x="1910" y="3"/>
                  <a:pt x="1910" y="4"/>
                  <a:pt x="1909" y="4"/>
                </a:cubicBezTo>
                <a:cubicBezTo>
                  <a:pt x="1908" y="4"/>
                  <a:pt x="1907" y="4"/>
                  <a:pt x="1906" y="4"/>
                </a:cubicBezTo>
                <a:cubicBezTo>
                  <a:pt x="1901" y="4"/>
                  <a:pt x="1896" y="4"/>
                  <a:pt x="1891" y="4"/>
                </a:cubicBezTo>
                <a:cubicBezTo>
                  <a:pt x="1880" y="3"/>
                  <a:pt x="1866" y="3"/>
                  <a:pt x="1859" y="3"/>
                </a:cubicBezTo>
                <a:cubicBezTo>
                  <a:pt x="1852" y="4"/>
                  <a:pt x="1834" y="4"/>
                  <a:pt x="1820" y="4"/>
                </a:cubicBezTo>
                <a:cubicBezTo>
                  <a:pt x="1806" y="4"/>
                  <a:pt x="1770" y="4"/>
                  <a:pt x="1740" y="3"/>
                </a:cubicBezTo>
                <a:cubicBezTo>
                  <a:pt x="1730" y="3"/>
                  <a:pt x="1720" y="3"/>
                  <a:pt x="1711" y="3"/>
                </a:cubicBezTo>
                <a:cubicBezTo>
                  <a:pt x="1705" y="3"/>
                  <a:pt x="1700" y="3"/>
                  <a:pt x="1695" y="3"/>
                </a:cubicBezTo>
                <a:cubicBezTo>
                  <a:pt x="1693" y="3"/>
                  <a:pt x="1686" y="4"/>
                  <a:pt x="1685" y="3"/>
                </a:cubicBezTo>
                <a:cubicBezTo>
                  <a:pt x="1685" y="3"/>
                  <a:pt x="1684" y="3"/>
                  <a:pt x="1683" y="3"/>
                </a:cubicBezTo>
                <a:cubicBezTo>
                  <a:pt x="1681" y="2"/>
                  <a:pt x="1673" y="2"/>
                  <a:pt x="1669" y="3"/>
                </a:cubicBezTo>
                <a:cubicBezTo>
                  <a:pt x="1664" y="3"/>
                  <a:pt x="1660" y="3"/>
                  <a:pt x="1656" y="2"/>
                </a:cubicBezTo>
                <a:cubicBezTo>
                  <a:pt x="1655" y="2"/>
                  <a:pt x="1653" y="2"/>
                  <a:pt x="1652" y="2"/>
                </a:cubicBezTo>
                <a:cubicBezTo>
                  <a:pt x="1650" y="2"/>
                  <a:pt x="1650" y="2"/>
                  <a:pt x="1649" y="2"/>
                </a:cubicBezTo>
                <a:cubicBezTo>
                  <a:pt x="1648" y="2"/>
                  <a:pt x="1647" y="2"/>
                  <a:pt x="1646" y="2"/>
                </a:cubicBezTo>
                <a:cubicBezTo>
                  <a:pt x="1645" y="2"/>
                  <a:pt x="1645" y="2"/>
                  <a:pt x="1643" y="3"/>
                </a:cubicBezTo>
                <a:cubicBezTo>
                  <a:pt x="1641" y="3"/>
                  <a:pt x="1634" y="3"/>
                  <a:pt x="1629" y="3"/>
                </a:cubicBezTo>
                <a:cubicBezTo>
                  <a:pt x="1624" y="3"/>
                  <a:pt x="1613" y="3"/>
                  <a:pt x="1605" y="3"/>
                </a:cubicBezTo>
                <a:cubicBezTo>
                  <a:pt x="1602" y="4"/>
                  <a:pt x="1599" y="4"/>
                  <a:pt x="1597" y="4"/>
                </a:cubicBezTo>
                <a:cubicBezTo>
                  <a:pt x="1594" y="4"/>
                  <a:pt x="1593" y="4"/>
                  <a:pt x="1590" y="4"/>
                </a:cubicBezTo>
                <a:cubicBezTo>
                  <a:pt x="1588" y="4"/>
                  <a:pt x="1588" y="3"/>
                  <a:pt x="1587" y="3"/>
                </a:cubicBezTo>
                <a:cubicBezTo>
                  <a:pt x="1583" y="3"/>
                  <a:pt x="1578" y="3"/>
                  <a:pt x="1574" y="3"/>
                </a:cubicBezTo>
                <a:cubicBezTo>
                  <a:pt x="1571" y="3"/>
                  <a:pt x="1567" y="3"/>
                  <a:pt x="1564" y="3"/>
                </a:cubicBezTo>
                <a:cubicBezTo>
                  <a:pt x="1561" y="3"/>
                  <a:pt x="1558" y="3"/>
                  <a:pt x="1555" y="3"/>
                </a:cubicBezTo>
                <a:cubicBezTo>
                  <a:pt x="1553" y="3"/>
                  <a:pt x="1551" y="2"/>
                  <a:pt x="1548" y="2"/>
                </a:cubicBezTo>
                <a:cubicBezTo>
                  <a:pt x="1546" y="2"/>
                  <a:pt x="1545" y="3"/>
                  <a:pt x="1544" y="3"/>
                </a:cubicBezTo>
                <a:cubicBezTo>
                  <a:pt x="1540" y="3"/>
                  <a:pt x="1536" y="3"/>
                  <a:pt x="1533" y="3"/>
                </a:cubicBezTo>
                <a:cubicBezTo>
                  <a:pt x="1527" y="3"/>
                  <a:pt x="1519" y="3"/>
                  <a:pt x="1516" y="3"/>
                </a:cubicBezTo>
                <a:cubicBezTo>
                  <a:pt x="1509" y="4"/>
                  <a:pt x="1504" y="4"/>
                  <a:pt x="1496" y="4"/>
                </a:cubicBezTo>
                <a:cubicBezTo>
                  <a:pt x="1488" y="4"/>
                  <a:pt x="1481" y="3"/>
                  <a:pt x="1474" y="3"/>
                </a:cubicBezTo>
                <a:cubicBezTo>
                  <a:pt x="1471" y="3"/>
                  <a:pt x="1467" y="3"/>
                  <a:pt x="1464" y="3"/>
                </a:cubicBezTo>
                <a:cubicBezTo>
                  <a:pt x="1463" y="3"/>
                  <a:pt x="1461" y="3"/>
                  <a:pt x="1461" y="3"/>
                </a:cubicBezTo>
                <a:cubicBezTo>
                  <a:pt x="1459" y="3"/>
                  <a:pt x="1460" y="4"/>
                  <a:pt x="1458" y="4"/>
                </a:cubicBezTo>
                <a:cubicBezTo>
                  <a:pt x="1457" y="4"/>
                  <a:pt x="1455" y="4"/>
                  <a:pt x="1454" y="4"/>
                </a:cubicBezTo>
                <a:cubicBezTo>
                  <a:pt x="1452" y="4"/>
                  <a:pt x="1448" y="4"/>
                  <a:pt x="1446" y="4"/>
                </a:cubicBezTo>
                <a:cubicBezTo>
                  <a:pt x="1444" y="3"/>
                  <a:pt x="1444" y="3"/>
                  <a:pt x="1443" y="3"/>
                </a:cubicBezTo>
                <a:cubicBezTo>
                  <a:pt x="1442" y="3"/>
                  <a:pt x="1440" y="3"/>
                  <a:pt x="1439" y="2"/>
                </a:cubicBezTo>
                <a:cubicBezTo>
                  <a:pt x="1438" y="2"/>
                  <a:pt x="1436" y="1"/>
                  <a:pt x="1435" y="1"/>
                </a:cubicBezTo>
                <a:cubicBezTo>
                  <a:pt x="1432" y="1"/>
                  <a:pt x="1431" y="2"/>
                  <a:pt x="1428" y="2"/>
                </a:cubicBezTo>
                <a:cubicBezTo>
                  <a:pt x="1428" y="2"/>
                  <a:pt x="1428" y="2"/>
                  <a:pt x="1428" y="2"/>
                </a:cubicBezTo>
                <a:cubicBezTo>
                  <a:pt x="1428" y="2"/>
                  <a:pt x="1428" y="1"/>
                  <a:pt x="1428" y="1"/>
                </a:cubicBezTo>
                <a:cubicBezTo>
                  <a:pt x="1428" y="1"/>
                  <a:pt x="1427" y="1"/>
                  <a:pt x="1427" y="1"/>
                </a:cubicBezTo>
                <a:cubicBezTo>
                  <a:pt x="1425" y="0"/>
                  <a:pt x="1423" y="0"/>
                  <a:pt x="1422" y="1"/>
                </a:cubicBezTo>
                <a:cubicBezTo>
                  <a:pt x="1421" y="1"/>
                  <a:pt x="1421" y="1"/>
                  <a:pt x="1421" y="1"/>
                </a:cubicBezTo>
                <a:cubicBezTo>
                  <a:pt x="1421" y="2"/>
                  <a:pt x="1421" y="2"/>
                  <a:pt x="1421" y="2"/>
                </a:cubicBezTo>
                <a:cubicBezTo>
                  <a:pt x="1422" y="2"/>
                  <a:pt x="1423" y="3"/>
                  <a:pt x="1424" y="3"/>
                </a:cubicBezTo>
                <a:cubicBezTo>
                  <a:pt x="1425" y="3"/>
                  <a:pt x="1423" y="3"/>
                  <a:pt x="1421" y="4"/>
                </a:cubicBezTo>
                <a:cubicBezTo>
                  <a:pt x="1420" y="4"/>
                  <a:pt x="1419" y="4"/>
                  <a:pt x="1417" y="4"/>
                </a:cubicBezTo>
                <a:cubicBezTo>
                  <a:pt x="1416" y="4"/>
                  <a:pt x="1415" y="3"/>
                  <a:pt x="1413" y="3"/>
                </a:cubicBezTo>
                <a:cubicBezTo>
                  <a:pt x="1411" y="3"/>
                  <a:pt x="1410" y="2"/>
                  <a:pt x="1407" y="2"/>
                </a:cubicBezTo>
                <a:cubicBezTo>
                  <a:pt x="1405" y="2"/>
                  <a:pt x="1402" y="2"/>
                  <a:pt x="1400" y="2"/>
                </a:cubicBezTo>
                <a:cubicBezTo>
                  <a:pt x="1395" y="2"/>
                  <a:pt x="1382" y="1"/>
                  <a:pt x="1371" y="1"/>
                </a:cubicBezTo>
                <a:cubicBezTo>
                  <a:pt x="1367" y="1"/>
                  <a:pt x="1364" y="1"/>
                  <a:pt x="1360" y="1"/>
                </a:cubicBezTo>
                <a:cubicBezTo>
                  <a:pt x="1359" y="1"/>
                  <a:pt x="1354" y="1"/>
                  <a:pt x="1352" y="1"/>
                </a:cubicBezTo>
                <a:cubicBezTo>
                  <a:pt x="1351" y="1"/>
                  <a:pt x="1350" y="2"/>
                  <a:pt x="1351" y="2"/>
                </a:cubicBezTo>
                <a:cubicBezTo>
                  <a:pt x="1348" y="2"/>
                  <a:pt x="1345" y="2"/>
                  <a:pt x="1342" y="2"/>
                </a:cubicBezTo>
                <a:cubicBezTo>
                  <a:pt x="1339" y="3"/>
                  <a:pt x="1335" y="3"/>
                  <a:pt x="1332" y="3"/>
                </a:cubicBezTo>
                <a:cubicBezTo>
                  <a:pt x="1327" y="3"/>
                  <a:pt x="1320" y="3"/>
                  <a:pt x="1316" y="3"/>
                </a:cubicBezTo>
                <a:cubicBezTo>
                  <a:pt x="1315" y="3"/>
                  <a:pt x="1313" y="2"/>
                  <a:pt x="1312" y="2"/>
                </a:cubicBezTo>
                <a:cubicBezTo>
                  <a:pt x="1311" y="2"/>
                  <a:pt x="1309" y="1"/>
                  <a:pt x="1309" y="1"/>
                </a:cubicBezTo>
                <a:cubicBezTo>
                  <a:pt x="1310" y="1"/>
                  <a:pt x="1311" y="1"/>
                  <a:pt x="1309" y="0"/>
                </a:cubicBezTo>
                <a:cubicBezTo>
                  <a:pt x="1305" y="0"/>
                  <a:pt x="1301" y="0"/>
                  <a:pt x="1297" y="0"/>
                </a:cubicBezTo>
                <a:cubicBezTo>
                  <a:pt x="1295" y="0"/>
                  <a:pt x="1292" y="1"/>
                  <a:pt x="1289" y="1"/>
                </a:cubicBezTo>
                <a:cubicBezTo>
                  <a:pt x="1287" y="1"/>
                  <a:pt x="1285" y="1"/>
                  <a:pt x="1284" y="1"/>
                </a:cubicBezTo>
                <a:cubicBezTo>
                  <a:pt x="1283" y="1"/>
                  <a:pt x="1283" y="1"/>
                  <a:pt x="1282" y="1"/>
                </a:cubicBezTo>
                <a:cubicBezTo>
                  <a:pt x="1280" y="2"/>
                  <a:pt x="1277" y="2"/>
                  <a:pt x="1275" y="3"/>
                </a:cubicBezTo>
                <a:cubicBezTo>
                  <a:pt x="1274" y="3"/>
                  <a:pt x="1273" y="3"/>
                  <a:pt x="1272" y="3"/>
                </a:cubicBezTo>
                <a:cubicBezTo>
                  <a:pt x="1272" y="3"/>
                  <a:pt x="1269" y="3"/>
                  <a:pt x="1269" y="3"/>
                </a:cubicBezTo>
                <a:cubicBezTo>
                  <a:pt x="1268" y="3"/>
                  <a:pt x="1268" y="3"/>
                  <a:pt x="1266" y="2"/>
                </a:cubicBezTo>
                <a:cubicBezTo>
                  <a:pt x="1266" y="2"/>
                  <a:pt x="1264" y="2"/>
                  <a:pt x="1263" y="2"/>
                </a:cubicBezTo>
                <a:cubicBezTo>
                  <a:pt x="1256" y="2"/>
                  <a:pt x="1250" y="2"/>
                  <a:pt x="1243" y="2"/>
                </a:cubicBezTo>
                <a:cubicBezTo>
                  <a:pt x="1240" y="2"/>
                  <a:pt x="1233" y="3"/>
                  <a:pt x="1231" y="2"/>
                </a:cubicBezTo>
                <a:cubicBezTo>
                  <a:pt x="1229" y="2"/>
                  <a:pt x="1217" y="2"/>
                  <a:pt x="1202" y="2"/>
                </a:cubicBezTo>
                <a:cubicBezTo>
                  <a:pt x="1198" y="2"/>
                  <a:pt x="1193" y="2"/>
                  <a:pt x="1188" y="2"/>
                </a:cubicBezTo>
                <a:cubicBezTo>
                  <a:pt x="1184" y="2"/>
                  <a:pt x="1179" y="1"/>
                  <a:pt x="1176" y="2"/>
                </a:cubicBezTo>
                <a:cubicBezTo>
                  <a:pt x="1175" y="2"/>
                  <a:pt x="1173" y="2"/>
                  <a:pt x="1171" y="3"/>
                </a:cubicBezTo>
                <a:cubicBezTo>
                  <a:pt x="1169" y="3"/>
                  <a:pt x="1165" y="3"/>
                  <a:pt x="1161" y="3"/>
                </a:cubicBezTo>
                <a:cubicBezTo>
                  <a:pt x="1160" y="3"/>
                  <a:pt x="1157" y="3"/>
                  <a:pt x="1156" y="3"/>
                </a:cubicBezTo>
                <a:cubicBezTo>
                  <a:pt x="1155" y="3"/>
                  <a:pt x="1154" y="3"/>
                  <a:pt x="1152" y="2"/>
                </a:cubicBezTo>
                <a:cubicBezTo>
                  <a:pt x="1150" y="2"/>
                  <a:pt x="1147" y="2"/>
                  <a:pt x="1145" y="2"/>
                </a:cubicBezTo>
                <a:cubicBezTo>
                  <a:pt x="1142" y="2"/>
                  <a:pt x="1138" y="2"/>
                  <a:pt x="1135" y="2"/>
                </a:cubicBezTo>
                <a:cubicBezTo>
                  <a:pt x="1128" y="2"/>
                  <a:pt x="1120" y="2"/>
                  <a:pt x="1115" y="3"/>
                </a:cubicBezTo>
                <a:cubicBezTo>
                  <a:pt x="1112" y="3"/>
                  <a:pt x="1106" y="4"/>
                  <a:pt x="1102" y="3"/>
                </a:cubicBezTo>
                <a:cubicBezTo>
                  <a:pt x="1099" y="3"/>
                  <a:pt x="1095" y="3"/>
                  <a:pt x="1093" y="3"/>
                </a:cubicBezTo>
                <a:cubicBezTo>
                  <a:pt x="1092" y="3"/>
                  <a:pt x="1091" y="2"/>
                  <a:pt x="1088" y="2"/>
                </a:cubicBezTo>
                <a:cubicBezTo>
                  <a:pt x="1084" y="2"/>
                  <a:pt x="1079" y="2"/>
                  <a:pt x="1075" y="2"/>
                </a:cubicBezTo>
                <a:cubicBezTo>
                  <a:pt x="1067" y="2"/>
                  <a:pt x="1056" y="2"/>
                  <a:pt x="1052" y="1"/>
                </a:cubicBezTo>
                <a:cubicBezTo>
                  <a:pt x="1048" y="1"/>
                  <a:pt x="1034" y="1"/>
                  <a:pt x="1020" y="1"/>
                </a:cubicBezTo>
                <a:cubicBezTo>
                  <a:pt x="1013" y="1"/>
                  <a:pt x="1006" y="1"/>
                  <a:pt x="998" y="1"/>
                </a:cubicBezTo>
                <a:cubicBezTo>
                  <a:pt x="998" y="1"/>
                  <a:pt x="997" y="1"/>
                  <a:pt x="997" y="1"/>
                </a:cubicBezTo>
                <a:cubicBezTo>
                  <a:pt x="996" y="1"/>
                  <a:pt x="996" y="2"/>
                  <a:pt x="997" y="2"/>
                </a:cubicBezTo>
                <a:cubicBezTo>
                  <a:pt x="997" y="2"/>
                  <a:pt x="996" y="2"/>
                  <a:pt x="995" y="2"/>
                </a:cubicBezTo>
                <a:cubicBezTo>
                  <a:pt x="994" y="2"/>
                  <a:pt x="993" y="2"/>
                  <a:pt x="992" y="2"/>
                </a:cubicBezTo>
                <a:cubicBezTo>
                  <a:pt x="988" y="3"/>
                  <a:pt x="986" y="3"/>
                  <a:pt x="982" y="3"/>
                </a:cubicBezTo>
                <a:cubicBezTo>
                  <a:pt x="980" y="3"/>
                  <a:pt x="977" y="3"/>
                  <a:pt x="975" y="3"/>
                </a:cubicBezTo>
                <a:cubicBezTo>
                  <a:pt x="970" y="3"/>
                  <a:pt x="965" y="3"/>
                  <a:pt x="959" y="3"/>
                </a:cubicBezTo>
                <a:cubicBezTo>
                  <a:pt x="952" y="3"/>
                  <a:pt x="944" y="3"/>
                  <a:pt x="937" y="3"/>
                </a:cubicBezTo>
                <a:cubicBezTo>
                  <a:pt x="933" y="3"/>
                  <a:pt x="930" y="3"/>
                  <a:pt x="926" y="3"/>
                </a:cubicBezTo>
                <a:cubicBezTo>
                  <a:pt x="925" y="3"/>
                  <a:pt x="922" y="3"/>
                  <a:pt x="921" y="3"/>
                </a:cubicBezTo>
                <a:cubicBezTo>
                  <a:pt x="920" y="3"/>
                  <a:pt x="921" y="3"/>
                  <a:pt x="921" y="3"/>
                </a:cubicBezTo>
                <a:cubicBezTo>
                  <a:pt x="920" y="2"/>
                  <a:pt x="919" y="2"/>
                  <a:pt x="917" y="2"/>
                </a:cubicBezTo>
                <a:cubicBezTo>
                  <a:pt x="915" y="2"/>
                  <a:pt x="912" y="2"/>
                  <a:pt x="909" y="2"/>
                </a:cubicBezTo>
                <a:cubicBezTo>
                  <a:pt x="902" y="2"/>
                  <a:pt x="892" y="2"/>
                  <a:pt x="886" y="2"/>
                </a:cubicBezTo>
                <a:cubicBezTo>
                  <a:pt x="882" y="2"/>
                  <a:pt x="876" y="1"/>
                  <a:pt x="873" y="2"/>
                </a:cubicBezTo>
                <a:cubicBezTo>
                  <a:pt x="872" y="2"/>
                  <a:pt x="871" y="2"/>
                  <a:pt x="871" y="3"/>
                </a:cubicBezTo>
                <a:cubicBezTo>
                  <a:pt x="871" y="3"/>
                  <a:pt x="871" y="3"/>
                  <a:pt x="871" y="3"/>
                </a:cubicBezTo>
                <a:cubicBezTo>
                  <a:pt x="870" y="3"/>
                  <a:pt x="869" y="3"/>
                  <a:pt x="868" y="3"/>
                </a:cubicBezTo>
                <a:cubicBezTo>
                  <a:pt x="860" y="3"/>
                  <a:pt x="852" y="3"/>
                  <a:pt x="844" y="3"/>
                </a:cubicBezTo>
                <a:cubicBezTo>
                  <a:pt x="838" y="3"/>
                  <a:pt x="832" y="3"/>
                  <a:pt x="826" y="3"/>
                </a:cubicBezTo>
                <a:cubicBezTo>
                  <a:pt x="824" y="3"/>
                  <a:pt x="822" y="3"/>
                  <a:pt x="821" y="3"/>
                </a:cubicBezTo>
                <a:cubicBezTo>
                  <a:pt x="821" y="3"/>
                  <a:pt x="822" y="3"/>
                  <a:pt x="820" y="3"/>
                </a:cubicBezTo>
                <a:cubicBezTo>
                  <a:pt x="820" y="3"/>
                  <a:pt x="819" y="3"/>
                  <a:pt x="818" y="3"/>
                </a:cubicBezTo>
                <a:cubicBezTo>
                  <a:pt x="814" y="3"/>
                  <a:pt x="806" y="4"/>
                  <a:pt x="802" y="3"/>
                </a:cubicBezTo>
                <a:cubicBezTo>
                  <a:pt x="802" y="3"/>
                  <a:pt x="802" y="3"/>
                  <a:pt x="802" y="3"/>
                </a:cubicBezTo>
                <a:cubicBezTo>
                  <a:pt x="802" y="3"/>
                  <a:pt x="802" y="3"/>
                  <a:pt x="802" y="2"/>
                </a:cubicBezTo>
                <a:cubicBezTo>
                  <a:pt x="802" y="2"/>
                  <a:pt x="801" y="1"/>
                  <a:pt x="800" y="1"/>
                </a:cubicBezTo>
                <a:cubicBezTo>
                  <a:pt x="799" y="1"/>
                  <a:pt x="797" y="1"/>
                  <a:pt x="796" y="1"/>
                </a:cubicBezTo>
                <a:cubicBezTo>
                  <a:pt x="794" y="1"/>
                  <a:pt x="793" y="1"/>
                  <a:pt x="792" y="1"/>
                </a:cubicBezTo>
                <a:cubicBezTo>
                  <a:pt x="791" y="1"/>
                  <a:pt x="791" y="1"/>
                  <a:pt x="790" y="2"/>
                </a:cubicBezTo>
                <a:cubicBezTo>
                  <a:pt x="788" y="2"/>
                  <a:pt x="787" y="0"/>
                  <a:pt x="785" y="0"/>
                </a:cubicBezTo>
                <a:cubicBezTo>
                  <a:pt x="781" y="0"/>
                  <a:pt x="776" y="0"/>
                  <a:pt x="772" y="0"/>
                </a:cubicBezTo>
                <a:cubicBezTo>
                  <a:pt x="761" y="0"/>
                  <a:pt x="751" y="0"/>
                  <a:pt x="740" y="0"/>
                </a:cubicBezTo>
                <a:cubicBezTo>
                  <a:pt x="731" y="0"/>
                  <a:pt x="723" y="0"/>
                  <a:pt x="714" y="0"/>
                </a:cubicBezTo>
                <a:cubicBezTo>
                  <a:pt x="710" y="0"/>
                  <a:pt x="705" y="0"/>
                  <a:pt x="701" y="0"/>
                </a:cubicBezTo>
                <a:cubicBezTo>
                  <a:pt x="698" y="0"/>
                  <a:pt x="693" y="0"/>
                  <a:pt x="692" y="1"/>
                </a:cubicBezTo>
                <a:cubicBezTo>
                  <a:pt x="691" y="2"/>
                  <a:pt x="690" y="2"/>
                  <a:pt x="687" y="2"/>
                </a:cubicBezTo>
                <a:cubicBezTo>
                  <a:pt x="685" y="2"/>
                  <a:pt x="681" y="3"/>
                  <a:pt x="679" y="3"/>
                </a:cubicBezTo>
                <a:cubicBezTo>
                  <a:pt x="676" y="4"/>
                  <a:pt x="675" y="4"/>
                  <a:pt x="669" y="4"/>
                </a:cubicBezTo>
                <a:cubicBezTo>
                  <a:pt x="665" y="4"/>
                  <a:pt x="661" y="4"/>
                  <a:pt x="657" y="4"/>
                </a:cubicBezTo>
                <a:cubicBezTo>
                  <a:pt x="652" y="4"/>
                  <a:pt x="645" y="4"/>
                  <a:pt x="639" y="4"/>
                </a:cubicBezTo>
                <a:cubicBezTo>
                  <a:pt x="638" y="4"/>
                  <a:pt x="637" y="4"/>
                  <a:pt x="636" y="4"/>
                </a:cubicBezTo>
                <a:cubicBezTo>
                  <a:pt x="634" y="4"/>
                  <a:pt x="634" y="4"/>
                  <a:pt x="633" y="4"/>
                </a:cubicBezTo>
                <a:cubicBezTo>
                  <a:pt x="632" y="4"/>
                  <a:pt x="631" y="4"/>
                  <a:pt x="630" y="4"/>
                </a:cubicBezTo>
                <a:cubicBezTo>
                  <a:pt x="627" y="4"/>
                  <a:pt x="624" y="4"/>
                  <a:pt x="621" y="4"/>
                </a:cubicBezTo>
                <a:cubicBezTo>
                  <a:pt x="618" y="4"/>
                  <a:pt x="614" y="4"/>
                  <a:pt x="610" y="4"/>
                </a:cubicBezTo>
                <a:cubicBezTo>
                  <a:pt x="610" y="4"/>
                  <a:pt x="609" y="4"/>
                  <a:pt x="608" y="4"/>
                </a:cubicBezTo>
                <a:cubicBezTo>
                  <a:pt x="608" y="3"/>
                  <a:pt x="608" y="3"/>
                  <a:pt x="606" y="3"/>
                </a:cubicBezTo>
                <a:cubicBezTo>
                  <a:pt x="605" y="3"/>
                  <a:pt x="603" y="3"/>
                  <a:pt x="602" y="3"/>
                </a:cubicBezTo>
                <a:cubicBezTo>
                  <a:pt x="600" y="3"/>
                  <a:pt x="599" y="3"/>
                  <a:pt x="597" y="3"/>
                </a:cubicBezTo>
                <a:cubicBezTo>
                  <a:pt x="597" y="3"/>
                  <a:pt x="596" y="3"/>
                  <a:pt x="596" y="3"/>
                </a:cubicBezTo>
                <a:cubicBezTo>
                  <a:pt x="595" y="3"/>
                  <a:pt x="596" y="3"/>
                  <a:pt x="596" y="3"/>
                </a:cubicBezTo>
                <a:cubicBezTo>
                  <a:pt x="600" y="5"/>
                  <a:pt x="594" y="4"/>
                  <a:pt x="590" y="4"/>
                </a:cubicBezTo>
                <a:cubicBezTo>
                  <a:pt x="586" y="5"/>
                  <a:pt x="582" y="4"/>
                  <a:pt x="579" y="3"/>
                </a:cubicBezTo>
                <a:cubicBezTo>
                  <a:pt x="576" y="3"/>
                  <a:pt x="572" y="3"/>
                  <a:pt x="568" y="3"/>
                </a:cubicBezTo>
                <a:cubicBezTo>
                  <a:pt x="566" y="3"/>
                  <a:pt x="563" y="3"/>
                  <a:pt x="561" y="3"/>
                </a:cubicBezTo>
                <a:cubicBezTo>
                  <a:pt x="561" y="3"/>
                  <a:pt x="560" y="3"/>
                  <a:pt x="560" y="3"/>
                </a:cubicBezTo>
                <a:cubicBezTo>
                  <a:pt x="560" y="3"/>
                  <a:pt x="560" y="4"/>
                  <a:pt x="560" y="4"/>
                </a:cubicBezTo>
                <a:cubicBezTo>
                  <a:pt x="560" y="4"/>
                  <a:pt x="559" y="4"/>
                  <a:pt x="558" y="4"/>
                </a:cubicBezTo>
                <a:cubicBezTo>
                  <a:pt x="552" y="5"/>
                  <a:pt x="544" y="5"/>
                  <a:pt x="537" y="5"/>
                </a:cubicBezTo>
                <a:cubicBezTo>
                  <a:pt x="530" y="5"/>
                  <a:pt x="523" y="5"/>
                  <a:pt x="516" y="5"/>
                </a:cubicBezTo>
                <a:cubicBezTo>
                  <a:pt x="507" y="5"/>
                  <a:pt x="498" y="5"/>
                  <a:pt x="489" y="5"/>
                </a:cubicBezTo>
                <a:cubicBezTo>
                  <a:pt x="485" y="5"/>
                  <a:pt x="481" y="5"/>
                  <a:pt x="476" y="5"/>
                </a:cubicBezTo>
                <a:cubicBezTo>
                  <a:pt x="475" y="5"/>
                  <a:pt x="474" y="5"/>
                  <a:pt x="473" y="5"/>
                </a:cubicBezTo>
                <a:cubicBezTo>
                  <a:pt x="473" y="4"/>
                  <a:pt x="474" y="4"/>
                  <a:pt x="472" y="3"/>
                </a:cubicBezTo>
                <a:cubicBezTo>
                  <a:pt x="469" y="3"/>
                  <a:pt x="459" y="4"/>
                  <a:pt x="457" y="3"/>
                </a:cubicBezTo>
                <a:cubicBezTo>
                  <a:pt x="457" y="3"/>
                  <a:pt x="458" y="3"/>
                  <a:pt x="458" y="3"/>
                </a:cubicBezTo>
                <a:cubicBezTo>
                  <a:pt x="458" y="3"/>
                  <a:pt x="457" y="3"/>
                  <a:pt x="457" y="3"/>
                </a:cubicBezTo>
                <a:cubicBezTo>
                  <a:pt x="456" y="3"/>
                  <a:pt x="455" y="3"/>
                  <a:pt x="454" y="3"/>
                </a:cubicBezTo>
                <a:cubicBezTo>
                  <a:pt x="439" y="3"/>
                  <a:pt x="425" y="3"/>
                  <a:pt x="410" y="3"/>
                </a:cubicBezTo>
                <a:cubicBezTo>
                  <a:pt x="407" y="3"/>
                  <a:pt x="404" y="3"/>
                  <a:pt x="400" y="3"/>
                </a:cubicBezTo>
                <a:cubicBezTo>
                  <a:pt x="396" y="4"/>
                  <a:pt x="395" y="4"/>
                  <a:pt x="392" y="5"/>
                </a:cubicBezTo>
                <a:cubicBezTo>
                  <a:pt x="389" y="6"/>
                  <a:pt x="387" y="6"/>
                  <a:pt x="383" y="7"/>
                </a:cubicBezTo>
                <a:cubicBezTo>
                  <a:pt x="380" y="7"/>
                  <a:pt x="377" y="7"/>
                  <a:pt x="374" y="7"/>
                </a:cubicBezTo>
                <a:cubicBezTo>
                  <a:pt x="371" y="7"/>
                  <a:pt x="368" y="7"/>
                  <a:pt x="365" y="7"/>
                </a:cubicBezTo>
                <a:cubicBezTo>
                  <a:pt x="365" y="7"/>
                  <a:pt x="364" y="7"/>
                  <a:pt x="364" y="6"/>
                </a:cubicBezTo>
                <a:cubicBezTo>
                  <a:pt x="364" y="6"/>
                  <a:pt x="363" y="5"/>
                  <a:pt x="362" y="5"/>
                </a:cubicBezTo>
                <a:cubicBezTo>
                  <a:pt x="359" y="5"/>
                  <a:pt x="356" y="5"/>
                  <a:pt x="353" y="5"/>
                </a:cubicBezTo>
                <a:cubicBezTo>
                  <a:pt x="349" y="5"/>
                  <a:pt x="348" y="5"/>
                  <a:pt x="345" y="4"/>
                </a:cubicBezTo>
                <a:cubicBezTo>
                  <a:pt x="343" y="3"/>
                  <a:pt x="340" y="3"/>
                  <a:pt x="336" y="3"/>
                </a:cubicBezTo>
                <a:cubicBezTo>
                  <a:pt x="333" y="3"/>
                  <a:pt x="329" y="3"/>
                  <a:pt x="326" y="3"/>
                </a:cubicBezTo>
                <a:cubicBezTo>
                  <a:pt x="322" y="3"/>
                  <a:pt x="316" y="3"/>
                  <a:pt x="312" y="3"/>
                </a:cubicBezTo>
                <a:cubicBezTo>
                  <a:pt x="310" y="3"/>
                  <a:pt x="309" y="4"/>
                  <a:pt x="307" y="4"/>
                </a:cubicBezTo>
                <a:cubicBezTo>
                  <a:pt x="304" y="5"/>
                  <a:pt x="301" y="4"/>
                  <a:pt x="299" y="4"/>
                </a:cubicBezTo>
                <a:cubicBezTo>
                  <a:pt x="294" y="4"/>
                  <a:pt x="278" y="4"/>
                  <a:pt x="263" y="4"/>
                </a:cubicBezTo>
                <a:cubicBezTo>
                  <a:pt x="257" y="4"/>
                  <a:pt x="252" y="4"/>
                  <a:pt x="246" y="4"/>
                </a:cubicBezTo>
                <a:cubicBezTo>
                  <a:pt x="217" y="5"/>
                  <a:pt x="190" y="3"/>
                  <a:pt x="160" y="3"/>
                </a:cubicBezTo>
                <a:cubicBezTo>
                  <a:pt x="160" y="3"/>
                  <a:pt x="160" y="3"/>
                  <a:pt x="160" y="3"/>
                </a:cubicBezTo>
                <a:cubicBezTo>
                  <a:pt x="160" y="3"/>
                  <a:pt x="159" y="3"/>
                  <a:pt x="159" y="3"/>
                </a:cubicBezTo>
                <a:cubicBezTo>
                  <a:pt x="159" y="3"/>
                  <a:pt x="158" y="3"/>
                  <a:pt x="158" y="3"/>
                </a:cubicBezTo>
                <a:cubicBezTo>
                  <a:pt x="158" y="3"/>
                  <a:pt x="158" y="3"/>
                  <a:pt x="157" y="3"/>
                </a:cubicBezTo>
                <a:cubicBezTo>
                  <a:pt x="157" y="3"/>
                  <a:pt x="157" y="3"/>
                  <a:pt x="157" y="3"/>
                </a:cubicBezTo>
                <a:cubicBezTo>
                  <a:pt x="146" y="3"/>
                  <a:pt x="134" y="3"/>
                  <a:pt x="121" y="3"/>
                </a:cubicBezTo>
                <a:cubicBezTo>
                  <a:pt x="121" y="3"/>
                  <a:pt x="121" y="3"/>
                  <a:pt x="121" y="3"/>
                </a:cubicBezTo>
                <a:cubicBezTo>
                  <a:pt x="120" y="3"/>
                  <a:pt x="120" y="3"/>
                  <a:pt x="120" y="3"/>
                </a:cubicBezTo>
                <a:cubicBezTo>
                  <a:pt x="119" y="3"/>
                  <a:pt x="117" y="3"/>
                  <a:pt x="116" y="3"/>
                </a:cubicBezTo>
                <a:cubicBezTo>
                  <a:pt x="111" y="3"/>
                  <a:pt x="107" y="3"/>
                  <a:pt x="102" y="3"/>
                </a:cubicBezTo>
                <a:cubicBezTo>
                  <a:pt x="84" y="3"/>
                  <a:pt x="59" y="3"/>
                  <a:pt x="37" y="3"/>
                </a:cubicBezTo>
                <a:cubicBezTo>
                  <a:pt x="34" y="3"/>
                  <a:pt x="30" y="3"/>
                  <a:pt x="27" y="3"/>
                </a:cubicBezTo>
                <a:cubicBezTo>
                  <a:pt x="19" y="3"/>
                  <a:pt x="7" y="1"/>
                  <a:pt x="1" y="7"/>
                </a:cubicBezTo>
                <a:cubicBezTo>
                  <a:pt x="0" y="9"/>
                  <a:pt x="0" y="11"/>
                  <a:pt x="0" y="14"/>
                </a:cubicBezTo>
                <a:cubicBezTo>
                  <a:pt x="0" y="14"/>
                  <a:pt x="0" y="15"/>
                  <a:pt x="0" y="15"/>
                </a:cubicBezTo>
                <a:cubicBezTo>
                  <a:pt x="0" y="19"/>
                  <a:pt x="0" y="24"/>
                  <a:pt x="0" y="27"/>
                </a:cubicBezTo>
                <a:cubicBezTo>
                  <a:pt x="0" y="31"/>
                  <a:pt x="2" y="34"/>
                  <a:pt x="3" y="38"/>
                </a:cubicBezTo>
                <a:cubicBezTo>
                  <a:pt x="3" y="39"/>
                  <a:pt x="3" y="43"/>
                  <a:pt x="4" y="44"/>
                </a:cubicBezTo>
                <a:cubicBezTo>
                  <a:pt x="5" y="46"/>
                  <a:pt x="6" y="46"/>
                  <a:pt x="7" y="47"/>
                </a:cubicBezTo>
                <a:cubicBezTo>
                  <a:pt x="12" y="49"/>
                  <a:pt x="14" y="50"/>
                  <a:pt x="19" y="51"/>
                </a:cubicBezTo>
                <a:cubicBezTo>
                  <a:pt x="24" y="52"/>
                  <a:pt x="29" y="53"/>
                  <a:pt x="34" y="53"/>
                </a:cubicBezTo>
                <a:cubicBezTo>
                  <a:pt x="38" y="54"/>
                  <a:pt x="43" y="54"/>
                  <a:pt x="48" y="54"/>
                </a:cubicBezTo>
                <a:cubicBezTo>
                  <a:pt x="49" y="54"/>
                  <a:pt x="50" y="54"/>
                  <a:pt x="52" y="53"/>
                </a:cubicBezTo>
                <a:cubicBezTo>
                  <a:pt x="53" y="53"/>
                  <a:pt x="54" y="53"/>
                  <a:pt x="55" y="53"/>
                </a:cubicBezTo>
                <a:cubicBezTo>
                  <a:pt x="56" y="53"/>
                  <a:pt x="58" y="54"/>
                  <a:pt x="59" y="54"/>
                </a:cubicBezTo>
                <a:cubicBezTo>
                  <a:pt x="61" y="54"/>
                  <a:pt x="62" y="54"/>
                  <a:pt x="63" y="54"/>
                </a:cubicBezTo>
                <a:cubicBezTo>
                  <a:pt x="66" y="54"/>
                  <a:pt x="68" y="55"/>
                  <a:pt x="70" y="55"/>
                </a:cubicBezTo>
                <a:cubicBezTo>
                  <a:pt x="72" y="55"/>
                  <a:pt x="74" y="54"/>
                  <a:pt x="76" y="54"/>
                </a:cubicBezTo>
                <a:cubicBezTo>
                  <a:pt x="78" y="54"/>
                  <a:pt x="81" y="54"/>
                  <a:pt x="83" y="54"/>
                </a:cubicBezTo>
                <a:cubicBezTo>
                  <a:pt x="84" y="54"/>
                  <a:pt x="86" y="53"/>
                  <a:pt x="87" y="53"/>
                </a:cubicBezTo>
                <a:cubicBezTo>
                  <a:pt x="89" y="52"/>
                  <a:pt x="91" y="52"/>
                  <a:pt x="93" y="53"/>
                </a:cubicBezTo>
                <a:cubicBezTo>
                  <a:pt x="98" y="53"/>
                  <a:pt x="104" y="53"/>
                  <a:pt x="111" y="53"/>
                </a:cubicBezTo>
                <a:cubicBezTo>
                  <a:pt x="117" y="53"/>
                  <a:pt x="123" y="53"/>
                  <a:pt x="129" y="53"/>
                </a:cubicBezTo>
                <a:cubicBezTo>
                  <a:pt x="146" y="54"/>
                  <a:pt x="164" y="54"/>
                  <a:pt x="181" y="54"/>
                </a:cubicBezTo>
                <a:cubicBezTo>
                  <a:pt x="187" y="54"/>
                  <a:pt x="192" y="54"/>
                  <a:pt x="198" y="53"/>
                </a:cubicBezTo>
                <a:cubicBezTo>
                  <a:pt x="201" y="53"/>
                  <a:pt x="205" y="53"/>
                  <a:pt x="209" y="53"/>
                </a:cubicBezTo>
                <a:cubicBezTo>
                  <a:pt x="214" y="53"/>
                  <a:pt x="220" y="54"/>
                  <a:pt x="226" y="54"/>
                </a:cubicBezTo>
                <a:cubicBezTo>
                  <a:pt x="231" y="54"/>
                  <a:pt x="236" y="54"/>
                  <a:pt x="241" y="54"/>
                </a:cubicBezTo>
                <a:cubicBezTo>
                  <a:pt x="249" y="54"/>
                  <a:pt x="257" y="55"/>
                  <a:pt x="264" y="55"/>
                </a:cubicBezTo>
                <a:cubicBezTo>
                  <a:pt x="272" y="55"/>
                  <a:pt x="280" y="54"/>
                  <a:pt x="288" y="54"/>
                </a:cubicBezTo>
                <a:cubicBezTo>
                  <a:pt x="297" y="54"/>
                  <a:pt x="306" y="54"/>
                  <a:pt x="315" y="54"/>
                </a:cubicBezTo>
                <a:cubicBezTo>
                  <a:pt x="321" y="54"/>
                  <a:pt x="325" y="53"/>
                  <a:pt x="330" y="53"/>
                </a:cubicBezTo>
                <a:cubicBezTo>
                  <a:pt x="337" y="52"/>
                  <a:pt x="345" y="52"/>
                  <a:pt x="352" y="53"/>
                </a:cubicBezTo>
                <a:cubicBezTo>
                  <a:pt x="490" y="54"/>
                  <a:pt x="829" y="54"/>
                  <a:pt x="894" y="53"/>
                </a:cubicBezTo>
                <a:cubicBezTo>
                  <a:pt x="908" y="53"/>
                  <a:pt x="939" y="53"/>
                  <a:pt x="962" y="53"/>
                </a:cubicBezTo>
                <a:cubicBezTo>
                  <a:pt x="985" y="53"/>
                  <a:pt x="1020" y="53"/>
                  <a:pt x="1041" y="52"/>
                </a:cubicBezTo>
                <a:cubicBezTo>
                  <a:pt x="1151" y="52"/>
                  <a:pt x="1195" y="51"/>
                  <a:pt x="1306" y="51"/>
                </a:cubicBezTo>
                <a:cubicBezTo>
                  <a:pt x="1314" y="51"/>
                  <a:pt x="1323" y="51"/>
                  <a:pt x="1332" y="51"/>
                </a:cubicBezTo>
                <a:cubicBezTo>
                  <a:pt x="1339" y="51"/>
                  <a:pt x="1350" y="51"/>
                  <a:pt x="1356" y="51"/>
                </a:cubicBezTo>
                <a:cubicBezTo>
                  <a:pt x="1357" y="50"/>
                  <a:pt x="1357" y="50"/>
                  <a:pt x="1358" y="50"/>
                </a:cubicBezTo>
                <a:cubicBezTo>
                  <a:pt x="1361" y="50"/>
                  <a:pt x="1363" y="51"/>
                  <a:pt x="1366" y="51"/>
                </a:cubicBezTo>
                <a:cubicBezTo>
                  <a:pt x="1368" y="52"/>
                  <a:pt x="1371" y="52"/>
                  <a:pt x="1375" y="52"/>
                </a:cubicBezTo>
                <a:cubicBezTo>
                  <a:pt x="1376" y="52"/>
                  <a:pt x="1376" y="51"/>
                  <a:pt x="1377" y="51"/>
                </a:cubicBezTo>
                <a:cubicBezTo>
                  <a:pt x="1380" y="50"/>
                  <a:pt x="1385" y="50"/>
                  <a:pt x="1390" y="50"/>
                </a:cubicBezTo>
                <a:cubicBezTo>
                  <a:pt x="1396" y="50"/>
                  <a:pt x="1403" y="50"/>
                  <a:pt x="1410" y="50"/>
                </a:cubicBezTo>
                <a:cubicBezTo>
                  <a:pt x="1424" y="50"/>
                  <a:pt x="1439" y="50"/>
                  <a:pt x="1454" y="50"/>
                </a:cubicBezTo>
                <a:cubicBezTo>
                  <a:pt x="1468" y="50"/>
                  <a:pt x="1483" y="50"/>
                  <a:pt x="1497" y="50"/>
                </a:cubicBezTo>
                <a:cubicBezTo>
                  <a:pt x="1503" y="50"/>
                  <a:pt x="1509" y="50"/>
                  <a:pt x="1514" y="50"/>
                </a:cubicBezTo>
                <a:cubicBezTo>
                  <a:pt x="1520" y="50"/>
                  <a:pt x="1528" y="50"/>
                  <a:pt x="1533" y="51"/>
                </a:cubicBezTo>
                <a:cubicBezTo>
                  <a:pt x="1537" y="52"/>
                  <a:pt x="1541" y="53"/>
                  <a:pt x="1546" y="51"/>
                </a:cubicBezTo>
                <a:cubicBezTo>
                  <a:pt x="1547" y="51"/>
                  <a:pt x="1547" y="51"/>
                  <a:pt x="1548" y="51"/>
                </a:cubicBezTo>
                <a:cubicBezTo>
                  <a:pt x="1549" y="51"/>
                  <a:pt x="1550" y="51"/>
                  <a:pt x="1551" y="51"/>
                </a:cubicBezTo>
                <a:cubicBezTo>
                  <a:pt x="1565" y="50"/>
                  <a:pt x="1582" y="50"/>
                  <a:pt x="1596" y="50"/>
                </a:cubicBezTo>
                <a:cubicBezTo>
                  <a:pt x="1613" y="50"/>
                  <a:pt x="1629" y="50"/>
                  <a:pt x="1645" y="50"/>
                </a:cubicBezTo>
                <a:cubicBezTo>
                  <a:pt x="1678" y="50"/>
                  <a:pt x="1711" y="51"/>
                  <a:pt x="1744" y="51"/>
                </a:cubicBezTo>
                <a:cubicBezTo>
                  <a:pt x="1771" y="51"/>
                  <a:pt x="1799" y="51"/>
                  <a:pt x="1826" y="51"/>
                </a:cubicBezTo>
                <a:cubicBezTo>
                  <a:pt x="1891" y="51"/>
                  <a:pt x="1957" y="51"/>
                  <a:pt x="2022" y="51"/>
                </a:cubicBezTo>
                <a:cubicBezTo>
                  <a:pt x="2036" y="51"/>
                  <a:pt x="2051" y="51"/>
                  <a:pt x="2065" y="51"/>
                </a:cubicBezTo>
                <a:cubicBezTo>
                  <a:pt x="2072" y="51"/>
                  <a:pt x="2079" y="51"/>
                  <a:pt x="2087" y="51"/>
                </a:cubicBezTo>
                <a:cubicBezTo>
                  <a:pt x="2092" y="51"/>
                  <a:pt x="2098" y="52"/>
                  <a:pt x="2103" y="51"/>
                </a:cubicBezTo>
                <a:cubicBezTo>
                  <a:pt x="2108" y="50"/>
                  <a:pt x="2108" y="51"/>
                  <a:pt x="2112" y="51"/>
                </a:cubicBezTo>
                <a:cubicBezTo>
                  <a:pt x="2113" y="51"/>
                  <a:pt x="2122" y="52"/>
                  <a:pt x="2123" y="51"/>
                </a:cubicBezTo>
                <a:cubicBezTo>
                  <a:pt x="2124" y="51"/>
                  <a:pt x="2129" y="51"/>
                  <a:pt x="2130" y="51"/>
                </a:cubicBezTo>
                <a:cubicBezTo>
                  <a:pt x="2137" y="51"/>
                  <a:pt x="2143" y="51"/>
                  <a:pt x="2149" y="51"/>
                </a:cubicBezTo>
                <a:cubicBezTo>
                  <a:pt x="2163" y="51"/>
                  <a:pt x="2177" y="51"/>
                  <a:pt x="2191" y="51"/>
                </a:cubicBezTo>
                <a:cubicBezTo>
                  <a:pt x="2192" y="51"/>
                  <a:pt x="2193" y="51"/>
                  <a:pt x="2195" y="51"/>
                </a:cubicBezTo>
                <a:cubicBezTo>
                  <a:pt x="2196" y="51"/>
                  <a:pt x="2197" y="51"/>
                  <a:pt x="2198" y="50"/>
                </a:cubicBezTo>
                <a:cubicBezTo>
                  <a:pt x="2202" y="49"/>
                  <a:pt x="2210" y="49"/>
                  <a:pt x="2215" y="49"/>
                </a:cubicBezTo>
                <a:cubicBezTo>
                  <a:pt x="2217" y="49"/>
                  <a:pt x="2221" y="49"/>
                  <a:pt x="2221" y="49"/>
                </a:cubicBezTo>
                <a:cubicBezTo>
                  <a:pt x="2222" y="50"/>
                  <a:pt x="2216" y="51"/>
                  <a:pt x="2223" y="51"/>
                </a:cubicBezTo>
                <a:cubicBezTo>
                  <a:pt x="2225" y="51"/>
                  <a:pt x="2227" y="51"/>
                  <a:pt x="2229" y="50"/>
                </a:cubicBezTo>
                <a:cubicBezTo>
                  <a:pt x="2231" y="50"/>
                  <a:pt x="2234" y="50"/>
                  <a:pt x="2235" y="51"/>
                </a:cubicBezTo>
                <a:cubicBezTo>
                  <a:pt x="2235" y="51"/>
                  <a:pt x="2236" y="51"/>
                  <a:pt x="2237" y="51"/>
                </a:cubicBezTo>
                <a:cubicBezTo>
                  <a:pt x="2246" y="51"/>
                  <a:pt x="2254" y="51"/>
                  <a:pt x="2263" y="51"/>
                </a:cubicBezTo>
                <a:cubicBezTo>
                  <a:pt x="2270" y="51"/>
                  <a:pt x="2282" y="51"/>
                  <a:pt x="2289" y="50"/>
                </a:cubicBezTo>
                <a:cubicBezTo>
                  <a:pt x="2291" y="50"/>
                  <a:pt x="2292" y="50"/>
                  <a:pt x="2294" y="50"/>
                </a:cubicBezTo>
                <a:cubicBezTo>
                  <a:pt x="2297" y="49"/>
                  <a:pt x="2302" y="49"/>
                  <a:pt x="2305" y="49"/>
                </a:cubicBezTo>
                <a:cubicBezTo>
                  <a:pt x="2311" y="50"/>
                  <a:pt x="2317" y="50"/>
                  <a:pt x="2322" y="50"/>
                </a:cubicBezTo>
                <a:cubicBezTo>
                  <a:pt x="2328" y="51"/>
                  <a:pt x="2334" y="51"/>
                  <a:pt x="2339" y="50"/>
                </a:cubicBezTo>
                <a:cubicBezTo>
                  <a:pt x="2340" y="50"/>
                  <a:pt x="2341" y="50"/>
                  <a:pt x="2342" y="50"/>
                </a:cubicBezTo>
                <a:cubicBezTo>
                  <a:pt x="2342" y="50"/>
                  <a:pt x="2343" y="50"/>
                  <a:pt x="2344" y="50"/>
                </a:cubicBezTo>
                <a:cubicBezTo>
                  <a:pt x="2346" y="50"/>
                  <a:pt x="2348" y="50"/>
                  <a:pt x="2351" y="50"/>
                </a:cubicBezTo>
                <a:cubicBezTo>
                  <a:pt x="2352" y="51"/>
                  <a:pt x="2369" y="51"/>
                  <a:pt x="2372" y="51"/>
                </a:cubicBezTo>
                <a:cubicBezTo>
                  <a:pt x="2380" y="51"/>
                  <a:pt x="2389" y="51"/>
                  <a:pt x="2398" y="51"/>
                </a:cubicBezTo>
                <a:cubicBezTo>
                  <a:pt x="2420" y="51"/>
                  <a:pt x="2443" y="52"/>
                  <a:pt x="2465" y="52"/>
                </a:cubicBezTo>
                <a:cubicBezTo>
                  <a:pt x="2474" y="52"/>
                  <a:pt x="2483" y="51"/>
                  <a:pt x="2492" y="51"/>
                </a:cubicBezTo>
                <a:cubicBezTo>
                  <a:pt x="2496" y="51"/>
                  <a:pt x="2501" y="52"/>
                  <a:pt x="2506" y="51"/>
                </a:cubicBezTo>
                <a:cubicBezTo>
                  <a:pt x="2509" y="51"/>
                  <a:pt x="2512" y="51"/>
                  <a:pt x="2516" y="51"/>
                </a:cubicBezTo>
                <a:cubicBezTo>
                  <a:pt x="2520" y="51"/>
                  <a:pt x="2525" y="51"/>
                  <a:pt x="2529" y="51"/>
                </a:cubicBezTo>
                <a:cubicBezTo>
                  <a:pt x="2531" y="51"/>
                  <a:pt x="2533" y="51"/>
                  <a:pt x="2535" y="51"/>
                </a:cubicBezTo>
                <a:cubicBezTo>
                  <a:pt x="2537" y="51"/>
                  <a:pt x="2539" y="50"/>
                  <a:pt x="2542" y="50"/>
                </a:cubicBezTo>
                <a:cubicBezTo>
                  <a:pt x="2545" y="50"/>
                  <a:pt x="2548" y="51"/>
                  <a:pt x="2551" y="51"/>
                </a:cubicBezTo>
                <a:cubicBezTo>
                  <a:pt x="2560" y="52"/>
                  <a:pt x="2568" y="51"/>
                  <a:pt x="2578" y="52"/>
                </a:cubicBezTo>
                <a:cubicBezTo>
                  <a:pt x="2590" y="52"/>
                  <a:pt x="2603" y="52"/>
                  <a:pt x="2606" y="52"/>
                </a:cubicBezTo>
                <a:cubicBezTo>
                  <a:pt x="2609" y="52"/>
                  <a:pt x="2628" y="52"/>
                  <a:pt x="2649" y="52"/>
                </a:cubicBezTo>
                <a:cubicBezTo>
                  <a:pt x="2656" y="52"/>
                  <a:pt x="2663" y="52"/>
                  <a:pt x="2671" y="52"/>
                </a:cubicBezTo>
                <a:cubicBezTo>
                  <a:pt x="2674" y="52"/>
                  <a:pt x="2677" y="52"/>
                  <a:pt x="2680" y="52"/>
                </a:cubicBezTo>
                <a:cubicBezTo>
                  <a:pt x="2683" y="52"/>
                  <a:pt x="2686" y="52"/>
                  <a:pt x="2688" y="52"/>
                </a:cubicBezTo>
                <a:cubicBezTo>
                  <a:pt x="2689" y="51"/>
                  <a:pt x="2690" y="51"/>
                  <a:pt x="2691" y="51"/>
                </a:cubicBezTo>
                <a:cubicBezTo>
                  <a:pt x="2692" y="51"/>
                  <a:pt x="2692" y="51"/>
                  <a:pt x="2692" y="52"/>
                </a:cubicBezTo>
                <a:cubicBezTo>
                  <a:pt x="2694" y="52"/>
                  <a:pt x="2699" y="52"/>
                  <a:pt x="2702" y="51"/>
                </a:cubicBezTo>
                <a:cubicBezTo>
                  <a:pt x="2708" y="51"/>
                  <a:pt x="2714" y="52"/>
                  <a:pt x="2720" y="52"/>
                </a:cubicBezTo>
                <a:cubicBezTo>
                  <a:pt x="2743" y="52"/>
                  <a:pt x="2754" y="52"/>
                  <a:pt x="2770" y="53"/>
                </a:cubicBezTo>
                <a:cubicBezTo>
                  <a:pt x="2783" y="54"/>
                  <a:pt x="2834" y="54"/>
                  <a:pt x="2863" y="53"/>
                </a:cubicBezTo>
                <a:cubicBezTo>
                  <a:pt x="2871" y="53"/>
                  <a:pt x="2885" y="53"/>
                  <a:pt x="2891" y="52"/>
                </a:cubicBezTo>
                <a:cubicBezTo>
                  <a:pt x="2893" y="51"/>
                  <a:pt x="2895" y="51"/>
                  <a:pt x="2897" y="51"/>
                </a:cubicBezTo>
                <a:cubicBezTo>
                  <a:pt x="2899" y="52"/>
                  <a:pt x="2898" y="52"/>
                  <a:pt x="2902" y="53"/>
                </a:cubicBezTo>
                <a:cubicBezTo>
                  <a:pt x="2903" y="53"/>
                  <a:pt x="2910" y="53"/>
                  <a:pt x="2912" y="53"/>
                </a:cubicBezTo>
                <a:cubicBezTo>
                  <a:pt x="2916" y="53"/>
                  <a:pt x="2926" y="53"/>
                  <a:pt x="2927" y="52"/>
                </a:cubicBezTo>
                <a:cubicBezTo>
                  <a:pt x="2928" y="52"/>
                  <a:pt x="2928" y="51"/>
                  <a:pt x="2930" y="51"/>
                </a:cubicBezTo>
                <a:cubicBezTo>
                  <a:pt x="2931" y="51"/>
                  <a:pt x="2932" y="51"/>
                  <a:pt x="2932" y="51"/>
                </a:cubicBezTo>
                <a:cubicBezTo>
                  <a:pt x="2935" y="51"/>
                  <a:pt x="2938" y="51"/>
                  <a:pt x="2942" y="51"/>
                </a:cubicBezTo>
                <a:cubicBezTo>
                  <a:pt x="2943" y="51"/>
                  <a:pt x="2943" y="51"/>
                  <a:pt x="2942" y="52"/>
                </a:cubicBezTo>
                <a:cubicBezTo>
                  <a:pt x="2941" y="52"/>
                  <a:pt x="2939" y="52"/>
                  <a:pt x="2940" y="52"/>
                </a:cubicBezTo>
                <a:cubicBezTo>
                  <a:pt x="2940" y="53"/>
                  <a:pt x="2942" y="53"/>
                  <a:pt x="2944" y="53"/>
                </a:cubicBezTo>
                <a:cubicBezTo>
                  <a:pt x="2945" y="53"/>
                  <a:pt x="2947" y="53"/>
                  <a:pt x="2948" y="52"/>
                </a:cubicBezTo>
                <a:cubicBezTo>
                  <a:pt x="2952" y="52"/>
                  <a:pt x="2957" y="51"/>
                  <a:pt x="2961" y="51"/>
                </a:cubicBezTo>
                <a:cubicBezTo>
                  <a:pt x="2965" y="51"/>
                  <a:pt x="2969" y="51"/>
                  <a:pt x="2974" y="51"/>
                </a:cubicBezTo>
                <a:cubicBezTo>
                  <a:pt x="2978" y="51"/>
                  <a:pt x="2983" y="50"/>
                  <a:pt x="2985" y="52"/>
                </a:cubicBezTo>
                <a:cubicBezTo>
                  <a:pt x="2988" y="53"/>
                  <a:pt x="2986" y="53"/>
                  <a:pt x="2991" y="53"/>
                </a:cubicBezTo>
                <a:cubicBezTo>
                  <a:pt x="2994" y="53"/>
                  <a:pt x="2994" y="52"/>
                  <a:pt x="2997" y="52"/>
                </a:cubicBezTo>
                <a:cubicBezTo>
                  <a:pt x="3004" y="53"/>
                  <a:pt x="3011" y="53"/>
                  <a:pt x="3019" y="53"/>
                </a:cubicBezTo>
                <a:cubicBezTo>
                  <a:pt x="3026" y="53"/>
                  <a:pt x="3037" y="54"/>
                  <a:pt x="3043" y="52"/>
                </a:cubicBezTo>
                <a:cubicBezTo>
                  <a:pt x="3045" y="52"/>
                  <a:pt x="3046" y="52"/>
                  <a:pt x="3047" y="51"/>
                </a:cubicBezTo>
                <a:cubicBezTo>
                  <a:pt x="3051" y="50"/>
                  <a:pt x="3063" y="50"/>
                  <a:pt x="3066" y="52"/>
                </a:cubicBezTo>
                <a:cubicBezTo>
                  <a:pt x="3066" y="52"/>
                  <a:pt x="3066" y="52"/>
                  <a:pt x="3067" y="52"/>
                </a:cubicBezTo>
                <a:cubicBezTo>
                  <a:pt x="3067" y="53"/>
                  <a:pt x="3070" y="53"/>
                  <a:pt x="3074" y="54"/>
                </a:cubicBezTo>
                <a:cubicBezTo>
                  <a:pt x="3075" y="54"/>
                  <a:pt x="3076" y="54"/>
                  <a:pt x="3076" y="53"/>
                </a:cubicBezTo>
                <a:cubicBezTo>
                  <a:pt x="3077" y="53"/>
                  <a:pt x="3079" y="52"/>
                  <a:pt x="3081" y="53"/>
                </a:cubicBezTo>
                <a:cubicBezTo>
                  <a:pt x="3081" y="53"/>
                  <a:pt x="3083" y="53"/>
                  <a:pt x="3085" y="53"/>
                </a:cubicBezTo>
                <a:cubicBezTo>
                  <a:pt x="3085" y="54"/>
                  <a:pt x="3086" y="54"/>
                  <a:pt x="3087" y="54"/>
                </a:cubicBezTo>
                <a:cubicBezTo>
                  <a:pt x="3118" y="54"/>
                  <a:pt x="3149" y="53"/>
                  <a:pt x="3180" y="54"/>
                </a:cubicBezTo>
                <a:cubicBezTo>
                  <a:pt x="3183" y="54"/>
                  <a:pt x="3191" y="54"/>
                  <a:pt x="3198" y="54"/>
                </a:cubicBezTo>
                <a:cubicBezTo>
                  <a:pt x="3205" y="54"/>
                  <a:pt x="3217" y="54"/>
                  <a:pt x="3225" y="55"/>
                </a:cubicBezTo>
                <a:cubicBezTo>
                  <a:pt x="3233" y="55"/>
                  <a:pt x="3247" y="55"/>
                  <a:pt x="3256" y="55"/>
                </a:cubicBezTo>
                <a:cubicBezTo>
                  <a:pt x="3262" y="56"/>
                  <a:pt x="3268" y="56"/>
                  <a:pt x="3274" y="56"/>
                </a:cubicBezTo>
                <a:cubicBezTo>
                  <a:pt x="3279" y="56"/>
                  <a:pt x="3284" y="57"/>
                  <a:pt x="3289" y="56"/>
                </a:cubicBezTo>
                <a:cubicBezTo>
                  <a:pt x="3295" y="56"/>
                  <a:pt x="3298" y="55"/>
                  <a:pt x="3305" y="55"/>
                </a:cubicBezTo>
                <a:cubicBezTo>
                  <a:pt x="3313" y="55"/>
                  <a:pt x="3322" y="55"/>
                  <a:pt x="3330" y="55"/>
                </a:cubicBezTo>
                <a:cubicBezTo>
                  <a:pt x="3342" y="55"/>
                  <a:pt x="3354" y="55"/>
                  <a:pt x="3367" y="55"/>
                </a:cubicBezTo>
                <a:cubicBezTo>
                  <a:pt x="3378" y="55"/>
                  <a:pt x="3390" y="55"/>
                  <a:pt x="3401" y="55"/>
                </a:cubicBezTo>
                <a:cubicBezTo>
                  <a:pt x="3401" y="54"/>
                  <a:pt x="3403" y="54"/>
                  <a:pt x="3405" y="53"/>
                </a:cubicBezTo>
                <a:cubicBezTo>
                  <a:pt x="3407" y="53"/>
                  <a:pt x="3409" y="53"/>
                  <a:pt x="3411" y="53"/>
                </a:cubicBezTo>
                <a:cubicBezTo>
                  <a:pt x="3411" y="55"/>
                  <a:pt x="3424" y="54"/>
                  <a:pt x="3428" y="54"/>
                </a:cubicBezTo>
                <a:cubicBezTo>
                  <a:pt x="3432" y="54"/>
                  <a:pt x="3440" y="54"/>
                  <a:pt x="3443" y="54"/>
                </a:cubicBezTo>
                <a:cubicBezTo>
                  <a:pt x="3445" y="54"/>
                  <a:pt x="3449" y="52"/>
                  <a:pt x="3451" y="53"/>
                </a:cubicBezTo>
                <a:cubicBezTo>
                  <a:pt x="3449" y="53"/>
                  <a:pt x="3450" y="54"/>
                  <a:pt x="3452" y="54"/>
                </a:cubicBezTo>
                <a:cubicBezTo>
                  <a:pt x="3453" y="54"/>
                  <a:pt x="3455" y="54"/>
                  <a:pt x="3457" y="54"/>
                </a:cubicBezTo>
                <a:cubicBezTo>
                  <a:pt x="3461" y="54"/>
                  <a:pt x="3468" y="54"/>
                  <a:pt x="3472" y="55"/>
                </a:cubicBezTo>
                <a:cubicBezTo>
                  <a:pt x="3475" y="55"/>
                  <a:pt x="3474" y="58"/>
                  <a:pt x="3481" y="57"/>
                </a:cubicBezTo>
                <a:cubicBezTo>
                  <a:pt x="3483" y="56"/>
                  <a:pt x="3484" y="56"/>
                  <a:pt x="3486" y="55"/>
                </a:cubicBezTo>
                <a:cubicBezTo>
                  <a:pt x="3490" y="54"/>
                  <a:pt x="3497" y="54"/>
                  <a:pt x="3503" y="54"/>
                </a:cubicBezTo>
                <a:cubicBezTo>
                  <a:pt x="3512" y="54"/>
                  <a:pt x="3522" y="54"/>
                  <a:pt x="3531" y="54"/>
                </a:cubicBezTo>
                <a:cubicBezTo>
                  <a:pt x="3549" y="54"/>
                  <a:pt x="3567" y="54"/>
                  <a:pt x="3585" y="54"/>
                </a:cubicBezTo>
                <a:cubicBezTo>
                  <a:pt x="3638" y="54"/>
                  <a:pt x="3690" y="55"/>
                  <a:pt x="3701" y="55"/>
                </a:cubicBezTo>
                <a:cubicBezTo>
                  <a:pt x="3712" y="55"/>
                  <a:pt x="3754" y="54"/>
                  <a:pt x="3795" y="54"/>
                </a:cubicBezTo>
                <a:cubicBezTo>
                  <a:pt x="3835" y="54"/>
                  <a:pt x="3903" y="54"/>
                  <a:pt x="3945" y="54"/>
                </a:cubicBezTo>
                <a:cubicBezTo>
                  <a:pt x="3986" y="54"/>
                  <a:pt x="4095" y="54"/>
                  <a:pt x="4186" y="55"/>
                </a:cubicBezTo>
                <a:cubicBezTo>
                  <a:pt x="4215" y="55"/>
                  <a:pt x="4243" y="55"/>
                  <a:pt x="4272" y="55"/>
                </a:cubicBezTo>
                <a:cubicBezTo>
                  <a:pt x="4286" y="55"/>
                  <a:pt x="4300" y="55"/>
                  <a:pt x="4315" y="55"/>
                </a:cubicBezTo>
                <a:cubicBezTo>
                  <a:pt x="4327" y="55"/>
                  <a:pt x="4343" y="55"/>
                  <a:pt x="4355" y="54"/>
                </a:cubicBezTo>
                <a:cubicBezTo>
                  <a:pt x="4356" y="54"/>
                  <a:pt x="4356" y="54"/>
                  <a:pt x="4357" y="54"/>
                </a:cubicBezTo>
                <a:cubicBezTo>
                  <a:pt x="4362" y="54"/>
                  <a:pt x="4367" y="55"/>
                  <a:pt x="4372" y="54"/>
                </a:cubicBezTo>
                <a:cubicBezTo>
                  <a:pt x="4379" y="54"/>
                  <a:pt x="4387" y="54"/>
                  <a:pt x="4394" y="54"/>
                </a:cubicBezTo>
                <a:cubicBezTo>
                  <a:pt x="4409" y="54"/>
                  <a:pt x="4423" y="54"/>
                  <a:pt x="4438" y="54"/>
                </a:cubicBezTo>
                <a:cubicBezTo>
                  <a:pt x="4451" y="54"/>
                  <a:pt x="4464" y="54"/>
                  <a:pt x="4477" y="54"/>
                </a:cubicBezTo>
                <a:cubicBezTo>
                  <a:pt x="4484" y="54"/>
                  <a:pt x="4490" y="54"/>
                  <a:pt x="4497" y="54"/>
                </a:cubicBezTo>
                <a:cubicBezTo>
                  <a:pt x="4502" y="54"/>
                  <a:pt x="4509" y="54"/>
                  <a:pt x="4514" y="54"/>
                </a:cubicBezTo>
                <a:cubicBezTo>
                  <a:pt x="4515" y="54"/>
                  <a:pt x="4518" y="54"/>
                  <a:pt x="4520" y="54"/>
                </a:cubicBezTo>
                <a:cubicBezTo>
                  <a:pt x="4524" y="54"/>
                  <a:pt x="4528" y="54"/>
                  <a:pt x="4532" y="54"/>
                </a:cubicBezTo>
                <a:cubicBezTo>
                  <a:pt x="4537" y="54"/>
                  <a:pt x="4542" y="54"/>
                  <a:pt x="4547" y="54"/>
                </a:cubicBezTo>
                <a:cubicBezTo>
                  <a:pt x="4563" y="54"/>
                  <a:pt x="4602" y="54"/>
                  <a:pt x="4635" y="54"/>
                </a:cubicBezTo>
                <a:cubicBezTo>
                  <a:pt x="4645" y="54"/>
                  <a:pt x="4654" y="54"/>
                  <a:pt x="4664" y="54"/>
                </a:cubicBezTo>
                <a:cubicBezTo>
                  <a:pt x="4672" y="54"/>
                  <a:pt x="4683" y="53"/>
                  <a:pt x="4691" y="54"/>
                </a:cubicBezTo>
                <a:cubicBezTo>
                  <a:pt x="4691" y="54"/>
                  <a:pt x="4692" y="54"/>
                  <a:pt x="4692" y="54"/>
                </a:cubicBezTo>
                <a:cubicBezTo>
                  <a:pt x="4692" y="54"/>
                  <a:pt x="4692" y="54"/>
                  <a:pt x="4692" y="55"/>
                </a:cubicBezTo>
                <a:cubicBezTo>
                  <a:pt x="4693" y="55"/>
                  <a:pt x="4695" y="56"/>
                  <a:pt x="4697" y="56"/>
                </a:cubicBezTo>
                <a:cubicBezTo>
                  <a:pt x="4700" y="56"/>
                  <a:pt x="4702" y="56"/>
                  <a:pt x="4704" y="56"/>
                </a:cubicBezTo>
                <a:cubicBezTo>
                  <a:pt x="4710" y="55"/>
                  <a:pt x="4715" y="55"/>
                  <a:pt x="4720" y="55"/>
                </a:cubicBezTo>
                <a:cubicBezTo>
                  <a:pt x="4723" y="55"/>
                  <a:pt x="4725" y="55"/>
                  <a:pt x="4727" y="55"/>
                </a:cubicBezTo>
                <a:cubicBezTo>
                  <a:pt x="4729" y="55"/>
                  <a:pt x="4730" y="54"/>
                  <a:pt x="4731" y="54"/>
                </a:cubicBezTo>
                <a:cubicBezTo>
                  <a:pt x="4733" y="54"/>
                  <a:pt x="4734" y="55"/>
                  <a:pt x="4736" y="54"/>
                </a:cubicBezTo>
                <a:cubicBezTo>
                  <a:pt x="4736" y="54"/>
                  <a:pt x="4737" y="54"/>
                  <a:pt x="4737" y="54"/>
                </a:cubicBezTo>
                <a:cubicBezTo>
                  <a:pt x="4741" y="53"/>
                  <a:pt x="4750" y="54"/>
                  <a:pt x="4754" y="54"/>
                </a:cubicBezTo>
                <a:cubicBezTo>
                  <a:pt x="4759" y="54"/>
                  <a:pt x="4762" y="55"/>
                  <a:pt x="4769" y="54"/>
                </a:cubicBezTo>
                <a:cubicBezTo>
                  <a:pt x="4771" y="55"/>
                  <a:pt x="4782" y="54"/>
                  <a:pt x="4785" y="54"/>
                </a:cubicBezTo>
                <a:cubicBezTo>
                  <a:pt x="4791" y="54"/>
                  <a:pt x="4798" y="54"/>
                  <a:pt x="4804" y="54"/>
                </a:cubicBezTo>
                <a:cubicBezTo>
                  <a:pt x="4812" y="54"/>
                  <a:pt x="4819" y="54"/>
                  <a:pt x="4827" y="54"/>
                </a:cubicBezTo>
                <a:cubicBezTo>
                  <a:pt x="4831" y="54"/>
                  <a:pt x="4840" y="54"/>
                  <a:pt x="4843" y="55"/>
                </a:cubicBezTo>
                <a:cubicBezTo>
                  <a:pt x="4844" y="55"/>
                  <a:pt x="4844" y="55"/>
                  <a:pt x="4845" y="55"/>
                </a:cubicBezTo>
                <a:cubicBezTo>
                  <a:pt x="4847" y="56"/>
                  <a:pt x="4849" y="56"/>
                  <a:pt x="4851" y="56"/>
                </a:cubicBezTo>
                <a:cubicBezTo>
                  <a:pt x="4853" y="56"/>
                  <a:pt x="4855" y="55"/>
                  <a:pt x="4856" y="55"/>
                </a:cubicBezTo>
                <a:cubicBezTo>
                  <a:pt x="4863" y="54"/>
                  <a:pt x="4870" y="54"/>
                  <a:pt x="4877" y="54"/>
                </a:cubicBezTo>
                <a:cubicBezTo>
                  <a:pt x="4880" y="54"/>
                  <a:pt x="4883" y="54"/>
                  <a:pt x="4885" y="53"/>
                </a:cubicBezTo>
                <a:cubicBezTo>
                  <a:pt x="4895" y="54"/>
                  <a:pt x="4904" y="55"/>
                  <a:pt x="4914" y="55"/>
                </a:cubicBezTo>
                <a:cubicBezTo>
                  <a:pt x="4919" y="56"/>
                  <a:pt x="4924" y="56"/>
                  <a:pt x="4929" y="56"/>
                </a:cubicBezTo>
                <a:cubicBezTo>
                  <a:pt x="4932" y="57"/>
                  <a:pt x="4936" y="57"/>
                  <a:pt x="4940" y="57"/>
                </a:cubicBezTo>
                <a:cubicBezTo>
                  <a:pt x="4943" y="57"/>
                  <a:pt x="4945" y="56"/>
                  <a:pt x="4948" y="56"/>
                </a:cubicBezTo>
                <a:cubicBezTo>
                  <a:pt x="4950" y="55"/>
                  <a:pt x="4954" y="55"/>
                  <a:pt x="4958" y="55"/>
                </a:cubicBezTo>
                <a:cubicBezTo>
                  <a:pt x="4963" y="55"/>
                  <a:pt x="4962" y="56"/>
                  <a:pt x="4966" y="57"/>
                </a:cubicBezTo>
                <a:cubicBezTo>
                  <a:pt x="4969" y="57"/>
                  <a:pt x="4973" y="55"/>
                  <a:pt x="4977" y="56"/>
                </a:cubicBezTo>
                <a:cubicBezTo>
                  <a:pt x="4977" y="56"/>
                  <a:pt x="4978" y="56"/>
                  <a:pt x="4979" y="56"/>
                </a:cubicBezTo>
                <a:cubicBezTo>
                  <a:pt x="4981" y="56"/>
                  <a:pt x="4982" y="57"/>
                  <a:pt x="4984" y="57"/>
                </a:cubicBezTo>
                <a:cubicBezTo>
                  <a:pt x="4985" y="57"/>
                  <a:pt x="4985" y="57"/>
                  <a:pt x="4986" y="57"/>
                </a:cubicBezTo>
                <a:cubicBezTo>
                  <a:pt x="4987" y="58"/>
                  <a:pt x="4987" y="58"/>
                  <a:pt x="4988" y="58"/>
                </a:cubicBezTo>
                <a:cubicBezTo>
                  <a:pt x="4990" y="58"/>
                  <a:pt x="4992" y="58"/>
                  <a:pt x="4994" y="58"/>
                </a:cubicBezTo>
                <a:cubicBezTo>
                  <a:pt x="4997" y="58"/>
                  <a:pt x="5001" y="57"/>
                  <a:pt x="5005" y="57"/>
                </a:cubicBezTo>
                <a:cubicBezTo>
                  <a:pt x="5009" y="57"/>
                  <a:pt x="5014" y="57"/>
                  <a:pt x="5018" y="57"/>
                </a:cubicBezTo>
                <a:cubicBezTo>
                  <a:pt x="5027" y="57"/>
                  <a:pt x="5040" y="58"/>
                  <a:pt x="5048" y="57"/>
                </a:cubicBezTo>
                <a:cubicBezTo>
                  <a:pt x="5054" y="56"/>
                  <a:pt x="5049" y="55"/>
                  <a:pt x="5049" y="54"/>
                </a:cubicBezTo>
                <a:cubicBezTo>
                  <a:pt x="5049" y="53"/>
                  <a:pt x="5051" y="53"/>
                  <a:pt x="5052" y="53"/>
                </a:cubicBezTo>
                <a:cubicBezTo>
                  <a:pt x="5054" y="53"/>
                  <a:pt x="5057" y="54"/>
                  <a:pt x="5059" y="54"/>
                </a:cubicBezTo>
                <a:cubicBezTo>
                  <a:pt x="5062" y="54"/>
                  <a:pt x="5065" y="54"/>
                  <a:pt x="5068" y="54"/>
                </a:cubicBezTo>
                <a:cubicBezTo>
                  <a:pt x="5076" y="54"/>
                  <a:pt x="5084" y="54"/>
                  <a:pt x="5092" y="54"/>
                </a:cubicBezTo>
                <a:cubicBezTo>
                  <a:pt x="5097" y="54"/>
                  <a:pt x="5113" y="56"/>
                  <a:pt x="5116" y="54"/>
                </a:cubicBezTo>
                <a:cubicBezTo>
                  <a:pt x="5116" y="54"/>
                  <a:pt x="5116" y="53"/>
                  <a:pt x="5116" y="53"/>
                </a:cubicBezTo>
                <a:cubicBezTo>
                  <a:pt x="5118" y="52"/>
                  <a:pt x="5128" y="53"/>
                  <a:pt x="5130" y="53"/>
                </a:cubicBezTo>
                <a:cubicBezTo>
                  <a:pt x="5165" y="55"/>
                  <a:pt x="5190" y="55"/>
                  <a:pt x="5228" y="55"/>
                </a:cubicBezTo>
                <a:cubicBezTo>
                  <a:pt x="5237" y="55"/>
                  <a:pt x="5247" y="54"/>
                  <a:pt x="5255" y="54"/>
                </a:cubicBezTo>
                <a:cubicBezTo>
                  <a:pt x="5259" y="54"/>
                  <a:pt x="5260" y="55"/>
                  <a:pt x="5263" y="55"/>
                </a:cubicBezTo>
                <a:cubicBezTo>
                  <a:pt x="5266" y="56"/>
                  <a:pt x="5270" y="56"/>
                  <a:pt x="5274" y="56"/>
                </a:cubicBezTo>
                <a:cubicBezTo>
                  <a:pt x="5279" y="56"/>
                  <a:pt x="5284" y="55"/>
                  <a:pt x="5289" y="56"/>
                </a:cubicBezTo>
                <a:cubicBezTo>
                  <a:pt x="5292" y="56"/>
                  <a:pt x="5294" y="57"/>
                  <a:pt x="5298" y="57"/>
                </a:cubicBezTo>
                <a:cubicBezTo>
                  <a:pt x="5302" y="58"/>
                  <a:pt x="5306" y="57"/>
                  <a:pt x="5309" y="56"/>
                </a:cubicBezTo>
                <a:cubicBezTo>
                  <a:pt x="5314" y="54"/>
                  <a:pt x="5316" y="54"/>
                  <a:pt x="5322" y="55"/>
                </a:cubicBezTo>
                <a:cubicBezTo>
                  <a:pt x="5329" y="55"/>
                  <a:pt x="5337" y="54"/>
                  <a:pt x="5343" y="54"/>
                </a:cubicBezTo>
                <a:cubicBezTo>
                  <a:pt x="5363" y="54"/>
                  <a:pt x="5382" y="54"/>
                  <a:pt x="5386" y="54"/>
                </a:cubicBezTo>
                <a:cubicBezTo>
                  <a:pt x="5389" y="54"/>
                  <a:pt x="5393" y="54"/>
                  <a:pt x="5396" y="54"/>
                </a:cubicBezTo>
                <a:cubicBezTo>
                  <a:pt x="5399" y="54"/>
                  <a:pt x="5401" y="55"/>
                  <a:pt x="5403" y="56"/>
                </a:cubicBezTo>
                <a:cubicBezTo>
                  <a:pt x="5405" y="56"/>
                  <a:pt x="5409" y="56"/>
                  <a:pt x="5412" y="57"/>
                </a:cubicBezTo>
                <a:cubicBezTo>
                  <a:pt x="5417" y="57"/>
                  <a:pt x="5423" y="57"/>
                  <a:pt x="5429" y="57"/>
                </a:cubicBezTo>
                <a:cubicBezTo>
                  <a:pt x="5431" y="57"/>
                  <a:pt x="5432" y="57"/>
                  <a:pt x="5434" y="57"/>
                </a:cubicBezTo>
                <a:cubicBezTo>
                  <a:pt x="5436" y="57"/>
                  <a:pt x="5437" y="56"/>
                  <a:pt x="5439" y="56"/>
                </a:cubicBezTo>
                <a:cubicBezTo>
                  <a:pt x="5447" y="54"/>
                  <a:pt x="5460" y="54"/>
                  <a:pt x="5471" y="55"/>
                </a:cubicBezTo>
                <a:cubicBezTo>
                  <a:pt x="5477" y="56"/>
                  <a:pt x="5485" y="56"/>
                  <a:pt x="5492" y="56"/>
                </a:cubicBezTo>
                <a:cubicBezTo>
                  <a:pt x="5494" y="56"/>
                  <a:pt x="5497" y="55"/>
                  <a:pt x="5499" y="55"/>
                </a:cubicBezTo>
                <a:cubicBezTo>
                  <a:pt x="5500" y="55"/>
                  <a:pt x="5501" y="54"/>
                  <a:pt x="5502" y="54"/>
                </a:cubicBezTo>
                <a:cubicBezTo>
                  <a:pt x="5505" y="53"/>
                  <a:pt x="5510" y="53"/>
                  <a:pt x="5515" y="53"/>
                </a:cubicBezTo>
                <a:cubicBezTo>
                  <a:pt x="5519" y="53"/>
                  <a:pt x="5523" y="54"/>
                  <a:pt x="5528" y="54"/>
                </a:cubicBezTo>
                <a:cubicBezTo>
                  <a:pt x="5535" y="54"/>
                  <a:pt x="5542" y="54"/>
                  <a:pt x="5549" y="54"/>
                </a:cubicBezTo>
                <a:cubicBezTo>
                  <a:pt x="5557" y="53"/>
                  <a:pt x="5565" y="53"/>
                  <a:pt x="5573" y="53"/>
                </a:cubicBezTo>
                <a:cubicBezTo>
                  <a:pt x="5598" y="53"/>
                  <a:pt x="5625" y="52"/>
                  <a:pt x="5633" y="52"/>
                </a:cubicBezTo>
                <a:cubicBezTo>
                  <a:pt x="5639" y="52"/>
                  <a:pt x="5648" y="53"/>
                  <a:pt x="5653" y="52"/>
                </a:cubicBezTo>
                <a:cubicBezTo>
                  <a:pt x="5654" y="52"/>
                  <a:pt x="5655" y="51"/>
                  <a:pt x="5655" y="51"/>
                </a:cubicBezTo>
                <a:cubicBezTo>
                  <a:pt x="5661" y="51"/>
                  <a:pt x="5667" y="52"/>
                  <a:pt x="5672" y="52"/>
                </a:cubicBezTo>
                <a:cubicBezTo>
                  <a:pt x="5677" y="53"/>
                  <a:pt x="5682" y="53"/>
                  <a:pt x="5687" y="53"/>
                </a:cubicBezTo>
                <a:cubicBezTo>
                  <a:pt x="5701" y="53"/>
                  <a:pt x="5715" y="53"/>
                  <a:pt x="5729" y="52"/>
                </a:cubicBezTo>
                <a:cubicBezTo>
                  <a:pt x="5740" y="52"/>
                  <a:pt x="5752" y="53"/>
                  <a:pt x="5763" y="53"/>
                </a:cubicBezTo>
                <a:cubicBezTo>
                  <a:pt x="5772" y="53"/>
                  <a:pt x="5788" y="54"/>
                  <a:pt x="5796" y="53"/>
                </a:cubicBezTo>
                <a:cubicBezTo>
                  <a:pt x="5797" y="52"/>
                  <a:pt x="5799" y="52"/>
                  <a:pt x="5801" y="52"/>
                </a:cubicBezTo>
                <a:cubicBezTo>
                  <a:pt x="5801" y="52"/>
                  <a:pt x="5802" y="52"/>
                  <a:pt x="5803" y="52"/>
                </a:cubicBezTo>
                <a:cubicBezTo>
                  <a:pt x="5808" y="52"/>
                  <a:pt x="5811" y="52"/>
                  <a:pt x="5815" y="53"/>
                </a:cubicBezTo>
                <a:cubicBezTo>
                  <a:pt x="5819" y="53"/>
                  <a:pt x="5823" y="53"/>
                  <a:pt x="5828" y="54"/>
                </a:cubicBezTo>
                <a:cubicBezTo>
                  <a:pt x="5837" y="54"/>
                  <a:pt x="5846" y="53"/>
                  <a:pt x="5855" y="53"/>
                </a:cubicBezTo>
                <a:cubicBezTo>
                  <a:pt x="5863" y="53"/>
                  <a:pt x="5870" y="53"/>
                  <a:pt x="5878" y="53"/>
                </a:cubicBezTo>
                <a:cubicBezTo>
                  <a:pt x="5881" y="53"/>
                  <a:pt x="5884" y="53"/>
                  <a:pt x="5887" y="52"/>
                </a:cubicBezTo>
                <a:cubicBezTo>
                  <a:pt x="5890" y="52"/>
                  <a:pt x="5891" y="51"/>
                  <a:pt x="5894" y="51"/>
                </a:cubicBezTo>
                <a:cubicBezTo>
                  <a:pt x="5896" y="50"/>
                  <a:pt x="5899" y="50"/>
                  <a:pt x="5902" y="50"/>
                </a:cubicBezTo>
                <a:cubicBezTo>
                  <a:pt x="5914" y="50"/>
                  <a:pt x="5927" y="51"/>
                  <a:pt x="5939" y="50"/>
                </a:cubicBezTo>
                <a:cubicBezTo>
                  <a:pt x="5951" y="50"/>
                  <a:pt x="5962" y="51"/>
                  <a:pt x="5974" y="51"/>
                </a:cubicBezTo>
                <a:cubicBezTo>
                  <a:pt x="5988" y="51"/>
                  <a:pt x="6001" y="51"/>
                  <a:pt x="6015" y="51"/>
                </a:cubicBezTo>
                <a:cubicBezTo>
                  <a:pt x="6027" y="51"/>
                  <a:pt x="6037" y="53"/>
                  <a:pt x="6049" y="53"/>
                </a:cubicBezTo>
                <a:cubicBezTo>
                  <a:pt x="6060" y="53"/>
                  <a:pt x="6071" y="53"/>
                  <a:pt x="6082" y="53"/>
                </a:cubicBezTo>
                <a:cubicBezTo>
                  <a:pt x="6088" y="53"/>
                  <a:pt x="6093" y="53"/>
                  <a:pt x="6099" y="53"/>
                </a:cubicBezTo>
                <a:cubicBezTo>
                  <a:pt x="6103" y="53"/>
                  <a:pt x="6107" y="52"/>
                  <a:pt x="6112" y="53"/>
                </a:cubicBezTo>
                <a:cubicBezTo>
                  <a:pt x="6114" y="53"/>
                  <a:pt x="6116" y="53"/>
                  <a:pt x="6118" y="53"/>
                </a:cubicBezTo>
                <a:cubicBezTo>
                  <a:pt x="6126" y="53"/>
                  <a:pt x="6135" y="54"/>
                  <a:pt x="6143" y="54"/>
                </a:cubicBezTo>
                <a:cubicBezTo>
                  <a:pt x="6154" y="54"/>
                  <a:pt x="6165" y="55"/>
                  <a:pt x="6177" y="55"/>
                </a:cubicBezTo>
                <a:cubicBezTo>
                  <a:pt x="6183" y="55"/>
                  <a:pt x="6190" y="55"/>
                  <a:pt x="6196" y="54"/>
                </a:cubicBezTo>
                <a:cubicBezTo>
                  <a:pt x="6203" y="54"/>
                  <a:pt x="6207" y="53"/>
                  <a:pt x="6214" y="53"/>
                </a:cubicBezTo>
                <a:cubicBezTo>
                  <a:pt x="6215" y="53"/>
                  <a:pt x="6217" y="53"/>
                  <a:pt x="6218" y="53"/>
                </a:cubicBezTo>
                <a:cubicBezTo>
                  <a:pt x="6220" y="54"/>
                  <a:pt x="6222" y="54"/>
                  <a:pt x="6224" y="53"/>
                </a:cubicBezTo>
                <a:cubicBezTo>
                  <a:pt x="6231" y="53"/>
                  <a:pt x="6237" y="53"/>
                  <a:pt x="6243" y="53"/>
                </a:cubicBezTo>
                <a:cubicBezTo>
                  <a:pt x="6245" y="52"/>
                  <a:pt x="6246" y="52"/>
                  <a:pt x="6248" y="52"/>
                </a:cubicBezTo>
                <a:cubicBezTo>
                  <a:pt x="6249" y="52"/>
                  <a:pt x="6251" y="52"/>
                  <a:pt x="6252" y="52"/>
                </a:cubicBezTo>
                <a:cubicBezTo>
                  <a:pt x="6260" y="52"/>
                  <a:pt x="6268" y="52"/>
                  <a:pt x="6275" y="52"/>
                </a:cubicBezTo>
                <a:cubicBezTo>
                  <a:pt x="6284" y="53"/>
                  <a:pt x="6293" y="53"/>
                  <a:pt x="6301" y="54"/>
                </a:cubicBezTo>
                <a:cubicBezTo>
                  <a:pt x="6311" y="54"/>
                  <a:pt x="6320" y="55"/>
                  <a:pt x="6329" y="55"/>
                </a:cubicBezTo>
                <a:cubicBezTo>
                  <a:pt x="6338" y="55"/>
                  <a:pt x="6345" y="55"/>
                  <a:pt x="6354" y="55"/>
                </a:cubicBezTo>
                <a:cubicBezTo>
                  <a:pt x="6355" y="55"/>
                  <a:pt x="6356" y="55"/>
                  <a:pt x="6357" y="55"/>
                </a:cubicBezTo>
                <a:cubicBezTo>
                  <a:pt x="6358" y="55"/>
                  <a:pt x="6359" y="55"/>
                  <a:pt x="6360" y="55"/>
                </a:cubicBezTo>
                <a:cubicBezTo>
                  <a:pt x="6361" y="55"/>
                  <a:pt x="6362" y="55"/>
                  <a:pt x="6364" y="55"/>
                </a:cubicBezTo>
                <a:cubicBezTo>
                  <a:pt x="6370" y="55"/>
                  <a:pt x="6377" y="56"/>
                  <a:pt x="6383" y="56"/>
                </a:cubicBezTo>
                <a:cubicBezTo>
                  <a:pt x="6388" y="56"/>
                  <a:pt x="6391" y="56"/>
                  <a:pt x="6395" y="56"/>
                </a:cubicBezTo>
                <a:cubicBezTo>
                  <a:pt x="6399" y="56"/>
                  <a:pt x="6404" y="56"/>
                  <a:pt x="6407" y="56"/>
                </a:cubicBezTo>
                <a:cubicBezTo>
                  <a:pt x="6410" y="55"/>
                  <a:pt x="6402" y="54"/>
                  <a:pt x="6405" y="53"/>
                </a:cubicBezTo>
                <a:cubicBezTo>
                  <a:pt x="6407" y="52"/>
                  <a:pt x="6416" y="52"/>
                  <a:pt x="6420" y="52"/>
                </a:cubicBezTo>
                <a:cubicBezTo>
                  <a:pt x="6427" y="52"/>
                  <a:pt x="6434" y="52"/>
                  <a:pt x="6441" y="52"/>
                </a:cubicBezTo>
                <a:cubicBezTo>
                  <a:pt x="6448" y="53"/>
                  <a:pt x="6455" y="53"/>
                  <a:pt x="6463" y="53"/>
                </a:cubicBezTo>
                <a:cubicBezTo>
                  <a:pt x="6470" y="53"/>
                  <a:pt x="6474" y="52"/>
                  <a:pt x="6475" y="54"/>
                </a:cubicBezTo>
                <a:cubicBezTo>
                  <a:pt x="6475" y="55"/>
                  <a:pt x="6478" y="56"/>
                  <a:pt x="6482" y="56"/>
                </a:cubicBezTo>
                <a:cubicBezTo>
                  <a:pt x="6483" y="56"/>
                  <a:pt x="6484" y="56"/>
                  <a:pt x="6485" y="56"/>
                </a:cubicBezTo>
                <a:cubicBezTo>
                  <a:pt x="6486" y="56"/>
                  <a:pt x="6487" y="56"/>
                  <a:pt x="6488" y="56"/>
                </a:cubicBezTo>
                <a:cubicBezTo>
                  <a:pt x="6489" y="56"/>
                  <a:pt x="6490" y="56"/>
                  <a:pt x="6491" y="56"/>
                </a:cubicBezTo>
                <a:cubicBezTo>
                  <a:pt x="6494" y="57"/>
                  <a:pt x="6498" y="57"/>
                  <a:pt x="6501" y="56"/>
                </a:cubicBezTo>
                <a:cubicBezTo>
                  <a:pt x="6502" y="56"/>
                  <a:pt x="6503" y="56"/>
                  <a:pt x="6504" y="56"/>
                </a:cubicBezTo>
                <a:cubicBezTo>
                  <a:pt x="6505" y="56"/>
                  <a:pt x="6506" y="57"/>
                  <a:pt x="6507" y="57"/>
                </a:cubicBezTo>
                <a:cubicBezTo>
                  <a:pt x="6511" y="57"/>
                  <a:pt x="6516" y="56"/>
                  <a:pt x="6521" y="56"/>
                </a:cubicBezTo>
                <a:cubicBezTo>
                  <a:pt x="6528" y="57"/>
                  <a:pt x="6534" y="56"/>
                  <a:pt x="6541" y="56"/>
                </a:cubicBezTo>
                <a:cubicBezTo>
                  <a:pt x="6547" y="56"/>
                  <a:pt x="6554" y="57"/>
                  <a:pt x="6560" y="57"/>
                </a:cubicBezTo>
                <a:cubicBezTo>
                  <a:pt x="6564" y="57"/>
                  <a:pt x="6567" y="57"/>
                  <a:pt x="6570" y="57"/>
                </a:cubicBezTo>
                <a:cubicBezTo>
                  <a:pt x="6572" y="57"/>
                  <a:pt x="6574" y="57"/>
                  <a:pt x="6576" y="57"/>
                </a:cubicBezTo>
                <a:cubicBezTo>
                  <a:pt x="6583" y="56"/>
                  <a:pt x="6591" y="56"/>
                  <a:pt x="6598" y="56"/>
                </a:cubicBezTo>
                <a:cubicBezTo>
                  <a:pt x="6605" y="56"/>
                  <a:pt x="6611" y="56"/>
                  <a:pt x="6617" y="55"/>
                </a:cubicBezTo>
                <a:cubicBezTo>
                  <a:pt x="6624" y="55"/>
                  <a:pt x="6629" y="55"/>
                  <a:pt x="6636" y="55"/>
                </a:cubicBezTo>
                <a:cubicBezTo>
                  <a:pt x="6643" y="55"/>
                  <a:pt x="6650" y="55"/>
                  <a:pt x="6657" y="56"/>
                </a:cubicBezTo>
                <a:cubicBezTo>
                  <a:pt x="6660" y="56"/>
                  <a:pt x="6664" y="56"/>
                  <a:pt x="6668" y="56"/>
                </a:cubicBezTo>
                <a:cubicBezTo>
                  <a:pt x="6671" y="56"/>
                  <a:pt x="6676" y="55"/>
                  <a:pt x="6679" y="56"/>
                </a:cubicBezTo>
                <a:cubicBezTo>
                  <a:pt x="6680" y="56"/>
                  <a:pt x="6679" y="56"/>
                  <a:pt x="6678" y="56"/>
                </a:cubicBezTo>
                <a:cubicBezTo>
                  <a:pt x="6677" y="56"/>
                  <a:pt x="6678" y="57"/>
                  <a:pt x="6679" y="57"/>
                </a:cubicBezTo>
                <a:cubicBezTo>
                  <a:pt x="6679" y="57"/>
                  <a:pt x="6680" y="58"/>
                  <a:pt x="6681" y="58"/>
                </a:cubicBezTo>
                <a:cubicBezTo>
                  <a:pt x="6682" y="58"/>
                  <a:pt x="6684" y="58"/>
                  <a:pt x="6685" y="58"/>
                </a:cubicBezTo>
                <a:cubicBezTo>
                  <a:pt x="6686" y="57"/>
                  <a:pt x="6687" y="57"/>
                  <a:pt x="6688" y="57"/>
                </a:cubicBezTo>
                <a:cubicBezTo>
                  <a:pt x="6689" y="57"/>
                  <a:pt x="6689" y="57"/>
                  <a:pt x="6690" y="57"/>
                </a:cubicBezTo>
                <a:cubicBezTo>
                  <a:pt x="6691" y="57"/>
                  <a:pt x="6691" y="57"/>
                  <a:pt x="6691" y="57"/>
                </a:cubicBezTo>
                <a:cubicBezTo>
                  <a:pt x="6692" y="57"/>
                  <a:pt x="6693" y="58"/>
                  <a:pt x="6694" y="58"/>
                </a:cubicBezTo>
                <a:cubicBezTo>
                  <a:pt x="6695" y="58"/>
                  <a:pt x="6696" y="57"/>
                  <a:pt x="6696" y="57"/>
                </a:cubicBezTo>
                <a:cubicBezTo>
                  <a:pt x="6699" y="57"/>
                  <a:pt x="6703" y="57"/>
                  <a:pt x="6706" y="57"/>
                </a:cubicBezTo>
                <a:cubicBezTo>
                  <a:pt x="6711" y="57"/>
                  <a:pt x="6719" y="57"/>
                  <a:pt x="6723" y="57"/>
                </a:cubicBezTo>
                <a:cubicBezTo>
                  <a:pt x="6736" y="58"/>
                  <a:pt x="6749" y="58"/>
                  <a:pt x="6762" y="57"/>
                </a:cubicBezTo>
                <a:cubicBezTo>
                  <a:pt x="6769" y="57"/>
                  <a:pt x="6776" y="57"/>
                  <a:pt x="6783" y="57"/>
                </a:cubicBezTo>
                <a:cubicBezTo>
                  <a:pt x="6785" y="56"/>
                  <a:pt x="6788" y="56"/>
                  <a:pt x="6791" y="56"/>
                </a:cubicBezTo>
                <a:cubicBezTo>
                  <a:pt x="6794" y="56"/>
                  <a:pt x="6796" y="55"/>
                  <a:pt x="6801" y="55"/>
                </a:cubicBezTo>
                <a:cubicBezTo>
                  <a:pt x="6802" y="55"/>
                  <a:pt x="6802" y="55"/>
                  <a:pt x="6803" y="55"/>
                </a:cubicBezTo>
                <a:cubicBezTo>
                  <a:pt x="6803" y="55"/>
                  <a:pt x="6804" y="56"/>
                  <a:pt x="6804" y="56"/>
                </a:cubicBezTo>
                <a:cubicBezTo>
                  <a:pt x="6806" y="56"/>
                  <a:pt x="6809" y="57"/>
                  <a:pt x="6812" y="57"/>
                </a:cubicBezTo>
                <a:cubicBezTo>
                  <a:pt x="6813" y="57"/>
                  <a:pt x="6814" y="57"/>
                  <a:pt x="6815" y="57"/>
                </a:cubicBezTo>
                <a:cubicBezTo>
                  <a:pt x="6818" y="57"/>
                  <a:pt x="6818" y="56"/>
                  <a:pt x="6819" y="56"/>
                </a:cubicBezTo>
                <a:cubicBezTo>
                  <a:pt x="6821" y="55"/>
                  <a:pt x="6823" y="55"/>
                  <a:pt x="6826" y="55"/>
                </a:cubicBezTo>
                <a:cubicBezTo>
                  <a:pt x="6828" y="54"/>
                  <a:pt x="6830" y="54"/>
                  <a:pt x="6833" y="54"/>
                </a:cubicBezTo>
                <a:cubicBezTo>
                  <a:pt x="6836" y="54"/>
                  <a:pt x="6839" y="55"/>
                  <a:pt x="6843" y="55"/>
                </a:cubicBezTo>
                <a:cubicBezTo>
                  <a:pt x="6848" y="54"/>
                  <a:pt x="6848" y="54"/>
                  <a:pt x="6851" y="53"/>
                </a:cubicBezTo>
                <a:cubicBezTo>
                  <a:pt x="6854" y="53"/>
                  <a:pt x="6862" y="53"/>
                  <a:pt x="6866" y="53"/>
                </a:cubicBezTo>
                <a:cubicBezTo>
                  <a:pt x="6873" y="53"/>
                  <a:pt x="6880" y="53"/>
                  <a:pt x="6887" y="54"/>
                </a:cubicBezTo>
                <a:cubicBezTo>
                  <a:pt x="6889" y="54"/>
                  <a:pt x="6893" y="54"/>
                  <a:pt x="6896" y="54"/>
                </a:cubicBezTo>
                <a:cubicBezTo>
                  <a:pt x="6898" y="54"/>
                  <a:pt x="6900" y="55"/>
                  <a:pt x="6903" y="56"/>
                </a:cubicBezTo>
                <a:cubicBezTo>
                  <a:pt x="6905" y="56"/>
                  <a:pt x="6908" y="56"/>
                  <a:pt x="6910" y="55"/>
                </a:cubicBezTo>
                <a:cubicBezTo>
                  <a:pt x="6911" y="55"/>
                  <a:pt x="6911" y="55"/>
                  <a:pt x="6912" y="54"/>
                </a:cubicBezTo>
                <a:cubicBezTo>
                  <a:pt x="6913" y="54"/>
                  <a:pt x="6915" y="54"/>
                  <a:pt x="6916" y="55"/>
                </a:cubicBezTo>
                <a:cubicBezTo>
                  <a:pt x="6916" y="55"/>
                  <a:pt x="6917" y="55"/>
                  <a:pt x="6918" y="56"/>
                </a:cubicBezTo>
                <a:cubicBezTo>
                  <a:pt x="6919" y="56"/>
                  <a:pt x="6921" y="56"/>
                  <a:pt x="6922" y="55"/>
                </a:cubicBezTo>
                <a:cubicBezTo>
                  <a:pt x="6924" y="55"/>
                  <a:pt x="6924" y="54"/>
                  <a:pt x="6927" y="54"/>
                </a:cubicBezTo>
                <a:cubicBezTo>
                  <a:pt x="6929" y="53"/>
                  <a:pt x="6932" y="54"/>
                  <a:pt x="6935" y="54"/>
                </a:cubicBezTo>
                <a:cubicBezTo>
                  <a:pt x="6936" y="54"/>
                  <a:pt x="6936" y="54"/>
                  <a:pt x="6936" y="54"/>
                </a:cubicBezTo>
                <a:cubicBezTo>
                  <a:pt x="6938" y="55"/>
                  <a:pt x="6943" y="54"/>
                  <a:pt x="6946" y="55"/>
                </a:cubicBezTo>
                <a:cubicBezTo>
                  <a:pt x="6948" y="55"/>
                  <a:pt x="6949" y="56"/>
                  <a:pt x="6952" y="56"/>
                </a:cubicBezTo>
                <a:cubicBezTo>
                  <a:pt x="6955" y="56"/>
                  <a:pt x="6957" y="56"/>
                  <a:pt x="6960" y="56"/>
                </a:cubicBezTo>
                <a:cubicBezTo>
                  <a:pt x="6961" y="56"/>
                  <a:pt x="6963" y="56"/>
                  <a:pt x="6964" y="56"/>
                </a:cubicBezTo>
                <a:cubicBezTo>
                  <a:pt x="6965" y="56"/>
                  <a:pt x="6966" y="55"/>
                  <a:pt x="6968" y="55"/>
                </a:cubicBezTo>
                <a:cubicBezTo>
                  <a:pt x="6969" y="55"/>
                  <a:pt x="6969" y="55"/>
                  <a:pt x="6970" y="55"/>
                </a:cubicBezTo>
                <a:cubicBezTo>
                  <a:pt x="6970" y="54"/>
                  <a:pt x="6970" y="54"/>
                  <a:pt x="6971" y="54"/>
                </a:cubicBezTo>
                <a:cubicBezTo>
                  <a:pt x="6972" y="53"/>
                  <a:pt x="6974" y="54"/>
                  <a:pt x="6975" y="54"/>
                </a:cubicBezTo>
                <a:cubicBezTo>
                  <a:pt x="6978" y="54"/>
                  <a:pt x="6980" y="53"/>
                  <a:pt x="6982" y="53"/>
                </a:cubicBezTo>
                <a:cubicBezTo>
                  <a:pt x="6985" y="53"/>
                  <a:pt x="6989" y="53"/>
                  <a:pt x="6992" y="53"/>
                </a:cubicBezTo>
                <a:cubicBezTo>
                  <a:pt x="6999" y="54"/>
                  <a:pt x="7006" y="54"/>
                  <a:pt x="7013" y="54"/>
                </a:cubicBezTo>
                <a:cubicBezTo>
                  <a:pt x="7017" y="54"/>
                  <a:pt x="7032" y="55"/>
                  <a:pt x="7035" y="56"/>
                </a:cubicBezTo>
                <a:cubicBezTo>
                  <a:pt x="7035" y="56"/>
                  <a:pt x="7040" y="56"/>
                  <a:pt x="7046" y="56"/>
                </a:cubicBezTo>
                <a:cubicBezTo>
                  <a:pt x="7049" y="56"/>
                  <a:pt x="7053" y="56"/>
                  <a:pt x="7056" y="56"/>
                </a:cubicBezTo>
                <a:cubicBezTo>
                  <a:pt x="7061" y="56"/>
                  <a:pt x="7063" y="53"/>
                  <a:pt x="7068" y="53"/>
                </a:cubicBezTo>
                <a:cubicBezTo>
                  <a:pt x="7071" y="53"/>
                  <a:pt x="7076" y="54"/>
                  <a:pt x="7079" y="54"/>
                </a:cubicBezTo>
                <a:cubicBezTo>
                  <a:pt x="7084" y="55"/>
                  <a:pt x="7090" y="55"/>
                  <a:pt x="7095" y="56"/>
                </a:cubicBezTo>
                <a:cubicBezTo>
                  <a:pt x="7098" y="56"/>
                  <a:pt x="7103" y="57"/>
                  <a:pt x="7106" y="56"/>
                </a:cubicBezTo>
                <a:cubicBezTo>
                  <a:pt x="7107" y="56"/>
                  <a:pt x="7107" y="55"/>
                  <a:pt x="7107" y="55"/>
                </a:cubicBezTo>
                <a:cubicBezTo>
                  <a:pt x="7108" y="55"/>
                  <a:pt x="7111" y="54"/>
                  <a:pt x="7113" y="54"/>
                </a:cubicBezTo>
                <a:cubicBezTo>
                  <a:pt x="7116" y="54"/>
                  <a:pt x="7120" y="54"/>
                  <a:pt x="7123" y="54"/>
                </a:cubicBezTo>
                <a:cubicBezTo>
                  <a:pt x="7127" y="54"/>
                  <a:pt x="7137" y="54"/>
                  <a:pt x="7140" y="53"/>
                </a:cubicBezTo>
                <a:cubicBezTo>
                  <a:pt x="7140" y="53"/>
                  <a:pt x="7141" y="53"/>
                  <a:pt x="7141" y="53"/>
                </a:cubicBezTo>
                <a:cubicBezTo>
                  <a:pt x="7144" y="53"/>
                  <a:pt x="7146" y="53"/>
                  <a:pt x="7148" y="53"/>
                </a:cubicBezTo>
                <a:cubicBezTo>
                  <a:pt x="7149" y="53"/>
                  <a:pt x="7149" y="53"/>
                  <a:pt x="7150" y="53"/>
                </a:cubicBezTo>
                <a:cubicBezTo>
                  <a:pt x="7152" y="53"/>
                  <a:pt x="7154" y="53"/>
                  <a:pt x="7156" y="53"/>
                </a:cubicBezTo>
                <a:cubicBezTo>
                  <a:pt x="7157" y="53"/>
                  <a:pt x="7157" y="53"/>
                  <a:pt x="7158" y="53"/>
                </a:cubicBezTo>
                <a:cubicBezTo>
                  <a:pt x="7162" y="54"/>
                  <a:pt x="7168" y="54"/>
                  <a:pt x="7172" y="54"/>
                </a:cubicBezTo>
                <a:cubicBezTo>
                  <a:pt x="7178" y="54"/>
                  <a:pt x="7184" y="54"/>
                  <a:pt x="7190" y="54"/>
                </a:cubicBezTo>
                <a:cubicBezTo>
                  <a:pt x="7196" y="54"/>
                  <a:pt x="7202" y="54"/>
                  <a:pt x="7207" y="54"/>
                </a:cubicBezTo>
                <a:cubicBezTo>
                  <a:pt x="7211" y="54"/>
                  <a:pt x="7213" y="53"/>
                  <a:pt x="7216" y="53"/>
                </a:cubicBezTo>
                <a:cubicBezTo>
                  <a:pt x="7218" y="53"/>
                  <a:pt x="7220" y="53"/>
                  <a:pt x="7222" y="53"/>
                </a:cubicBezTo>
                <a:cubicBezTo>
                  <a:pt x="7224" y="53"/>
                  <a:pt x="7226" y="52"/>
                  <a:pt x="7228" y="52"/>
                </a:cubicBezTo>
                <a:cubicBezTo>
                  <a:pt x="7229" y="52"/>
                  <a:pt x="7229" y="52"/>
                  <a:pt x="7230" y="52"/>
                </a:cubicBezTo>
                <a:cubicBezTo>
                  <a:pt x="7230" y="52"/>
                  <a:pt x="7231" y="52"/>
                  <a:pt x="7231" y="52"/>
                </a:cubicBezTo>
                <a:cubicBezTo>
                  <a:pt x="7233" y="52"/>
                  <a:pt x="7234" y="53"/>
                  <a:pt x="7235" y="53"/>
                </a:cubicBezTo>
                <a:cubicBezTo>
                  <a:pt x="7240" y="53"/>
                  <a:pt x="7248" y="53"/>
                  <a:pt x="7253" y="52"/>
                </a:cubicBezTo>
                <a:cubicBezTo>
                  <a:pt x="7260" y="52"/>
                  <a:pt x="7266" y="52"/>
                  <a:pt x="7273" y="52"/>
                </a:cubicBezTo>
                <a:cubicBezTo>
                  <a:pt x="7289" y="52"/>
                  <a:pt x="7304" y="52"/>
                  <a:pt x="7320" y="52"/>
                </a:cubicBezTo>
                <a:cubicBezTo>
                  <a:pt x="7328" y="52"/>
                  <a:pt x="7335" y="52"/>
                  <a:pt x="7343" y="53"/>
                </a:cubicBezTo>
                <a:cubicBezTo>
                  <a:pt x="7345" y="54"/>
                  <a:pt x="7347" y="54"/>
                  <a:pt x="7350" y="54"/>
                </a:cubicBezTo>
                <a:cubicBezTo>
                  <a:pt x="7353" y="53"/>
                  <a:pt x="7354" y="53"/>
                  <a:pt x="7356" y="52"/>
                </a:cubicBezTo>
                <a:cubicBezTo>
                  <a:pt x="7361" y="52"/>
                  <a:pt x="7367" y="53"/>
                  <a:pt x="7371" y="53"/>
                </a:cubicBezTo>
                <a:cubicBezTo>
                  <a:pt x="7381" y="53"/>
                  <a:pt x="7390" y="52"/>
                  <a:pt x="7400" y="53"/>
                </a:cubicBezTo>
                <a:cubicBezTo>
                  <a:pt x="7400" y="53"/>
                  <a:pt x="7401" y="53"/>
                  <a:pt x="7402" y="54"/>
                </a:cubicBezTo>
                <a:cubicBezTo>
                  <a:pt x="7405" y="54"/>
                  <a:pt x="7409" y="54"/>
                  <a:pt x="7413" y="54"/>
                </a:cubicBezTo>
                <a:cubicBezTo>
                  <a:pt x="7415" y="54"/>
                  <a:pt x="7418" y="54"/>
                  <a:pt x="7420" y="53"/>
                </a:cubicBezTo>
                <a:cubicBezTo>
                  <a:pt x="7421" y="53"/>
                  <a:pt x="7418" y="52"/>
                  <a:pt x="7419" y="52"/>
                </a:cubicBezTo>
                <a:cubicBezTo>
                  <a:pt x="7421" y="51"/>
                  <a:pt x="7423" y="52"/>
                  <a:pt x="7425" y="52"/>
                </a:cubicBezTo>
                <a:cubicBezTo>
                  <a:pt x="7428" y="52"/>
                  <a:pt x="7429" y="52"/>
                  <a:pt x="7433" y="52"/>
                </a:cubicBezTo>
                <a:cubicBezTo>
                  <a:pt x="7438" y="52"/>
                  <a:pt x="7441" y="54"/>
                  <a:pt x="7446" y="54"/>
                </a:cubicBezTo>
                <a:cubicBezTo>
                  <a:pt x="7449" y="54"/>
                  <a:pt x="7451" y="53"/>
                  <a:pt x="7454" y="53"/>
                </a:cubicBezTo>
                <a:cubicBezTo>
                  <a:pt x="7456" y="53"/>
                  <a:pt x="7458" y="53"/>
                  <a:pt x="7461" y="53"/>
                </a:cubicBezTo>
                <a:cubicBezTo>
                  <a:pt x="7464" y="53"/>
                  <a:pt x="7466" y="52"/>
                  <a:pt x="7469" y="52"/>
                </a:cubicBezTo>
                <a:cubicBezTo>
                  <a:pt x="7470" y="52"/>
                  <a:pt x="7472" y="52"/>
                  <a:pt x="7475" y="52"/>
                </a:cubicBezTo>
                <a:cubicBezTo>
                  <a:pt x="7476" y="52"/>
                  <a:pt x="7477" y="52"/>
                  <a:pt x="7478" y="52"/>
                </a:cubicBezTo>
                <a:cubicBezTo>
                  <a:pt x="7484" y="53"/>
                  <a:pt x="7491" y="52"/>
                  <a:pt x="7497" y="52"/>
                </a:cubicBezTo>
                <a:cubicBezTo>
                  <a:pt x="7557" y="52"/>
                  <a:pt x="7584" y="52"/>
                  <a:pt x="7586" y="51"/>
                </a:cubicBezTo>
                <a:cubicBezTo>
                  <a:pt x="7587" y="51"/>
                  <a:pt x="7619" y="51"/>
                  <a:pt x="7626" y="52"/>
                </a:cubicBezTo>
                <a:cubicBezTo>
                  <a:pt x="7633" y="52"/>
                  <a:pt x="7640" y="53"/>
                  <a:pt x="7647" y="53"/>
                </a:cubicBezTo>
                <a:cubicBezTo>
                  <a:pt x="7649" y="54"/>
                  <a:pt x="7655" y="53"/>
                  <a:pt x="7656" y="53"/>
                </a:cubicBezTo>
                <a:cubicBezTo>
                  <a:pt x="7659" y="54"/>
                  <a:pt x="7654" y="55"/>
                  <a:pt x="7653" y="55"/>
                </a:cubicBezTo>
                <a:cubicBezTo>
                  <a:pt x="7653" y="56"/>
                  <a:pt x="7653" y="56"/>
                  <a:pt x="7655" y="56"/>
                </a:cubicBezTo>
                <a:cubicBezTo>
                  <a:pt x="7657" y="56"/>
                  <a:pt x="7660" y="56"/>
                  <a:pt x="7662" y="56"/>
                </a:cubicBezTo>
                <a:cubicBezTo>
                  <a:pt x="7665" y="55"/>
                  <a:pt x="7668" y="55"/>
                  <a:pt x="7671" y="55"/>
                </a:cubicBezTo>
                <a:cubicBezTo>
                  <a:pt x="7677" y="54"/>
                  <a:pt x="7682" y="54"/>
                  <a:pt x="7688" y="54"/>
                </a:cubicBezTo>
                <a:cubicBezTo>
                  <a:pt x="7689" y="54"/>
                  <a:pt x="7691" y="54"/>
                  <a:pt x="7692" y="54"/>
                </a:cubicBezTo>
                <a:cubicBezTo>
                  <a:pt x="7694" y="55"/>
                  <a:pt x="7694" y="55"/>
                  <a:pt x="7696" y="55"/>
                </a:cubicBezTo>
                <a:cubicBezTo>
                  <a:pt x="7697" y="56"/>
                  <a:pt x="7699" y="56"/>
                  <a:pt x="7701" y="56"/>
                </a:cubicBezTo>
                <a:cubicBezTo>
                  <a:pt x="7702" y="56"/>
                  <a:pt x="7702" y="56"/>
                  <a:pt x="7703" y="55"/>
                </a:cubicBezTo>
                <a:cubicBezTo>
                  <a:pt x="7707" y="53"/>
                  <a:pt x="7723" y="53"/>
                  <a:pt x="7732" y="53"/>
                </a:cubicBezTo>
                <a:cubicBezTo>
                  <a:pt x="7749" y="53"/>
                  <a:pt x="7767" y="53"/>
                  <a:pt x="7773" y="53"/>
                </a:cubicBezTo>
                <a:cubicBezTo>
                  <a:pt x="7783" y="53"/>
                  <a:pt x="7791" y="53"/>
                  <a:pt x="7801" y="51"/>
                </a:cubicBezTo>
                <a:cubicBezTo>
                  <a:pt x="7805" y="51"/>
                  <a:pt x="7811" y="51"/>
                  <a:pt x="7816" y="51"/>
                </a:cubicBezTo>
                <a:cubicBezTo>
                  <a:pt x="7820" y="52"/>
                  <a:pt x="7825" y="52"/>
                  <a:pt x="7830" y="52"/>
                </a:cubicBezTo>
                <a:cubicBezTo>
                  <a:pt x="7833" y="53"/>
                  <a:pt x="7837" y="53"/>
                  <a:pt x="7840" y="52"/>
                </a:cubicBezTo>
                <a:cubicBezTo>
                  <a:pt x="7855" y="52"/>
                  <a:pt x="7870" y="52"/>
                  <a:pt x="7885" y="52"/>
                </a:cubicBezTo>
                <a:cubicBezTo>
                  <a:pt x="7902" y="52"/>
                  <a:pt x="7918" y="52"/>
                  <a:pt x="7935" y="52"/>
                </a:cubicBezTo>
                <a:cubicBezTo>
                  <a:pt x="7990" y="52"/>
                  <a:pt x="8047" y="51"/>
                  <a:pt x="8063" y="51"/>
                </a:cubicBezTo>
                <a:cubicBezTo>
                  <a:pt x="8069" y="51"/>
                  <a:pt x="8075" y="51"/>
                  <a:pt x="8081" y="51"/>
                </a:cubicBezTo>
                <a:cubicBezTo>
                  <a:pt x="8086" y="51"/>
                  <a:pt x="8092" y="52"/>
                  <a:pt x="8095" y="51"/>
                </a:cubicBezTo>
                <a:cubicBezTo>
                  <a:pt x="8096" y="51"/>
                  <a:pt x="8096" y="51"/>
                  <a:pt x="8096" y="51"/>
                </a:cubicBezTo>
                <a:cubicBezTo>
                  <a:pt x="8096" y="52"/>
                  <a:pt x="8098" y="52"/>
                  <a:pt x="8100" y="52"/>
                </a:cubicBezTo>
                <a:cubicBezTo>
                  <a:pt x="8101" y="52"/>
                  <a:pt x="8103" y="52"/>
                  <a:pt x="8104" y="51"/>
                </a:cubicBezTo>
                <a:cubicBezTo>
                  <a:pt x="8105" y="51"/>
                  <a:pt x="8106" y="51"/>
                  <a:pt x="8107" y="50"/>
                </a:cubicBezTo>
                <a:cubicBezTo>
                  <a:pt x="8112" y="50"/>
                  <a:pt x="8124" y="50"/>
                  <a:pt x="8130" y="51"/>
                </a:cubicBezTo>
                <a:cubicBezTo>
                  <a:pt x="8134" y="51"/>
                  <a:pt x="8143" y="51"/>
                  <a:pt x="8147" y="51"/>
                </a:cubicBezTo>
                <a:cubicBezTo>
                  <a:pt x="8147" y="51"/>
                  <a:pt x="8148" y="51"/>
                  <a:pt x="8149" y="50"/>
                </a:cubicBezTo>
                <a:cubicBezTo>
                  <a:pt x="8150" y="50"/>
                  <a:pt x="8152" y="50"/>
                  <a:pt x="8153" y="50"/>
                </a:cubicBezTo>
                <a:cubicBezTo>
                  <a:pt x="8155" y="50"/>
                  <a:pt x="8155" y="49"/>
                  <a:pt x="8157" y="49"/>
                </a:cubicBezTo>
                <a:cubicBezTo>
                  <a:pt x="8160" y="49"/>
                  <a:pt x="8165" y="50"/>
                  <a:pt x="8164" y="51"/>
                </a:cubicBezTo>
                <a:cubicBezTo>
                  <a:pt x="8163" y="51"/>
                  <a:pt x="8162" y="51"/>
                  <a:pt x="8162" y="52"/>
                </a:cubicBezTo>
                <a:cubicBezTo>
                  <a:pt x="8162" y="52"/>
                  <a:pt x="8164" y="52"/>
                  <a:pt x="8165" y="52"/>
                </a:cubicBezTo>
                <a:cubicBezTo>
                  <a:pt x="8166" y="52"/>
                  <a:pt x="8167" y="52"/>
                  <a:pt x="8168" y="52"/>
                </a:cubicBezTo>
                <a:cubicBezTo>
                  <a:pt x="8173" y="51"/>
                  <a:pt x="8181" y="51"/>
                  <a:pt x="8187" y="51"/>
                </a:cubicBezTo>
                <a:cubicBezTo>
                  <a:pt x="8192" y="51"/>
                  <a:pt x="8204" y="50"/>
                  <a:pt x="8209" y="51"/>
                </a:cubicBezTo>
                <a:cubicBezTo>
                  <a:pt x="8210" y="51"/>
                  <a:pt x="8210" y="51"/>
                  <a:pt x="8211" y="51"/>
                </a:cubicBezTo>
                <a:cubicBezTo>
                  <a:pt x="8213" y="51"/>
                  <a:pt x="8214" y="51"/>
                  <a:pt x="8216" y="51"/>
                </a:cubicBezTo>
                <a:cubicBezTo>
                  <a:pt x="8221" y="51"/>
                  <a:pt x="8226" y="52"/>
                  <a:pt x="8231" y="51"/>
                </a:cubicBezTo>
                <a:cubicBezTo>
                  <a:pt x="8236" y="51"/>
                  <a:pt x="8256" y="51"/>
                  <a:pt x="8274" y="51"/>
                </a:cubicBezTo>
                <a:cubicBezTo>
                  <a:pt x="8281" y="51"/>
                  <a:pt x="8288" y="51"/>
                  <a:pt x="8295" y="51"/>
                </a:cubicBezTo>
                <a:cubicBezTo>
                  <a:pt x="8299" y="51"/>
                  <a:pt x="8303" y="51"/>
                  <a:pt x="8307" y="51"/>
                </a:cubicBezTo>
                <a:cubicBezTo>
                  <a:pt x="8309" y="50"/>
                  <a:pt x="8310" y="50"/>
                  <a:pt x="8312" y="50"/>
                </a:cubicBezTo>
                <a:cubicBezTo>
                  <a:pt x="8315" y="49"/>
                  <a:pt x="8318" y="49"/>
                  <a:pt x="8321" y="49"/>
                </a:cubicBezTo>
                <a:cubicBezTo>
                  <a:pt x="8320" y="49"/>
                  <a:pt x="8323" y="50"/>
                  <a:pt x="8324" y="51"/>
                </a:cubicBezTo>
                <a:cubicBezTo>
                  <a:pt x="8326" y="51"/>
                  <a:pt x="8328" y="51"/>
                  <a:pt x="8329" y="51"/>
                </a:cubicBezTo>
                <a:cubicBezTo>
                  <a:pt x="8335" y="51"/>
                  <a:pt x="8340" y="51"/>
                  <a:pt x="8346" y="51"/>
                </a:cubicBezTo>
                <a:cubicBezTo>
                  <a:pt x="8358" y="51"/>
                  <a:pt x="8370" y="51"/>
                  <a:pt x="8382" y="51"/>
                </a:cubicBezTo>
                <a:cubicBezTo>
                  <a:pt x="8393" y="51"/>
                  <a:pt x="8404" y="51"/>
                  <a:pt x="8416" y="51"/>
                </a:cubicBezTo>
                <a:cubicBezTo>
                  <a:pt x="8425" y="51"/>
                  <a:pt x="8437" y="52"/>
                  <a:pt x="8445" y="50"/>
                </a:cubicBezTo>
                <a:cubicBezTo>
                  <a:pt x="8446" y="50"/>
                  <a:pt x="8447" y="50"/>
                  <a:pt x="8448" y="50"/>
                </a:cubicBezTo>
                <a:cubicBezTo>
                  <a:pt x="8449" y="50"/>
                  <a:pt x="8451" y="50"/>
                  <a:pt x="8452" y="50"/>
                </a:cubicBezTo>
                <a:cubicBezTo>
                  <a:pt x="8453" y="50"/>
                  <a:pt x="8454" y="50"/>
                  <a:pt x="8455" y="50"/>
                </a:cubicBezTo>
                <a:cubicBezTo>
                  <a:pt x="8457" y="50"/>
                  <a:pt x="8458" y="50"/>
                  <a:pt x="8460" y="50"/>
                </a:cubicBezTo>
                <a:cubicBezTo>
                  <a:pt x="8468" y="50"/>
                  <a:pt x="8476" y="50"/>
                  <a:pt x="8484" y="50"/>
                </a:cubicBezTo>
                <a:cubicBezTo>
                  <a:pt x="8492" y="50"/>
                  <a:pt x="8501" y="50"/>
                  <a:pt x="8509" y="51"/>
                </a:cubicBezTo>
                <a:cubicBezTo>
                  <a:pt x="8527" y="51"/>
                  <a:pt x="8545" y="50"/>
                  <a:pt x="8563" y="50"/>
                </a:cubicBezTo>
                <a:cubicBezTo>
                  <a:pt x="8595" y="50"/>
                  <a:pt x="8626" y="50"/>
                  <a:pt x="8659" y="49"/>
                </a:cubicBezTo>
                <a:cubicBezTo>
                  <a:pt x="8659" y="49"/>
                  <a:pt x="8659" y="50"/>
                  <a:pt x="8659" y="50"/>
                </a:cubicBezTo>
                <a:cubicBezTo>
                  <a:pt x="8659" y="50"/>
                  <a:pt x="8660" y="50"/>
                  <a:pt x="8660" y="50"/>
                </a:cubicBezTo>
                <a:cubicBezTo>
                  <a:pt x="8661" y="50"/>
                  <a:pt x="8662" y="50"/>
                  <a:pt x="8663" y="50"/>
                </a:cubicBezTo>
                <a:cubicBezTo>
                  <a:pt x="8667" y="50"/>
                  <a:pt x="8670" y="51"/>
                  <a:pt x="8674" y="51"/>
                </a:cubicBezTo>
                <a:cubicBezTo>
                  <a:pt x="8678" y="51"/>
                  <a:pt x="8682" y="51"/>
                  <a:pt x="8686" y="51"/>
                </a:cubicBezTo>
                <a:cubicBezTo>
                  <a:pt x="8688" y="51"/>
                  <a:pt x="8690" y="52"/>
                  <a:pt x="8693" y="52"/>
                </a:cubicBezTo>
                <a:cubicBezTo>
                  <a:pt x="8696" y="51"/>
                  <a:pt x="8698" y="50"/>
                  <a:pt x="8700" y="50"/>
                </a:cubicBezTo>
                <a:cubicBezTo>
                  <a:pt x="8703" y="50"/>
                  <a:pt x="8708" y="50"/>
                  <a:pt x="8711" y="50"/>
                </a:cubicBezTo>
                <a:cubicBezTo>
                  <a:pt x="8720" y="50"/>
                  <a:pt x="8736" y="51"/>
                  <a:pt x="8746" y="50"/>
                </a:cubicBezTo>
                <a:cubicBezTo>
                  <a:pt x="8761" y="50"/>
                  <a:pt x="8803" y="50"/>
                  <a:pt x="8826" y="50"/>
                </a:cubicBezTo>
                <a:cubicBezTo>
                  <a:pt x="8831" y="51"/>
                  <a:pt x="8842" y="50"/>
                  <a:pt x="8852" y="50"/>
                </a:cubicBezTo>
                <a:cubicBezTo>
                  <a:pt x="8858" y="50"/>
                  <a:pt x="8863" y="50"/>
                  <a:pt x="8869" y="50"/>
                </a:cubicBezTo>
                <a:cubicBezTo>
                  <a:pt x="8869" y="51"/>
                  <a:pt x="8870" y="51"/>
                  <a:pt x="8872" y="51"/>
                </a:cubicBezTo>
                <a:cubicBezTo>
                  <a:pt x="8873" y="51"/>
                  <a:pt x="8875" y="51"/>
                  <a:pt x="8876" y="51"/>
                </a:cubicBezTo>
                <a:cubicBezTo>
                  <a:pt x="8879" y="52"/>
                  <a:pt x="8882" y="52"/>
                  <a:pt x="8884" y="52"/>
                </a:cubicBezTo>
                <a:cubicBezTo>
                  <a:pt x="8886" y="51"/>
                  <a:pt x="8887" y="51"/>
                  <a:pt x="8888" y="51"/>
                </a:cubicBezTo>
                <a:cubicBezTo>
                  <a:pt x="8893" y="51"/>
                  <a:pt x="8901" y="50"/>
                  <a:pt x="8906" y="51"/>
                </a:cubicBezTo>
                <a:cubicBezTo>
                  <a:pt x="8912" y="51"/>
                  <a:pt x="8915" y="53"/>
                  <a:pt x="8918" y="54"/>
                </a:cubicBezTo>
                <a:cubicBezTo>
                  <a:pt x="8920" y="54"/>
                  <a:pt x="8922" y="55"/>
                  <a:pt x="8924" y="54"/>
                </a:cubicBezTo>
                <a:cubicBezTo>
                  <a:pt x="8927" y="53"/>
                  <a:pt x="8931" y="53"/>
                  <a:pt x="8934" y="52"/>
                </a:cubicBezTo>
                <a:cubicBezTo>
                  <a:pt x="8934" y="51"/>
                  <a:pt x="8935" y="51"/>
                  <a:pt x="8935" y="51"/>
                </a:cubicBezTo>
                <a:cubicBezTo>
                  <a:pt x="8936" y="51"/>
                  <a:pt x="8938" y="51"/>
                  <a:pt x="8939" y="51"/>
                </a:cubicBezTo>
                <a:cubicBezTo>
                  <a:pt x="8940" y="51"/>
                  <a:pt x="8940" y="51"/>
                  <a:pt x="8941" y="51"/>
                </a:cubicBezTo>
                <a:cubicBezTo>
                  <a:pt x="8945" y="50"/>
                  <a:pt x="8955" y="51"/>
                  <a:pt x="8959" y="51"/>
                </a:cubicBezTo>
                <a:cubicBezTo>
                  <a:pt x="8969" y="51"/>
                  <a:pt x="8978" y="51"/>
                  <a:pt x="8987" y="51"/>
                </a:cubicBezTo>
                <a:cubicBezTo>
                  <a:pt x="9005" y="51"/>
                  <a:pt x="9024" y="51"/>
                  <a:pt x="9042" y="51"/>
                </a:cubicBezTo>
                <a:cubicBezTo>
                  <a:pt x="9044" y="51"/>
                  <a:pt x="9046" y="51"/>
                  <a:pt x="9048" y="51"/>
                </a:cubicBezTo>
                <a:cubicBezTo>
                  <a:pt x="9048" y="50"/>
                  <a:pt x="9049" y="50"/>
                  <a:pt x="9049" y="50"/>
                </a:cubicBezTo>
                <a:cubicBezTo>
                  <a:pt x="9050" y="50"/>
                  <a:pt x="9051" y="50"/>
                  <a:pt x="9052" y="50"/>
                </a:cubicBezTo>
                <a:cubicBezTo>
                  <a:pt x="9052" y="50"/>
                  <a:pt x="9053" y="50"/>
                  <a:pt x="9053" y="50"/>
                </a:cubicBezTo>
                <a:cubicBezTo>
                  <a:pt x="9055" y="50"/>
                  <a:pt x="9063" y="50"/>
                  <a:pt x="9065" y="50"/>
                </a:cubicBezTo>
                <a:cubicBezTo>
                  <a:pt x="9068" y="50"/>
                  <a:pt x="9072" y="50"/>
                  <a:pt x="9077" y="51"/>
                </a:cubicBezTo>
                <a:cubicBezTo>
                  <a:pt x="9082" y="51"/>
                  <a:pt x="9087" y="51"/>
                  <a:pt x="9092" y="51"/>
                </a:cubicBezTo>
                <a:cubicBezTo>
                  <a:pt x="9092" y="51"/>
                  <a:pt x="9093" y="51"/>
                  <a:pt x="9093" y="51"/>
                </a:cubicBezTo>
                <a:cubicBezTo>
                  <a:pt x="9094" y="51"/>
                  <a:pt x="9095" y="51"/>
                  <a:pt x="9095" y="51"/>
                </a:cubicBezTo>
                <a:cubicBezTo>
                  <a:pt x="9097" y="50"/>
                  <a:pt x="9100" y="50"/>
                  <a:pt x="9102" y="50"/>
                </a:cubicBezTo>
                <a:cubicBezTo>
                  <a:pt x="9102" y="51"/>
                  <a:pt x="9103" y="51"/>
                  <a:pt x="9104" y="51"/>
                </a:cubicBezTo>
                <a:cubicBezTo>
                  <a:pt x="9108" y="51"/>
                  <a:pt x="9112" y="51"/>
                  <a:pt x="9116" y="51"/>
                </a:cubicBezTo>
                <a:cubicBezTo>
                  <a:pt x="9119" y="51"/>
                  <a:pt x="9124" y="51"/>
                  <a:pt x="9128" y="52"/>
                </a:cubicBezTo>
                <a:cubicBezTo>
                  <a:pt x="9130" y="52"/>
                  <a:pt x="9132" y="53"/>
                  <a:pt x="9135" y="53"/>
                </a:cubicBezTo>
                <a:cubicBezTo>
                  <a:pt x="9139" y="53"/>
                  <a:pt x="9146" y="50"/>
                  <a:pt x="9150" y="51"/>
                </a:cubicBezTo>
                <a:cubicBezTo>
                  <a:pt x="9151" y="51"/>
                  <a:pt x="9150" y="52"/>
                  <a:pt x="9150" y="52"/>
                </a:cubicBezTo>
                <a:cubicBezTo>
                  <a:pt x="9150" y="52"/>
                  <a:pt x="9149" y="52"/>
                  <a:pt x="9149" y="53"/>
                </a:cubicBezTo>
                <a:cubicBezTo>
                  <a:pt x="9150" y="53"/>
                  <a:pt x="9150" y="53"/>
                  <a:pt x="9151" y="53"/>
                </a:cubicBezTo>
                <a:cubicBezTo>
                  <a:pt x="9154" y="53"/>
                  <a:pt x="9157" y="53"/>
                  <a:pt x="9159" y="52"/>
                </a:cubicBezTo>
                <a:cubicBezTo>
                  <a:pt x="9159" y="52"/>
                  <a:pt x="9160" y="52"/>
                  <a:pt x="9161" y="52"/>
                </a:cubicBezTo>
                <a:cubicBezTo>
                  <a:pt x="9169" y="51"/>
                  <a:pt x="9180" y="51"/>
                  <a:pt x="9189" y="51"/>
                </a:cubicBezTo>
                <a:cubicBezTo>
                  <a:pt x="9198" y="51"/>
                  <a:pt x="9206" y="51"/>
                  <a:pt x="9214" y="51"/>
                </a:cubicBezTo>
                <a:cubicBezTo>
                  <a:pt x="9218" y="51"/>
                  <a:pt x="9223" y="51"/>
                  <a:pt x="9227" y="52"/>
                </a:cubicBezTo>
                <a:cubicBezTo>
                  <a:pt x="9232" y="52"/>
                  <a:pt x="9230" y="52"/>
                  <a:pt x="9233" y="53"/>
                </a:cubicBezTo>
                <a:cubicBezTo>
                  <a:pt x="9234" y="54"/>
                  <a:pt x="9235" y="54"/>
                  <a:pt x="9235" y="55"/>
                </a:cubicBezTo>
                <a:cubicBezTo>
                  <a:pt x="9237" y="55"/>
                  <a:pt x="9238" y="55"/>
                  <a:pt x="9239" y="55"/>
                </a:cubicBezTo>
                <a:cubicBezTo>
                  <a:pt x="9241" y="55"/>
                  <a:pt x="9243" y="54"/>
                  <a:pt x="9243" y="54"/>
                </a:cubicBezTo>
                <a:cubicBezTo>
                  <a:pt x="9244" y="53"/>
                  <a:pt x="9245" y="53"/>
                  <a:pt x="9248" y="52"/>
                </a:cubicBezTo>
                <a:cubicBezTo>
                  <a:pt x="9252" y="52"/>
                  <a:pt x="9257" y="52"/>
                  <a:pt x="9261" y="52"/>
                </a:cubicBezTo>
                <a:cubicBezTo>
                  <a:pt x="9267" y="52"/>
                  <a:pt x="9272" y="53"/>
                  <a:pt x="9278" y="53"/>
                </a:cubicBezTo>
                <a:cubicBezTo>
                  <a:pt x="9286" y="53"/>
                  <a:pt x="9294" y="53"/>
                  <a:pt x="9302" y="53"/>
                </a:cubicBezTo>
                <a:cubicBezTo>
                  <a:pt x="9306" y="52"/>
                  <a:pt x="9310" y="52"/>
                  <a:pt x="9314" y="52"/>
                </a:cubicBezTo>
                <a:cubicBezTo>
                  <a:pt x="9316" y="52"/>
                  <a:pt x="9318" y="52"/>
                  <a:pt x="9319" y="52"/>
                </a:cubicBezTo>
                <a:cubicBezTo>
                  <a:pt x="9322" y="52"/>
                  <a:pt x="9321" y="53"/>
                  <a:pt x="9323" y="53"/>
                </a:cubicBezTo>
                <a:cubicBezTo>
                  <a:pt x="9325" y="53"/>
                  <a:pt x="9326" y="53"/>
                  <a:pt x="9328" y="54"/>
                </a:cubicBezTo>
                <a:cubicBezTo>
                  <a:pt x="9328" y="54"/>
                  <a:pt x="9329" y="54"/>
                  <a:pt x="9329" y="54"/>
                </a:cubicBezTo>
                <a:cubicBezTo>
                  <a:pt x="9330" y="54"/>
                  <a:pt x="9330" y="53"/>
                  <a:pt x="9331" y="53"/>
                </a:cubicBezTo>
                <a:cubicBezTo>
                  <a:pt x="9332" y="53"/>
                  <a:pt x="9335" y="53"/>
                  <a:pt x="9338" y="52"/>
                </a:cubicBezTo>
                <a:cubicBezTo>
                  <a:pt x="9340" y="52"/>
                  <a:pt x="9342" y="51"/>
                  <a:pt x="9346" y="51"/>
                </a:cubicBezTo>
                <a:cubicBezTo>
                  <a:pt x="9348" y="51"/>
                  <a:pt x="9349" y="51"/>
                  <a:pt x="9351" y="51"/>
                </a:cubicBezTo>
                <a:cubicBezTo>
                  <a:pt x="9361" y="51"/>
                  <a:pt x="9372" y="51"/>
                  <a:pt x="9382" y="51"/>
                </a:cubicBezTo>
                <a:cubicBezTo>
                  <a:pt x="9390" y="51"/>
                  <a:pt x="9394" y="52"/>
                  <a:pt x="9400" y="53"/>
                </a:cubicBezTo>
                <a:cubicBezTo>
                  <a:pt x="9401" y="54"/>
                  <a:pt x="9402" y="54"/>
                  <a:pt x="9403" y="54"/>
                </a:cubicBezTo>
                <a:cubicBezTo>
                  <a:pt x="9406" y="54"/>
                  <a:pt x="9408" y="52"/>
                  <a:pt x="9411" y="52"/>
                </a:cubicBezTo>
                <a:cubicBezTo>
                  <a:pt x="9413" y="52"/>
                  <a:pt x="9415" y="52"/>
                  <a:pt x="9417" y="53"/>
                </a:cubicBezTo>
                <a:cubicBezTo>
                  <a:pt x="9425" y="54"/>
                  <a:pt x="9432" y="53"/>
                  <a:pt x="9439" y="52"/>
                </a:cubicBezTo>
                <a:cubicBezTo>
                  <a:pt x="9443" y="52"/>
                  <a:pt x="9446" y="51"/>
                  <a:pt x="9449" y="51"/>
                </a:cubicBezTo>
                <a:cubicBezTo>
                  <a:pt x="9456" y="51"/>
                  <a:pt x="9463" y="51"/>
                  <a:pt x="9471" y="51"/>
                </a:cubicBezTo>
                <a:cubicBezTo>
                  <a:pt x="9472" y="51"/>
                  <a:pt x="9474" y="51"/>
                  <a:pt x="9476" y="51"/>
                </a:cubicBezTo>
                <a:cubicBezTo>
                  <a:pt x="9483" y="52"/>
                  <a:pt x="9490" y="52"/>
                  <a:pt x="9498" y="52"/>
                </a:cubicBezTo>
                <a:cubicBezTo>
                  <a:pt x="9503" y="52"/>
                  <a:pt x="9509" y="52"/>
                  <a:pt x="9515" y="53"/>
                </a:cubicBezTo>
                <a:cubicBezTo>
                  <a:pt x="9520" y="53"/>
                  <a:pt x="9525" y="54"/>
                  <a:pt x="9530" y="55"/>
                </a:cubicBezTo>
                <a:cubicBezTo>
                  <a:pt x="9530" y="55"/>
                  <a:pt x="9531" y="55"/>
                  <a:pt x="9533" y="55"/>
                </a:cubicBezTo>
                <a:cubicBezTo>
                  <a:pt x="9534" y="55"/>
                  <a:pt x="9535" y="55"/>
                  <a:pt x="9535" y="55"/>
                </a:cubicBezTo>
                <a:cubicBezTo>
                  <a:pt x="9536" y="55"/>
                  <a:pt x="9536" y="54"/>
                  <a:pt x="9536" y="54"/>
                </a:cubicBezTo>
                <a:cubicBezTo>
                  <a:pt x="9536" y="54"/>
                  <a:pt x="9537" y="54"/>
                  <a:pt x="9538" y="54"/>
                </a:cubicBezTo>
                <a:cubicBezTo>
                  <a:pt x="9539" y="54"/>
                  <a:pt x="9538" y="55"/>
                  <a:pt x="9540" y="55"/>
                </a:cubicBezTo>
                <a:cubicBezTo>
                  <a:pt x="9541" y="54"/>
                  <a:pt x="9542" y="54"/>
                  <a:pt x="9543" y="54"/>
                </a:cubicBezTo>
                <a:cubicBezTo>
                  <a:pt x="9544" y="54"/>
                  <a:pt x="9544" y="54"/>
                  <a:pt x="9545" y="54"/>
                </a:cubicBezTo>
                <a:cubicBezTo>
                  <a:pt x="9546" y="53"/>
                  <a:pt x="9547" y="54"/>
                  <a:pt x="9548" y="54"/>
                </a:cubicBezTo>
                <a:cubicBezTo>
                  <a:pt x="9550" y="55"/>
                  <a:pt x="9553" y="54"/>
                  <a:pt x="9555" y="54"/>
                </a:cubicBezTo>
                <a:cubicBezTo>
                  <a:pt x="9563" y="51"/>
                  <a:pt x="9583" y="52"/>
                  <a:pt x="9595" y="52"/>
                </a:cubicBezTo>
                <a:cubicBezTo>
                  <a:pt x="9601" y="52"/>
                  <a:pt x="9609" y="51"/>
                  <a:pt x="9615" y="52"/>
                </a:cubicBezTo>
                <a:cubicBezTo>
                  <a:pt x="9616" y="52"/>
                  <a:pt x="9617" y="52"/>
                  <a:pt x="9618" y="52"/>
                </a:cubicBezTo>
                <a:cubicBezTo>
                  <a:pt x="9620" y="53"/>
                  <a:pt x="9623" y="53"/>
                  <a:pt x="9624" y="53"/>
                </a:cubicBezTo>
                <a:cubicBezTo>
                  <a:pt x="9625" y="53"/>
                  <a:pt x="9626" y="54"/>
                  <a:pt x="9627" y="54"/>
                </a:cubicBezTo>
                <a:cubicBezTo>
                  <a:pt x="9630" y="55"/>
                  <a:pt x="9637" y="55"/>
                  <a:pt x="9642" y="55"/>
                </a:cubicBezTo>
                <a:cubicBezTo>
                  <a:pt x="9646" y="55"/>
                  <a:pt x="9653" y="56"/>
                  <a:pt x="9657" y="55"/>
                </a:cubicBezTo>
                <a:cubicBezTo>
                  <a:pt x="9659" y="54"/>
                  <a:pt x="9666" y="55"/>
                  <a:pt x="9669" y="55"/>
                </a:cubicBezTo>
                <a:cubicBezTo>
                  <a:pt x="9675" y="55"/>
                  <a:pt x="9681" y="55"/>
                  <a:pt x="9688" y="55"/>
                </a:cubicBezTo>
                <a:cubicBezTo>
                  <a:pt x="9690" y="55"/>
                  <a:pt x="9694" y="55"/>
                  <a:pt x="9697" y="55"/>
                </a:cubicBezTo>
                <a:cubicBezTo>
                  <a:pt x="9700" y="55"/>
                  <a:pt x="9701" y="54"/>
                  <a:pt x="9705" y="54"/>
                </a:cubicBezTo>
                <a:cubicBezTo>
                  <a:pt x="9707" y="53"/>
                  <a:pt x="9710" y="54"/>
                  <a:pt x="9710" y="54"/>
                </a:cubicBezTo>
                <a:cubicBezTo>
                  <a:pt x="9710" y="55"/>
                  <a:pt x="9709" y="55"/>
                  <a:pt x="9710" y="55"/>
                </a:cubicBezTo>
                <a:cubicBezTo>
                  <a:pt x="9711" y="56"/>
                  <a:pt x="9721" y="55"/>
                  <a:pt x="9723" y="55"/>
                </a:cubicBezTo>
                <a:cubicBezTo>
                  <a:pt x="9726" y="55"/>
                  <a:pt x="9737" y="56"/>
                  <a:pt x="9738" y="55"/>
                </a:cubicBezTo>
                <a:cubicBezTo>
                  <a:pt x="9738" y="54"/>
                  <a:pt x="9738" y="54"/>
                  <a:pt x="9738" y="54"/>
                </a:cubicBezTo>
                <a:cubicBezTo>
                  <a:pt x="9740" y="53"/>
                  <a:pt x="9746" y="53"/>
                  <a:pt x="9748" y="53"/>
                </a:cubicBezTo>
                <a:cubicBezTo>
                  <a:pt x="9752" y="53"/>
                  <a:pt x="9756" y="54"/>
                  <a:pt x="9760" y="54"/>
                </a:cubicBezTo>
                <a:cubicBezTo>
                  <a:pt x="9774" y="54"/>
                  <a:pt x="9805" y="55"/>
                  <a:pt x="9830" y="55"/>
                </a:cubicBezTo>
                <a:cubicBezTo>
                  <a:pt x="9838" y="55"/>
                  <a:pt x="9846" y="55"/>
                  <a:pt x="9855" y="55"/>
                </a:cubicBezTo>
                <a:cubicBezTo>
                  <a:pt x="9861" y="55"/>
                  <a:pt x="9872" y="54"/>
                  <a:pt x="9878" y="55"/>
                </a:cubicBezTo>
                <a:cubicBezTo>
                  <a:pt x="9879" y="55"/>
                  <a:pt x="9880" y="55"/>
                  <a:pt x="9881" y="56"/>
                </a:cubicBezTo>
                <a:cubicBezTo>
                  <a:pt x="9883" y="56"/>
                  <a:pt x="9886" y="56"/>
                  <a:pt x="9889" y="56"/>
                </a:cubicBezTo>
                <a:cubicBezTo>
                  <a:pt x="9892" y="55"/>
                  <a:pt x="9895" y="55"/>
                  <a:pt x="9897" y="55"/>
                </a:cubicBezTo>
                <a:cubicBezTo>
                  <a:pt x="9898" y="54"/>
                  <a:pt x="9898" y="54"/>
                  <a:pt x="9899" y="54"/>
                </a:cubicBezTo>
                <a:cubicBezTo>
                  <a:pt x="9901" y="54"/>
                  <a:pt x="9903" y="55"/>
                  <a:pt x="9905" y="55"/>
                </a:cubicBezTo>
                <a:cubicBezTo>
                  <a:pt x="9916" y="55"/>
                  <a:pt x="9930" y="56"/>
                  <a:pt x="9941" y="56"/>
                </a:cubicBezTo>
                <a:cubicBezTo>
                  <a:pt x="9942" y="56"/>
                  <a:pt x="9943" y="56"/>
                  <a:pt x="9943" y="55"/>
                </a:cubicBezTo>
                <a:cubicBezTo>
                  <a:pt x="9944" y="53"/>
                  <a:pt x="9958" y="54"/>
                  <a:pt x="9962" y="55"/>
                </a:cubicBezTo>
                <a:cubicBezTo>
                  <a:pt x="9973" y="55"/>
                  <a:pt x="9987" y="55"/>
                  <a:pt x="9994" y="55"/>
                </a:cubicBezTo>
                <a:cubicBezTo>
                  <a:pt x="10001" y="55"/>
                  <a:pt x="10019" y="55"/>
                  <a:pt x="10033" y="55"/>
                </a:cubicBezTo>
                <a:cubicBezTo>
                  <a:pt x="10047" y="55"/>
                  <a:pt x="10083" y="55"/>
                  <a:pt x="10113" y="55"/>
                </a:cubicBezTo>
                <a:cubicBezTo>
                  <a:pt x="10123" y="55"/>
                  <a:pt x="10132" y="55"/>
                  <a:pt x="10142" y="55"/>
                </a:cubicBezTo>
                <a:cubicBezTo>
                  <a:pt x="10145" y="55"/>
                  <a:pt x="10165" y="54"/>
                  <a:pt x="10165" y="55"/>
                </a:cubicBezTo>
                <a:cubicBezTo>
                  <a:pt x="10165" y="56"/>
                  <a:pt x="10164" y="56"/>
                  <a:pt x="10164" y="56"/>
                </a:cubicBezTo>
                <a:cubicBezTo>
                  <a:pt x="10163" y="56"/>
                  <a:pt x="10165" y="57"/>
                  <a:pt x="10166" y="57"/>
                </a:cubicBezTo>
                <a:cubicBezTo>
                  <a:pt x="10169" y="57"/>
                  <a:pt x="10171" y="57"/>
                  <a:pt x="10174" y="57"/>
                </a:cubicBezTo>
                <a:cubicBezTo>
                  <a:pt x="10177" y="57"/>
                  <a:pt x="10181" y="57"/>
                  <a:pt x="10185" y="57"/>
                </a:cubicBezTo>
                <a:cubicBezTo>
                  <a:pt x="10189" y="57"/>
                  <a:pt x="10194" y="57"/>
                  <a:pt x="10199" y="57"/>
                </a:cubicBezTo>
                <a:cubicBezTo>
                  <a:pt x="10202" y="57"/>
                  <a:pt x="10205" y="58"/>
                  <a:pt x="10209" y="57"/>
                </a:cubicBezTo>
                <a:cubicBezTo>
                  <a:pt x="10212" y="57"/>
                  <a:pt x="10214" y="56"/>
                  <a:pt x="10216" y="56"/>
                </a:cubicBezTo>
                <a:cubicBezTo>
                  <a:pt x="10219" y="55"/>
                  <a:pt x="10221" y="55"/>
                  <a:pt x="10225" y="55"/>
                </a:cubicBezTo>
                <a:cubicBezTo>
                  <a:pt x="10229" y="55"/>
                  <a:pt x="10240" y="55"/>
                  <a:pt x="10249" y="55"/>
                </a:cubicBezTo>
                <a:cubicBezTo>
                  <a:pt x="10254" y="55"/>
                  <a:pt x="10261" y="54"/>
                  <a:pt x="10266" y="55"/>
                </a:cubicBezTo>
                <a:cubicBezTo>
                  <a:pt x="10270" y="55"/>
                  <a:pt x="10274" y="55"/>
                  <a:pt x="10279" y="55"/>
                </a:cubicBezTo>
                <a:cubicBezTo>
                  <a:pt x="10284" y="55"/>
                  <a:pt x="10289" y="55"/>
                  <a:pt x="10293" y="55"/>
                </a:cubicBezTo>
                <a:cubicBezTo>
                  <a:pt x="10297" y="56"/>
                  <a:pt x="10299" y="56"/>
                  <a:pt x="10303" y="57"/>
                </a:cubicBezTo>
                <a:cubicBezTo>
                  <a:pt x="10308" y="57"/>
                  <a:pt x="10315" y="56"/>
                  <a:pt x="10320" y="56"/>
                </a:cubicBezTo>
                <a:cubicBezTo>
                  <a:pt x="10329" y="56"/>
                  <a:pt x="10335" y="55"/>
                  <a:pt x="10343" y="54"/>
                </a:cubicBezTo>
                <a:cubicBezTo>
                  <a:pt x="10348" y="54"/>
                  <a:pt x="10353" y="54"/>
                  <a:pt x="10357" y="54"/>
                </a:cubicBezTo>
                <a:cubicBezTo>
                  <a:pt x="10363" y="54"/>
                  <a:pt x="10370" y="55"/>
                  <a:pt x="10376" y="55"/>
                </a:cubicBezTo>
                <a:cubicBezTo>
                  <a:pt x="10381" y="55"/>
                  <a:pt x="10384" y="56"/>
                  <a:pt x="10392" y="56"/>
                </a:cubicBezTo>
                <a:cubicBezTo>
                  <a:pt x="10392" y="56"/>
                  <a:pt x="10392" y="56"/>
                  <a:pt x="10392" y="55"/>
                </a:cubicBezTo>
                <a:cubicBezTo>
                  <a:pt x="10394" y="54"/>
                  <a:pt x="10399" y="54"/>
                  <a:pt x="10402" y="55"/>
                </a:cubicBezTo>
                <a:cubicBezTo>
                  <a:pt x="10404" y="55"/>
                  <a:pt x="10413" y="55"/>
                  <a:pt x="10409" y="56"/>
                </a:cubicBezTo>
                <a:cubicBezTo>
                  <a:pt x="10409" y="56"/>
                  <a:pt x="10410" y="56"/>
                  <a:pt x="10411" y="57"/>
                </a:cubicBezTo>
                <a:cubicBezTo>
                  <a:pt x="10412" y="57"/>
                  <a:pt x="10413" y="57"/>
                  <a:pt x="10413" y="58"/>
                </a:cubicBezTo>
                <a:cubicBezTo>
                  <a:pt x="10414" y="58"/>
                  <a:pt x="10415" y="58"/>
                  <a:pt x="10417" y="58"/>
                </a:cubicBezTo>
                <a:cubicBezTo>
                  <a:pt x="10418" y="58"/>
                  <a:pt x="10418" y="58"/>
                  <a:pt x="10420" y="58"/>
                </a:cubicBezTo>
                <a:cubicBezTo>
                  <a:pt x="10422" y="58"/>
                  <a:pt x="10423" y="58"/>
                  <a:pt x="10425" y="59"/>
                </a:cubicBezTo>
                <a:cubicBezTo>
                  <a:pt x="10426" y="59"/>
                  <a:pt x="10429" y="59"/>
                  <a:pt x="10431" y="59"/>
                </a:cubicBezTo>
                <a:cubicBezTo>
                  <a:pt x="10432" y="59"/>
                  <a:pt x="10434" y="58"/>
                  <a:pt x="10433" y="57"/>
                </a:cubicBezTo>
                <a:cubicBezTo>
                  <a:pt x="10432" y="57"/>
                  <a:pt x="10432" y="57"/>
                  <a:pt x="10432" y="57"/>
                </a:cubicBezTo>
                <a:cubicBezTo>
                  <a:pt x="10432" y="56"/>
                  <a:pt x="10434" y="56"/>
                  <a:pt x="10437" y="56"/>
                </a:cubicBezTo>
                <a:cubicBezTo>
                  <a:pt x="10438" y="56"/>
                  <a:pt x="10439" y="56"/>
                  <a:pt x="10439" y="56"/>
                </a:cubicBezTo>
                <a:cubicBezTo>
                  <a:pt x="10440" y="57"/>
                  <a:pt x="10439" y="57"/>
                  <a:pt x="10441" y="57"/>
                </a:cubicBezTo>
                <a:cubicBezTo>
                  <a:pt x="10446" y="57"/>
                  <a:pt x="10451" y="58"/>
                  <a:pt x="10457" y="58"/>
                </a:cubicBezTo>
                <a:cubicBezTo>
                  <a:pt x="10462" y="58"/>
                  <a:pt x="10467" y="58"/>
                  <a:pt x="10473" y="58"/>
                </a:cubicBezTo>
                <a:cubicBezTo>
                  <a:pt x="10476" y="58"/>
                  <a:pt x="10480" y="58"/>
                  <a:pt x="10483" y="58"/>
                </a:cubicBezTo>
                <a:cubicBezTo>
                  <a:pt x="10487" y="58"/>
                  <a:pt x="10491" y="58"/>
                  <a:pt x="10495" y="58"/>
                </a:cubicBezTo>
                <a:cubicBezTo>
                  <a:pt x="10498" y="58"/>
                  <a:pt x="10501" y="58"/>
                  <a:pt x="10505" y="58"/>
                </a:cubicBezTo>
                <a:cubicBezTo>
                  <a:pt x="10507" y="58"/>
                  <a:pt x="10506" y="57"/>
                  <a:pt x="10508" y="57"/>
                </a:cubicBezTo>
                <a:cubicBezTo>
                  <a:pt x="10509" y="57"/>
                  <a:pt x="10513" y="57"/>
                  <a:pt x="10515" y="57"/>
                </a:cubicBezTo>
                <a:cubicBezTo>
                  <a:pt x="10520" y="57"/>
                  <a:pt x="10525" y="56"/>
                  <a:pt x="10531" y="56"/>
                </a:cubicBezTo>
                <a:cubicBezTo>
                  <a:pt x="10532" y="56"/>
                  <a:pt x="10533" y="56"/>
                  <a:pt x="10534" y="56"/>
                </a:cubicBezTo>
                <a:cubicBezTo>
                  <a:pt x="10535" y="56"/>
                  <a:pt x="10536" y="57"/>
                  <a:pt x="10536" y="57"/>
                </a:cubicBezTo>
                <a:cubicBezTo>
                  <a:pt x="10536" y="57"/>
                  <a:pt x="10535" y="57"/>
                  <a:pt x="10535" y="58"/>
                </a:cubicBezTo>
                <a:cubicBezTo>
                  <a:pt x="10535" y="58"/>
                  <a:pt x="10536" y="59"/>
                  <a:pt x="10538" y="59"/>
                </a:cubicBezTo>
                <a:cubicBezTo>
                  <a:pt x="10539" y="59"/>
                  <a:pt x="10541" y="59"/>
                  <a:pt x="10543" y="59"/>
                </a:cubicBezTo>
                <a:cubicBezTo>
                  <a:pt x="10545" y="60"/>
                  <a:pt x="10552" y="59"/>
                  <a:pt x="10555" y="59"/>
                </a:cubicBezTo>
                <a:cubicBezTo>
                  <a:pt x="10560" y="58"/>
                  <a:pt x="10566" y="59"/>
                  <a:pt x="10572" y="58"/>
                </a:cubicBezTo>
                <a:cubicBezTo>
                  <a:pt x="10573" y="58"/>
                  <a:pt x="10575" y="57"/>
                  <a:pt x="10576" y="57"/>
                </a:cubicBezTo>
                <a:cubicBezTo>
                  <a:pt x="10577" y="57"/>
                  <a:pt x="10578" y="57"/>
                  <a:pt x="10580" y="57"/>
                </a:cubicBezTo>
                <a:cubicBezTo>
                  <a:pt x="10581" y="57"/>
                  <a:pt x="10583" y="56"/>
                  <a:pt x="10584" y="57"/>
                </a:cubicBezTo>
                <a:cubicBezTo>
                  <a:pt x="10588" y="59"/>
                  <a:pt x="10599" y="58"/>
                  <a:pt x="10604" y="57"/>
                </a:cubicBezTo>
                <a:cubicBezTo>
                  <a:pt x="10613" y="57"/>
                  <a:pt x="10621" y="57"/>
                  <a:pt x="10623" y="57"/>
                </a:cubicBezTo>
                <a:cubicBezTo>
                  <a:pt x="10624" y="57"/>
                  <a:pt x="10636" y="57"/>
                  <a:pt x="10651" y="57"/>
                </a:cubicBezTo>
                <a:cubicBezTo>
                  <a:pt x="10656" y="57"/>
                  <a:pt x="10661" y="57"/>
                  <a:pt x="10666" y="58"/>
                </a:cubicBezTo>
                <a:cubicBezTo>
                  <a:pt x="10669" y="58"/>
                  <a:pt x="10673" y="58"/>
                  <a:pt x="10677" y="57"/>
                </a:cubicBezTo>
                <a:cubicBezTo>
                  <a:pt x="10678" y="57"/>
                  <a:pt x="10680" y="57"/>
                  <a:pt x="10681" y="56"/>
                </a:cubicBezTo>
                <a:cubicBezTo>
                  <a:pt x="10683" y="56"/>
                  <a:pt x="10684" y="56"/>
                  <a:pt x="10686" y="56"/>
                </a:cubicBezTo>
                <a:cubicBezTo>
                  <a:pt x="10689" y="55"/>
                  <a:pt x="10690" y="55"/>
                  <a:pt x="10693" y="56"/>
                </a:cubicBezTo>
                <a:cubicBezTo>
                  <a:pt x="10697" y="56"/>
                  <a:pt x="10702" y="57"/>
                  <a:pt x="10703" y="57"/>
                </a:cubicBezTo>
                <a:cubicBezTo>
                  <a:pt x="10706" y="58"/>
                  <a:pt x="10730" y="58"/>
                  <a:pt x="10738" y="56"/>
                </a:cubicBezTo>
                <a:cubicBezTo>
                  <a:pt x="10742" y="56"/>
                  <a:pt x="10751" y="54"/>
                  <a:pt x="10755" y="56"/>
                </a:cubicBezTo>
                <a:cubicBezTo>
                  <a:pt x="10756" y="56"/>
                  <a:pt x="10756" y="56"/>
                  <a:pt x="10756" y="56"/>
                </a:cubicBezTo>
                <a:cubicBezTo>
                  <a:pt x="10757" y="56"/>
                  <a:pt x="10759" y="56"/>
                  <a:pt x="10760" y="57"/>
                </a:cubicBezTo>
                <a:cubicBezTo>
                  <a:pt x="10766" y="57"/>
                  <a:pt x="10772" y="57"/>
                  <a:pt x="10778" y="57"/>
                </a:cubicBezTo>
                <a:cubicBezTo>
                  <a:pt x="10787" y="57"/>
                  <a:pt x="10797" y="58"/>
                  <a:pt x="10801" y="58"/>
                </a:cubicBezTo>
                <a:cubicBezTo>
                  <a:pt x="10805" y="58"/>
                  <a:pt x="10819" y="58"/>
                  <a:pt x="10833" y="58"/>
                </a:cubicBezTo>
                <a:cubicBezTo>
                  <a:pt x="10842" y="58"/>
                  <a:pt x="10859" y="59"/>
                  <a:pt x="10864" y="56"/>
                </a:cubicBezTo>
                <a:cubicBezTo>
                  <a:pt x="10864" y="56"/>
                  <a:pt x="10864" y="56"/>
                  <a:pt x="10865" y="56"/>
                </a:cubicBezTo>
                <a:cubicBezTo>
                  <a:pt x="10866" y="56"/>
                  <a:pt x="10867" y="56"/>
                  <a:pt x="10868" y="56"/>
                </a:cubicBezTo>
                <a:cubicBezTo>
                  <a:pt x="10872" y="56"/>
                  <a:pt x="10875" y="55"/>
                  <a:pt x="10879" y="55"/>
                </a:cubicBezTo>
                <a:cubicBezTo>
                  <a:pt x="10884" y="55"/>
                  <a:pt x="10889" y="55"/>
                  <a:pt x="10894" y="56"/>
                </a:cubicBezTo>
                <a:cubicBezTo>
                  <a:pt x="10900" y="56"/>
                  <a:pt x="10907" y="56"/>
                  <a:pt x="10914" y="56"/>
                </a:cubicBezTo>
                <a:cubicBezTo>
                  <a:pt x="10917" y="56"/>
                  <a:pt x="10927" y="56"/>
                  <a:pt x="10930" y="56"/>
                </a:cubicBezTo>
                <a:cubicBezTo>
                  <a:pt x="10930" y="56"/>
                  <a:pt x="10930" y="56"/>
                  <a:pt x="10931" y="56"/>
                </a:cubicBezTo>
                <a:cubicBezTo>
                  <a:pt x="10934" y="57"/>
                  <a:pt x="10940" y="57"/>
                  <a:pt x="10944" y="57"/>
                </a:cubicBezTo>
                <a:cubicBezTo>
                  <a:pt x="10951" y="57"/>
                  <a:pt x="10961" y="58"/>
                  <a:pt x="10967" y="58"/>
                </a:cubicBezTo>
                <a:cubicBezTo>
                  <a:pt x="10972" y="58"/>
                  <a:pt x="10976" y="58"/>
                  <a:pt x="10981" y="57"/>
                </a:cubicBezTo>
                <a:cubicBezTo>
                  <a:pt x="10984" y="56"/>
                  <a:pt x="10986" y="56"/>
                  <a:pt x="10991" y="56"/>
                </a:cubicBezTo>
                <a:cubicBezTo>
                  <a:pt x="10997" y="55"/>
                  <a:pt x="11003" y="56"/>
                  <a:pt x="11009" y="55"/>
                </a:cubicBezTo>
                <a:cubicBezTo>
                  <a:pt x="11016" y="55"/>
                  <a:pt x="11023" y="55"/>
                  <a:pt x="11030" y="55"/>
                </a:cubicBezTo>
                <a:cubicBezTo>
                  <a:pt x="11030" y="56"/>
                  <a:pt x="11030" y="56"/>
                  <a:pt x="11030" y="56"/>
                </a:cubicBezTo>
                <a:cubicBezTo>
                  <a:pt x="11030" y="57"/>
                  <a:pt x="11031" y="57"/>
                  <a:pt x="11032" y="57"/>
                </a:cubicBezTo>
                <a:cubicBezTo>
                  <a:pt x="11033" y="57"/>
                  <a:pt x="11033" y="57"/>
                  <a:pt x="11034" y="57"/>
                </a:cubicBezTo>
                <a:cubicBezTo>
                  <a:pt x="11038" y="56"/>
                  <a:pt x="11046" y="54"/>
                  <a:pt x="11050" y="56"/>
                </a:cubicBezTo>
                <a:cubicBezTo>
                  <a:pt x="11051" y="56"/>
                  <a:pt x="11051" y="57"/>
                  <a:pt x="11050" y="57"/>
                </a:cubicBezTo>
                <a:cubicBezTo>
                  <a:pt x="11050" y="57"/>
                  <a:pt x="11049" y="57"/>
                  <a:pt x="11049" y="58"/>
                </a:cubicBezTo>
                <a:cubicBezTo>
                  <a:pt x="11049" y="58"/>
                  <a:pt x="11051" y="59"/>
                  <a:pt x="11053" y="59"/>
                </a:cubicBezTo>
                <a:cubicBezTo>
                  <a:pt x="11055" y="59"/>
                  <a:pt x="11057" y="59"/>
                  <a:pt x="11059" y="59"/>
                </a:cubicBezTo>
                <a:cubicBezTo>
                  <a:pt x="11061" y="59"/>
                  <a:pt x="11062" y="58"/>
                  <a:pt x="11065" y="57"/>
                </a:cubicBezTo>
                <a:cubicBezTo>
                  <a:pt x="11066" y="57"/>
                  <a:pt x="11066" y="58"/>
                  <a:pt x="11066" y="58"/>
                </a:cubicBezTo>
                <a:cubicBezTo>
                  <a:pt x="11066" y="58"/>
                  <a:pt x="11066" y="58"/>
                  <a:pt x="11065" y="58"/>
                </a:cubicBezTo>
                <a:cubicBezTo>
                  <a:pt x="11065" y="60"/>
                  <a:pt x="11081" y="59"/>
                  <a:pt x="11084" y="59"/>
                </a:cubicBezTo>
                <a:cubicBezTo>
                  <a:pt x="11093" y="59"/>
                  <a:pt x="11103" y="59"/>
                  <a:pt x="11113" y="59"/>
                </a:cubicBezTo>
                <a:cubicBezTo>
                  <a:pt x="11122" y="59"/>
                  <a:pt x="11131" y="59"/>
                  <a:pt x="11140" y="59"/>
                </a:cubicBezTo>
                <a:cubicBezTo>
                  <a:pt x="11145" y="59"/>
                  <a:pt x="11155" y="60"/>
                  <a:pt x="11160" y="59"/>
                </a:cubicBezTo>
                <a:cubicBezTo>
                  <a:pt x="11161" y="58"/>
                  <a:pt x="11161" y="58"/>
                  <a:pt x="11163" y="57"/>
                </a:cubicBezTo>
                <a:cubicBezTo>
                  <a:pt x="11164" y="57"/>
                  <a:pt x="11166" y="57"/>
                  <a:pt x="11168" y="57"/>
                </a:cubicBezTo>
                <a:cubicBezTo>
                  <a:pt x="11171" y="56"/>
                  <a:pt x="11175" y="56"/>
                  <a:pt x="11178" y="55"/>
                </a:cubicBezTo>
                <a:cubicBezTo>
                  <a:pt x="11181" y="55"/>
                  <a:pt x="11182" y="54"/>
                  <a:pt x="11185" y="54"/>
                </a:cubicBezTo>
                <a:cubicBezTo>
                  <a:pt x="11189" y="54"/>
                  <a:pt x="11193" y="54"/>
                  <a:pt x="11196" y="54"/>
                </a:cubicBezTo>
                <a:cubicBezTo>
                  <a:pt x="11199" y="54"/>
                  <a:pt x="11212" y="54"/>
                  <a:pt x="11214" y="55"/>
                </a:cubicBezTo>
                <a:cubicBezTo>
                  <a:pt x="11214" y="55"/>
                  <a:pt x="11214" y="55"/>
                  <a:pt x="11214" y="55"/>
                </a:cubicBezTo>
                <a:cubicBezTo>
                  <a:pt x="11214" y="56"/>
                  <a:pt x="11216" y="56"/>
                  <a:pt x="11219" y="56"/>
                </a:cubicBezTo>
                <a:cubicBezTo>
                  <a:pt x="11220" y="56"/>
                  <a:pt x="11221" y="56"/>
                  <a:pt x="11221" y="55"/>
                </a:cubicBezTo>
                <a:cubicBezTo>
                  <a:pt x="11221" y="55"/>
                  <a:pt x="11221" y="54"/>
                  <a:pt x="11223" y="54"/>
                </a:cubicBezTo>
                <a:cubicBezTo>
                  <a:pt x="11229" y="54"/>
                  <a:pt x="11237" y="54"/>
                  <a:pt x="11243" y="54"/>
                </a:cubicBezTo>
                <a:cubicBezTo>
                  <a:pt x="11244" y="54"/>
                  <a:pt x="11244" y="54"/>
                  <a:pt x="11245" y="54"/>
                </a:cubicBezTo>
                <a:cubicBezTo>
                  <a:pt x="11246" y="54"/>
                  <a:pt x="11245" y="55"/>
                  <a:pt x="11245" y="55"/>
                </a:cubicBezTo>
                <a:cubicBezTo>
                  <a:pt x="11245" y="56"/>
                  <a:pt x="11252" y="59"/>
                  <a:pt x="11257" y="57"/>
                </a:cubicBezTo>
                <a:cubicBezTo>
                  <a:pt x="11259" y="57"/>
                  <a:pt x="11257" y="56"/>
                  <a:pt x="11257" y="56"/>
                </a:cubicBezTo>
                <a:cubicBezTo>
                  <a:pt x="11258" y="55"/>
                  <a:pt x="11258" y="55"/>
                  <a:pt x="11259" y="55"/>
                </a:cubicBezTo>
                <a:cubicBezTo>
                  <a:pt x="11259" y="55"/>
                  <a:pt x="11259" y="54"/>
                  <a:pt x="11259" y="54"/>
                </a:cubicBezTo>
                <a:cubicBezTo>
                  <a:pt x="11261" y="53"/>
                  <a:pt x="11267" y="54"/>
                  <a:pt x="11269" y="54"/>
                </a:cubicBezTo>
                <a:cubicBezTo>
                  <a:pt x="11272" y="54"/>
                  <a:pt x="11271" y="55"/>
                  <a:pt x="11273" y="56"/>
                </a:cubicBezTo>
                <a:cubicBezTo>
                  <a:pt x="11275" y="56"/>
                  <a:pt x="11280" y="55"/>
                  <a:pt x="11282" y="55"/>
                </a:cubicBezTo>
                <a:cubicBezTo>
                  <a:pt x="11286" y="55"/>
                  <a:pt x="11292" y="56"/>
                  <a:pt x="11296" y="55"/>
                </a:cubicBezTo>
                <a:cubicBezTo>
                  <a:pt x="11300" y="55"/>
                  <a:pt x="11301" y="54"/>
                  <a:pt x="11305" y="54"/>
                </a:cubicBezTo>
                <a:cubicBezTo>
                  <a:pt x="11314" y="53"/>
                  <a:pt x="11327" y="53"/>
                  <a:pt x="11337" y="53"/>
                </a:cubicBezTo>
                <a:cubicBezTo>
                  <a:pt x="11342" y="53"/>
                  <a:pt x="11373" y="52"/>
                  <a:pt x="11374" y="54"/>
                </a:cubicBezTo>
                <a:cubicBezTo>
                  <a:pt x="11375" y="54"/>
                  <a:pt x="11374" y="54"/>
                  <a:pt x="11375" y="54"/>
                </a:cubicBezTo>
                <a:cubicBezTo>
                  <a:pt x="11375" y="55"/>
                  <a:pt x="11376" y="55"/>
                  <a:pt x="11377" y="55"/>
                </a:cubicBezTo>
                <a:cubicBezTo>
                  <a:pt x="11379" y="55"/>
                  <a:pt x="11392" y="54"/>
                  <a:pt x="11386" y="56"/>
                </a:cubicBezTo>
                <a:cubicBezTo>
                  <a:pt x="11385" y="56"/>
                  <a:pt x="11384" y="56"/>
                  <a:pt x="11384" y="57"/>
                </a:cubicBezTo>
                <a:cubicBezTo>
                  <a:pt x="11385" y="57"/>
                  <a:pt x="11387" y="57"/>
                  <a:pt x="11389" y="57"/>
                </a:cubicBezTo>
                <a:cubicBezTo>
                  <a:pt x="11390" y="56"/>
                  <a:pt x="11392" y="56"/>
                  <a:pt x="11393" y="56"/>
                </a:cubicBezTo>
                <a:cubicBezTo>
                  <a:pt x="11396" y="56"/>
                  <a:pt x="11398" y="56"/>
                  <a:pt x="11401" y="56"/>
                </a:cubicBezTo>
                <a:cubicBezTo>
                  <a:pt x="11403" y="56"/>
                  <a:pt x="11406" y="56"/>
                  <a:pt x="11408" y="56"/>
                </a:cubicBezTo>
                <a:cubicBezTo>
                  <a:pt x="11416" y="56"/>
                  <a:pt x="11424" y="56"/>
                  <a:pt x="11432" y="55"/>
                </a:cubicBezTo>
                <a:cubicBezTo>
                  <a:pt x="11435" y="55"/>
                  <a:pt x="11438" y="55"/>
                  <a:pt x="11441" y="55"/>
                </a:cubicBezTo>
                <a:cubicBezTo>
                  <a:pt x="11444" y="55"/>
                  <a:pt x="11447" y="56"/>
                  <a:pt x="11450" y="56"/>
                </a:cubicBezTo>
                <a:cubicBezTo>
                  <a:pt x="11451" y="55"/>
                  <a:pt x="11454" y="55"/>
                  <a:pt x="11456" y="55"/>
                </a:cubicBezTo>
                <a:cubicBezTo>
                  <a:pt x="11457" y="55"/>
                  <a:pt x="11459" y="54"/>
                  <a:pt x="11460" y="54"/>
                </a:cubicBezTo>
                <a:cubicBezTo>
                  <a:pt x="11463" y="53"/>
                  <a:pt x="11467" y="53"/>
                  <a:pt x="11468" y="52"/>
                </a:cubicBezTo>
                <a:cubicBezTo>
                  <a:pt x="11468" y="52"/>
                  <a:pt x="11468" y="52"/>
                  <a:pt x="11468" y="52"/>
                </a:cubicBezTo>
                <a:cubicBezTo>
                  <a:pt x="11469" y="52"/>
                  <a:pt x="11470" y="51"/>
                  <a:pt x="11471" y="51"/>
                </a:cubicBezTo>
                <a:cubicBezTo>
                  <a:pt x="11474" y="51"/>
                  <a:pt x="11477" y="51"/>
                  <a:pt x="11479" y="51"/>
                </a:cubicBezTo>
                <a:cubicBezTo>
                  <a:pt x="11482" y="51"/>
                  <a:pt x="11486" y="51"/>
                  <a:pt x="11487" y="52"/>
                </a:cubicBezTo>
                <a:cubicBezTo>
                  <a:pt x="11487" y="53"/>
                  <a:pt x="11487" y="53"/>
                  <a:pt x="11488" y="54"/>
                </a:cubicBezTo>
                <a:cubicBezTo>
                  <a:pt x="11490" y="54"/>
                  <a:pt x="11497" y="53"/>
                  <a:pt x="11500" y="53"/>
                </a:cubicBezTo>
                <a:cubicBezTo>
                  <a:pt x="11505" y="53"/>
                  <a:pt x="11508" y="55"/>
                  <a:pt x="11513" y="56"/>
                </a:cubicBezTo>
                <a:cubicBezTo>
                  <a:pt x="11518" y="57"/>
                  <a:pt x="11526" y="56"/>
                  <a:pt x="11532" y="56"/>
                </a:cubicBezTo>
                <a:cubicBezTo>
                  <a:pt x="11535" y="56"/>
                  <a:pt x="11539" y="56"/>
                  <a:pt x="11541" y="55"/>
                </a:cubicBezTo>
                <a:cubicBezTo>
                  <a:pt x="11543" y="55"/>
                  <a:pt x="11545" y="55"/>
                  <a:pt x="11547" y="54"/>
                </a:cubicBezTo>
                <a:cubicBezTo>
                  <a:pt x="11553" y="54"/>
                  <a:pt x="11561" y="54"/>
                  <a:pt x="11567" y="54"/>
                </a:cubicBezTo>
                <a:cubicBezTo>
                  <a:pt x="11575" y="54"/>
                  <a:pt x="11583" y="54"/>
                  <a:pt x="11591" y="54"/>
                </a:cubicBezTo>
                <a:cubicBezTo>
                  <a:pt x="11596" y="54"/>
                  <a:pt x="11602" y="54"/>
                  <a:pt x="11607" y="54"/>
                </a:cubicBezTo>
                <a:cubicBezTo>
                  <a:pt x="11614" y="54"/>
                  <a:pt x="11620" y="54"/>
                  <a:pt x="11627" y="54"/>
                </a:cubicBezTo>
                <a:lnTo>
                  <a:pt x="11627" y="56"/>
                </a:lnTo>
                <a:cubicBezTo>
                  <a:pt x="11630" y="56"/>
                  <a:pt x="11634" y="56"/>
                  <a:pt x="11638" y="56"/>
                </a:cubicBezTo>
                <a:cubicBezTo>
                  <a:pt x="11640" y="55"/>
                  <a:pt x="11643" y="55"/>
                  <a:pt x="11645" y="55"/>
                </a:cubicBezTo>
                <a:cubicBezTo>
                  <a:pt x="11646" y="55"/>
                  <a:pt x="11646" y="56"/>
                  <a:pt x="11647" y="56"/>
                </a:cubicBezTo>
                <a:cubicBezTo>
                  <a:pt x="11648" y="57"/>
                  <a:pt x="11649" y="57"/>
                  <a:pt x="11650" y="57"/>
                </a:cubicBezTo>
                <a:cubicBezTo>
                  <a:pt x="11651" y="57"/>
                  <a:pt x="11653" y="56"/>
                  <a:pt x="11654" y="57"/>
                </a:cubicBezTo>
                <a:cubicBezTo>
                  <a:pt x="11655" y="57"/>
                  <a:pt x="11656" y="58"/>
                  <a:pt x="11656" y="58"/>
                </a:cubicBezTo>
                <a:cubicBezTo>
                  <a:pt x="11658" y="59"/>
                  <a:pt x="11659" y="58"/>
                  <a:pt x="11659" y="57"/>
                </a:cubicBezTo>
                <a:cubicBezTo>
                  <a:pt x="11661" y="55"/>
                  <a:pt x="11661" y="55"/>
                  <a:pt x="11663" y="55"/>
                </a:cubicBezTo>
                <a:cubicBezTo>
                  <a:pt x="11665" y="56"/>
                  <a:pt x="11666" y="55"/>
                  <a:pt x="11668" y="55"/>
                </a:cubicBezTo>
                <a:cubicBezTo>
                  <a:pt x="11673" y="56"/>
                  <a:pt x="11678" y="56"/>
                  <a:pt x="11684" y="56"/>
                </a:cubicBezTo>
                <a:cubicBezTo>
                  <a:pt x="11684" y="56"/>
                  <a:pt x="11684" y="56"/>
                  <a:pt x="11684" y="57"/>
                </a:cubicBezTo>
                <a:cubicBezTo>
                  <a:pt x="11685" y="57"/>
                  <a:pt x="11686" y="57"/>
                  <a:pt x="11687" y="57"/>
                </a:cubicBezTo>
                <a:cubicBezTo>
                  <a:pt x="11688" y="58"/>
                  <a:pt x="11690" y="58"/>
                  <a:pt x="11691" y="58"/>
                </a:cubicBezTo>
                <a:cubicBezTo>
                  <a:pt x="11692" y="58"/>
                  <a:pt x="11692" y="58"/>
                  <a:pt x="11693" y="58"/>
                </a:cubicBezTo>
                <a:cubicBezTo>
                  <a:pt x="11693" y="58"/>
                  <a:pt x="11693" y="57"/>
                  <a:pt x="11694" y="57"/>
                </a:cubicBezTo>
                <a:cubicBezTo>
                  <a:pt x="11694" y="57"/>
                  <a:pt x="11695" y="57"/>
                  <a:pt x="11695" y="56"/>
                </a:cubicBezTo>
                <a:cubicBezTo>
                  <a:pt x="11718" y="57"/>
                  <a:pt x="11741" y="58"/>
                  <a:pt x="11765" y="58"/>
                </a:cubicBezTo>
                <a:cubicBezTo>
                  <a:pt x="11776" y="57"/>
                  <a:pt x="11786" y="57"/>
                  <a:pt x="11797" y="56"/>
                </a:cubicBezTo>
                <a:cubicBezTo>
                  <a:pt x="11802" y="56"/>
                  <a:pt x="11807" y="57"/>
                  <a:pt x="11812" y="56"/>
                </a:cubicBezTo>
                <a:cubicBezTo>
                  <a:pt x="11816" y="56"/>
                  <a:pt x="11820" y="55"/>
                  <a:pt x="11824" y="54"/>
                </a:cubicBezTo>
                <a:cubicBezTo>
                  <a:pt x="11825" y="53"/>
                  <a:pt x="11827" y="52"/>
                  <a:pt x="11828" y="51"/>
                </a:cubicBezTo>
                <a:cubicBezTo>
                  <a:pt x="11829" y="50"/>
                  <a:pt x="11829" y="49"/>
                  <a:pt x="11829" y="48"/>
                </a:cubicBezTo>
                <a:cubicBezTo>
                  <a:pt x="11828" y="47"/>
                  <a:pt x="11828" y="47"/>
                  <a:pt x="11828" y="47"/>
                </a:cubicBez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168332548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7.xml"/><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theme" Target="../theme/theme2.xml"/><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0" Type="http://schemas.openxmlformats.org/officeDocument/2006/relationships/slideLayout" Target="../slideLayouts/slideLayout29.xml"/><Relationship Id="rId4" Type="http://schemas.openxmlformats.org/officeDocument/2006/relationships/slideLayout" Target="../slideLayouts/slideLayout23.xml"/><Relationship Id="rId9" Type="http://schemas.openxmlformats.org/officeDocument/2006/relationships/slideLayout" Target="../slideLayouts/slideLayout2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slideLayout" Target="../slideLayouts/slideLayout43.xml"/><Relationship Id="rId18" Type="http://schemas.openxmlformats.org/officeDocument/2006/relationships/slideLayout" Target="../slideLayouts/slideLayout48.xml"/><Relationship Id="rId3" Type="http://schemas.openxmlformats.org/officeDocument/2006/relationships/slideLayout" Target="../slideLayouts/slideLayout33.xml"/><Relationship Id="rId21" Type="http://schemas.openxmlformats.org/officeDocument/2006/relationships/slideLayout" Target="../slideLayouts/slideLayout51.xml"/><Relationship Id="rId7" Type="http://schemas.openxmlformats.org/officeDocument/2006/relationships/slideLayout" Target="../slideLayouts/slideLayout37.xml"/><Relationship Id="rId12" Type="http://schemas.openxmlformats.org/officeDocument/2006/relationships/slideLayout" Target="../slideLayouts/slideLayout42.xml"/><Relationship Id="rId17" Type="http://schemas.openxmlformats.org/officeDocument/2006/relationships/slideLayout" Target="../slideLayouts/slideLayout47.xml"/><Relationship Id="rId2" Type="http://schemas.openxmlformats.org/officeDocument/2006/relationships/slideLayout" Target="../slideLayouts/slideLayout32.xml"/><Relationship Id="rId16" Type="http://schemas.openxmlformats.org/officeDocument/2006/relationships/slideLayout" Target="../slideLayouts/slideLayout46.xml"/><Relationship Id="rId20" Type="http://schemas.openxmlformats.org/officeDocument/2006/relationships/slideLayout" Target="../slideLayouts/slideLayout50.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24" Type="http://schemas.openxmlformats.org/officeDocument/2006/relationships/image" Target="../media/image7.png"/><Relationship Id="rId5" Type="http://schemas.openxmlformats.org/officeDocument/2006/relationships/slideLayout" Target="../slideLayouts/slideLayout35.xml"/><Relationship Id="rId15" Type="http://schemas.openxmlformats.org/officeDocument/2006/relationships/slideLayout" Target="../slideLayouts/slideLayout45.xml"/><Relationship Id="rId23" Type="http://schemas.openxmlformats.org/officeDocument/2006/relationships/theme" Target="../theme/theme3.xml"/><Relationship Id="rId10" Type="http://schemas.openxmlformats.org/officeDocument/2006/relationships/slideLayout" Target="../slideLayouts/slideLayout40.xml"/><Relationship Id="rId19" Type="http://schemas.openxmlformats.org/officeDocument/2006/relationships/slideLayout" Target="../slideLayouts/slideLayout49.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slideLayout" Target="../slideLayouts/slideLayout44.xml"/><Relationship Id="rId22" Type="http://schemas.openxmlformats.org/officeDocument/2006/relationships/slideLayout" Target="../slideLayouts/slideLayout5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theme" Target="../theme/theme4.xml"/><Relationship Id="rId3" Type="http://schemas.openxmlformats.org/officeDocument/2006/relationships/slideLayout" Target="../slideLayouts/slideLayout55.xml"/><Relationship Id="rId7" Type="http://schemas.openxmlformats.org/officeDocument/2006/relationships/slideLayout" Target="../slideLayouts/slideLayout59.xml"/><Relationship Id="rId12" Type="http://schemas.openxmlformats.org/officeDocument/2006/relationships/slideLayout" Target="../slideLayouts/slideLayout64.xml"/><Relationship Id="rId2" Type="http://schemas.openxmlformats.org/officeDocument/2006/relationships/slideLayout" Target="../slideLayouts/slideLayout54.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5" Type="http://schemas.openxmlformats.org/officeDocument/2006/relationships/slideLayout" Target="../slideLayouts/slideLayout57.xml"/><Relationship Id="rId10" Type="http://schemas.openxmlformats.org/officeDocument/2006/relationships/slideLayout" Target="../slideLayouts/slideLayout62.xml"/><Relationship Id="rId4" Type="http://schemas.openxmlformats.org/officeDocument/2006/relationships/slideLayout" Target="../slideLayouts/slideLayout56.xml"/><Relationship Id="rId9" Type="http://schemas.openxmlformats.org/officeDocument/2006/relationships/slideLayout" Target="../slideLayouts/slideLayout6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2.xml"/><Relationship Id="rId13" Type="http://schemas.openxmlformats.org/officeDocument/2006/relationships/slideLayout" Target="../slideLayouts/slideLayout77.xml"/><Relationship Id="rId18" Type="http://schemas.openxmlformats.org/officeDocument/2006/relationships/slideLayout" Target="../slideLayouts/slideLayout82.xml"/><Relationship Id="rId3" Type="http://schemas.openxmlformats.org/officeDocument/2006/relationships/slideLayout" Target="../slideLayouts/slideLayout67.xml"/><Relationship Id="rId21" Type="http://schemas.openxmlformats.org/officeDocument/2006/relationships/theme" Target="../theme/theme5.xml"/><Relationship Id="rId7" Type="http://schemas.openxmlformats.org/officeDocument/2006/relationships/slideLayout" Target="../slideLayouts/slideLayout71.xml"/><Relationship Id="rId12" Type="http://schemas.openxmlformats.org/officeDocument/2006/relationships/slideLayout" Target="../slideLayouts/slideLayout76.xml"/><Relationship Id="rId17" Type="http://schemas.openxmlformats.org/officeDocument/2006/relationships/slideLayout" Target="../slideLayouts/slideLayout81.xml"/><Relationship Id="rId2" Type="http://schemas.openxmlformats.org/officeDocument/2006/relationships/slideLayout" Target="../slideLayouts/slideLayout66.xml"/><Relationship Id="rId16" Type="http://schemas.openxmlformats.org/officeDocument/2006/relationships/slideLayout" Target="../slideLayouts/slideLayout80.xml"/><Relationship Id="rId20" Type="http://schemas.openxmlformats.org/officeDocument/2006/relationships/slideLayout" Target="../slideLayouts/slideLayout84.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slideLayout" Target="../slideLayouts/slideLayout75.xml"/><Relationship Id="rId5" Type="http://schemas.openxmlformats.org/officeDocument/2006/relationships/slideLayout" Target="../slideLayouts/slideLayout69.xml"/><Relationship Id="rId15" Type="http://schemas.openxmlformats.org/officeDocument/2006/relationships/slideLayout" Target="../slideLayouts/slideLayout79.xml"/><Relationship Id="rId10" Type="http://schemas.openxmlformats.org/officeDocument/2006/relationships/slideLayout" Target="../slideLayouts/slideLayout74.xml"/><Relationship Id="rId19" Type="http://schemas.openxmlformats.org/officeDocument/2006/relationships/slideLayout" Target="../slideLayouts/slideLayout83.xml"/><Relationship Id="rId4" Type="http://schemas.openxmlformats.org/officeDocument/2006/relationships/slideLayout" Target="../slideLayouts/slideLayout68.xml"/><Relationship Id="rId9" Type="http://schemas.openxmlformats.org/officeDocument/2006/relationships/slideLayout" Target="../slideLayouts/slideLayout73.xml"/><Relationship Id="rId14" Type="http://schemas.openxmlformats.org/officeDocument/2006/relationships/slideLayout" Target="../slideLayouts/slideLayout78.xml"/><Relationship Id="rId22" Type="http://schemas.openxmlformats.org/officeDocument/2006/relationships/image" Target="../media/image14.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722D120-0A04-7E92-91C9-8F598DE28148}"/>
              </a:ext>
            </a:extLst>
          </p:cNvPr>
          <p:cNvSpPr>
            <a:spLocks noGrp="1"/>
          </p:cNvSpPr>
          <p:nvPr>
            <p:ph type="title"/>
          </p:nvPr>
        </p:nvSpPr>
        <p:spPr>
          <a:xfrm>
            <a:off x="442914" y="404813"/>
            <a:ext cx="11306174" cy="382284"/>
          </a:xfrm>
          <a:prstGeom prst="rect">
            <a:avLst/>
          </a:prstGeom>
        </p:spPr>
        <p:txBody>
          <a:bodyPr vert="horz" wrap="square" lIns="0" tIns="0" rIns="0" bIns="0" rtlCol="0" anchor="t" anchorCtr="0">
            <a:spAutoFit/>
          </a:bodyPr>
          <a:lstStyle/>
          <a:p>
            <a:r>
              <a:rPr lang="en-GB"/>
              <a:t>Click to edit Master title style</a:t>
            </a:r>
          </a:p>
        </p:txBody>
      </p:sp>
      <p:sp>
        <p:nvSpPr>
          <p:cNvPr id="3" name="Text Placeholder 2">
            <a:extLst>
              <a:ext uri="{FF2B5EF4-FFF2-40B4-BE49-F238E27FC236}">
                <a16:creationId xmlns:a16="http://schemas.microsoft.com/office/drawing/2014/main" id="{D269CF76-211E-47F1-9766-5EE825091BF9}"/>
              </a:ext>
            </a:extLst>
          </p:cNvPr>
          <p:cNvSpPr>
            <a:spLocks noGrp="1"/>
          </p:cNvSpPr>
          <p:nvPr>
            <p:ph type="body" idx="1"/>
          </p:nvPr>
        </p:nvSpPr>
        <p:spPr>
          <a:xfrm>
            <a:off x="457200" y="1484313"/>
            <a:ext cx="11251246" cy="4545227"/>
          </a:xfrm>
          <a:prstGeom prst="rect">
            <a:avLst/>
          </a:prstGeom>
        </p:spPr>
        <p:txBody>
          <a:bodyPr vert="horz" lIns="0" tIns="0" rIns="0" bIns="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EE206BC1-7FEF-015C-423F-6FF762399AF8}"/>
              </a:ext>
            </a:extLst>
          </p:cNvPr>
          <p:cNvSpPr>
            <a:spLocks noGrp="1"/>
          </p:cNvSpPr>
          <p:nvPr>
            <p:ph type="dt" sz="half" idx="2"/>
          </p:nvPr>
        </p:nvSpPr>
        <p:spPr>
          <a:xfrm>
            <a:off x="6240463" y="6280657"/>
            <a:ext cx="5094287" cy="153888"/>
          </a:xfrm>
          <a:prstGeom prst="rect">
            <a:avLst/>
          </a:prstGeom>
        </p:spPr>
        <p:txBody>
          <a:bodyPr vert="horz" wrap="square" lIns="0" tIns="0" rIns="0" bIns="0" rtlCol="0" anchor="b" anchorCtr="0">
            <a:spAutoFit/>
          </a:bodyPr>
          <a:lstStyle>
            <a:lvl1pPr algn="l">
              <a:defRPr sz="1000">
                <a:solidFill>
                  <a:schemeClr val="tx1"/>
                </a:solidFill>
              </a:defRPr>
            </a:lvl1pPr>
          </a:lstStyle>
          <a:p>
            <a:r>
              <a:rPr lang="en-US"/>
              <a:t>25 March 2026</a:t>
            </a:r>
            <a:endParaRPr lang="en-GB"/>
          </a:p>
        </p:txBody>
      </p:sp>
      <p:sp>
        <p:nvSpPr>
          <p:cNvPr id="5" name="Footer Placeholder 4">
            <a:extLst>
              <a:ext uri="{FF2B5EF4-FFF2-40B4-BE49-F238E27FC236}">
                <a16:creationId xmlns:a16="http://schemas.microsoft.com/office/drawing/2014/main" id="{D4F7A99F-D35F-B879-0CFE-35D88EB6A385}"/>
              </a:ext>
            </a:extLst>
          </p:cNvPr>
          <p:cNvSpPr>
            <a:spLocks noGrp="1"/>
          </p:cNvSpPr>
          <p:nvPr>
            <p:ph type="ftr" sz="quarter" idx="3"/>
          </p:nvPr>
        </p:nvSpPr>
        <p:spPr>
          <a:xfrm>
            <a:off x="452438" y="6280657"/>
            <a:ext cx="5527676" cy="153888"/>
          </a:xfrm>
          <a:prstGeom prst="rect">
            <a:avLst/>
          </a:prstGeom>
        </p:spPr>
        <p:txBody>
          <a:bodyPr vert="horz" wrap="square" lIns="0" tIns="0" rIns="0" bIns="0" rtlCol="0" anchor="b" anchorCtr="0">
            <a:spAutoFit/>
          </a:bodyPr>
          <a:lstStyle>
            <a:lvl1pPr algn="l">
              <a:defRPr sz="1000" b="1">
                <a:solidFill>
                  <a:schemeClr val="tx1"/>
                </a:solidFill>
              </a:defRPr>
            </a:lvl1pPr>
          </a:lstStyle>
          <a:p>
            <a:r>
              <a:rPr lang="en-GB"/>
              <a:t>Q member event</a:t>
            </a:r>
          </a:p>
        </p:txBody>
      </p:sp>
      <p:sp>
        <p:nvSpPr>
          <p:cNvPr id="6" name="Slide Number Placeholder 5">
            <a:extLst>
              <a:ext uri="{FF2B5EF4-FFF2-40B4-BE49-F238E27FC236}">
                <a16:creationId xmlns:a16="http://schemas.microsoft.com/office/drawing/2014/main" id="{532A34C3-D6A7-F4D8-2E7D-799E0195FCE8}"/>
              </a:ext>
            </a:extLst>
          </p:cNvPr>
          <p:cNvSpPr>
            <a:spLocks noGrp="1"/>
          </p:cNvSpPr>
          <p:nvPr>
            <p:ph type="sldNum" sz="quarter" idx="4"/>
          </p:nvPr>
        </p:nvSpPr>
        <p:spPr>
          <a:xfrm>
            <a:off x="11306175" y="6280657"/>
            <a:ext cx="428625" cy="153888"/>
          </a:xfrm>
          <a:prstGeom prst="rect">
            <a:avLst/>
          </a:prstGeom>
        </p:spPr>
        <p:txBody>
          <a:bodyPr vert="horz" wrap="square" lIns="0" tIns="0" rIns="0" bIns="0" rtlCol="0" anchor="b" anchorCtr="0">
            <a:spAutoFit/>
          </a:bodyPr>
          <a:lstStyle>
            <a:lvl1pPr algn="r">
              <a:defRPr sz="1000">
                <a:solidFill>
                  <a:schemeClr val="tx1"/>
                </a:solidFill>
              </a:defRPr>
            </a:lvl1pPr>
          </a:lstStyle>
          <a:p>
            <a:fld id="{C790EBD1-482B-4C6F-AFC1-9F7ACF0A1A11}" type="slidenum">
              <a:rPr lang="en-GB" smtClean="0"/>
              <a:pPr/>
              <a:t>‹#›</a:t>
            </a:fld>
            <a:endParaRPr lang="en-GB"/>
          </a:p>
        </p:txBody>
      </p:sp>
    </p:spTree>
    <p:extLst>
      <p:ext uri="{BB962C8B-B14F-4D97-AF65-F5344CB8AC3E}">
        <p14:creationId xmlns:p14="http://schemas.microsoft.com/office/powerpoint/2010/main" val="2941884671"/>
      </p:ext>
    </p:extLst>
  </p:cSld>
  <p:clrMap bg1="lt1" tx1="dk1" bg2="lt2" tx2="dk2" accent1="accent1" accent2="accent2" accent3="accent3" accent4="accent4" accent5="accent5" accent6="accent6" hlink="hlink" folHlink="folHlink"/>
  <p:sldLayoutIdLst>
    <p:sldLayoutId id="2147483660" r:id="rId1"/>
    <p:sldLayoutId id="2147483672" r:id="rId2"/>
    <p:sldLayoutId id="2147483677" r:id="rId3"/>
    <p:sldLayoutId id="2147483649" r:id="rId4"/>
    <p:sldLayoutId id="2147483671" r:id="rId5"/>
    <p:sldLayoutId id="2147483678" r:id="rId6"/>
    <p:sldLayoutId id="2147483661" r:id="rId7"/>
    <p:sldLayoutId id="2147483673" r:id="rId8"/>
    <p:sldLayoutId id="2147483656" r:id="rId9"/>
    <p:sldLayoutId id="2147483657" r:id="rId10"/>
    <p:sldLayoutId id="2147483675" r:id="rId11"/>
    <p:sldLayoutId id="2147483676" r:id="rId12"/>
    <p:sldLayoutId id="2147483658" r:id="rId13"/>
    <p:sldLayoutId id="2147483650" r:id="rId14"/>
    <p:sldLayoutId id="2147483654" r:id="rId15"/>
    <p:sldLayoutId id="2147483674" r:id="rId16"/>
    <p:sldLayoutId id="2147483659" r:id="rId17"/>
    <p:sldLayoutId id="2147483662" r:id="rId18"/>
    <p:sldLayoutId id="2147483664" r:id="rId19"/>
  </p:sldLayoutIdLst>
  <p:hf sldNum="0" hdr="0"/>
  <p:txStyles>
    <p:titleStyle>
      <a:lvl1pPr algn="l" defTabSz="914400" rtl="0" eaLnBrk="1" latinLnBrk="0" hangingPunct="1">
        <a:lnSpc>
          <a:spcPct val="92000"/>
        </a:lnSpc>
        <a:spcBef>
          <a:spcPct val="0"/>
        </a:spcBef>
        <a:buNone/>
        <a:defRPr sz="2700" b="1" kern="1200">
          <a:solidFill>
            <a:schemeClr val="tx1"/>
          </a:solidFill>
          <a:latin typeface="+mj-lt"/>
          <a:ea typeface="+mj-ea"/>
          <a:cs typeface="+mj-cs"/>
        </a:defRPr>
      </a:lvl1pPr>
    </p:titleStyle>
    <p:bodyStyle>
      <a:lvl1pPr marL="0" indent="0" algn="l" defTabSz="914400" rtl="0" eaLnBrk="1" latinLnBrk="0" hangingPunct="1">
        <a:lnSpc>
          <a:spcPct val="111000"/>
        </a:lnSpc>
        <a:spcBef>
          <a:spcPts val="800"/>
        </a:spcBef>
        <a:spcAft>
          <a:spcPts val="800"/>
        </a:spcAft>
        <a:buFont typeface="Arial" panose="020B0604020202020204" pitchFamily="34" charset="0"/>
        <a:buNone/>
        <a:defRPr sz="1800" b="1" kern="1200">
          <a:solidFill>
            <a:schemeClr val="tx1"/>
          </a:solidFill>
          <a:latin typeface="+mn-lt"/>
          <a:ea typeface="+mn-ea"/>
          <a:cs typeface="+mn-cs"/>
        </a:defRPr>
      </a:lvl1pPr>
      <a:lvl2pPr marL="0" indent="0" algn="l" defTabSz="914400" rtl="0" eaLnBrk="1" latinLnBrk="0" hangingPunct="1">
        <a:lnSpc>
          <a:spcPct val="111000"/>
        </a:lnSpc>
        <a:spcBef>
          <a:spcPts val="800"/>
        </a:spcBef>
        <a:spcAft>
          <a:spcPts val="800"/>
        </a:spcAft>
        <a:buFont typeface="Arial" panose="020B0604020202020204" pitchFamily="34" charset="0"/>
        <a:buNone/>
        <a:defRPr sz="1800" kern="1200">
          <a:solidFill>
            <a:schemeClr val="tx1"/>
          </a:solidFill>
          <a:latin typeface="+mn-lt"/>
          <a:ea typeface="+mn-ea"/>
          <a:cs typeface="+mn-cs"/>
        </a:defRPr>
      </a:lvl2pPr>
      <a:lvl3pPr marL="234000" indent="-234000" algn="l" defTabSz="914400" rtl="0" eaLnBrk="1" latinLnBrk="0" hangingPunct="1">
        <a:lnSpc>
          <a:spcPct val="111000"/>
        </a:lnSpc>
        <a:spcBef>
          <a:spcPts val="0"/>
        </a:spcBef>
        <a:spcAft>
          <a:spcPts val="800"/>
        </a:spcAft>
        <a:buFont typeface="Arial" panose="020B0604020202020204" pitchFamily="34" charset="0"/>
        <a:buChar char="•"/>
        <a:defRPr sz="1800" kern="1200">
          <a:solidFill>
            <a:schemeClr val="tx1"/>
          </a:solidFill>
          <a:latin typeface="+mn-lt"/>
          <a:ea typeface="+mn-ea"/>
          <a:cs typeface="+mn-cs"/>
        </a:defRPr>
      </a:lvl3pPr>
      <a:lvl4pPr marL="468000" indent="-234000" algn="l" defTabSz="914400" rtl="0" eaLnBrk="1" latinLnBrk="0" hangingPunct="1">
        <a:lnSpc>
          <a:spcPct val="111000"/>
        </a:lnSpc>
        <a:spcBef>
          <a:spcPts val="0"/>
        </a:spcBef>
        <a:spcAft>
          <a:spcPts val="800"/>
        </a:spcAft>
        <a:buFont typeface="Arial" panose="020B0604020202020204" pitchFamily="34" charset="0"/>
        <a:buChar char="–"/>
        <a:defRPr sz="1800" kern="1200">
          <a:solidFill>
            <a:schemeClr val="tx1"/>
          </a:solidFill>
          <a:latin typeface="+mn-lt"/>
          <a:ea typeface="+mn-ea"/>
          <a:cs typeface="+mn-cs"/>
        </a:defRPr>
      </a:lvl4pPr>
      <a:lvl5pPr marL="234000" indent="-234000" algn="l" defTabSz="914400" rtl="0" eaLnBrk="1" latinLnBrk="0" hangingPunct="1">
        <a:lnSpc>
          <a:spcPct val="111000"/>
        </a:lnSpc>
        <a:spcBef>
          <a:spcPts val="0"/>
        </a:spcBef>
        <a:spcAft>
          <a:spcPts val="800"/>
        </a:spcAft>
        <a:buFont typeface="+mj-lt"/>
        <a:buAutoNum type="arabicPeriod"/>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userDrawn="1">
          <p15:clr>
            <a:srgbClr val="F26B43"/>
          </p15:clr>
        </p15:guide>
        <p15:guide id="2" pos="7680" userDrawn="1">
          <p15:clr>
            <a:srgbClr val="F26B43"/>
          </p15:clr>
        </p15:guide>
        <p15:guide id="3" pos="288" userDrawn="1">
          <p15:clr>
            <a:srgbClr val="F26B43"/>
          </p15:clr>
        </p15:guide>
        <p15:guide id="4" pos="744" userDrawn="1">
          <p15:clr>
            <a:srgbClr val="F26B43"/>
          </p15:clr>
        </p15:guide>
        <p15:guide id="5" pos="896" userDrawn="1">
          <p15:clr>
            <a:srgbClr val="F26B43"/>
          </p15:clr>
        </p15:guide>
        <p15:guide id="6" pos="1352" userDrawn="1">
          <p15:clr>
            <a:srgbClr val="F26B43"/>
          </p15:clr>
        </p15:guide>
        <p15:guide id="7" pos="1496" userDrawn="1">
          <p15:clr>
            <a:srgbClr val="F26B43"/>
          </p15:clr>
        </p15:guide>
        <p15:guide id="8" pos="1952" userDrawn="1">
          <p15:clr>
            <a:srgbClr val="F26B43"/>
          </p15:clr>
        </p15:guide>
        <p15:guide id="9" pos="2104" userDrawn="1">
          <p15:clr>
            <a:srgbClr val="F26B43"/>
          </p15:clr>
        </p15:guide>
        <p15:guide id="10" pos="2560" userDrawn="1">
          <p15:clr>
            <a:srgbClr val="F26B43"/>
          </p15:clr>
        </p15:guide>
        <p15:guide id="11" pos="2704" userDrawn="1">
          <p15:clr>
            <a:srgbClr val="F26B43"/>
          </p15:clr>
        </p15:guide>
        <p15:guide id="12" pos="3160" userDrawn="1">
          <p15:clr>
            <a:srgbClr val="F26B43"/>
          </p15:clr>
        </p15:guide>
        <p15:guide id="13" pos="3312" userDrawn="1">
          <p15:clr>
            <a:srgbClr val="F26B43"/>
          </p15:clr>
        </p15:guide>
        <p15:guide id="14" pos="3768" userDrawn="1">
          <p15:clr>
            <a:srgbClr val="F26B43"/>
          </p15:clr>
        </p15:guide>
        <p15:guide id="15" pos="3912" userDrawn="1">
          <p15:clr>
            <a:srgbClr val="F26B43"/>
          </p15:clr>
        </p15:guide>
        <p15:guide id="16" pos="4368" userDrawn="1">
          <p15:clr>
            <a:srgbClr val="F26B43"/>
          </p15:clr>
        </p15:guide>
        <p15:guide id="17" pos="4520" userDrawn="1">
          <p15:clr>
            <a:srgbClr val="F26B43"/>
          </p15:clr>
        </p15:guide>
        <p15:guide id="18" pos="4976" userDrawn="1">
          <p15:clr>
            <a:srgbClr val="F26B43"/>
          </p15:clr>
        </p15:guide>
        <p15:guide id="19" pos="5120" userDrawn="1">
          <p15:clr>
            <a:srgbClr val="F26B43"/>
          </p15:clr>
        </p15:guide>
        <p15:guide id="20" pos="5576" userDrawn="1">
          <p15:clr>
            <a:srgbClr val="F26B43"/>
          </p15:clr>
        </p15:guide>
        <p15:guide id="21" pos="5728" userDrawn="1">
          <p15:clr>
            <a:srgbClr val="F26B43"/>
          </p15:clr>
        </p15:guide>
        <p15:guide id="22" pos="6184" userDrawn="1">
          <p15:clr>
            <a:srgbClr val="F26B43"/>
          </p15:clr>
        </p15:guide>
        <p15:guide id="23" pos="6328" userDrawn="1">
          <p15:clr>
            <a:srgbClr val="F26B43"/>
          </p15:clr>
        </p15:guide>
        <p15:guide id="24" pos="6784" userDrawn="1">
          <p15:clr>
            <a:srgbClr val="F26B43"/>
          </p15:clr>
        </p15:guide>
        <p15:guide id="25" pos="6936" userDrawn="1">
          <p15:clr>
            <a:srgbClr val="F26B43"/>
          </p15:clr>
        </p15:guide>
        <p15:guide id="26" pos="7392" userDrawn="1">
          <p15:clr>
            <a:srgbClr val="F26B43"/>
          </p15:clr>
        </p15:guide>
        <p15:guide id="27" orient="horz" userDrawn="1">
          <p15:clr>
            <a:srgbClr val="F26B43"/>
          </p15:clr>
        </p15:guide>
        <p15:guide id="28" orient="horz" pos="4320" userDrawn="1">
          <p15:clr>
            <a:srgbClr val="F26B43"/>
          </p15:clr>
        </p15:guide>
        <p15:guide id="29" orient="horz" pos="288" userDrawn="1">
          <p15:clr>
            <a:srgbClr val="F26B43"/>
          </p15:clr>
        </p15:guide>
        <p15:guide id="30" orient="horz" pos="4032" userDrawn="1">
          <p15:clr>
            <a:srgbClr val="F26B43"/>
          </p15:clr>
        </p15:guide>
        <p15:guide id="31" orient="horz" pos="960" userDrawn="1">
          <p15:clr>
            <a:srgbClr val="F26B43"/>
          </p15:clr>
        </p15:guide>
        <p15:guide id="32" orient="horz" pos="380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846CE7D5-CF57-46EF-B807-FDD0502418D4}" type="datetimeFigureOut">
              <a:rPr lang="en-GB" smtClean="0"/>
              <a:t>30/03/2026</a:t>
            </a:fld>
            <a:endParaRPr lang="en-GB"/>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GB"/>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330EA680-D336-4FF7-8B7A-9848BB0A1C32}" type="slidenum">
              <a:rPr lang="en-GB" smtClean="0"/>
              <a:t>‹#›</a:t>
            </a:fld>
            <a:endParaRPr lang="en-GB"/>
          </a:p>
        </p:txBody>
      </p:sp>
    </p:spTree>
    <p:extLst>
      <p:ext uri="{BB962C8B-B14F-4D97-AF65-F5344CB8AC3E}">
        <p14:creationId xmlns:p14="http://schemas.microsoft.com/office/powerpoint/2010/main" val="2389961246"/>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 id="2147483688" r:id="rId9"/>
    <p:sldLayoutId id="2147483689" r:id="rId10"/>
    <p:sldLayoutId id="2147483690"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GB"/>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CA5E4AF2-8AC4-4FAD-AC14-416D62AE014D}"/>
              </a:ext>
            </a:extLst>
          </p:cNvPr>
          <p:cNvCxnSpPr>
            <a:cxnSpLocks/>
          </p:cNvCxnSpPr>
          <p:nvPr/>
        </p:nvCxnSpPr>
        <p:spPr>
          <a:xfrm>
            <a:off x="638954" y="1411105"/>
            <a:ext cx="979200" cy="0"/>
          </a:xfrm>
          <a:prstGeom prst="line">
            <a:avLst/>
          </a:prstGeom>
          <a:ln>
            <a:solidFill>
              <a:srgbClr val="6BC5DB"/>
            </a:solidFill>
          </a:ln>
        </p:spPr>
        <p:style>
          <a:lnRef idx="1">
            <a:schemeClr val="accent1"/>
          </a:lnRef>
          <a:fillRef idx="0">
            <a:schemeClr val="accent1"/>
          </a:fillRef>
          <a:effectRef idx="0">
            <a:schemeClr val="accent1"/>
          </a:effectRef>
          <a:fontRef idx="minor">
            <a:schemeClr val="tx1"/>
          </a:fontRef>
        </p:style>
      </p:cxnSp>
      <p:pic>
        <p:nvPicPr>
          <p:cNvPr id="6" name="Picture 5" descr="IHI_Symbol.png">
            <a:extLst>
              <a:ext uri="{FF2B5EF4-FFF2-40B4-BE49-F238E27FC236}">
                <a16:creationId xmlns:a16="http://schemas.microsoft.com/office/drawing/2014/main" id="{4B2EC539-EBCE-4682-B52D-9F772D37C3D3}"/>
              </a:ext>
            </a:extLst>
          </p:cNvPr>
          <p:cNvPicPr>
            <a:picLocks noChangeAspect="1"/>
          </p:cNvPicPr>
          <p:nvPr/>
        </p:nvPicPr>
        <p:blipFill>
          <a:blip r:embed="rId24" cstate="print"/>
          <a:stretch>
            <a:fillRect/>
          </a:stretch>
        </p:blipFill>
        <p:spPr>
          <a:xfrm>
            <a:off x="11584510" y="6253880"/>
            <a:ext cx="387846" cy="382809"/>
          </a:xfrm>
          <a:prstGeom prst="rect">
            <a:avLst/>
          </a:prstGeom>
          <a:noFill/>
          <a:ln>
            <a:noFill/>
          </a:ln>
        </p:spPr>
      </p:pic>
      <p:sp>
        <p:nvSpPr>
          <p:cNvPr id="3" name="TextBox 2">
            <a:extLst>
              <a:ext uri="{FF2B5EF4-FFF2-40B4-BE49-F238E27FC236}">
                <a16:creationId xmlns:a16="http://schemas.microsoft.com/office/drawing/2014/main" id="{889D5B5B-F044-FC72-0A96-6AA0D74892E4}"/>
              </a:ext>
            </a:extLst>
          </p:cNvPr>
          <p:cNvSpPr txBox="1"/>
          <p:nvPr userDrawn="1">
            <p:extLst>
              <p:ext uri="{1162E1C5-73C7-4A58-AE30-91384D911F3F}">
                <p184:classification xmlns:p184="http://schemas.microsoft.com/office/powerpoint/2018/4/main" val="ftr"/>
              </p:ext>
            </p:extLst>
          </p:nvPr>
        </p:nvSpPr>
        <p:spPr>
          <a:xfrm>
            <a:off x="63500" y="6642100"/>
            <a:ext cx="1301750" cy="152400"/>
          </a:xfrm>
          <a:prstGeom prst="rect">
            <a:avLst/>
          </a:prstGeom>
        </p:spPr>
        <p:txBody>
          <a:bodyPr horzOverflow="overflow" lIns="0" tIns="0" rIns="0" bIns="0">
            <a:spAutoFit/>
          </a:bodyPr>
          <a:lstStyle/>
          <a:p>
            <a:pPr algn="l"/>
            <a:r>
              <a:rPr lang="en-US" sz="1000">
                <a:solidFill>
                  <a:srgbClr val="FF0000">
                    <a:alpha val="50000"/>
                  </a:srgbClr>
                </a:solidFill>
                <a:latin typeface="Calibri" panose="020F0502020204030204" pitchFamily="34" charset="0"/>
                <a:ea typeface="Calibri" panose="020F0502020204030204" pitchFamily="34" charset="0"/>
                <a:cs typeface="Calibri" panose="020F0502020204030204" pitchFamily="34" charset="0"/>
              </a:rPr>
              <a:t>Classified as Confidential</a:t>
            </a:r>
          </a:p>
        </p:txBody>
      </p:sp>
    </p:spTree>
    <p:extLst>
      <p:ext uri="{BB962C8B-B14F-4D97-AF65-F5344CB8AC3E}">
        <p14:creationId xmlns:p14="http://schemas.microsoft.com/office/powerpoint/2010/main" val="1402038172"/>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7" r:id="rId5"/>
    <p:sldLayoutId id="2147483698" r:id="rId6"/>
    <p:sldLayoutId id="2147483699" r:id="rId7"/>
    <p:sldLayoutId id="2147483700" r:id="rId8"/>
    <p:sldLayoutId id="2147483701" r:id="rId9"/>
    <p:sldLayoutId id="2147483702" r:id="rId10"/>
    <p:sldLayoutId id="2147483703" r:id="rId11"/>
    <p:sldLayoutId id="2147483704" r:id="rId12"/>
    <p:sldLayoutId id="2147483705" r:id="rId13"/>
    <p:sldLayoutId id="2147483706" r:id="rId14"/>
    <p:sldLayoutId id="2147483707" r:id="rId15"/>
    <p:sldLayoutId id="2147483708" r:id="rId16"/>
    <p:sldLayoutId id="2147483709" r:id="rId17"/>
    <p:sldLayoutId id="2147483710" r:id="rId18"/>
    <p:sldLayoutId id="2147483711" r:id="rId19"/>
    <p:sldLayoutId id="2147483712" r:id="rId20"/>
    <p:sldLayoutId id="2147483713" r:id="rId21"/>
    <p:sldLayoutId id="2147483714" r:id="rId22"/>
  </p:sldLayoutIdLst>
  <p:txStyles>
    <p:titleStyle>
      <a:lvl1pPr algn="l" defTabSz="914400" rtl="0" eaLnBrk="1" latinLnBrk="0" hangingPunct="1">
        <a:lnSpc>
          <a:spcPct val="90000"/>
        </a:lnSpc>
        <a:spcBef>
          <a:spcPct val="0"/>
        </a:spcBef>
        <a:buNone/>
        <a:defRPr sz="4400" kern="1200">
          <a:solidFill>
            <a:schemeClr val="tx2"/>
          </a:solidFill>
          <a:latin typeface="Roboto Medium" panose="02000000000000000000" pitchFamily="2" charset="0"/>
          <a:ea typeface="Roboto Medium" panose="02000000000000000000" pitchFamily="2" charset="0"/>
          <a:cs typeface="+mj-cs"/>
        </a:defRPr>
      </a:lvl1pPr>
    </p:titleStyle>
    <p:bodyStyle>
      <a:lvl1pPr marL="228600" indent="-228600" algn="l" defTabSz="914400" rtl="0" eaLnBrk="1" latinLnBrk="0" hangingPunct="1">
        <a:lnSpc>
          <a:spcPct val="150000"/>
        </a:lnSpc>
        <a:spcBef>
          <a:spcPts val="1000"/>
        </a:spcBef>
        <a:buFont typeface="Arial" panose="020B0604020202020204" pitchFamily="34" charset="0"/>
        <a:buChar char="•"/>
        <a:tabLst>
          <a:tab pos="571500" algn="l"/>
        </a:tabLst>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2968C8A-2610-4967-90DA-E52C0CF4016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373C89B1-88A4-4EDC-8169-185FA6B655E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5FE4E243-9929-4F14-9622-A50CC6F833E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F445922-562A-4E51-A00C-7E4F292EB7AF}" type="datetimeFigureOut">
              <a:rPr lang="en-GB" smtClean="0"/>
              <a:t>30/03/2026</a:t>
            </a:fld>
            <a:endParaRPr lang="en-GB"/>
          </a:p>
        </p:txBody>
      </p:sp>
      <p:sp>
        <p:nvSpPr>
          <p:cNvPr id="5" name="Footer Placeholder 4">
            <a:extLst>
              <a:ext uri="{FF2B5EF4-FFF2-40B4-BE49-F238E27FC236}">
                <a16:creationId xmlns:a16="http://schemas.microsoft.com/office/drawing/2014/main" id="{7BFFFF19-F66C-4795-B872-3993AF4A3B6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F719ABF8-C44F-440C-A0E1-877FF7A49E8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A8D74DB-ACF9-4D44-B516-B20BC482378A}" type="slidenum">
              <a:rPr lang="en-GB" smtClean="0"/>
              <a:t>‹#›</a:t>
            </a:fld>
            <a:endParaRPr lang="en-GB"/>
          </a:p>
        </p:txBody>
      </p:sp>
    </p:spTree>
    <p:extLst>
      <p:ext uri="{BB962C8B-B14F-4D97-AF65-F5344CB8AC3E}">
        <p14:creationId xmlns:p14="http://schemas.microsoft.com/office/powerpoint/2010/main" val="1885080691"/>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 id="2147483724" r:id="rId9"/>
    <p:sldLayoutId id="2147483725" r:id="rId10"/>
    <p:sldLayoutId id="2147483726" r:id="rId11"/>
    <p:sldLayoutId id="2147483727"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blipFill dpi="0" rotWithShape="1">
          <a:blip r:embed="rId22">
            <a:lum/>
          </a:blip>
          <a:srcRect/>
          <a:stretch>
            <a:fillRect/>
          </a:stretch>
        </a:blip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B4B6E4E-6428-F042-99A6-174232E9FD5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endParaRPr lang="en-US"/>
          </a:p>
        </p:txBody>
      </p:sp>
      <p:sp>
        <p:nvSpPr>
          <p:cNvPr id="3" name="Text Placeholder 2">
            <a:extLst>
              <a:ext uri="{FF2B5EF4-FFF2-40B4-BE49-F238E27FC236}">
                <a16:creationId xmlns:a16="http://schemas.microsoft.com/office/drawing/2014/main" id="{01969A27-8BFD-454F-AAB7-1A69BD53BAF7}"/>
              </a:ext>
            </a:extLst>
          </p:cNvPr>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Slide Number Placeholder 5">
            <a:extLst>
              <a:ext uri="{FF2B5EF4-FFF2-40B4-BE49-F238E27FC236}">
                <a16:creationId xmlns:a16="http://schemas.microsoft.com/office/drawing/2014/main" id="{70D704B3-46F5-B949-B353-5E73F74EA1A5}"/>
              </a:ext>
            </a:extLst>
          </p:cNvPr>
          <p:cNvSpPr>
            <a:spLocks noGrp="1"/>
          </p:cNvSpPr>
          <p:nvPr>
            <p:ph type="sldNum" sz="quarter" idx="4"/>
          </p:nvPr>
        </p:nvSpPr>
        <p:spPr>
          <a:xfrm>
            <a:off x="8382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algn="l"/>
            <a:fld id="{617D90F0-DA80-5145-B5BC-962393EBAEF1}" type="slidenum">
              <a:rPr lang="en-US" smtClean="0"/>
              <a:pPr algn="l"/>
              <a:t>‹#›</a:t>
            </a:fld>
            <a:endParaRPr lang="en-US"/>
          </a:p>
        </p:txBody>
      </p:sp>
    </p:spTree>
    <p:extLst>
      <p:ext uri="{BB962C8B-B14F-4D97-AF65-F5344CB8AC3E}">
        <p14:creationId xmlns:p14="http://schemas.microsoft.com/office/powerpoint/2010/main" val="1215804794"/>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 id="2147483737" r:id="rId9"/>
    <p:sldLayoutId id="2147483738" r:id="rId10"/>
    <p:sldLayoutId id="2147483739" r:id="rId11"/>
    <p:sldLayoutId id="2147483740" r:id="rId12"/>
    <p:sldLayoutId id="2147483741" r:id="rId13"/>
    <p:sldLayoutId id="2147483742" r:id="rId14"/>
    <p:sldLayoutId id="2147483743" r:id="rId15"/>
    <p:sldLayoutId id="2147483744" r:id="rId16"/>
    <p:sldLayoutId id="2147483745" r:id="rId17"/>
    <p:sldLayoutId id="2147483746" r:id="rId18"/>
    <p:sldLayoutId id="2147483747" r:id="rId19"/>
    <p:sldLayoutId id="2147483748" r:id="rId20"/>
  </p:sldLayoutIdLst>
  <p:txStyles>
    <p:titleStyle>
      <a:lvl1pPr algn="l" defTabSz="914377" rtl="0" eaLnBrk="1" latinLnBrk="0" hangingPunct="1">
        <a:lnSpc>
          <a:spcPct val="90000"/>
        </a:lnSpc>
        <a:spcBef>
          <a:spcPct val="0"/>
        </a:spcBef>
        <a:buNone/>
        <a:defRPr sz="4400" b="1" i="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b="1"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ct val="90000"/>
        </a:lnSpc>
        <a:spcBef>
          <a:spcPts val="500"/>
        </a:spcBef>
        <a:buFont typeface="Arial" panose="020B0604020202020204" pitchFamily="34" charset="0"/>
        <a:buChar char="•"/>
        <a:defRPr sz="2400" b="1"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xml"/><Relationship Id="rId1" Type="http://schemas.openxmlformats.org/officeDocument/2006/relationships/slideLayout" Target="../slideLayouts/slideLayout20.xml"/></Relationships>
</file>

<file path=ppt/slides/_rels/slide1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4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0.xml"/></Relationships>
</file>

<file path=ppt/slides/_rels/slide12.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Layout" Target="../slideLayouts/slideLayout50.xml"/></Relationships>
</file>

<file path=ppt/slides/_rels/slide13.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50.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0.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65.xml"/></Relationships>
</file>

<file path=ppt/slides/_rels/slide1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8.png"/><Relationship Id="rId1" Type="http://schemas.openxmlformats.org/officeDocument/2006/relationships/slideLayout" Target="../slideLayouts/slideLayout50.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51.xml"/></Relationships>
</file>

<file path=ppt/slides/_rels/slide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50.xml"/><Relationship Id="rId4" Type="http://schemas.openxmlformats.org/officeDocument/2006/relationships/image" Target="../media/image22.png"/></Relationships>
</file>

<file path=ppt/slides/_rels/slide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59.xml"/></Relationships>
</file>

<file path=ppt/slides/_rels/slide5.xml.rels><?xml version="1.0" encoding="UTF-8" standalone="yes"?>
<Relationships xmlns="http://schemas.openxmlformats.org/package/2006/relationships"><Relationship Id="rId3" Type="http://schemas.openxmlformats.org/officeDocument/2006/relationships/hyperlink" Target="https://www.ons.gov.uk/peoplepopulationandcommunity/healthandsocialcare/childhealth/articles/birthsandinfantmortalitybyethnicityinenglandandwales/2007to2019" TargetMode="External"/><Relationship Id="rId2" Type="http://schemas.openxmlformats.org/officeDocument/2006/relationships/image" Target="../media/image25.png"/><Relationship Id="rId1" Type="http://schemas.openxmlformats.org/officeDocument/2006/relationships/slideLayout" Target="../slideLayouts/slideLayout50.xml"/><Relationship Id="rId4" Type="http://schemas.openxmlformats.org/officeDocument/2006/relationships/image" Target="../media/image26.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0.xml"/></Relationships>
</file>

<file path=ppt/slides/_rels/slide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50.xml"/></Relationships>
</file>

<file path=ppt/slides/_rels/slide8.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jpeg"/><Relationship Id="rId1" Type="http://schemas.openxmlformats.org/officeDocument/2006/relationships/slideLayout" Target="../slideLayouts/slideLayout50.xml"/><Relationship Id="rId5" Type="http://schemas.openxmlformats.org/officeDocument/2006/relationships/image" Target="../media/image32.jpeg"/><Relationship Id="rId4" Type="http://schemas.openxmlformats.org/officeDocument/2006/relationships/image" Target="../media/image31.jpeg"/></Relationships>
</file>

<file path=ppt/slides/_rels/slide9.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5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AE74A1EF-7C0E-0129-7D86-93BAF0171268}"/>
              </a:ext>
            </a:extLst>
          </p:cNvPr>
          <p:cNvGrpSpPr/>
          <p:nvPr/>
        </p:nvGrpSpPr>
        <p:grpSpPr>
          <a:xfrm>
            <a:off x="1904" y="0"/>
            <a:ext cx="12190096" cy="6858000"/>
            <a:chOff x="1904" y="0"/>
            <a:chExt cx="12190096" cy="6858000"/>
          </a:xfrm>
        </p:grpSpPr>
        <p:pic>
          <p:nvPicPr>
            <p:cNvPr id="9" name="Picture 8" descr="Shape&#10;&#10;Description automatically generated">
              <a:extLst>
                <a:ext uri="{FF2B5EF4-FFF2-40B4-BE49-F238E27FC236}">
                  <a16:creationId xmlns:a16="http://schemas.microsoft.com/office/drawing/2014/main" id="{4F4DABAD-3ABD-45EA-95AD-DB6D10211B8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04" y="0"/>
              <a:ext cx="12190096" cy="6858000"/>
            </a:xfrm>
            <a:prstGeom prst="rect">
              <a:avLst/>
            </a:prstGeom>
          </p:spPr>
        </p:pic>
        <p:sp>
          <p:nvSpPr>
            <p:cNvPr id="3" name="Rectangle 2">
              <a:extLst>
                <a:ext uri="{FF2B5EF4-FFF2-40B4-BE49-F238E27FC236}">
                  <a16:creationId xmlns:a16="http://schemas.microsoft.com/office/drawing/2014/main" id="{A7ED3021-38CA-AB43-3B8D-16F97FF4EA45}"/>
                </a:ext>
              </a:extLst>
            </p:cNvPr>
            <p:cNvSpPr/>
            <p:nvPr/>
          </p:nvSpPr>
          <p:spPr>
            <a:xfrm>
              <a:off x="7634686" y="3196086"/>
              <a:ext cx="4555410" cy="3661914"/>
            </a:xfrm>
            <a:prstGeom prst="rect">
              <a:avLst/>
            </a:prstGeom>
            <a:solidFill>
              <a:srgbClr val="3C3382"/>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EDE2C2"/>
                  </a:solidFill>
                  <a:effectLst/>
                  <a:uLnTx/>
                  <a:uFillTx/>
                  <a:latin typeface="Arial" panose="020B0604020202020204" pitchFamily="34" charset="0"/>
                  <a:ea typeface="+mn-ea"/>
                  <a:cs typeface="Arial" panose="020B0604020202020204" pitchFamily="34" charset="0"/>
                </a:rPr>
                <a:t>Using anti-racism lens in quality improvemen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a:ln>
                  <a:noFill/>
                </a:ln>
                <a:solidFill>
                  <a:srgbClr val="EDE2C2"/>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EDE2C2"/>
                  </a:solidFill>
                  <a:effectLst/>
                  <a:uLnTx/>
                  <a:uFillTx/>
                  <a:latin typeface="Arial"/>
                  <a:ea typeface="+mn-ea"/>
                  <a:cs typeface="Arial"/>
                </a:rPr>
                <a:t>Dr Nandi Simps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EDE2C2"/>
                  </a:solidFill>
                  <a:effectLst/>
                  <a:uLnTx/>
                  <a:uFillTx/>
                  <a:latin typeface="Arial"/>
                  <a:ea typeface="+mn-ea"/>
                  <a:cs typeface="Arial"/>
                </a:rPr>
                <a:t>Director of Implement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EDE2C2"/>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err="1">
                  <a:ln>
                    <a:noFill/>
                  </a:ln>
                  <a:solidFill>
                    <a:srgbClr val="EDE2C2"/>
                  </a:solidFill>
                  <a:effectLst/>
                  <a:uLnTx/>
                  <a:uFillTx/>
                  <a:latin typeface="Arial"/>
                  <a:ea typeface="+mn-ea"/>
                  <a:cs typeface="Arial"/>
                </a:rPr>
                <a:t>Sarindi</a:t>
              </a:r>
              <a:r>
                <a:rPr kumimoji="0" lang="en-US" sz="2000" b="0" i="0" u="none" strike="noStrike" kern="1200" cap="none" spc="0" normalizeH="0" baseline="0" noProof="0">
                  <a:ln>
                    <a:noFill/>
                  </a:ln>
                  <a:solidFill>
                    <a:srgbClr val="EDE2C2"/>
                  </a:solidFill>
                  <a:effectLst/>
                  <a:uLnTx/>
                  <a:uFillTx/>
                  <a:latin typeface="Arial"/>
                  <a:ea typeface="+mn-ea"/>
                  <a:cs typeface="Arial"/>
                </a:rPr>
                <a:t> </a:t>
              </a:r>
              <a:r>
                <a:rPr kumimoji="0" lang="en-US" sz="2000" b="0" i="0" u="none" strike="noStrike" kern="1200" cap="none" spc="0" normalizeH="0" baseline="0" noProof="0" err="1">
                  <a:ln>
                    <a:noFill/>
                  </a:ln>
                  <a:solidFill>
                    <a:srgbClr val="EDE2C2"/>
                  </a:solidFill>
                  <a:effectLst/>
                  <a:uLnTx/>
                  <a:uFillTx/>
                  <a:latin typeface="Arial"/>
                  <a:ea typeface="+mn-ea"/>
                  <a:cs typeface="Arial"/>
                </a:rPr>
                <a:t>Aryasingh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EDE2C2"/>
                  </a:solidFill>
                  <a:effectLst/>
                  <a:uLnTx/>
                  <a:uFillTx/>
                  <a:latin typeface="Arial"/>
                  <a:ea typeface="+mn-ea"/>
                  <a:cs typeface="Arial"/>
                </a:rPr>
                <a:t>Head of Implementation</a:t>
              </a:r>
            </a:p>
          </p:txBody>
        </p:sp>
      </p:grpSp>
    </p:spTree>
    <p:extLst>
      <p:ext uri="{BB962C8B-B14F-4D97-AF65-F5344CB8AC3E}">
        <p14:creationId xmlns:p14="http://schemas.microsoft.com/office/powerpoint/2010/main" val="211689744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A diagram of a diagram&#10;&#10;AI-generated content may be incorrect.">
            <a:extLst>
              <a:ext uri="{FF2B5EF4-FFF2-40B4-BE49-F238E27FC236}">
                <a16:creationId xmlns:a16="http://schemas.microsoft.com/office/drawing/2014/main" id="{B24F557F-A252-9D9B-EDE9-0F914B615D62}"/>
              </a:ext>
            </a:extLst>
          </p:cNvPr>
          <p:cNvPicPr>
            <a:picLocks noChangeAspect="1"/>
          </p:cNvPicPr>
          <p:nvPr/>
        </p:nvPicPr>
        <p:blipFill>
          <a:blip r:embed="rId2"/>
          <a:stretch>
            <a:fillRect/>
          </a:stretch>
        </p:blipFill>
        <p:spPr>
          <a:xfrm>
            <a:off x="0" y="0"/>
            <a:ext cx="12192000" cy="6858000"/>
          </a:xfrm>
          <a:prstGeom prst="rect">
            <a:avLst/>
          </a:prstGeom>
        </p:spPr>
      </p:pic>
      <p:pic>
        <p:nvPicPr>
          <p:cNvPr id="4" name="Picture 3">
            <a:extLst>
              <a:ext uri="{FF2B5EF4-FFF2-40B4-BE49-F238E27FC236}">
                <a16:creationId xmlns:a16="http://schemas.microsoft.com/office/drawing/2014/main" id="{273210B0-5134-D2BB-43BE-133A3DD190D6}"/>
              </a:ext>
            </a:extLst>
          </p:cNvPr>
          <p:cNvPicPr>
            <a:picLocks noChangeAspect="1"/>
          </p:cNvPicPr>
          <p:nvPr/>
        </p:nvPicPr>
        <p:blipFill>
          <a:blip r:embed="rId3"/>
          <a:stretch>
            <a:fillRect/>
          </a:stretch>
        </p:blipFill>
        <p:spPr>
          <a:xfrm>
            <a:off x="0" y="5220360"/>
            <a:ext cx="1644242" cy="1637639"/>
          </a:xfrm>
          <a:prstGeom prst="rect">
            <a:avLst/>
          </a:prstGeom>
        </p:spPr>
      </p:pic>
    </p:spTree>
    <p:extLst>
      <p:ext uri="{BB962C8B-B14F-4D97-AF65-F5344CB8AC3E}">
        <p14:creationId xmlns:p14="http://schemas.microsoft.com/office/powerpoint/2010/main" val="10794075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E7F8F7-C41D-5A7D-18DD-3A6B2F62B434}"/>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0257DD73-A8A9-2411-8C84-8B718C1615C0}"/>
              </a:ext>
            </a:extLst>
          </p:cNvPr>
          <p:cNvSpPr txBox="1"/>
          <p:nvPr/>
        </p:nvSpPr>
        <p:spPr>
          <a:xfrm>
            <a:off x="410798" y="510612"/>
            <a:ext cx="10996638" cy="954107"/>
          </a:xfrm>
          <a:prstGeom prst="rect">
            <a:avLst/>
          </a:prstGeom>
          <a:solidFill>
            <a:schemeClr val="bg1"/>
          </a:solid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3D3381"/>
                </a:solidFill>
                <a:effectLst/>
                <a:uLnTx/>
                <a:uFillTx/>
                <a:latin typeface="Arial Black"/>
                <a:ea typeface="+mn-ea"/>
                <a:cs typeface="Arial"/>
              </a:rPr>
              <a:t>Understanding needs and assets through three-part data review</a:t>
            </a:r>
          </a:p>
        </p:txBody>
      </p:sp>
      <p:sp>
        <p:nvSpPr>
          <p:cNvPr id="4" name="Rectangle: Rounded Corners 3">
            <a:extLst>
              <a:ext uri="{FF2B5EF4-FFF2-40B4-BE49-F238E27FC236}">
                <a16:creationId xmlns:a16="http://schemas.microsoft.com/office/drawing/2014/main" id="{F864B693-E4F4-6F7A-494A-985AA74CA36A}"/>
              </a:ext>
            </a:extLst>
          </p:cNvPr>
          <p:cNvSpPr/>
          <p:nvPr/>
        </p:nvSpPr>
        <p:spPr>
          <a:xfrm>
            <a:off x="761999" y="2198628"/>
            <a:ext cx="10744200" cy="846413"/>
          </a:xfrm>
          <a:prstGeom prst="roundRect">
            <a:avLst/>
          </a:prstGeom>
          <a:solidFill>
            <a:srgbClr val="3D3381"/>
          </a:solidFill>
          <a:ln>
            <a:solidFill>
              <a:srgbClr val="3D33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FFFFFF"/>
                </a:solidFill>
                <a:effectLst/>
                <a:uLnTx/>
                <a:uFillTx/>
                <a:latin typeface="Arial" panose="020B0604020202020204" pitchFamily="34" charset="0"/>
                <a:ea typeface="Roboto"/>
                <a:cs typeface="Arial" panose="020B0604020202020204" pitchFamily="34" charset="0"/>
              </a:rPr>
              <a:t>Needs and assets</a:t>
            </a:r>
          </a:p>
        </p:txBody>
      </p:sp>
      <p:sp>
        <p:nvSpPr>
          <p:cNvPr id="6" name="Rectangle: Rounded Corners 5">
            <a:extLst>
              <a:ext uri="{FF2B5EF4-FFF2-40B4-BE49-F238E27FC236}">
                <a16:creationId xmlns:a16="http://schemas.microsoft.com/office/drawing/2014/main" id="{806A9E76-2835-2EBB-D339-F50FE796DFAC}"/>
              </a:ext>
            </a:extLst>
          </p:cNvPr>
          <p:cNvSpPr/>
          <p:nvPr/>
        </p:nvSpPr>
        <p:spPr>
          <a:xfrm>
            <a:off x="761999" y="3909059"/>
            <a:ext cx="3032760" cy="1468284"/>
          </a:xfrm>
          <a:prstGeom prst="roundRect">
            <a:avLst/>
          </a:prstGeom>
          <a:solidFill>
            <a:srgbClr val="D6D3ED"/>
          </a:solidFill>
          <a:ln>
            <a:solidFill>
              <a:srgbClr val="3D338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3D3381"/>
                </a:solidFill>
                <a:effectLst/>
                <a:uLnTx/>
                <a:uFillTx/>
                <a:latin typeface="Arial" panose="020B0604020202020204" pitchFamily="34" charset="0"/>
                <a:ea typeface="Roboto"/>
                <a:cs typeface="Arial" panose="020B0604020202020204" pitchFamily="34" charset="0"/>
              </a:rPr>
              <a:t>Quantitative Data</a:t>
            </a:r>
          </a:p>
        </p:txBody>
      </p:sp>
      <p:sp>
        <p:nvSpPr>
          <p:cNvPr id="9" name="Rectangle: Rounded Corners 8">
            <a:extLst>
              <a:ext uri="{FF2B5EF4-FFF2-40B4-BE49-F238E27FC236}">
                <a16:creationId xmlns:a16="http://schemas.microsoft.com/office/drawing/2014/main" id="{0ECC20B3-4008-6C63-1341-738115C3AD4B}"/>
              </a:ext>
            </a:extLst>
          </p:cNvPr>
          <p:cNvSpPr/>
          <p:nvPr/>
        </p:nvSpPr>
        <p:spPr>
          <a:xfrm>
            <a:off x="4640579" y="3909059"/>
            <a:ext cx="3032760" cy="1468283"/>
          </a:xfrm>
          <a:prstGeom prst="roundRect">
            <a:avLst/>
          </a:prstGeom>
          <a:solidFill>
            <a:srgbClr val="D6D3ED"/>
          </a:solidFill>
          <a:ln>
            <a:solidFill>
              <a:srgbClr val="3D338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3D3381"/>
                </a:solidFill>
                <a:effectLst/>
                <a:uLnTx/>
                <a:uFillTx/>
                <a:latin typeface="Arial" panose="020B0604020202020204" pitchFamily="34" charset="0"/>
                <a:ea typeface="Roboto"/>
                <a:cs typeface="Arial" panose="020B0604020202020204" pitchFamily="34" charset="0"/>
              </a:rPr>
              <a:t>Qualitative data - Care Providers in Health System / Service Providers in Community</a:t>
            </a:r>
            <a:endParaRPr kumimoji="0" lang="en-US" sz="1800" b="0" i="0" u="none" strike="noStrike" kern="1200" cap="none" spc="0" normalizeH="0" baseline="0" noProof="0">
              <a:ln>
                <a:noFill/>
              </a:ln>
              <a:solidFill>
                <a:srgbClr val="3D3381"/>
              </a:solidFill>
              <a:effectLst/>
              <a:uLnTx/>
              <a:uFillTx/>
              <a:latin typeface="Arial" panose="020B0604020202020204" pitchFamily="34" charset="0"/>
              <a:ea typeface="+mn-ea"/>
              <a:cs typeface="Arial" panose="020B0604020202020204" pitchFamily="34" charset="0"/>
            </a:endParaRPr>
          </a:p>
        </p:txBody>
      </p:sp>
      <p:sp>
        <p:nvSpPr>
          <p:cNvPr id="10" name="Rectangle: Rounded Corners 9">
            <a:extLst>
              <a:ext uri="{FF2B5EF4-FFF2-40B4-BE49-F238E27FC236}">
                <a16:creationId xmlns:a16="http://schemas.microsoft.com/office/drawing/2014/main" id="{46E413D5-3B00-2AF0-104F-4D2703045CED}"/>
              </a:ext>
            </a:extLst>
          </p:cNvPr>
          <p:cNvSpPr/>
          <p:nvPr/>
        </p:nvSpPr>
        <p:spPr>
          <a:xfrm>
            <a:off x="8465819" y="3909060"/>
            <a:ext cx="3032760" cy="1468282"/>
          </a:xfrm>
          <a:prstGeom prst="roundRect">
            <a:avLst/>
          </a:prstGeom>
          <a:solidFill>
            <a:srgbClr val="D6D3ED"/>
          </a:solidFill>
          <a:ln>
            <a:solidFill>
              <a:srgbClr val="3D338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3D3381"/>
                </a:solidFill>
                <a:effectLst/>
                <a:uLnTx/>
                <a:uFillTx/>
                <a:latin typeface="Arial" panose="020B0604020202020204" pitchFamily="34" charset="0"/>
                <a:ea typeface="Roboto"/>
                <a:cs typeface="Arial" panose="020B0604020202020204" pitchFamily="34" charset="0"/>
              </a:rPr>
              <a:t>Qualitative data – Service users / patients</a:t>
            </a:r>
          </a:p>
        </p:txBody>
      </p:sp>
      <p:sp>
        <p:nvSpPr>
          <p:cNvPr id="3" name="Arrow: Right 2">
            <a:extLst>
              <a:ext uri="{FF2B5EF4-FFF2-40B4-BE49-F238E27FC236}">
                <a16:creationId xmlns:a16="http://schemas.microsoft.com/office/drawing/2014/main" id="{C4FB1C1D-C194-80B3-4A6C-515C87757920}"/>
              </a:ext>
            </a:extLst>
          </p:cNvPr>
          <p:cNvSpPr/>
          <p:nvPr/>
        </p:nvSpPr>
        <p:spPr>
          <a:xfrm rot="16200000">
            <a:off x="1994294" y="3189304"/>
            <a:ext cx="568170" cy="612559"/>
          </a:xfrm>
          <a:prstGeom prst="rightArrow">
            <a:avLst/>
          </a:prstGeom>
          <a:solidFill>
            <a:schemeClr val="accent6">
              <a:lumMod val="40000"/>
              <a:lumOff val="60000"/>
            </a:schemeClr>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 name="Arrow: Right 4">
            <a:extLst>
              <a:ext uri="{FF2B5EF4-FFF2-40B4-BE49-F238E27FC236}">
                <a16:creationId xmlns:a16="http://schemas.microsoft.com/office/drawing/2014/main" id="{AA875A31-6AF9-4C8B-6605-3492C0B4A7F6}"/>
              </a:ext>
            </a:extLst>
          </p:cNvPr>
          <p:cNvSpPr/>
          <p:nvPr/>
        </p:nvSpPr>
        <p:spPr>
          <a:xfrm rot="16200000">
            <a:off x="5872874" y="3188586"/>
            <a:ext cx="568170" cy="612559"/>
          </a:xfrm>
          <a:prstGeom prst="rightArrow">
            <a:avLst/>
          </a:prstGeom>
          <a:solidFill>
            <a:schemeClr val="accent6">
              <a:lumMod val="40000"/>
              <a:lumOff val="60000"/>
            </a:schemeClr>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7" name="Arrow: Right 6">
            <a:extLst>
              <a:ext uri="{FF2B5EF4-FFF2-40B4-BE49-F238E27FC236}">
                <a16:creationId xmlns:a16="http://schemas.microsoft.com/office/drawing/2014/main" id="{8E75357F-3293-439B-9E2A-52C1A700A3A4}"/>
              </a:ext>
            </a:extLst>
          </p:cNvPr>
          <p:cNvSpPr/>
          <p:nvPr/>
        </p:nvSpPr>
        <p:spPr>
          <a:xfrm rot="16200000">
            <a:off x="9698114" y="3188586"/>
            <a:ext cx="568170" cy="612559"/>
          </a:xfrm>
          <a:prstGeom prst="rightArrow">
            <a:avLst/>
          </a:prstGeom>
          <a:solidFill>
            <a:schemeClr val="accent6">
              <a:lumMod val="40000"/>
              <a:lumOff val="60000"/>
            </a:schemeClr>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1162512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227F9A-0B94-4C77-28B3-D0CAD7151D10}"/>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83ECE2D1-2071-AEFE-5A37-D8B37908C1E0}"/>
              </a:ext>
            </a:extLst>
          </p:cNvPr>
          <p:cNvSpPr txBox="1"/>
          <p:nvPr/>
        </p:nvSpPr>
        <p:spPr>
          <a:xfrm>
            <a:off x="289807" y="390045"/>
            <a:ext cx="11611377" cy="480131"/>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0" normalizeH="0" baseline="0" noProof="0">
                <a:ln>
                  <a:noFill/>
                </a:ln>
                <a:solidFill>
                  <a:srgbClr val="3D3381"/>
                </a:solidFill>
                <a:effectLst/>
                <a:uLnTx/>
                <a:uFillTx/>
                <a:latin typeface="Arial Black"/>
                <a:ea typeface="+mn-ea"/>
                <a:cs typeface="Arial"/>
              </a:rPr>
              <a:t>Why engage in a deep dive of this nature?</a:t>
            </a:r>
            <a:endParaRPr kumimoji="0" lang="en-US" sz="2800" b="0" i="0" u="none" strike="noStrike" kern="1200" cap="none" spc="0" normalizeH="0" baseline="0" noProof="0">
              <a:ln>
                <a:noFill/>
              </a:ln>
              <a:solidFill>
                <a:srgbClr val="455560"/>
              </a:solidFill>
              <a:effectLst/>
              <a:uLnTx/>
              <a:uFillTx/>
              <a:latin typeface="Arial Black"/>
              <a:ea typeface="Times New Roman" panose="02020603050405020304" pitchFamily="18" charset="0"/>
              <a:cs typeface="Arial"/>
            </a:endParaRPr>
          </a:p>
        </p:txBody>
      </p:sp>
      <p:sp>
        <p:nvSpPr>
          <p:cNvPr id="9" name="Content Placeholder 2">
            <a:extLst>
              <a:ext uri="{FF2B5EF4-FFF2-40B4-BE49-F238E27FC236}">
                <a16:creationId xmlns:a16="http://schemas.microsoft.com/office/drawing/2014/main" id="{DC7816FF-1A0C-1738-EECF-EC6CEEB0D688}"/>
              </a:ext>
            </a:extLst>
          </p:cNvPr>
          <p:cNvSpPr txBox="1">
            <a:spLocks/>
          </p:cNvSpPr>
          <p:nvPr/>
        </p:nvSpPr>
        <p:spPr>
          <a:xfrm>
            <a:off x="501335" y="1564048"/>
            <a:ext cx="5988242" cy="4351338"/>
          </a:xfrm>
          <a:prstGeom prst="rect">
            <a:avLst/>
          </a:prstGeom>
          <a:solidFill>
            <a:schemeClr val="bg1"/>
          </a:solidFill>
        </p:spPr>
        <p:txBody>
          <a:bodyPr lIns="91440" tIns="45720" rIns="91440" bIns="45720" anchor="t"/>
          <a:lstStyle>
            <a:lvl1pPr marL="228600" indent="-228600" algn="l" defTabSz="914400" rtl="0" eaLnBrk="1" latinLnBrk="0" hangingPunct="1">
              <a:lnSpc>
                <a:spcPct val="150000"/>
              </a:lnSpc>
              <a:spcBef>
                <a:spcPts val="1000"/>
              </a:spcBef>
              <a:buFont typeface="Arial" panose="020B0604020202020204" pitchFamily="34" charset="0"/>
              <a:buChar char="•"/>
              <a:tabLst>
                <a:tab pos="571500" algn="l"/>
              </a:tabLst>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0" fontAlgn="base" latinLnBrk="0" hangingPunct="0">
              <a:lnSpc>
                <a:spcPct val="100000"/>
              </a:lnSpc>
              <a:spcBef>
                <a:spcPct val="0"/>
              </a:spcBef>
              <a:spcAft>
                <a:spcPts val="1800"/>
              </a:spcAft>
              <a:buClrTx/>
              <a:buSzTx/>
              <a:buFont typeface="Arial" panose="020B0604020202020204" pitchFamily="34" charset="0"/>
              <a:buChar char="•"/>
              <a:tabLst/>
              <a:defRPr/>
            </a:pPr>
            <a:r>
              <a:rPr kumimoji="0" lang="en-US" altLang="en-US" sz="2000" b="1" i="0" u="none" strike="noStrike" kern="1200" cap="none" spc="0" normalizeH="0" baseline="0" noProof="0">
                <a:ln>
                  <a:noFill/>
                </a:ln>
                <a:solidFill>
                  <a:srgbClr val="000000"/>
                </a:solidFill>
                <a:effectLst/>
                <a:uLnTx/>
                <a:uFillTx/>
                <a:latin typeface="Arial" panose="020B0604020202020204" pitchFamily="34" charset="0"/>
                <a:ea typeface="+mn-ea"/>
                <a:cs typeface="+mn-cs"/>
              </a:rPr>
              <a:t>Deeply understanding community experiences</a:t>
            </a:r>
            <a:r>
              <a:rPr kumimoji="0" lang="en-US" alt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mn-cs"/>
              </a:rPr>
              <a:t> is essential to advancing population health, equity, and dismantling racism and other systems of oppression </a:t>
            </a:r>
          </a:p>
          <a:p>
            <a:pPr marL="228600" marR="0" lvl="0" indent="-228600" algn="l" defTabSz="914400" rtl="0" eaLnBrk="0" fontAlgn="base" latinLnBrk="0" hangingPunct="0">
              <a:lnSpc>
                <a:spcPct val="100000"/>
              </a:lnSpc>
              <a:spcBef>
                <a:spcPct val="0"/>
              </a:spcBef>
              <a:spcAft>
                <a:spcPts val="1800"/>
              </a:spcAft>
              <a:buClrTx/>
              <a:buSzTx/>
              <a:buFont typeface="Arial" panose="020B0604020202020204" pitchFamily="34" charset="0"/>
              <a:buChar char="•"/>
              <a:tabLst/>
              <a:defRPr/>
            </a:pPr>
            <a:r>
              <a:rPr kumimoji="0" lang="en-US" altLang="en-US" sz="2000" b="1" i="0" u="none" strike="noStrike" kern="1200" cap="none" spc="0" normalizeH="0" baseline="0" noProof="0">
                <a:ln>
                  <a:noFill/>
                </a:ln>
                <a:solidFill>
                  <a:srgbClr val="000000"/>
                </a:solidFill>
                <a:effectLst/>
                <a:uLnTx/>
                <a:uFillTx/>
                <a:latin typeface="Arial" panose="020B0604020202020204" pitchFamily="34" charset="0"/>
                <a:ea typeface="+mn-ea"/>
                <a:cs typeface="+mn-cs"/>
              </a:rPr>
              <a:t>Asset-based inquiry</a:t>
            </a:r>
            <a:r>
              <a:rPr kumimoji="0" lang="en-US" alt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mn-cs"/>
              </a:rPr>
              <a:t> surfaces not only needs and opportunities, but reveals how systems have discarded or undervalued the strengths of individuals and communities </a:t>
            </a:r>
          </a:p>
          <a:p>
            <a:pPr marL="228600" marR="0" lvl="0" indent="-228600" algn="l" defTabSz="914400" rtl="0" eaLnBrk="0" fontAlgn="base" latinLnBrk="0" hangingPunct="0">
              <a:lnSpc>
                <a:spcPct val="100000"/>
              </a:lnSpc>
              <a:spcBef>
                <a:spcPct val="0"/>
              </a:spcBef>
              <a:spcAft>
                <a:spcPts val="1800"/>
              </a:spcAft>
              <a:buClrTx/>
              <a:buSzTx/>
              <a:buFont typeface="Arial" panose="020B0604020202020204" pitchFamily="34" charset="0"/>
              <a:buChar char="•"/>
              <a:tabLst/>
              <a:defRPr/>
            </a:pPr>
            <a:r>
              <a:rPr kumimoji="0" lang="en-US" altLang="en-US" sz="2000" b="1" i="0" u="none" strike="noStrike" kern="1200" cap="none" spc="0" normalizeH="0" baseline="0" noProof="0">
                <a:ln>
                  <a:noFill/>
                </a:ln>
                <a:solidFill>
                  <a:srgbClr val="000000"/>
                </a:solidFill>
                <a:effectLst/>
                <a:uLnTx/>
                <a:uFillTx/>
                <a:latin typeface="Arial" panose="020B0604020202020204" pitchFamily="34" charset="0"/>
                <a:ea typeface="+mn-ea"/>
                <a:cs typeface="+mn-cs"/>
              </a:rPr>
              <a:t>Ensures everyone has a role</a:t>
            </a:r>
            <a:r>
              <a:rPr kumimoji="0" lang="en-US" alt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mn-cs"/>
              </a:rPr>
              <a:t> in dismantling inequities and advancing population health and well-being </a:t>
            </a:r>
          </a:p>
        </p:txBody>
      </p:sp>
      <p:pic>
        <p:nvPicPr>
          <p:cNvPr id="18" name="Picture 17">
            <a:extLst>
              <a:ext uri="{FF2B5EF4-FFF2-40B4-BE49-F238E27FC236}">
                <a16:creationId xmlns:a16="http://schemas.microsoft.com/office/drawing/2014/main" id="{316CCA44-79FB-7A31-D9E4-4257E07D42AB}"/>
              </a:ext>
            </a:extLst>
          </p:cNvPr>
          <p:cNvPicPr>
            <a:picLocks noChangeAspect="1"/>
          </p:cNvPicPr>
          <p:nvPr/>
        </p:nvPicPr>
        <p:blipFill>
          <a:blip r:embed="rId2">
            <a:extLst>
              <a:ext uri="{28A0092B-C50C-407E-A947-70E740481C1C}">
                <a14:useLocalDpi xmlns:a14="http://schemas.microsoft.com/office/drawing/2010/main" val="0"/>
              </a:ext>
            </a:extLst>
          </a:blip>
          <a:srcRect l="21806" r="17175"/>
          <a:stretch>
            <a:fillRect/>
          </a:stretch>
        </p:blipFill>
        <p:spPr>
          <a:xfrm>
            <a:off x="7281483" y="1526959"/>
            <a:ext cx="3916218" cy="4279036"/>
          </a:xfrm>
          <a:prstGeom prst="rect">
            <a:avLst/>
          </a:prstGeom>
        </p:spPr>
      </p:pic>
      <p:sp>
        <p:nvSpPr>
          <p:cNvPr id="19" name="Rectangle 18">
            <a:extLst>
              <a:ext uri="{FF2B5EF4-FFF2-40B4-BE49-F238E27FC236}">
                <a16:creationId xmlns:a16="http://schemas.microsoft.com/office/drawing/2014/main" id="{A032B6EF-D20E-3323-B96E-E3D6ED4E2B76}"/>
              </a:ext>
            </a:extLst>
          </p:cNvPr>
          <p:cNvSpPr/>
          <p:nvPr/>
        </p:nvSpPr>
        <p:spPr>
          <a:xfrm>
            <a:off x="497150" y="1269507"/>
            <a:ext cx="1544714" cy="257452"/>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Roboto"/>
              <a:ea typeface="+mn-ea"/>
              <a:cs typeface="+mn-cs"/>
            </a:endParaRPr>
          </a:p>
        </p:txBody>
      </p:sp>
    </p:spTree>
    <p:extLst>
      <p:ext uri="{BB962C8B-B14F-4D97-AF65-F5344CB8AC3E}">
        <p14:creationId xmlns:p14="http://schemas.microsoft.com/office/powerpoint/2010/main" val="92383409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370477-7FA5-852F-2481-CB09931C1AC3}"/>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2D04CDD9-8843-66E6-B490-9BE3AC12C9F1}"/>
              </a:ext>
            </a:extLst>
          </p:cNvPr>
          <p:cNvSpPr txBox="1"/>
          <p:nvPr/>
        </p:nvSpPr>
        <p:spPr>
          <a:xfrm>
            <a:off x="289807" y="390045"/>
            <a:ext cx="11611377" cy="480131"/>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0" normalizeH="0" baseline="0" noProof="0">
                <a:ln>
                  <a:noFill/>
                </a:ln>
                <a:solidFill>
                  <a:srgbClr val="3D3381"/>
                </a:solidFill>
                <a:effectLst/>
                <a:uLnTx/>
                <a:uFillTx/>
                <a:latin typeface="Arial Black"/>
                <a:ea typeface="+mn-ea"/>
                <a:cs typeface="Arial"/>
              </a:rPr>
              <a:t>Three-part data review</a:t>
            </a:r>
            <a:endParaRPr kumimoji="0" lang="en-US" sz="2800" b="0" i="0" u="none" strike="noStrike" kern="1200" cap="none" spc="0" normalizeH="0" baseline="0" noProof="0">
              <a:ln>
                <a:noFill/>
              </a:ln>
              <a:solidFill>
                <a:srgbClr val="455560"/>
              </a:solidFill>
              <a:effectLst/>
              <a:uLnTx/>
              <a:uFillTx/>
              <a:latin typeface="Arial Black"/>
              <a:ea typeface="Times New Roman" panose="02020603050405020304" pitchFamily="18" charset="0"/>
              <a:cs typeface="Arial"/>
            </a:endParaRPr>
          </a:p>
        </p:txBody>
      </p:sp>
      <p:sp>
        <p:nvSpPr>
          <p:cNvPr id="4" name="Content Placeholder 2">
            <a:extLst>
              <a:ext uri="{FF2B5EF4-FFF2-40B4-BE49-F238E27FC236}">
                <a16:creationId xmlns:a16="http://schemas.microsoft.com/office/drawing/2014/main" id="{7A06C2B4-BD15-ECA1-6C59-AC83B2ABDFDF}"/>
              </a:ext>
            </a:extLst>
          </p:cNvPr>
          <p:cNvSpPr txBox="1">
            <a:spLocks/>
          </p:cNvSpPr>
          <p:nvPr/>
        </p:nvSpPr>
        <p:spPr>
          <a:xfrm>
            <a:off x="497150" y="1778534"/>
            <a:ext cx="5159229" cy="4351338"/>
          </a:xfrm>
          <a:prstGeom prst="rect">
            <a:avLst/>
          </a:prstGeom>
          <a:solidFill>
            <a:schemeClr val="bg1"/>
          </a:solidFill>
        </p:spPr>
        <p:txBody>
          <a:bodyPr lIns="91440" tIns="45720" rIns="91440" bIns="45720" anchor="t"/>
          <a:lstStyle>
            <a:lvl1pPr marL="228600" indent="-228600" algn="l" defTabSz="914400" rtl="0" eaLnBrk="1" latinLnBrk="0" hangingPunct="1">
              <a:lnSpc>
                <a:spcPct val="150000"/>
              </a:lnSpc>
              <a:spcBef>
                <a:spcPts val="1000"/>
              </a:spcBef>
              <a:buFont typeface="Arial" panose="020B0604020202020204" pitchFamily="34" charset="0"/>
              <a:buChar char="•"/>
              <a:tabLst>
                <a:tab pos="571500" algn="l"/>
              </a:tabLst>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marR="0" lvl="0" indent="-457200" algn="l" defTabSz="914400" rtl="0" eaLnBrk="1" fontAlgn="auto" latinLnBrk="0" hangingPunct="1">
              <a:lnSpc>
                <a:spcPct val="100000"/>
              </a:lnSpc>
              <a:spcBef>
                <a:spcPts val="2400"/>
              </a:spcBef>
              <a:spcAft>
                <a:spcPts val="0"/>
              </a:spcAft>
              <a:buClrTx/>
              <a:buSzTx/>
              <a:buFont typeface="+mj-lt"/>
              <a:buAutoNum type="arabicPeriod"/>
              <a:tabLst>
                <a:tab pos="571500" algn="l"/>
              </a:tabLst>
              <a:defRPr/>
            </a:pPr>
            <a:r>
              <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Review available data on the chosen sub-population of pregnant women and babies</a:t>
            </a:r>
          </a:p>
          <a:p>
            <a:pPr marL="457200" marR="0" lvl="0" indent="-457200" algn="l" defTabSz="914400" rtl="0" eaLnBrk="1" fontAlgn="auto" latinLnBrk="0" hangingPunct="1">
              <a:lnSpc>
                <a:spcPct val="100000"/>
              </a:lnSpc>
              <a:spcBef>
                <a:spcPts val="2400"/>
              </a:spcBef>
              <a:spcAft>
                <a:spcPts val="0"/>
              </a:spcAft>
              <a:buClrTx/>
              <a:buSzTx/>
              <a:buFont typeface="+mj-lt"/>
              <a:buAutoNum type="arabicPeriod"/>
              <a:tabLst>
                <a:tab pos="571500" algn="l"/>
              </a:tabLst>
              <a:defRPr/>
            </a:pPr>
            <a:r>
              <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Interview 2-5 care teams/professionals providing care and external collaborators/partners/service agencies supporting the population </a:t>
            </a: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Roboto"/>
              <a:cs typeface="Arial" panose="020B0604020202020204" pitchFamily="34" charset="0"/>
            </a:endParaRPr>
          </a:p>
          <a:p>
            <a:pPr marL="457200" marR="0" lvl="0" indent="-457200" algn="l" defTabSz="914400" rtl="0" eaLnBrk="1" fontAlgn="auto" latinLnBrk="0" hangingPunct="1">
              <a:lnSpc>
                <a:spcPct val="100000"/>
              </a:lnSpc>
              <a:spcBef>
                <a:spcPts val="2400"/>
              </a:spcBef>
              <a:spcAft>
                <a:spcPts val="0"/>
              </a:spcAft>
              <a:buClrTx/>
              <a:buSzTx/>
              <a:buFont typeface="+mj-lt"/>
              <a:buAutoNum type="arabicPeriod"/>
              <a:tabLst>
                <a:tab pos="571500" algn="l"/>
              </a:tabLst>
              <a:defRPr/>
            </a:pPr>
            <a:r>
              <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Interview 5-10 individuals/clients/patients in the chosen sub-population </a:t>
            </a: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Roboto"/>
              <a:cs typeface="Arial" panose="020B0604020202020204" pitchFamily="34" charset="0"/>
            </a:endParaRPr>
          </a:p>
        </p:txBody>
      </p:sp>
      <p:pic>
        <p:nvPicPr>
          <p:cNvPr id="5" name="Picture 4" descr="Graphical user interface, application, table, Word&#10;&#10;Description automatically generated">
            <a:extLst>
              <a:ext uri="{FF2B5EF4-FFF2-40B4-BE49-F238E27FC236}">
                <a16:creationId xmlns:a16="http://schemas.microsoft.com/office/drawing/2014/main" id="{07045AFF-6B17-60B2-834B-98D65184DCC6}"/>
              </a:ext>
            </a:extLst>
          </p:cNvPr>
          <p:cNvPicPr>
            <a:picLocks noChangeAspect="1"/>
          </p:cNvPicPr>
          <p:nvPr/>
        </p:nvPicPr>
        <p:blipFill rotWithShape="1">
          <a:blip r:embed="rId2"/>
          <a:srcRect l="27792" t="21843" r="22462" b="17871"/>
          <a:stretch/>
        </p:blipFill>
        <p:spPr>
          <a:xfrm>
            <a:off x="6347362" y="1103132"/>
            <a:ext cx="5452672" cy="4651735"/>
          </a:xfrm>
          <a:prstGeom prst="rect">
            <a:avLst/>
          </a:prstGeom>
        </p:spPr>
      </p:pic>
      <p:sp>
        <p:nvSpPr>
          <p:cNvPr id="6" name="Rectangle 5">
            <a:extLst>
              <a:ext uri="{FF2B5EF4-FFF2-40B4-BE49-F238E27FC236}">
                <a16:creationId xmlns:a16="http://schemas.microsoft.com/office/drawing/2014/main" id="{3AE8020C-7324-2D44-C81E-6FDC4BF615FF}"/>
              </a:ext>
            </a:extLst>
          </p:cNvPr>
          <p:cNvSpPr/>
          <p:nvPr/>
        </p:nvSpPr>
        <p:spPr>
          <a:xfrm>
            <a:off x="497150" y="1269507"/>
            <a:ext cx="1544714" cy="257452"/>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Roboto"/>
              <a:ea typeface="+mn-ea"/>
              <a:cs typeface="+mn-cs"/>
            </a:endParaRPr>
          </a:p>
        </p:txBody>
      </p:sp>
    </p:spTree>
    <p:extLst>
      <p:ext uri="{BB962C8B-B14F-4D97-AF65-F5344CB8AC3E}">
        <p14:creationId xmlns:p14="http://schemas.microsoft.com/office/powerpoint/2010/main" val="294643409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905DE5-EB65-916F-6AE6-648C1ABFDE2B}"/>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28342462-511D-A0FC-813E-0681A00467C9}"/>
              </a:ext>
            </a:extLst>
          </p:cNvPr>
          <p:cNvSpPr txBox="1"/>
          <p:nvPr/>
        </p:nvSpPr>
        <p:spPr>
          <a:xfrm>
            <a:off x="289807" y="390045"/>
            <a:ext cx="11611377" cy="480131"/>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0" normalizeH="0" baseline="0" noProof="0">
                <a:ln>
                  <a:noFill/>
                </a:ln>
                <a:solidFill>
                  <a:srgbClr val="3D3381"/>
                </a:solidFill>
                <a:effectLst/>
                <a:uLnTx/>
                <a:uFillTx/>
                <a:latin typeface="Arial Black"/>
                <a:ea typeface="+mn-ea"/>
                <a:cs typeface="Arial"/>
              </a:rPr>
              <a:t>Psychological safety when collecting qualitative data</a:t>
            </a:r>
            <a:endParaRPr kumimoji="0" lang="en-US" sz="2800" b="0" i="0" u="none" strike="noStrike" kern="1200" cap="none" spc="0" normalizeH="0" baseline="0" noProof="0">
              <a:ln>
                <a:noFill/>
              </a:ln>
              <a:solidFill>
                <a:srgbClr val="455560"/>
              </a:solidFill>
              <a:effectLst/>
              <a:uLnTx/>
              <a:uFillTx/>
              <a:latin typeface="Arial Black"/>
              <a:ea typeface="Times New Roman" panose="02020603050405020304" pitchFamily="18" charset="0"/>
              <a:cs typeface="Arial"/>
            </a:endParaRPr>
          </a:p>
        </p:txBody>
      </p:sp>
      <p:sp>
        <p:nvSpPr>
          <p:cNvPr id="6" name="Rectangle 5">
            <a:extLst>
              <a:ext uri="{FF2B5EF4-FFF2-40B4-BE49-F238E27FC236}">
                <a16:creationId xmlns:a16="http://schemas.microsoft.com/office/drawing/2014/main" id="{67EFF198-5089-62B6-7AD4-252DDE07AE0B}"/>
              </a:ext>
            </a:extLst>
          </p:cNvPr>
          <p:cNvSpPr/>
          <p:nvPr/>
        </p:nvSpPr>
        <p:spPr>
          <a:xfrm>
            <a:off x="497150" y="1038688"/>
            <a:ext cx="1544714" cy="257452"/>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Roboto"/>
              <a:ea typeface="+mn-ea"/>
              <a:cs typeface="+mn-cs"/>
            </a:endParaRPr>
          </a:p>
        </p:txBody>
      </p:sp>
      <p:sp>
        <p:nvSpPr>
          <p:cNvPr id="3" name="Rectangle: Rounded Corners 2">
            <a:extLst>
              <a:ext uri="{FF2B5EF4-FFF2-40B4-BE49-F238E27FC236}">
                <a16:creationId xmlns:a16="http://schemas.microsoft.com/office/drawing/2014/main" id="{96BDC355-28B4-4091-07DB-BA0F9437A021}"/>
              </a:ext>
            </a:extLst>
          </p:cNvPr>
          <p:cNvSpPr/>
          <p:nvPr/>
        </p:nvSpPr>
        <p:spPr>
          <a:xfrm>
            <a:off x="585926" y="1296140"/>
            <a:ext cx="2769833" cy="1251915"/>
          </a:xfrm>
          <a:prstGeom prst="roundRect">
            <a:avLst/>
          </a:prstGeom>
          <a:solidFill>
            <a:schemeClr val="tx2"/>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BEFORE</a:t>
            </a:r>
          </a:p>
        </p:txBody>
      </p:sp>
      <p:sp>
        <p:nvSpPr>
          <p:cNvPr id="7" name="Rectangle: Rounded Corners 6">
            <a:extLst>
              <a:ext uri="{FF2B5EF4-FFF2-40B4-BE49-F238E27FC236}">
                <a16:creationId xmlns:a16="http://schemas.microsoft.com/office/drawing/2014/main" id="{60BCEAC5-9D55-1CBE-E3CD-4F6062246AE3}"/>
              </a:ext>
            </a:extLst>
          </p:cNvPr>
          <p:cNvSpPr/>
          <p:nvPr/>
        </p:nvSpPr>
        <p:spPr>
          <a:xfrm>
            <a:off x="4582357" y="1296140"/>
            <a:ext cx="2769833" cy="1251915"/>
          </a:xfrm>
          <a:prstGeom prst="roundRect">
            <a:avLst/>
          </a:prstGeom>
          <a:solidFill>
            <a:schemeClr val="accent2">
              <a:lumMod val="75000"/>
            </a:schemeClr>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DURING</a:t>
            </a:r>
          </a:p>
        </p:txBody>
      </p:sp>
      <p:sp>
        <p:nvSpPr>
          <p:cNvPr id="8" name="Rectangle: Rounded Corners 7">
            <a:extLst>
              <a:ext uri="{FF2B5EF4-FFF2-40B4-BE49-F238E27FC236}">
                <a16:creationId xmlns:a16="http://schemas.microsoft.com/office/drawing/2014/main" id="{DB85DAB5-937D-590B-FA54-8332ABB57F6C}"/>
              </a:ext>
            </a:extLst>
          </p:cNvPr>
          <p:cNvSpPr/>
          <p:nvPr/>
        </p:nvSpPr>
        <p:spPr>
          <a:xfrm>
            <a:off x="8578788" y="1296140"/>
            <a:ext cx="2769833" cy="1251915"/>
          </a:xfrm>
          <a:prstGeom prst="roundRect">
            <a:avLst/>
          </a:prstGeom>
          <a:solidFill>
            <a:schemeClr val="accent3">
              <a:lumMod val="75000"/>
            </a:schemeClr>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AFTER</a:t>
            </a:r>
          </a:p>
        </p:txBody>
      </p:sp>
      <p:sp>
        <p:nvSpPr>
          <p:cNvPr id="9" name="Arrow: Right 8">
            <a:extLst>
              <a:ext uri="{FF2B5EF4-FFF2-40B4-BE49-F238E27FC236}">
                <a16:creationId xmlns:a16="http://schemas.microsoft.com/office/drawing/2014/main" id="{9F10215A-46E6-806F-45EB-6D956B0B9E76}"/>
              </a:ext>
            </a:extLst>
          </p:cNvPr>
          <p:cNvSpPr/>
          <p:nvPr/>
        </p:nvSpPr>
        <p:spPr>
          <a:xfrm>
            <a:off x="3701988" y="1682031"/>
            <a:ext cx="532661" cy="480131"/>
          </a:xfrm>
          <a:prstGeom prst="rightArrow">
            <a:avLst/>
          </a:prstGeom>
          <a:solidFill>
            <a:schemeClr val="accent6">
              <a:lumMod val="40000"/>
              <a:lumOff val="60000"/>
            </a:schemeClr>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Roboto"/>
              <a:ea typeface="+mn-ea"/>
              <a:cs typeface="+mn-cs"/>
            </a:endParaRPr>
          </a:p>
        </p:txBody>
      </p:sp>
      <p:sp>
        <p:nvSpPr>
          <p:cNvPr id="10" name="Arrow: Right 9">
            <a:extLst>
              <a:ext uri="{FF2B5EF4-FFF2-40B4-BE49-F238E27FC236}">
                <a16:creationId xmlns:a16="http://schemas.microsoft.com/office/drawing/2014/main" id="{2E652E08-61F3-257E-6432-BAB1EAA74C54}"/>
              </a:ext>
            </a:extLst>
          </p:cNvPr>
          <p:cNvSpPr/>
          <p:nvPr/>
        </p:nvSpPr>
        <p:spPr>
          <a:xfrm>
            <a:off x="7699158" y="1682030"/>
            <a:ext cx="532661" cy="480131"/>
          </a:xfrm>
          <a:prstGeom prst="rightArrow">
            <a:avLst/>
          </a:prstGeom>
          <a:solidFill>
            <a:schemeClr val="accent6">
              <a:lumMod val="40000"/>
              <a:lumOff val="60000"/>
            </a:schemeClr>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Roboto"/>
              <a:ea typeface="+mn-ea"/>
              <a:cs typeface="+mn-cs"/>
            </a:endParaRPr>
          </a:p>
        </p:txBody>
      </p:sp>
      <p:sp>
        <p:nvSpPr>
          <p:cNvPr id="11" name="TextBox 10">
            <a:extLst>
              <a:ext uri="{FF2B5EF4-FFF2-40B4-BE49-F238E27FC236}">
                <a16:creationId xmlns:a16="http://schemas.microsoft.com/office/drawing/2014/main" id="{1F33B436-D011-7795-38EB-8BD69FA4F18F}"/>
              </a:ext>
            </a:extLst>
          </p:cNvPr>
          <p:cNvSpPr txBox="1"/>
          <p:nvPr/>
        </p:nvSpPr>
        <p:spPr>
          <a:xfrm>
            <a:off x="585926" y="2802551"/>
            <a:ext cx="2689934" cy="3262432"/>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Co-design the approach with lived experience </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Offer flexible formats</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Consider power imbalances</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Consider timing and environment</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Create support plan</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Remuneration for communiti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6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 name="TextBox 11">
            <a:extLst>
              <a:ext uri="{FF2B5EF4-FFF2-40B4-BE49-F238E27FC236}">
                <a16:creationId xmlns:a16="http://schemas.microsoft.com/office/drawing/2014/main" id="{C5F00980-D9AD-F925-B67A-4E4A12D15338}"/>
              </a:ext>
            </a:extLst>
          </p:cNvPr>
          <p:cNvSpPr txBox="1"/>
          <p:nvPr/>
        </p:nvSpPr>
        <p:spPr>
          <a:xfrm>
            <a:off x="4582357" y="2802551"/>
            <a:ext cx="2769833" cy="3354765"/>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Build rapport before asking difficult questions</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Follow participant’s lead – let them tell their story in their own way</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Use accessible language</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Being clear participants can pause, skip, or withdraw at anytim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Being honest about what can and can’t be don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6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 name="TextBox 12">
            <a:extLst>
              <a:ext uri="{FF2B5EF4-FFF2-40B4-BE49-F238E27FC236}">
                <a16:creationId xmlns:a16="http://schemas.microsoft.com/office/drawing/2014/main" id="{90AF2936-2156-B4E0-93E1-67415D4157DE}"/>
              </a:ext>
            </a:extLst>
          </p:cNvPr>
          <p:cNvSpPr txBox="1"/>
          <p:nvPr/>
        </p:nvSpPr>
        <p:spPr>
          <a:xfrm>
            <a:off x="8578788" y="2802551"/>
            <a:ext cx="2769833" cy="2708434"/>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Close with a grounding or settling moment – don’t end abruptly.</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Offer chance to amend or withdraw contributions</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Share how their feedback will be used to improve services (</a:t>
            </a:r>
            <a:r>
              <a:rPr kumimoji="0" lang="en-GB" sz="16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and close the feedback loop</a:t>
            </a:r>
            <a:r>
              <a:rPr kumimoji="0" lang="en-GB" sz="16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a:t>
            </a:r>
          </a:p>
        </p:txBody>
      </p:sp>
    </p:spTree>
    <p:extLst>
      <p:ext uri="{BB962C8B-B14F-4D97-AF65-F5344CB8AC3E}">
        <p14:creationId xmlns:p14="http://schemas.microsoft.com/office/powerpoint/2010/main" val="375934573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12B33E7B-E7B0-2786-BB3A-FA96F9623643}"/>
              </a:ext>
            </a:extLst>
          </p:cNvPr>
          <p:cNvSpPr txBox="1"/>
          <p:nvPr/>
        </p:nvSpPr>
        <p:spPr>
          <a:xfrm>
            <a:off x="552450" y="3351752"/>
            <a:ext cx="5543550" cy="646331"/>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GB" sz="3600" b="0" i="0" u="none" strike="noStrike" kern="1200" cap="none" spc="0" normalizeH="0" baseline="0" noProof="0">
                <a:ln>
                  <a:noFill/>
                </a:ln>
                <a:solidFill>
                  <a:prstClr val="white"/>
                </a:solidFill>
                <a:effectLst/>
                <a:uLnTx/>
                <a:uFillTx/>
                <a:latin typeface="Arial Black" panose="020B0A04020102020204"/>
                <a:ea typeface="+mn-ea"/>
                <a:cs typeface="+mn-cs"/>
              </a:rPr>
              <a:t>Case study activity</a:t>
            </a:r>
            <a:endParaRPr kumimoji="0" lang="en-GB" sz="1800" b="1" i="0" u="none" strike="noStrike" kern="1200" cap="none" spc="0" normalizeH="0" baseline="0" noProof="0">
              <a:ln>
                <a:noFill/>
              </a:ln>
              <a:solidFill>
                <a:prstClr val="white"/>
              </a:solidFill>
              <a:effectLst/>
              <a:uLnTx/>
              <a:uFillTx/>
              <a:latin typeface="Arial" panose="020B0604020202020204"/>
              <a:ea typeface="+mn-ea"/>
              <a:cs typeface="Arial"/>
            </a:endParaRPr>
          </a:p>
        </p:txBody>
      </p:sp>
    </p:spTree>
    <p:extLst>
      <p:ext uri="{BB962C8B-B14F-4D97-AF65-F5344CB8AC3E}">
        <p14:creationId xmlns:p14="http://schemas.microsoft.com/office/powerpoint/2010/main" val="14013328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A0DCE7-9DE6-CD85-BC33-18CF192CD7BD}"/>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DE16C5EE-5366-D9B6-A7E5-EEA461AB4290}"/>
              </a:ext>
            </a:extLst>
          </p:cNvPr>
          <p:cNvSpPr txBox="1"/>
          <p:nvPr/>
        </p:nvSpPr>
        <p:spPr>
          <a:xfrm>
            <a:off x="289807" y="390045"/>
            <a:ext cx="4037749" cy="480131"/>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0" normalizeH="0" baseline="0" noProof="0">
                <a:ln>
                  <a:noFill/>
                </a:ln>
                <a:solidFill>
                  <a:srgbClr val="3D3381"/>
                </a:solidFill>
                <a:effectLst/>
                <a:uLnTx/>
                <a:uFillTx/>
                <a:latin typeface="Arial Black"/>
                <a:ea typeface="+mn-ea"/>
                <a:cs typeface="Arial"/>
              </a:rPr>
              <a:t>Case study activity</a:t>
            </a:r>
            <a:endParaRPr kumimoji="0" lang="en-US" sz="2800" b="0" i="0" u="none" strike="noStrike" kern="1200" cap="none" spc="0" normalizeH="0" baseline="0" noProof="0">
              <a:ln>
                <a:noFill/>
              </a:ln>
              <a:solidFill>
                <a:srgbClr val="455560"/>
              </a:solidFill>
              <a:effectLst/>
              <a:uLnTx/>
              <a:uFillTx/>
              <a:latin typeface="Arial Black"/>
              <a:ea typeface="Times New Roman" panose="02020603050405020304" pitchFamily="18" charset="0"/>
              <a:cs typeface="Arial"/>
            </a:endParaRPr>
          </a:p>
        </p:txBody>
      </p:sp>
      <p:sp>
        <p:nvSpPr>
          <p:cNvPr id="6" name="Rectangle 5">
            <a:extLst>
              <a:ext uri="{FF2B5EF4-FFF2-40B4-BE49-F238E27FC236}">
                <a16:creationId xmlns:a16="http://schemas.microsoft.com/office/drawing/2014/main" id="{9C13073E-3493-BE73-4CBE-09AC01DDD142}"/>
              </a:ext>
            </a:extLst>
          </p:cNvPr>
          <p:cNvSpPr/>
          <p:nvPr/>
        </p:nvSpPr>
        <p:spPr>
          <a:xfrm>
            <a:off x="497150" y="1269507"/>
            <a:ext cx="1544714" cy="257452"/>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Roboto"/>
              <a:ea typeface="+mn-ea"/>
              <a:cs typeface="+mn-cs"/>
            </a:endParaRPr>
          </a:p>
        </p:txBody>
      </p:sp>
      <p:sp>
        <p:nvSpPr>
          <p:cNvPr id="3" name="Rectangle 2">
            <a:extLst>
              <a:ext uri="{FF2B5EF4-FFF2-40B4-BE49-F238E27FC236}">
                <a16:creationId xmlns:a16="http://schemas.microsoft.com/office/drawing/2014/main" id="{E789F638-DF65-5462-5F71-0F2443BCA0C6}"/>
              </a:ext>
            </a:extLst>
          </p:cNvPr>
          <p:cNvSpPr/>
          <p:nvPr/>
        </p:nvSpPr>
        <p:spPr>
          <a:xfrm>
            <a:off x="9864000" y="-24000"/>
            <a:ext cx="2328000" cy="2292000"/>
          </a:xfrm>
          <a:prstGeom prst="rect">
            <a:avLst/>
          </a:prstGeom>
          <a:solidFill>
            <a:srgbClr val="F0ECDB"/>
          </a:solidFill>
          <a:ln>
            <a:solidFill>
              <a:srgbClr val="F0ECDB"/>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Roboto"/>
              <a:ea typeface="+mn-ea"/>
              <a:cs typeface="+mn-cs"/>
            </a:endParaRPr>
          </a:p>
        </p:txBody>
      </p:sp>
      <p:pic>
        <p:nvPicPr>
          <p:cNvPr id="7" name="Picture 6">
            <a:extLst>
              <a:ext uri="{FF2B5EF4-FFF2-40B4-BE49-F238E27FC236}">
                <a16:creationId xmlns:a16="http://schemas.microsoft.com/office/drawing/2014/main" id="{1D963AD1-0A1A-1D88-86D2-9291B86F664A}"/>
              </a:ext>
            </a:extLst>
          </p:cNvPr>
          <p:cNvPicPr>
            <a:picLocks noChangeAspect="1"/>
          </p:cNvPicPr>
          <p:nvPr/>
        </p:nvPicPr>
        <p:blipFill>
          <a:blip r:embed="rId2"/>
          <a:stretch>
            <a:fillRect/>
          </a:stretch>
        </p:blipFill>
        <p:spPr>
          <a:xfrm>
            <a:off x="6378103" y="554428"/>
            <a:ext cx="3490350" cy="743700"/>
          </a:xfrm>
          <a:prstGeom prst="rect">
            <a:avLst/>
          </a:prstGeom>
        </p:spPr>
      </p:pic>
      <p:pic>
        <p:nvPicPr>
          <p:cNvPr id="8" name="Picture 7">
            <a:extLst>
              <a:ext uri="{FF2B5EF4-FFF2-40B4-BE49-F238E27FC236}">
                <a16:creationId xmlns:a16="http://schemas.microsoft.com/office/drawing/2014/main" id="{3C1A6B2C-2852-8A74-27A7-2698C95FE880}"/>
              </a:ext>
            </a:extLst>
          </p:cNvPr>
          <p:cNvPicPr>
            <a:picLocks noChangeAspect="1"/>
          </p:cNvPicPr>
          <p:nvPr/>
        </p:nvPicPr>
        <p:blipFill>
          <a:blip r:embed="rId3"/>
          <a:stretch>
            <a:fillRect/>
          </a:stretch>
        </p:blipFill>
        <p:spPr>
          <a:xfrm>
            <a:off x="9997365" y="82292"/>
            <a:ext cx="2014659" cy="2006568"/>
          </a:xfrm>
          <a:prstGeom prst="rect">
            <a:avLst/>
          </a:prstGeom>
        </p:spPr>
      </p:pic>
      <p:sp>
        <p:nvSpPr>
          <p:cNvPr id="9" name="TextBox 8">
            <a:extLst>
              <a:ext uri="{FF2B5EF4-FFF2-40B4-BE49-F238E27FC236}">
                <a16:creationId xmlns:a16="http://schemas.microsoft.com/office/drawing/2014/main" id="{EC0A7EE8-DE1E-E811-B3D7-779C25F3E806}"/>
              </a:ext>
            </a:extLst>
          </p:cNvPr>
          <p:cNvSpPr txBox="1"/>
          <p:nvPr/>
        </p:nvSpPr>
        <p:spPr>
          <a:xfrm>
            <a:off x="7226950" y="2682045"/>
            <a:ext cx="4479802" cy="3385542"/>
          </a:xfrm>
          <a:prstGeom prst="rect">
            <a:avLst/>
          </a:prstGeom>
          <a:solidFill>
            <a:srgbClr val="D6D3ED"/>
          </a:solidFill>
          <a:ln>
            <a:solidFill>
              <a:schemeClr val="bg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455560"/>
                </a:solidFill>
                <a:effectLst/>
                <a:uLnTx/>
                <a:uFillTx/>
                <a:latin typeface="Roboto"/>
                <a:ea typeface="+mn-ea"/>
                <a:cs typeface="+mn-cs"/>
              </a:rPr>
              <a:t>Case Study Scenario </a:t>
            </a:r>
            <a:r>
              <a:rPr kumimoji="0" lang="en-GB" sz="1800" b="0" i="0" u="none" strike="noStrike" kern="1200" cap="none" spc="0" normalizeH="0" baseline="0" noProof="0">
                <a:ln>
                  <a:noFill/>
                </a:ln>
                <a:solidFill>
                  <a:srgbClr val="455560"/>
                </a:solidFill>
                <a:effectLst/>
                <a:uLnTx/>
                <a:uFillTx/>
                <a:latin typeface="Roboto"/>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55560"/>
              </a:solidFill>
              <a:effectLst/>
              <a:uLnTx/>
              <a:uFillTx/>
              <a:latin typeface="Roboto"/>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455560"/>
                </a:solidFill>
                <a:effectLst/>
                <a:uLnTx/>
                <a:uFillTx/>
                <a:latin typeface="Roboto"/>
                <a:ea typeface="+mn-ea"/>
                <a:cs typeface="+mn-cs"/>
              </a:rPr>
              <a:t>A 32-year-old Black British woman reports severe abdominal pain during late pregnancy. Despite multiple visits to her GP and hospital triage, her symptoms are dismissed as “normal pregnancy discomfort.” She later suffers a life-threatening complication.</a:t>
            </a:r>
            <a:endParaRPr kumimoji="0" lang="en-GB" sz="2000" b="0" i="0" u="none" strike="noStrike" kern="1200" cap="none" spc="0" normalizeH="0" baseline="0" noProof="0">
              <a:ln>
                <a:noFill/>
              </a:ln>
              <a:solidFill>
                <a:srgbClr val="455560"/>
              </a:solidFill>
              <a:effectLst/>
              <a:uLnTx/>
              <a:uFillTx/>
              <a:latin typeface="Roboto"/>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55560"/>
              </a:solidFill>
              <a:effectLst/>
              <a:uLnTx/>
              <a:uFillTx/>
              <a:latin typeface="Roboto"/>
              <a:ea typeface="+mn-ea"/>
              <a:cs typeface="+mn-cs"/>
            </a:endParaRPr>
          </a:p>
        </p:txBody>
      </p:sp>
      <p:sp>
        <p:nvSpPr>
          <p:cNvPr id="10" name="Text Placeholder 2">
            <a:extLst>
              <a:ext uri="{FF2B5EF4-FFF2-40B4-BE49-F238E27FC236}">
                <a16:creationId xmlns:a16="http://schemas.microsoft.com/office/drawing/2014/main" id="{B917D342-A425-25AE-9B55-3A6CBBF8AC5A}"/>
              </a:ext>
            </a:extLst>
          </p:cNvPr>
          <p:cNvSpPr txBox="1">
            <a:spLocks/>
          </p:cNvSpPr>
          <p:nvPr/>
        </p:nvSpPr>
        <p:spPr>
          <a:xfrm>
            <a:off x="586542" y="1448604"/>
            <a:ext cx="5863198" cy="4256843"/>
          </a:xfrm>
          <a:prstGeom prst="rect">
            <a:avLst/>
          </a:prstGeom>
        </p:spPr>
        <p:txBody>
          <a:bodyPr lIns="91440" tIns="45720" rIns="91440" bIns="45720" anchor="t">
            <a:normAutofit lnSpcReduction="10000"/>
          </a:bodyPr>
          <a:lstStyle>
            <a:lvl1pPr marL="228600" indent="-228600" algn="l" defTabSz="914400" rtl="0" eaLnBrk="1" latinLnBrk="0" hangingPunct="1">
              <a:lnSpc>
                <a:spcPct val="150000"/>
              </a:lnSpc>
              <a:spcBef>
                <a:spcPts val="1000"/>
              </a:spcBef>
              <a:buFont typeface="Arial" panose="020B0604020202020204" pitchFamily="34" charset="0"/>
              <a:buChar char="•"/>
              <a:tabLst>
                <a:tab pos="571500" algn="l"/>
              </a:tabLst>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50000"/>
              </a:lnSpc>
              <a:spcBef>
                <a:spcPts val="1000"/>
              </a:spcBef>
              <a:spcAft>
                <a:spcPts val="0"/>
              </a:spcAft>
              <a:buClrTx/>
              <a:buSzTx/>
              <a:buFont typeface="Arial" panose="020B0604020202020204" pitchFamily="34" charset="0"/>
              <a:buNone/>
              <a:tabLst>
                <a:tab pos="571500" algn="l"/>
              </a:tabLst>
              <a:defRPr/>
            </a:pPr>
            <a:r>
              <a:rPr kumimoji="0" lang="en-US" sz="2000" b="1" i="1"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At your tables:</a:t>
            </a:r>
          </a:p>
          <a:p>
            <a:pPr marL="0" marR="0" lvl="0" indent="0" algn="l" defTabSz="914400" rtl="0" eaLnBrk="1" fontAlgn="auto" latinLnBrk="0" hangingPunct="1">
              <a:lnSpc>
                <a:spcPct val="150000"/>
              </a:lnSpc>
              <a:spcBef>
                <a:spcPts val="1000"/>
              </a:spcBef>
              <a:spcAft>
                <a:spcPts val="0"/>
              </a:spcAft>
              <a:buClrTx/>
              <a:buSzTx/>
              <a:buFont typeface="Arial" panose="020B0604020202020204" pitchFamily="34" charset="0"/>
              <a:buNone/>
              <a:tabLst>
                <a:tab pos="571500" algn="l"/>
              </a:tabLst>
              <a:defRPr/>
            </a:pPr>
            <a:r>
              <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Review the case study on the right, and talk through:</a:t>
            </a:r>
          </a:p>
          <a:p>
            <a:pPr marL="457200" marR="0" lvl="0" indent="-457200" algn="l" defTabSz="914400" rtl="0" eaLnBrk="1" fontAlgn="auto" latinLnBrk="0" hangingPunct="1">
              <a:lnSpc>
                <a:spcPct val="100000"/>
              </a:lnSpc>
              <a:spcBef>
                <a:spcPts val="1000"/>
              </a:spcBef>
              <a:spcAft>
                <a:spcPts val="0"/>
              </a:spcAft>
              <a:buClrTx/>
              <a:buSzTx/>
              <a:buFont typeface="+mj-lt"/>
              <a:buAutoNum type="arabicPeriod"/>
              <a:tabLst>
                <a:tab pos="571500" algn="l"/>
              </a:tabLst>
              <a:defRPr/>
            </a:pPr>
            <a:r>
              <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How would you implement the MFI-AR in your context/organization to address the case study?</a:t>
            </a:r>
          </a:p>
          <a:p>
            <a:pPr marL="457200" marR="0" lvl="0" indent="-457200" algn="l" defTabSz="914400" rtl="0" eaLnBrk="1" fontAlgn="auto" latinLnBrk="0" hangingPunct="1">
              <a:lnSpc>
                <a:spcPct val="100000"/>
              </a:lnSpc>
              <a:spcBef>
                <a:spcPts val="1000"/>
              </a:spcBef>
              <a:spcAft>
                <a:spcPts val="0"/>
              </a:spcAft>
              <a:buClrTx/>
              <a:buSzTx/>
              <a:buFont typeface="+mj-lt"/>
              <a:buAutoNum type="arabicPeriod"/>
              <a:tabLst>
                <a:tab pos="571500" algn="l"/>
              </a:tabLst>
              <a:defRPr/>
            </a:pPr>
            <a:r>
              <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What are the facilitators/barriers?</a:t>
            </a:r>
          </a:p>
          <a:p>
            <a:pPr marL="457200" marR="0" lvl="0" indent="-457200" algn="l" defTabSz="914400" rtl="0" eaLnBrk="1" fontAlgn="auto" latinLnBrk="0" hangingPunct="1">
              <a:lnSpc>
                <a:spcPct val="100000"/>
              </a:lnSpc>
              <a:spcBef>
                <a:spcPts val="1000"/>
              </a:spcBef>
              <a:spcAft>
                <a:spcPts val="0"/>
              </a:spcAft>
              <a:buClrTx/>
              <a:buSzTx/>
              <a:buFont typeface="+mj-lt"/>
              <a:buAutoNum type="arabicPeriod"/>
              <a:tabLst>
                <a:tab pos="571500" algn="l"/>
              </a:tabLst>
              <a:defRPr/>
            </a:pPr>
            <a:r>
              <a:rPr kumimoji="0" lang="en-US" sz="2000" b="0" i="0" u="none" strike="noStrike" kern="1200" cap="none" spc="0" normalizeH="0" baseline="0" noProof="0">
                <a:ln>
                  <a:noFill/>
                </a:ln>
                <a:solidFill>
                  <a:srgbClr val="000000"/>
                </a:solidFill>
                <a:effectLst/>
                <a:uLnTx/>
                <a:uFillTx/>
                <a:latin typeface="Arial" panose="020B0604020202020204" pitchFamily="34" charset="0"/>
                <a:ea typeface="Roboto"/>
                <a:cs typeface="Arial" panose="020B0604020202020204" pitchFamily="34" charset="0"/>
              </a:rPr>
              <a:t>What support would you need?</a:t>
            </a:r>
          </a:p>
          <a:p>
            <a:pPr marL="457200" marR="0" lvl="0" indent="-457200" algn="l" defTabSz="914400" rtl="0" eaLnBrk="1" fontAlgn="auto" latinLnBrk="0" hangingPunct="1">
              <a:lnSpc>
                <a:spcPct val="100000"/>
              </a:lnSpc>
              <a:spcBef>
                <a:spcPts val="1000"/>
              </a:spcBef>
              <a:spcAft>
                <a:spcPts val="0"/>
              </a:spcAft>
              <a:buClrTx/>
              <a:buSzTx/>
              <a:buFont typeface="+mj-lt"/>
              <a:buAutoNum type="arabicPeriod"/>
              <a:tabLst>
                <a:tab pos="571500" algn="l"/>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Roboto"/>
              <a:cs typeface="Arial" panose="020B0604020202020204" pitchFamily="34" charset="0"/>
            </a:endParaRPr>
          </a:p>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tab pos="571500" algn="l"/>
              </a:tabLst>
              <a:defRPr/>
            </a:pPr>
            <a:r>
              <a:rPr kumimoji="0" lang="en-US" sz="2000" b="1" i="0" u="none" strike="noStrike" kern="1200" cap="none" spc="0" normalizeH="0" baseline="0" noProof="0">
                <a:ln>
                  <a:noFill/>
                </a:ln>
                <a:solidFill>
                  <a:srgbClr val="000000"/>
                </a:solidFill>
                <a:effectLst/>
                <a:uLnTx/>
                <a:uFillTx/>
                <a:latin typeface="Arial" panose="020B0604020202020204" pitchFamily="34" charset="0"/>
                <a:ea typeface="Roboto"/>
                <a:cs typeface="Arial" panose="020B0604020202020204" pitchFamily="34" charset="0"/>
              </a:rPr>
              <a:t>We will ask you to feedback at the end!</a:t>
            </a:r>
          </a:p>
        </p:txBody>
      </p:sp>
    </p:spTree>
    <p:extLst>
      <p:ext uri="{BB962C8B-B14F-4D97-AF65-F5344CB8AC3E}">
        <p14:creationId xmlns:p14="http://schemas.microsoft.com/office/powerpoint/2010/main" val="303299769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16054A-C7D7-C16A-97FB-A3C68753890E}"/>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49D541E9-BE88-2425-22BE-05753EC4FF57}"/>
              </a:ext>
            </a:extLst>
          </p:cNvPr>
          <p:cNvSpPr txBox="1"/>
          <p:nvPr/>
        </p:nvSpPr>
        <p:spPr>
          <a:xfrm>
            <a:off x="289807" y="390045"/>
            <a:ext cx="3766145" cy="480131"/>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0" normalizeH="0" baseline="0" noProof="0">
                <a:ln>
                  <a:noFill/>
                </a:ln>
                <a:solidFill>
                  <a:srgbClr val="3D3381"/>
                </a:solidFill>
                <a:effectLst/>
                <a:uLnTx/>
                <a:uFillTx/>
                <a:latin typeface="Arial Black"/>
                <a:ea typeface="+mn-ea"/>
                <a:cs typeface="Arial"/>
              </a:rPr>
              <a:t>Before we finish…</a:t>
            </a:r>
            <a:endParaRPr kumimoji="0" lang="en-US" sz="2800" b="0" i="0" u="none" strike="noStrike" kern="1200" cap="none" spc="0" normalizeH="0" baseline="0" noProof="0">
              <a:ln>
                <a:noFill/>
              </a:ln>
              <a:solidFill>
                <a:srgbClr val="455560"/>
              </a:solidFill>
              <a:effectLst/>
              <a:uLnTx/>
              <a:uFillTx/>
              <a:latin typeface="Arial Black"/>
              <a:ea typeface="Times New Roman" panose="02020603050405020304" pitchFamily="18" charset="0"/>
              <a:cs typeface="Arial"/>
            </a:endParaRPr>
          </a:p>
        </p:txBody>
      </p:sp>
      <p:sp>
        <p:nvSpPr>
          <p:cNvPr id="6" name="Rectangle 5">
            <a:extLst>
              <a:ext uri="{FF2B5EF4-FFF2-40B4-BE49-F238E27FC236}">
                <a16:creationId xmlns:a16="http://schemas.microsoft.com/office/drawing/2014/main" id="{3FB38D68-A221-4E7C-3C74-2914D8A40E15}"/>
              </a:ext>
            </a:extLst>
          </p:cNvPr>
          <p:cNvSpPr/>
          <p:nvPr/>
        </p:nvSpPr>
        <p:spPr>
          <a:xfrm>
            <a:off x="413032" y="1233996"/>
            <a:ext cx="1544714" cy="257452"/>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Roboto"/>
              <a:ea typeface="+mn-ea"/>
              <a:cs typeface="+mn-cs"/>
            </a:endParaRPr>
          </a:p>
        </p:txBody>
      </p:sp>
      <p:sp>
        <p:nvSpPr>
          <p:cNvPr id="12" name="Rectangle: Rounded Corners 11">
            <a:extLst>
              <a:ext uri="{FF2B5EF4-FFF2-40B4-BE49-F238E27FC236}">
                <a16:creationId xmlns:a16="http://schemas.microsoft.com/office/drawing/2014/main" id="{B55A62B6-DB12-D084-104B-CDD2FEB5B5F7}"/>
              </a:ext>
            </a:extLst>
          </p:cNvPr>
          <p:cNvSpPr/>
          <p:nvPr/>
        </p:nvSpPr>
        <p:spPr>
          <a:xfrm>
            <a:off x="2101788" y="1233996"/>
            <a:ext cx="7988423" cy="1313895"/>
          </a:xfrm>
          <a:prstGeom prst="roundRect">
            <a:avLst/>
          </a:prstGeom>
          <a:solidFill>
            <a:srgbClr val="D6D3ED"/>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solidFill>
                  <a:srgbClr val="000000"/>
                </a:solidFill>
                <a:effectLst/>
                <a:uLnTx/>
                <a:uFillTx/>
                <a:latin typeface="Roboto"/>
                <a:ea typeface="+mn-ea"/>
                <a:cs typeface="+mn-cs"/>
              </a:rPr>
              <a:t>Take 30 seconds to </a:t>
            </a:r>
            <a:r>
              <a:rPr kumimoji="0" lang="en-GB" sz="2000" b="1" i="0" u="none" strike="noStrike" kern="1200" cap="none" spc="0" normalizeH="0" baseline="0" noProof="0">
                <a:ln>
                  <a:noFill/>
                </a:ln>
                <a:solidFill>
                  <a:srgbClr val="000000"/>
                </a:solidFill>
                <a:effectLst/>
                <a:uLnTx/>
                <a:uFillTx/>
                <a:latin typeface="Roboto"/>
                <a:ea typeface="+mn-ea"/>
                <a:cs typeface="+mn-cs"/>
              </a:rPr>
              <a:t>pause &amp; reflect</a:t>
            </a:r>
            <a:r>
              <a:rPr kumimoji="0" lang="en-GB" sz="2000" b="0" i="0" u="none" strike="noStrike" kern="1200" cap="none" spc="0" normalizeH="0" baseline="0" noProof="0">
                <a:ln>
                  <a:noFill/>
                </a:ln>
                <a:solidFill>
                  <a:srgbClr val="000000"/>
                </a:solidFill>
                <a:effectLst/>
                <a:uLnTx/>
                <a:uFillTx/>
                <a:latin typeface="Roboto"/>
                <a:ea typeface="+mn-ea"/>
                <a:cs typeface="+mn-cs"/>
              </a:rPr>
              <a:t>: Why does addressing racism in healthcare matter?</a:t>
            </a:r>
          </a:p>
        </p:txBody>
      </p:sp>
      <p:sp>
        <p:nvSpPr>
          <p:cNvPr id="13" name="Rectangle: Rounded Corners 12">
            <a:extLst>
              <a:ext uri="{FF2B5EF4-FFF2-40B4-BE49-F238E27FC236}">
                <a16:creationId xmlns:a16="http://schemas.microsoft.com/office/drawing/2014/main" id="{1342C893-F7F9-42E3-FA4E-27E3B7B0A6F7}"/>
              </a:ext>
            </a:extLst>
          </p:cNvPr>
          <p:cNvSpPr/>
          <p:nvPr/>
        </p:nvSpPr>
        <p:spPr>
          <a:xfrm>
            <a:off x="2101788" y="2864107"/>
            <a:ext cx="7988423" cy="1266787"/>
          </a:xfrm>
          <a:prstGeom prst="roundRect">
            <a:avLst/>
          </a:prstGeom>
          <a:solidFill>
            <a:srgbClr val="D6D3ED"/>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rgbClr val="000000"/>
                </a:solidFill>
                <a:effectLst/>
                <a:uLnTx/>
                <a:uFillTx/>
                <a:latin typeface="Roboto"/>
                <a:ea typeface="+mn-ea"/>
                <a:cs typeface="+mn-cs"/>
              </a:rPr>
              <a:t>Your key learning: </a:t>
            </a:r>
            <a:r>
              <a:rPr kumimoji="0" lang="en-GB" sz="2000" b="0" i="0" u="none" strike="noStrike" kern="1200" cap="none" spc="0" normalizeH="0" baseline="0" noProof="0">
                <a:ln>
                  <a:noFill/>
                </a:ln>
                <a:solidFill>
                  <a:srgbClr val="000000"/>
                </a:solidFill>
                <a:effectLst/>
                <a:uLnTx/>
                <a:uFillTx/>
                <a:latin typeface="Roboto"/>
                <a:ea typeface="+mn-ea"/>
                <a:cs typeface="+mn-cs"/>
              </a:rPr>
              <a:t>What will you take away from today into your own area of practice?</a:t>
            </a:r>
          </a:p>
        </p:txBody>
      </p:sp>
      <p:sp>
        <p:nvSpPr>
          <p:cNvPr id="14" name="Rectangle: Rounded Corners 13">
            <a:extLst>
              <a:ext uri="{FF2B5EF4-FFF2-40B4-BE49-F238E27FC236}">
                <a16:creationId xmlns:a16="http://schemas.microsoft.com/office/drawing/2014/main" id="{49CB67A5-920B-359A-CEF4-B80A7360A6F1}"/>
              </a:ext>
            </a:extLst>
          </p:cNvPr>
          <p:cNvSpPr/>
          <p:nvPr/>
        </p:nvSpPr>
        <p:spPr>
          <a:xfrm>
            <a:off x="2101788" y="4447111"/>
            <a:ext cx="7988423" cy="1313895"/>
          </a:xfrm>
          <a:prstGeom prst="roundRect">
            <a:avLst/>
          </a:prstGeom>
          <a:solidFill>
            <a:srgbClr val="D6D3ED"/>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rgbClr val="000000"/>
                </a:solidFill>
                <a:effectLst/>
                <a:uLnTx/>
                <a:uFillTx/>
                <a:latin typeface="Roboto"/>
                <a:ea typeface="+mn-ea"/>
                <a:cs typeface="+mn-cs"/>
              </a:rPr>
              <a:t>Your commitment: </a:t>
            </a:r>
            <a:r>
              <a:rPr kumimoji="0" lang="en-GB" sz="2000" b="0" i="0" u="none" strike="noStrike" kern="1200" cap="none" spc="0" normalizeH="0" baseline="0" noProof="0">
                <a:ln>
                  <a:noFill/>
                </a:ln>
                <a:solidFill>
                  <a:srgbClr val="000000"/>
                </a:solidFill>
                <a:effectLst/>
                <a:uLnTx/>
                <a:uFillTx/>
                <a:latin typeface="Roboto"/>
                <a:ea typeface="+mn-ea"/>
                <a:cs typeface="+mn-cs"/>
              </a:rPr>
              <a:t>What is one action you will commit to taking next week?</a:t>
            </a:r>
          </a:p>
        </p:txBody>
      </p:sp>
    </p:spTree>
    <p:extLst>
      <p:ext uri="{BB962C8B-B14F-4D97-AF65-F5344CB8AC3E}">
        <p14:creationId xmlns:p14="http://schemas.microsoft.com/office/powerpoint/2010/main" val="9431659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500"/>
                                        <p:tgtEl>
                                          <p:spTgt spid="1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P spid="14"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3BD6B2-92EA-7D82-0487-8719B4E9DC0A}"/>
            </a:ext>
          </a:extLst>
        </p:cNvPr>
        <p:cNvGrpSpPr/>
        <p:nvPr/>
      </p:nvGrpSpPr>
      <p:grpSpPr>
        <a:xfrm>
          <a:off x="0" y="0"/>
          <a:ext cx="0" cy="0"/>
          <a:chOff x="0" y="0"/>
          <a:chExt cx="0" cy="0"/>
        </a:xfrm>
      </p:grpSpPr>
      <p:sp>
        <p:nvSpPr>
          <p:cNvPr id="5" name="TextBox 4">
            <a:extLst>
              <a:ext uri="{FF2B5EF4-FFF2-40B4-BE49-F238E27FC236}">
                <a16:creationId xmlns:a16="http://schemas.microsoft.com/office/drawing/2014/main" id="{1F7EF12F-D9D4-B1BE-6FC1-2736F77729E2}"/>
              </a:ext>
            </a:extLst>
          </p:cNvPr>
          <p:cNvSpPr txBox="1"/>
          <p:nvPr/>
        </p:nvSpPr>
        <p:spPr>
          <a:xfrm>
            <a:off x="552450" y="3351752"/>
            <a:ext cx="5543550" cy="646331"/>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GB" sz="3600" b="0" i="0" u="none" strike="noStrike" kern="1200" cap="none" spc="0" normalizeH="0" baseline="0" noProof="0">
                <a:ln>
                  <a:noFill/>
                </a:ln>
                <a:solidFill>
                  <a:prstClr val="white"/>
                </a:solidFill>
                <a:effectLst/>
                <a:uLnTx/>
                <a:uFillTx/>
                <a:latin typeface="Arial Black" panose="020B0A04020102020204"/>
                <a:ea typeface="+mn-ea"/>
                <a:cs typeface="+mn-cs"/>
              </a:rPr>
              <a:t>Thank you</a:t>
            </a:r>
            <a:endParaRPr kumimoji="0" lang="en-GB" sz="1800" b="1" i="0" u="none" strike="noStrike" kern="1200" cap="none" spc="0" normalizeH="0" baseline="0" noProof="0">
              <a:ln>
                <a:noFill/>
              </a:ln>
              <a:solidFill>
                <a:prstClr val="white"/>
              </a:solidFill>
              <a:effectLst/>
              <a:uLnTx/>
              <a:uFillTx/>
              <a:latin typeface="Arial" panose="020B0604020202020204"/>
              <a:ea typeface="+mn-ea"/>
              <a:cs typeface="Arial"/>
            </a:endParaRPr>
          </a:p>
        </p:txBody>
      </p:sp>
    </p:spTree>
    <p:extLst>
      <p:ext uri="{BB962C8B-B14F-4D97-AF65-F5344CB8AC3E}">
        <p14:creationId xmlns:p14="http://schemas.microsoft.com/office/powerpoint/2010/main" val="33324950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FE95191-870F-36BC-2186-8FEBB42642FF}"/>
              </a:ext>
            </a:extLst>
          </p:cNvPr>
          <p:cNvSpPr/>
          <p:nvPr/>
        </p:nvSpPr>
        <p:spPr>
          <a:xfrm>
            <a:off x="0" y="0"/>
            <a:ext cx="1219200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Roboto"/>
              <a:ea typeface="+mn-ea"/>
              <a:cs typeface="+mn-cs"/>
            </a:endParaRPr>
          </a:p>
        </p:txBody>
      </p:sp>
      <p:pic>
        <p:nvPicPr>
          <p:cNvPr id="5" name="Picture 4" descr="Map&#10;&#10;Description automatically generated">
            <a:extLst>
              <a:ext uri="{FF2B5EF4-FFF2-40B4-BE49-F238E27FC236}">
                <a16:creationId xmlns:a16="http://schemas.microsoft.com/office/drawing/2014/main" id="{E98C7C69-793B-84CE-7CB1-9DD68028420C}"/>
              </a:ext>
            </a:extLst>
          </p:cNvPr>
          <p:cNvPicPr>
            <a:picLocks noChangeAspect="1"/>
          </p:cNvPicPr>
          <p:nvPr/>
        </p:nvPicPr>
        <p:blipFill>
          <a:blip r:embed="rId2"/>
          <a:stretch>
            <a:fillRect/>
          </a:stretch>
        </p:blipFill>
        <p:spPr>
          <a:xfrm>
            <a:off x="0" y="0"/>
            <a:ext cx="12235770" cy="6858000"/>
          </a:xfrm>
          <a:prstGeom prst="rect">
            <a:avLst/>
          </a:prstGeom>
        </p:spPr>
      </p:pic>
    </p:spTree>
    <p:extLst>
      <p:ext uri="{BB962C8B-B14F-4D97-AF65-F5344CB8AC3E}">
        <p14:creationId xmlns:p14="http://schemas.microsoft.com/office/powerpoint/2010/main" val="410240094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42DF620B-58E1-1272-8E82-B8A78CA94565}"/>
              </a:ext>
            </a:extLst>
          </p:cNvPr>
          <p:cNvSpPr txBox="1"/>
          <p:nvPr/>
        </p:nvSpPr>
        <p:spPr>
          <a:xfrm>
            <a:off x="2012492" y="2900516"/>
            <a:ext cx="9410435" cy="830997"/>
          </a:xfrm>
          <a:prstGeom prst="rect">
            <a:avLst/>
          </a:prstGeom>
          <a:noFill/>
        </p:spPr>
        <p:txBody>
          <a:bodyPr wrap="square" lIns="91440" tIns="45720" rIns="91440" bIns="45720" rtlCol="0" anchor="t">
            <a:spAutoFit/>
          </a:bodyPr>
          <a:lstStyle/>
          <a:p>
            <a:pPr marL="914400" marR="0" lvl="2"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455560"/>
                </a:solidFill>
                <a:effectLst/>
                <a:uLnTx/>
                <a:uFillTx/>
                <a:latin typeface="Roboto"/>
                <a:ea typeface="Times New Roman" panose="02020603050405020304" pitchFamily="18" charset="0"/>
                <a:cs typeface="Times New Roman"/>
              </a:rPr>
              <a:t>EVIDENCE – </a:t>
            </a:r>
            <a:r>
              <a:rPr kumimoji="0" lang="en-US" sz="1600" b="0" i="0" u="none" strike="noStrike" kern="1200" cap="none" spc="0" normalizeH="0" baseline="0" noProof="0">
                <a:ln>
                  <a:noFill/>
                </a:ln>
                <a:solidFill>
                  <a:srgbClr val="455560"/>
                </a:solidFill>
                <a:effectLst/>
                <a:uLnTx/>
                <a:uFillTx/>
                <a:latin typeface="Roboto"/>
                <a:ea typeface="Roboto"/>
                <a:cs typeface="Roboto"/>
              </a:rPr>
              <a:t>We produce evidence about racial and ethnic inequality in health; </a:t>
            </a:r>
            <a:endParaRPr kumimoji="0" lang="en-US" sz="2400" b="0" i="0" u="none" strike="noStrike" kern="1200" cap="none" spc="300" normalizeH="0" baseline="0" noProof="0">
              <a:ln>
                <a:noFill/>
              </a:ln>
              <a:solidFill>
                <a:srgbClr val="455560"/>
              </a:solidFill>
              <a:effectLst/>
              <a:uLnTx/>
              <a:uFillTx/>
              <a:latin typeface="Giorgio Sans Heavy"/>
              <a:ea typeface="Roboto"/>
              <a:cs typeface="Times New Roman"/>
            </a:endParaRPr>
          </a:p>
          <a:p>
            <a:pPr marL="1657350" marR="0" lvl="3"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455560"/>
                </a:solidFill>
                <a:effectLst/>
                <a:uLnTx/>
                <a:uFillTx/>
                <a:latin typeface="Roboto"/>
                <a:ea typeface="Roboto"/>
                <a:cs typeface="Roboto"/>
              </a:rPr>
              <a:t>commissioning original research to fill knowledge gaps</a:t>
            </a:r>
            <a:endParaRPr kumimoji="0" lang="en-GB" sz="1800" b="0" i="0" u="none" strike="noStrike" kern="1200" cap="none" spc="0" normalizeH="0" baseline="0" noProof="0">
              <a:ln>
                <a:noFill/>
              </a:ln>
              <a:solidFill>
                <a:srgbClr val="455560"/>
              </a:solidFill>
              <a:effectLst/>
              <a:uLnTx/>
              <a:uFillTx/>
              <a:latin typeface="Roboto"/>
              <a:ea typeface="Roboto"/>
              <a:cs typeface="Roboto"/>
            </a:endParaRPr>
          </a:p>
          <a:p>
            <a:pPr marL="1657350" marR="0" lvl="3"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err="1">
                <a:ln>
                  <a:noFill/>
                </a:ln>
                <a:solidFill>
                  <a:srgbClr val="455560"/>
                </a:solidFill>
                <a:effectLst/>
                <a:uLnTx/>
                <a:uFillTx/>
                <a:latin typeface="Roboto"/>
                <a:ea typeface="Roboto"/>
                <a:cs typeface="Roboto"/>
              </a:rPr>
              <a:t>synthesise</a:t>
            </a:r>
            <a:r>
              <a:rPr kumimoji="0" lang="en-US" sz="1600" b="0" i="0" u="none" strike="noStrike" kern="1200" cap="none" spc="0" normalizeH="0" baseline="0" noProof="0">
                <a:ln>
                  <a:noFill/>
                </a:ln>
                <a:solidFill>
                  <a:srgbClr val="455560"/>
                </a:solidFill>
                <a:effectLst/>
                <a:uLnTx/>
                <a:uFillTx/>
                <a:latin typeface="Roboto"/>
                <a:ea typeface="Roboto"/>
                <a:cs typeface="Roboto"/>
              </a:rPr>
              <a:t> and </a:t>
            </a:r>
            <a:r>
              <a:rPr kumimoji="0" lang="en-US" sz="1600" b="0" i="0" u="none" strike="noStrike" kern="1200" cap="none" spc="0" normalizeH="0" baseline="0" noProof="0" err="1">
                <a:ln>
                  <a:noFill/>
                </a:ln>
                <a:solidFill>
                  <a:srgbClr val="455560"/>
                </a:solidFill>
                <a:effectLst/>
                <a:uLnTx/>
                <a:uFillTx/>
                <a:latin typeface="Roboto"/>
                <a:ea typeface="Roboto"/>
                <a:cs typeface="Roboto"/>
              </a:rPr>
              <a:t>mobilise</a:t>
            </a:r>
            <a:r>
              <a:rPr kumimoji="0" lang="en-US" sz="1600" b="0" i="0" u="none" strike="noStrike" kern="1200" cap="none" spc="0" normalizeH="0" baseline="0" noProof="0">
                <a:ln>
                  <a:noFill/>
                </a:ln>
                <a:solidFill>
                  <a:srgbClr val="455560"/>
                </a:solidFill>
                <a:effectLst/>
                <a:uLnTx/>
                <a:uFillTx/>
                <a:latin typeface="Roboto"/>
                <a:ea typeface="Roboto"/>
                <a:cs typeface="Roboto"/>
              </a:rPr>
              <a:t> existing evidence </a:t>
            </a:r>
            <a:endParaRPr kumimoji="0" lang="en-US" sz="1600" b="0" i="0" u="none" strike="noStrike" kern="1200" cap="none" spc="0" normalizeH="0" baseline="0" noProof="0">
              <a:ln>
                <a:noFill/>
              </a:ln>
              <a:solidFill>
                <a:srgbClr val="455560"/>
              </a:solidFill>
              <a:effectLst/>
              <a:uLnTx/>
              <a:uFillTx/>
              <a:latin typeface="Roboto"/>
              <a:ea typeface="Times New Roman" panose="02020603050405020304" pitchFamily="18" charset="0"/>
              <a:cs typeface="Times New Roman"/>
            </a:endParaRPr>
          </a:p>
        </p:txBody>
      </p:sp>
      <p:sp>
        <p:nvSpPr>
          <p:cNvPr id="4" name="TextBox 3">
            <a:extLst>
              <a:ext uri="{FF2B5EF4-FFF2-40B4-BE49-F238E27FC236}">
                <a16:creationId xmlns:a16="http://schemas.microsoft.com/office/drawing/2014/main" id="{34086EED-2BBC-04AF-18AE-65B66BA01D3A}"/>
              </a:ext>
            </a:extLst>
          </p:cNvPr>
          <p:cNvSpPr txBox="1"/>
          <p:nvPr/>
        </p:nvSpPr>
        <p:spPr>
          <a:xfrm>
            <a:off x="2978166" y="4014404"/>
            <a:ext cx="8304979" cy="59163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600" b="1" i="0" u="none" strike="noStrike" kern="1200" cap="none" spc="0" normalizeH="0" baseline="0" noProof="0">
                <a:ln>
                  <a:noFill/>
                </a:ln>
                <a:solidFill>
                  <a:srgbClr val="455560"/>
                </a:solidFill>
                <a:effectLst/>
                <a:uLnTx/>
                <a:uFillTx/>
                <a:latin typeface="Roboto"/>
                <a:ea typeface="+mn-ea"/>
                <a:cs typeface="+mn-cs"/>
              </a:rPr>
              <a:t>INFLUENCE</a:t>
            </a:r>
            <a:r>
              <a:rPr kumimoji="0" lang="en-US" sz="1600" b="0" i="0" u="none" strike="noStrike" kern="1200" cap="none" spc="0" normalizeH="0" baseline="0" noProof="0">
                <a:ln>
                  <a:noFill/>
                </a:ln>
                <a:solidFill>
                  <a:srgbClr val="455560"/>
                </a:solidFill>
                <a:effectLst/>
                <a:uLnTx/>
                <a:uFillTx/>
                <a:latin typeface="Roboto"/>
                <a:ea typeface="+mn-ea"/>
                <a:cs typeface="+mn-cs"/>
              </a:rPr>
              <a:t>- </a:t>
            </a:r>
            <a:r>
              <a:rPr kumimoji="0" lang="en-US" sz="1600" b="0" i="0" u="none" strike="noStrike" kern="1200" cap="none" spc="0" normalizeH="0" baseline="0" noProof="0">
                <a:ln>
                  <a:noFill/>
                </a:ln>
                <a:solidFill>
                  <a:srgbClr val="455560"/>
                </a:solidFill>
                <a:effectLst/>
                <a:uLnTx/>
                <a:uFillTx/>
                <a:latin typeface="Roboto"/>
                <a:ea typeface="Calibri"/>
                <a:cs typeface="Calibri"/>
              </a:rPr>
              <a:t>We use the evidence we commission and </a:t>
            </a:r>
            <a:r>
              <a:rPr kumimoji="0" lang="en-US" sz="1600" b="0" i="0" u="none" strike="noStrike" kern="1200" cap="none" spc="0" normalizeH="0" baseline="0" noProof="0" err="1">
                <a:ln>
                  <a:noFill/>
                </a:ln>
                <a:solidFill>
                  <a:srgbClr val="455560"/>
                </a:solidFill>
                <a:effectLst/>
                <a:uLnTx/>
                <a:uFillTx/>
                <a:latin typeface="Roboto"/>
                <a:ea typeface="Calibri"/>
                <a:cs typeface="Calibri"/>
              </a:rPr>
              <a:t>mobilise</a:t>
            </a:r>
            <a:r>
              <a:rPr kumimoji="0" lang="en-US" sz="1600" b="0" i="0" u="none" strike="noStrike" kern="1200" cap="none" spc="0" normalizeH="0" baseline="0" noProof="0">
                <a:ln>
                  <a:noFill/>
                </a:ln>
                <a:solidFill>
                  <a:srgbClr val="455560"/>
                </a:solidFill>
                <a:effectLst/>
                <a:uLnTx/>
                <a:uFillTx/>
                <a:latin typeface="Roboto"/>
                <a:ea typeface="Calibri"/>
                <a:cs typeface="Calibri"/>
              </a:rPr>
              <a:t> to influence leaders through practical recommendations for policy and practice</a:t>
            </a:r>
            <a:r>
              <a:rPr kumimoji="0" lang="en-US" sz="1600" b="0" i="0" u="none" strike="noStrike" kern="1200" cap="none" spc="0" normalizeH="0" baseline="0" noProof="0">
                <a:ln>
                  <a:noFill/>
                </a:ln>
                <a:solidFill>
                  <a:srgbClr val="455560"/>
                </a:solidFill>
                <a:effectLst/>
                <a:uLnTx/>
                <a:uFillTx/>
                <a:latin typeface="Roboto"/>
                <a:ea typeface="Roboto"/>
                <a:cs typeface="Roboto"/>
              </a:rPr>
              <a:t> </a:t>
            </a:r>
            <a:endParaRPr kumimoji="0" lang="en-US" sz="1800" b="0" i="0" u="none" strike="noStrike" kern="1200" cap="none" spc="0" normalizeH="0" baseline="0" noProof="0">
              <a:ln>
                <a:noFill/>
              </a:ln>
              <a:solidFill>
                <a:srgbClr val="455560"/>
              </a:solidFill>
              <a:effectLst/>
              <a:uLnTx/>
              <a:uFillTx/>
              <a:latin typeface="Roboto"/>
              <a:ea typeface="Roboto"/>
              <a:cs typeface="Roboto"/>
            </a:endParaRPr>
          </a:p>
        </p:txBody>
      </p:sp>
      <p:sp>
        <p:nvSpPr>
          <p:cNvPr id="5" name="TextBox 4">
            <a:extLst>
              <a:ext uri="{FF2B5EF4-FFF2-40B4-BE49-F238E27FC236}">
                <a16:creationId xmlns:a16="http://schemas.microsoft.com/office/drawing/2014/main" id="{8D7D7FFA-EBE9-79EC-7C10-3B3D1763D6CD}"/>
              </a:ext>
            </a:extLst>
          </p:cNvPr>
          <p:cNvSpPr txBox="1"/>
          <p:nvPr/>
        </p:nvSpPr>
        <p:spPr>
          <a:xfrm>
            <a:off x="2976993" y="5013994"/>
            <a:ext cx="8428546" cy="83099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455560"/>
                </a:solidFill>
                <a:effectLst/>
                <a:uLnTx/>
                <a:uFillTx/>
                <a:latin typeface="Roboto"/>
                <a:ea typeface="+mn-ea"/>
                <a:cs typeface="+mn-cs"/>
              </a:rPr>
              <a:t>IMPLEMENT</a:t>
            </a:r>
            <a:r>
              <a:rPr kumimoji="0" lang="en-US" sz="1600" b="0" i="0" u="none" strike="noStrike" kern="1200" cap="none" spc="0" normalizeH="0" baseline="0" noProof="0">
                <a:ln>
                  <a:noFill/>
                </a:ln>
                <a:solidFill>
                  <a:srgbClr val="455560"/>
                </a:solidFill>
                <a:effectLst/>
                <a:uLnTx/>
                <a:uFillTx/>
                <a:latin typeface="Roboto"/>
                <a:ea typeface="Roboto"/>
                <a:cs typeface="Roboto"/>
              </a:rPr>
              <a:t>-</a:t>
            </a:r>
            <a:r>
              <a:rPr kumimoji="0" lang="en-US" sz="1600" b="0" i="0" u="none" strike="noStrike" kern="1200" cap="none" spc="0" normalizeH="0" baseline="0" noProof="0">
                <a:ln>
                  <a:noFill/>
                </a:ln>
                <a:solidFill>
                  <a:srgbClr val="455560"/>
                </a:solidFill>
                <a:effectLst/>
                <a:uLnTx/>
                <a:uFillTx/>
                <a:latin typeface="Roboto"/>
                <a:ea typeface="+mn-ea"/>
                <a:cs typeface="+mn-cs"/>
              </a:rPr>
              <a:t> </a:t>
            </a:r>
            <a:r>
              <a:rPr kumimoji="0" lang="en-US" sz="1600" b="0" i="0" u="none" strike="noStrike" kern="1200" cap="none" spc="0" normalizeH="0" baseline="0" noProof="0">
                <a:ln>
                  <a:noFill/>
                </a:ln>
                <a:solidFill>
                  <a:srgbClr val="455560"/>
                </a:solidFill>
                <a:effectLst/>
                <a:uLnTx/>
                <a:uFillTx/>
                <a:latin typeface="Roboto"/>
                <a:ea typeface="Roboto"/>
                <a:cs typeface="Roboto"/>
              </a:rPr>
              <a:t>On the basis of our recommendations, and in response to the needs of the communities we work with, we work to support the implementation of new policies and practice at the grassroots.</a:t>
            </a:r>
          </a:p>
        </p:txBody>
      </p:sp>
      <p:sp>
        <p:nvSpPr>
          <p:cNvPr id="6" name="TextBox 5">
            <a:extLst>
              <a:ext uri="{FF2B5EF4-FFF2-40B4-BE49-F238E27FC236}">
                <a16:creationId xmlns:a16="http://schemas.microsoft.com/office/drawing/2014/main" id="{7F662A00-5E53-27B1-9203-92C1392E972F}"/>
              </a:ext>
            </a:extLst>
          </p:cNvPr>
          <p:cNvSpPr txBox="1"/>
          <p:nvPr/>
        </p:nvSpPr>
        <p:spPr>
          <a:xfrm>
            <a:off x="2314840" y="3883048"/>
            <a:ext cx="486347" cy="70788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455560"/>
                </a:solidFill>
                <a:effectLst/>
                <a:uLnTx/>
                <a:uFillTx/>
                <a:latin typeface="Amasis MT Pro Black"/>
                <a:ea typeface="Calibri"/>
                <a:cs typeface="Calibri"/>
              </a:rPr>
              <a:t>2</a:t>
            </a:r>
          </a:p>
        </p:txBody>
      </p:sp>
      <p:sp>
        <p:nvSpPr>
          <p:cNvPr id="7" name="TextBox 6">
            <a:extLst>
              <a:ext uri="{FF2B5EF4-FFF2-40B4-BE49-F238E27FC236}">
                <a16:creationId xmlns:a16="http://schemas.microsoft.com/office/drawing/2014/main" id="{1CE4A5FB-2396-EC0F-0C93-0300983F80E4}"/>
              </a:ext>
            </a:extLst>
          </p:cNvPr>
          <p:cNvSpPr txBox="1"/>
          <p:nvPr/>
        </p:nvSpPr>
        <p:spPr>
          <a:xfrm>
            <a:off x="2374774" y="5000804"/>
            <a:ext cx="486347" cy="70788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455560"/>
                </a:solidFill>
                <a:effectLst/>
                <a:uLnTx/>
                <a:uFillTx/>
                <a:latin typeface="Amasis MT Pro Black"/>
                <a:ea typeface="Calibri"/>
                <a:cs typeface="Calibri"/>
              </a:rPr>
              <a:t>3</a:t>
            </a:r>
          </a:p>
        </p:txBody>
      </p:sp>
      <p:sp>
        <p:nvSpPr>
          <p:cNvPr id="8" name="TextBox 7">
            <a:extLst>
              <a:ext uri="{FF2B5EF4-FFF2-40B4-BE49-F238E27FC236}">
                <a16:creationId xmlns:a16="http://schemas.microsoft.com/office/drawing/2014/main" id="{797385EE-B926-462F-5C25-4AF76C91BD4F}"/>
              </a:ext>
            </a:extLst>
          </p:cNvPr>
          <p:cNvSpPr txBox="1"/>
          <p:nvPr/>
        </p:nvSpPr>
        <p:spPr>
          <a:xfrm>
            <a:off x="2301059" y="2714868"/>
            <a:ext cx="486347" cy="70788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455560"/>
                </a:solidFill>
                <a:effectLst/>
                <a:uLnTx/>
                <a:uFillTx/>
                <a:latin typeface="Amasis MT Pro Black"/>
                <a:ea typeface="Calibri"/>
                <a:cs typeface="Calibri"/>
              </a:rPr>
              <a:t>1</a:t>
            </a:r>
          </a:p>
        </p:txBody>
      </p:sp>
      <p:pic>
        <p:nvPicPr>
          <p:cNvPr id="13" name="Picture 12">
            <a:extLst>
              <a:ext uri="{FF2B5EF4-FFF2-40B4-BE49-F238E27FC236}">
                <a16:creationId xmlns:a16="http://schemas.microsoft.com/office/drawing/2014/main" id="{E1D653D3-2F51-A1BC-572C-959F92A89AFB}"/>
              </a:ext>
            </a:extLst>
          </p:cNvPr>
          <p:cNvPicPr>
            <a:picLocks noChangeAspect="1"/>
          </p:cNvPicPr>
          <p:nvPr/>
        </p:nvPicPr>
        <p:blipFill>
          <a:blip r:embed="rId2"/>
          <a:srcRect l="3947" t="-7563" r="4805" b="6844"/>
          <a:stretch>
            <a:fillRect/>
          </a:stretch>
        </p:blipFill>
        <p:spPr>
          <a:xfrm>
            <a:off x="1463483" y="2734533"/>
            <a:ext cx="830606" cy="782234"/>
          </a:xfrm>
          <a:prstGeom prst="rect">
            <a:avLst/>
          </a:prstGeom>
        </p:spPr>
      </p:pic>
      <p:pic>
        <p:nvPicPr>
          <p:cNvPr id="16" name="Picture 15">
            <a:extLst>
              <a:ext uri="{FF2B5EF4-FFF2-40B4-BE49-F238E27FC236}">
                <a16:creationId xmlns:a16="http://schemas.microsoft.com/office/drawing/2014/main" id="{86FF70C4-C0AA-84FC-6687-912DC6B7AC34}"/>
              </a:ext>
            </a:extLst>
          </p:cNvPr>
          <p:cNvPicPr>
            <a:picLocks noChangeAspect="1"/>
          </p:cNvPicPr>
          <p:nvPr/>
        </p:nvPicPr>
        <p:blipFill>
          <a:blip r:embed="rId3"/>
          <a:srcRect l="-3658" t="3571" r="-240" b="4167"/>
          <a:stretch>
            <a:fillRect/>
          </a:stretch>
        </p:blipFill>
        <p:spPr>
          <a:xfrm flipH="1">
            <a:off x="1442034" y="4918871"/>
            <a:ext cx="907675" cy="931357"/>
          </a:xfrm>
          <a:prstGeom prst="rect">
            <a:avLst/>
          </a:prstGeom>
        </p:spPr>
      </p:pic>
      <p:pic>
        <p:nvPicPr>
          <p:cNvPr id="17" name="Picture 16">
            <a:extLst>
              <a:ext uri="{FF2B5EF4-FFF2-40B4-BE49-F238E27FC236}">
                <a16:creationId xmlns:a16="http://schemas.microsoft.com/office/drawing/2014/main" id="{7EA440CC-BB16-3D04-306E-95D6215BBC2E}"/>
              </a:ext>
            </a:extLst>
          </p:cNvPr>
          <p:cNvPicPr>
            <a:picLocks noChangeAspect="1"/>
          </p:cNvPicPr>
          <p:nvPr/>
        </p:nvPicPr>
        <p:blipFill>
          <a:blip r:embed="rId4"/>
          <a:srcRect t="4275" r="9322"/>
          <a:stretch>
            <a:fillRect/>
          </a:stretch>
        </p:blipFill>
        <p:spPr>
          <a:xfrm>
            <a:off x="1386479" y="3845339"/>
            <a:ext cx="907081" cy="844154"/>
          </a:xfrm>
          <a:prstGeom prst="rect">
            <a:avLst/>
          </a:prstGeom>
        </p:spPr>
      </p:pic>
      <p:sp>
        <p:nvSpPr>
          <p:cNvPr id="3" name="TextBox 2">
            <a:extLst>
              <a:ext uri="{FF2B5EF4-FFF2-40B4-BE49-F238E27FC236}">
                <a16:creationId xmlns:a16="http://schemas.microsoft.com/office/drawing/2014/main" id="{B5F2EB24-5EDF-480B-4A1D-425A90517111}"/>
              </a:ext>
            </a:extLst>
          </p:cNvPr>
          <p:cNvSpPr txBox="1"/>
          <p:nvPr/>
        </p:nvSpPr>
        <p:spPr>
          <a:xfrm>
            <a:off x="289807" y="390045"/>
            <a:ext cx="11611377" cy="480131"/>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0" normalizeH="0" baseline="0" noProof="0">
                <a:ln>
                  <a:noFill/>
                </a:ln>
                <a:solidFill>
                  <a:srgbClr val="3D3381"/>
                </a:solidFill>
                <a:effectLst/>
                <a:uLnTx/>
                <a:uFillTx/>
                <a:latin typeface="Arial Black"/>
                <a:ea typeface="+mn-ea"/>
                <a:cs typeface="Arial"/>
              </a:rPr>
              <a:t>NHS Race and Health Observatory</a:t>
            </a:r>
            <a:endParaRPr kumimoji="0" lang="en-US" sz="2800" b="0" i="0" u="none" strike="noStrike" kern="1200" cap="none" spc="0" normalizeH="0" baseline="0" noProof="0">
              <a:ln>
                <a:noFill/>
              </a:ln>
              <a:solidFill>
                <a:srgbClr val="455560"/>
              </a:solidFill>
              <a:effectLst/>
              <a:uLnTx/>
              <a:uFillTx/>
              <a:latin typeface="Arial Black"/>
              <a:ea typeface="Times New Roman" panose="02020603050405020304" pitchFamily="18" charset="0"/>
              <a:cs typeface="Arial"/>
            </a:endParaRPr>
          </a:p>
        </p:txBody>
      </p:sp>
      <p:sp>
        <p:nvSpPr>
          <p:cNvPr id="10" name="Rectangle 9">
            <a:extLst>
              <a:ext uri="{FF2B5EF4-FFF2-40B4-BE49-F238E27FC236}">
                <a16:creationId xmlns:a16="http://schemas.microsoft.com/office/drawing/2014/main" id="{BE01631A-660D-86AC-9EA6-358227B8ED83}"/>
              </a:ext>
            </a:extLst>
          </p:cNvPr>
          <p:cNvSpPr/>
          <p:nvPr/>
        </p:nvSpPr>
        <p:spPr>
          <a:xfrm>
            <a:off x="598464" y="1184784"/>
            <a:ext cx="10996330" cy="1303444"/>
          </a:xfrm>
          <a:prstGeom prst="rect">
            <a:avLst/>
          </a:prstGeom>
          <a:solidFill>
            <a:srgbClr val="330072"/>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en-GB" sz="1500" b="1" i="0" u="none" strike="noStrike" kern="1200" cap="none" spc="0" normalizeH="0" baseline="0" noProof="0">
                <a:ln>
                  <a:noFill/>
                </a:ln>
                <a:solidFill>
                  <a:srgbClr val="FFFFFF"/>
                </a:solidFill>
                <a:effectLst/>
                <a:uLnTx/>
                <a:uFillTx/>
                <a:latin typeface="Roboto"/>
                <a:ea typeface="+mn-ea"/>
                <a:cs typeface="Arial"/>
              </a:rPr>
              <a:t>The NHS RHO defines racism in health as: </a:t>
            </a:r>
            <a:endParaRPr kumimoji="0" lang="en-US" sz="1500" b="0" i="0" u="none" strike="noStrike" kern="1200" cap="none" spc="0" normalizeH="0" baseline="0" noProof="0">
              <a:ln>
                <a:noFill/>
              </a:ln>
              <a:solidFill>
                <a:srgbClr val="FFFFFF"/>
              </a:solidFill>
              <a:effectLst/>
              <a:uLnTx/>
              <a:uFillTx/>
              <a:latin typeface="Roboto"/>
              <a:ea typeface="+mn-ea"/>
              <a:cs typeface="Arial"/>
            </a:endParaRPr>
          </a:p>
          <a:p>
            <a:pPr marL="0" marR="0" lvl="0" indent="0" algn="l" defTabSz="914400" rtl="0" eaLnBrk="1" fontAlgn="auto" latinLnBrk="0" hangingPunct="1">
              <a:lnSpc>
                <a:spcPct val="100000"/>
              </a:lnSpc>
              <a:spcBef>
                <a:spcPts val="0"/>
              </a:spcBef>
              <a:spcAft>
                <a:spcPts val="800"/>
              </a:spcAft>
              <a:buClrTx/>
              <a:buSzTx/>
              <a:buFontTx/>
              <a:buNone/>
              <a:tabLst/>
              <a:defRPr/>
            </a:pPr>
            <a:r>
              <a:rPr kumimoji="0" lang="en-GB" sz="1500" b="0" i="0" u="none" strike="noStrike" kern="1200" cap="none" spc="0" normalizeH="0" baseline="0" noProof="0">
                <a:ln>
                  <a:noFill/>
                </a:ln>
                <a:solidFill>
                  <a:srgbClr val="FFFFFF"/>
                </a:solidFill>
                <a:effectLst/>
                <a:uLnTx/>
                <a:uFillTx/>
                <a:latin typeface="Roboto"/>
                <a:ea typeface="+mn-ea"/>
                <a:cs typeface="Arial"/>
              </a:rPr>
              <a:t> </a:t>
            </a:r>
            <a:r>
              <a:rPr kumimoji="0" lang="en-US" sz="1500" b="0" i="1" u="none" strike="noStrike" kern="1200" cap="none" spc="0" normalizeH="0" baseline="0" noProof="0">
                <a:ln>
                  <a:noFill/>
                </a:ln>
                <a:solidFill>
                  <a:srgbClr val="FFFFFF"/>
                </a:solidFill>
                <a:effectLst/>
                <a:uLnTx/>
                <a:uFillTx/>
                <a:latin typeface="Roboto"/>
                <a:ea typeface="+mn-ea"/>
                <a:cs typeface="Arial"/>
              </a:rPr>
              <a:t>the process by which members of a racial or ethnic group have </a:t>
            </a:r>
            <a:r>
              <a:rPr kumimoji="0" lang="en-US" sz="1500" b="1" i="1" u="none" strike="noStrike" kern="1200" cap="none" spc="0" normalizeH="0" baseline="0" noProof="0">
                <a:ln>
                  <a:noFill/>
                </a:ln>
                <a:solidFill>
                  <a:srgbClr val="FFFFFF"/>
                </a:solidFill>
                <a:effectLst/>
                <a:uLnTx/>
                <a:uFillTx/>
                <a:latin typeface="Roboto"/>
                <a:ea typeface="+mn-ea"/>
                <a:cs typeface="Arial"/>
              </a:rPr>
              <a:t>unequal access</a:t>
            </a:r>
            <a:r>
              <a:rPr kumimoji="0" lang="en-US" sz="1500" b="0" i="1" u="none" strike="noStrike" kern="1200" cap="none" spc="0" normalizeH="0" baseline="0" noProof="0">
                <a:ln>
                  <a:noFill/>
                </a:ln>
                <a:solidFill>
                  <a:srgbClr val="FFFFFF"/>
                </a:solidFill>
                <a:effectLst/>
                <a:uLnTx/>
                <a:uFillTx/>
                <a:latin typeface="Roboto"/>
                <a:ea typeface="+mn-ea"/>
                <a:cs typeface="Arial"/>
              </a:rPr>
              <a:t> to services and resources, </a:t>
            </a:r>
            <a:r>
              <a:rPr kumimoji="0" lang="en-US" sz="1500" b="1" i="1" u="none" strike="noStrike" kern="1200" cap="none" spc="0" normalizeH="0" baseline="0" noProof="0">
                <a:ln>
                  <a:noFill/>
                </a:ln>
                <a:solidFill>
                  <a:srgbClr val="FFFFFF"/>
                </a:solidFill>
                <a:effectLst/>
                <a:uLnTx/>
                <a:uFillTx/>
                <a:latin typeface="Roboto"/>
                <a:ea typeface="+mn-ea"/>
                <a:cs typeface="Arial"/>
              </a:rPr>
              <a:t>differential experiences</a:t>
            </a:r>
            <a:r>
              <a:rPr kumimoji="0" lang="en-US" sz="1500" b="0" i="1" u="none" strike="noStrike" kern="1200" cap="none" spc="0" normalizeH="0" baseline="0" noProof="0">
                <a:ln>
                  <a:noFill/>
                </a:ln>
                <a:solidFill>
                  <a:srgbClr val="FFFFFF"/>
                </a:solidFill>
                <a:effectLst/>
                <a:uLnTx/>
                <a:uFillTx/>
                <a:latin typeface="Roboto"/>
                <a:ea typeface="+mn-ea"/>
                <a:cs typeface="Arial"/>
              </a:rPr>
              <a:t> within the healthcare system, and </a:t>
            </a:r>
            <a:r>
              <a:rPr kumimoji="0" lang="en-US" sz="1500" b="1" i="1" u="none" strike="noStrike" kern="1200" cap="none" spc="0" normalizeH="0" baseline="0" noProof="0">
                <a:ln>
                  <a:noFill/>
                </a:ln>
                <a:solidFill>
                  <a:srgbClr val="FFFFFF"/>
                </a:solidFill>
                <a:effectLst/>
                <a:uLnTx/>
                <a:uFillTx/>
                <a:latin typeface="Roboto"/>
                <a:ea typeface="+mn-ea"/>
                <a:cs typeface="Arial"/>
              </a:rPr>
              <a:t>diverging health outcomes </a:t>
            </a:r>
            <a:r>
              <a:rPr kumimoji="0" lang="en-US" sz="1500" b="0" i="1" u="none" strike="noStrike" kern="1200" cap="none" spc="0" normalizeH="0" baseline="0" noProof="0">
                <a:ln>
                  <a:noFill/>
                </a:ln>
                <a:solidFill>
                  <a:srgbClr val="FFFFFF"/>
                </a:solidFill>
                <a:effectLst/>
                <a:uLnTx/>
                <a:uFillTx/>
                <a:latin typeface="Roboto"/>
                <a:ea typeface="+mn-ea"/>
                <a:cs typeface="Arial"/>
              </a:rPr>
              <a:t>when compared with the White majority group. As such, racism harms individuals and undermines the full potential of the whole of society.</a:t>
            </a:r>
            <a:endParaRPr kumimoji="0" lang="en-GB" sz="1800" b="0" i="0" u="none" strike="noStrike" kern="1200" cap="none" spc="0" normalizeH="0" baseline="0" noProof="0">
              <a:ln>
                <a:noFill/>
              </a:ln>
              <a:solidFill>
                <a:srgbClr val="FFFFFF"/>
              </a:solidFill>
              <a:effectLst/>
              <a:uLnTx/>
              <a:uFillTx/>
              <a:latin typeface="Roboto"/>
              <a:ea typeface="+mn-ea"/>
              <a:cs typeface="+mn-cs"/>
            </a:endParaRPr>
          </a:p>
        </p:txBody>
      </p:sp>
    </p:spTree>
    <p:extLst>
      <p:ext uri="{BB962C8B-B14F-4D97-AF65-F5344CB8AC3E}">
        <p14:creationId xmlns:p14="http://schemas.microsoft.com/office/powerpoint/2010/main" val="45754498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F0ECDB"/>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527029F-D6B1-D091-00EC-9B3D03C83686}"/>
              </a:ext>
            </a:extLst>
          </p:cNvPr>
          <p:cNvPicPr>
            <a:picLocks noChangeAspect="1"/>
          </p:cNvPicPr>
          <p:nvPr/>
        </p:nvPicPr>
        <p:blipFill>
          <a:blip r:embed="rId2"/>
          <a:stretch>
            <a:fillRect/>
          </a:stretch>
        </p:blipFill>
        <p:spPr>
          <a:xfrm>
            <a:off x="0" y="300789"/>
            <a:ext cx="11255163" cy="6256421"/>
          </a:xfrm>
          <a:prstGeom prst="rect">
            <a:avLst/>
          </a:prstGeom>
        </p:spPr>
      </p:pic>
      <p:pic>
        <p:nvPicPr>
          <p:cNvPr id="4" name="Picture 3" descr="A qr code with black dots&#10;&#10;AI-generated content may be incorrect.">
            <a:extLst>
              <a:ext uri="{FF2B5EF4-FFF2-40B4-BE49-F238E27FC236}">
                <a16:creationId xmlns:a16="http://schemas.microsoft.com/office/drawing/2014/main" id="{29C427F5-77F3-A17C-F5C5-D38DB50693A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889958" y="4555958"/>
            <a:ext cx="2302042" cy="2302042"/>
          </a:xfrm>
          <a:prstGeom prst="rect">
            <a:avLst/>
          </a:prstGeom>
        </p:spPr>
      </p:pic>
    </p:spTree>
    <p:extLst>
      <p:ext uri="{BB962C8B-B14F-4D97-AF65-F5344CB8AC3E}">
        <p14:creationId xmlns:p14="http://schemas.microsoft.com/office/powerpoint/2010/main" val="141310570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79758DB-D858-1B11-4C90-DDBE33B9EC18}"/>
              </a:ext>
            </a:extLst>
          </p:cNvPr>
          <p:cNvPicPr>
            <a:picLocks noChangeAspect="1"/>
          </p:cNvPicPr>
          <p:nvPr/>
        </p:nvPicPr>
        <p:blipFill>
          <a:blip r:embed="rId2"/>
          <a:srcRect l="5946" t="-315" r="7245" b="4679"/>
          <a:stretch>
            <a:fillRect/>
          </a:stretch>
        </p:blipFill>
        <p:spPr>
          <a:xfrm>
            <a:off x="5175195" y="1207041"/>
            <a:ext cx="5889831" cy="3704127"/>
          </a:xfrm>
          <a:prstGeom prst="rect">
            <a:avLst/>
          </a:prstGeom>
          <a:ln>
            <a:solidFill>
              <a:schemeClr val="tx1"/>
            </a:solidFill>
          </a:ln>
        </p:spPr>
      </p:pic>
      <p:sp>
        <p:nvSpPr>
          <p:cNvPr id="8" name="TextBox 7">
            <a:extLst>
              <a:ext uri="{FF2B5EF4-FFF2-40B4-BE49-F238E27FC236}">
                <a16:creationId xmlns:a16="http://schemas.microsoft.com/office/drawing/2014/main" id="{6ED1C74A-4B78-9387-195E-4278BFF2E834}"/>
              </a:ext>
            </a:extLst>
          </p:cNvPr>
          <p:cNvSpPr txBox="1"/>
          <p:nvPr/>
        </p:nvSpPr>
        <p:spPr>
          <a:xfrm>
            <a:off x="4738158" y="5007945"/>
            <a:ext cx="6914119" cy="923330"/>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455560"/>
                </a:solidFill>
                <a:effectLst/>
                <a:uLnTx/>
                <a:uFillTx/>
                <a:latin typeface="Roboto"/>
                <a:ea typeface="+mn-ea"/>
                <a:cs typeface="+mn-cs"/>
              </a:rPr>
              <a:t>Overall, if all infants in England had the same risk of death as White infants, 12.0% of deaths would be avoided </a:t>
            </a:r>
            <a:r>
              <a:rPr kumimoji="0" lang="en-US" sz="1800" b="1" i="0" u="none" strike="noStrike" kern="1200" cap="none" spc="0" normalizeH="0" baseline="0" noProof="0">
                <a:ln>
                  <a:noFill/>
                </a:ln>
                <a:solidFill>
                  <a:srgbClr val="455560"/>
                </a:solidFill>
                <a:effectLst/>
                <a:uLnTx/>
                <a:uFillTx/>
                <a:latin typeface="Roboto"/>
                <a:ea typeface="+mn-ea"/>
                <a:cs typeface="+mn-cs"/>
              </a:rPr>
              <a:t>(&gt;200 infants per year)</a:t>
            </a:r>
          </a:p>
        </p:txBody>
      </p:sp>
      <p:sp>
        <p:nvSpPr>
          <p:cNvPr id="12" name="TextBox 11">
            <a:extLst>
              <a:ext uri="{FF2B5EF4-FFF2-40B4-BE49-F238E27FC236}">
                <a16:creationId xmlns:a16="http://schemas.microsoft.com/office/drawing/2014/main" id="{88A7269B-85EF-B009-A28B-CE44E3E14743}"/>
              </a:ext>
            </a:extLst>
          </p:cNvPr>
          <p:cNvSpPr txBox="1"/>
          <p:nvPr/>
        </p:nvSpPr>
        <p:spPr>
          <a:xfrm>
            <a:off x="4899063" y="5923344"/>
            <a:ext cx="6741740" cy="268474"/>
          </a:xfrm>
          <a:prstGeom prst="rect">
            <a:avLst/>
          </a:prstGeom>
          <a:solidFill>
            <a:schemeClr val="bg1"/>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455560"/>
                </a:solidFill>
                <a:effectLst/>
                <a:uLnTx/>
                <a:uFillTx/>
                <a:latin typeface="Roboto"/>
                <a:ea typeface="+mn-ea"/>
                <a:cs typeface="+mn-cs"/>
                <a:hlinkClick r:id="rId3"/>
              </a:rPr>
              <a:t>Births and infant mortality by ethnicity in England and Wales - Office for National Statistics (ons.gov.uk)</a:t>
            </a:r>
            <a:endParaRPr kumimoji="0" lang="en-GB" sz="1100" b="0" i="0" u="none" strike="noStrike" kern="1200" cap="none" spc="0" normalizeH="0" baseline="0" noProof="0">
              <a:ln>
                <a:noFill/>
              </a:ln>
              <a:solidFill>
                <a:srgbClr val="455560"/>
              </a:solidFill>
              <a:effectLst/>
              <a:uLnTx/>
              <a:uFillTx/>
              <a:latin typeface="Roboto"/>
              <a:ea typeface="+mn-ea"/>
              <a:cs typeface="+mn-cs"/>
            </a:endParaRPr>
          </a:p>
        </p:txBody>
      </p:sp>
      <p:sp>
        <p:nvSpPr>
          <p:cNvPr id="14" name="TextBox 13">
            <a:extLst>
              <a:ext uri="{FF2B5EF4-FFF2-40B4-BE49-F238E27FC236}">
                <a16:creationId xmlns:a16="http://schemas.microsoft.com/office/drawing/2014/main" id="{039FBECC-4C5F-7E9A-9B37-835A82299402}"/>
              </a:ext>
            </a:extLst>
          </p:cNvPr>
          <p:cNvSpPr txBox="1"/>
          <p:nvPr/>
        </p:nvSpPr>
        <p:spPr>
          <a:xfrm>
            <a:off x="343640" y="217349"/>
            <a:ext cx="11321026" cy="523220"/>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3D3381"/>
                </a:solidFill>
                <a:effectLst/>
                <a:uLnTx/>
                <a:uFillTx/>
                <a:latin typeface="Arial Black"/>
                <a:ea typeface="+mn-ea"/>
                <a:cs typeface="Arial"/>
              </a:rPr>
              <a:t>Maternal &amp; neonatal ethnic health inequalities in the UK</a:t>
            </a:r>
          </a:p>
        </p:txBody>
      </p:sp>
      <p:pic>
        <p:nvPicPr>
          <p:cNvPr id="2" name="Picture 1" descr="A screenshot of a graph&#10;&#10;AI-generated content may be incorrect.">
            <a:extLst>
              <a:ext uri="{FF2B5EF4-FFF2-40B4-BE49-F238E27FC236}">
                <a16:creationId xmlns:a16="http://schemas.microsoft.com/office/drawing/2014/main" id="{BBB53171-10D2-D714-6D20-C4D41676ADEA}"/>
              </a:ext>
            </a:extLst>
          </p:cNvPr>
          <p:cNvPicPr>
            <a:picLocks noChangeAspect="1"/>
          </p:cNvPicPr>
          <p:nvPr/>
        </p:nvPicPr>
        <p:blipFill>
          <a:blip r:embed="rId4"/>
          <a:stretch>
            <a:fillRect/>
          </a:stretch>
        </p:blipFill>
        <p:spPr>
          <a:xfrm>
            <a:off x="778819" y="1373058"/>
            <a:ext cx="3261498" cy="4393344"/>
          </a:xfrm>
          <a:prstGeom prst="rect">
            <a:avLst/>
          </a:prstGeom>
        </p:spPr>
      </p:pic>
    </p:spTree>
    <p:extLst>
      <p:ext uri="{BB962C8B-B14F-4D97-AF65-F5344CB8AC3E}">
        <p14:creationId xmlns:p14="http://schemas.microsoft.com/office/powerpoint/2010/main" val="14787690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60CB8DC4-7F3C-5BAC-E2D1-4F917A0B5223}"/>
              </a:ext>
            </a:extLst>
          </p:cNvPr>
          <p:cNvSpPr txBox="1"/>
          <p:nvPr/>
        </p:nvSpPr>
        <p:spPr>
          <a:xfrm>
            <a:off x="1904879" y="1562471"/>
            <a:ext cx="9511484" cy="461664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455560"/>
                </a:solidFill>
                <a:effectLst/>
                <a:uLnTx/>
                <a:uFillTx/>
                <a:latin typeface="Roboto"/>
                <a:ea typeface="+mn-ea"/>
                <a:cs typeface="+mn-cs"/>
              </a:rPr>
              <a:t>No large scale maternal and neonatal improvement </a:t>
            </a:r>
            <a:r>
              <a:rPr kumimoji="0" lang="en-US" sz="2000" b="0" i="0" u="none" strike="noStrike" kern="1200" cap="none" spc="0" normalizeH="0" baseline="0" noProof="0" err="1">
                <a:ln>
                  <a:noFill/>
                </a:ln>
                <a:solidFill>
                  <a:srgbClr val="455560"/>
                </a:solidFill>
                <a:effectLst/>
                <a:uLnTx/>
                <a:uFillTx/>
                <a:latin typeface="Roboto"/>
                <a:ea typeface="+mn-ea"/>
                <a:cs typeface="+mn-cs"/>
              </a:rPr>
              <a:t>programme</a:t>
            </a:r>
            <a:r>
              <a:rPr kumimoji="0" lang="en-US" sz="2000" b="0" i="0" u="none" strike="noStrike" kern="1200" cap="none" spc="0" normalizeH="0" baseline="0" noProof="0">
                <a:ln>
                  <a:noFill/>
                </a:ln>
                <a:solidFill>
                  <a:srgbClr val="455560"/>
                </a:solidFill>
                <a:effectLst/>
                <a:uLnTx/>
                <a:uFillTx/>
                <a:latin typeface="Roboto"/>
                <a:ea typeface="+mn-ea"/>
                <a:cs typeface="+mn-cs"/>
              </a:rPr>
              <a:t> has focused specifically on racial/ ethnic inequalities and there are evidence gaps around translatable interventions to reduce maternal and neonatal ethnic health inequalities</a:t>
            </a:r>
            <a:endParaRPr kumimoji="0" lang="en-US" sz="2000" b="1" i="0" u="none" strike="noStrike" kern="1200" cap="none" spc="0" normalizeH="0" baseline="0" noProof="0">
              <a:ln>
                <a:noFill/>
              </a:ln>
              <a:solidFill>
                <a:srgbClr val="455560"/>
              </a:solidFill>
              <a:effectLst/>
              <a:uLnTx/>
              <a:uFillTx/>
              <a:latin typeface="Robot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a:ln>
                <a:noFill/>
              </a:ln>
              <a:solidFill>
                <a:srgbClr val="455560"/>
              </a:solidFill>
              <a:effectLst/>
              <a:uLnTx/>
              <a:uFillTx/>
              <a:latin typeface="Robot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455560"/>
                </a:solidFill>
                <a:effectLst/>
                <a:uLnTx/>
                <a:uFillTx/>
                <a:latin typeface="Roboto"/>
                <a:ea typeface="+mn-ea"/>
                <a:cs typeface="+mn-cs"/>
              </a:rPr>
              <a:t>Racism is one of the factors that underlies the persistence of the maternal &amp; neonatal ethnic health inequalities</a:t>
            </a:r>
            <a:endParaRPr kumimoji="0" lang="en-US" sz="2000" b="0" i="0" u="none" strike="noStrike" kern="1200" cap="none" spc="0" normalizeH="0" baseline="0" noProof="0">
              <a:ln>
                <a:noFill/>
              </a:ln>
              <a:solidFill>
                <a:srgbClr val="455560"/>
              </a:solidFill>
              <a:effectLst/>
              <a:uLnTx/>
              <a:uFillTx/>
              <a:latin typeface="Robot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a:ln>
                <a:noFill/>
              </a:ln>
              <a:solidFill>
                <a:srgbClr val="455560"/>
              </a:solidFill>
              <a:effectLst/>
              <a:uLnTx/>
              <a:uFillTx/>
              <a:latin typeface="Robot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455560"/>
                </a:solidFill>
                <a:effectLst/>
                <a:uLnTx/>
                <a:uFillTx/>
                <a:latin typeface="Roboto"/>
                <a:ea typeface="+mn-ea"/>
                <a:cs typeface="+mn-cs"/>
              </a:rPr>
              <a:t>We aim</a:t>
            </a:r>
            <a:r>
              <a:rPr kumimoji="0" lang="en-US" sz="2000" b="0" i="0" u="none" strike="noStrike" kern="1200" cap="none" spc="0" normalizeH="0" baseline="0" noProof="0">
                <a:ln>
                  <a:noFill/>
                </a:ln>
                <a:solidFill>
                  <a:srgbClr val="455560"/>
                </a:solidFill>
                <a:effectLst/>
                <a:uLnTx/>
                <a:uFillTx/>
                <a:latin typeface="Roboto"/>
                <a:ea typeface="+mn-ea"/>
                <a:cs typeface="+mn-cs"/>
              </a:rPr>
              <a:t>, through this </a:t>
            </a:r>
            <a:r>
              <a:rPr kumimoji="0" lang="en-US" sz="2000" b="0" i="0" u="none" strike="noStrike" kern="1200" cap="none" spc="0" normalizeH="0" baseline="0" noProof="0" err="1">
                <a:ln>
                  <a:noFill/>
                </a:ln>
                <a:solidFill>
                  <a:srgbClr val="455560"/>
                </a:solidFill>
                <a:effectLst/>
                <a:uLnTx/>
                <a:uFillTx/>
                <a:latin typeface="Roboto"/>
                <a:ea typeface="+mn-ea"/>
                <a:cs typeface="+mn-cs"/>
              </a:rPr>
              <a:t>programme</a:t>
            </a:r>
            <a:r>
              <a:rPr kumimoji="0" lang="en-US" sz="2000" b="0" i="0" u="none" strike="noStrike" kern="1200" cap="none" spc="0" normalizeH="0" baseline="0" noProof="0">
                <a:ln>
                  <a:noFill/>
                </a:ln>
                <a:solidFill>
                  <a:srgbClr val="455560"/>
                </a:solidFill>
                <a:effectLst/>
                <a:uLnTx/>
                <a:uFillTx/>
                <a:latin typeface="Roboto"/>
                <a:ea typeface="+mn-ea"/>
                <a:cs typeface="+mn-cs"/>
              </a:rPr>
              <a:t>, to: </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2000" b="1" i="0" u="none" strike="noStrike" kern="1200" cap="none" spc="0" normalizeH="0" baseline="0" noProof="0">
                <a:ln>
                  <a:noFill/>
                </a:ln>
                <a:solidFill>
                  <a:srgbClr val="455560"/>
                </a:solidFill>
                <a:effectLst/>
                <a:uLnTx/>
                <a:uFillTx/>
                <a:latin typeface="Roboto"/>
                <a:ea typeface="+mn-ea"/>
                <a:cs typeface="+mn-cs"/>
              </a:rPr>
              <a:t>develop an anti-racism focused QI approach</a:t>
            </a:r>
            <a:r>
              <a:rPr kumimoji="0" lang="en-US" sz="2000" b="0" i="0" u="none" strike="noStrike" kern="1200" cap="none" spc="0" normalizeH="0" baseline="0" noProof="0">
                <a:ln>
                  <a:noFill/>
                </a:ln>
                <a:solidFill>
                  <a:srgbClr val="455560"/>
                </a:solidFill>
                <a:effectLst/>
                <a:uLnTx/>
                <a:uFillTx/>
                <a:latin typeface="Roboto"/>
                <a:ea typeface="+mn-ea"/>
                <a:cs typeface="+mn-cs"/>
              </a:rPr>
              <a:t>, that supports practitioners to identify and address racism within maternity services;</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2000" b="1" i="0" u="none" strike="noStrike" kern="1200" cap="none" spc="0" normalizeH="0" baseline="0" noProof="0">
                <a:ln>
                  <a:noFill/>
                </a:ln>
                <a:solidFill>
                  <a:srgbClr val="455560"/>
                </a:solidFill>
                <a:effectLst/>
                <a:uLnTx/>
                <a:uFillTx/>
                <a:latin typeface="Roboto"/>
                <a:ea typeface="+mn-ea"/>
                <a:cs typeface="+mn-cs"/>
              </a:rPr>
              <a:t>Identify, scale and spread improvement approaches that embed anti-racism into services and improve maternal and neonatal health outcomes</a:t>
            </a:r>
            <a:endParaRPr kumimoji="0" lang="en-US" sz="2000" b="0" i="0" u="none" strike="noStrike" kern="1200" cap="none" spc="0" normalizeH="0" baseline="0" noProof="0">
              <a:ln>
                <a:noFill/>
              </a:ln>
              <a:solidFill>
                <a:srgbClr val="455560"/>
              </a:solidFill>
              <a:effectLst/>
              <a:uLnTx/>
              <a:uFillTx/>
              <a:latin typeface="Robot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455560"/>
              </a:solidFill>
              <a:effectLst/>
              <a:uLnTx/>
              <a:uFillTx/>
              <a:latin typeface="Robot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455560"/>
              </a:solidFill>
              <a:effectLst/>
              <a:uLnTx/>
              <a:uFillTx/>
              <a:latin typeface="Roboto"/>
              <a:ea typeface="+mn-ea"/>
              <a:cs typeface="+mn-cs"/>
            </a:endParaRPr>
          </a:p>
        </p:txBody>
      </p:sp>
      <p:sp>
        <p:nvSpPr>
          <p:cNvPr id="5" name="Arrow: Right 4">
            <a:extLst>
              <a:ext uri="{FF2B5EF4-FFF2-40B4-BE49-F238E27FC236}">
                <a16:creationId xmlns:a16="http://schemas.microsoft.com/office/drawing/2014/main" id="{5FCC4E9F-2F8D-C22E-2384-820B266309A5}"/>
              </a:ext>
            </a:extLst>
          </p:cNvPr>
          <p:cNvSpPr/>
          <p:nvPr/>
        </p:nvSpPr>
        <p:spPr>
          <a:xfrm>
            <a:off x="677983" y="3114998"/>
            <a:ext cx="975360" cy="635541"/>
          </a:xfrm>
          <a:prstGeom prst="rightArrow">
            <a:avLst/>
          </a:prstGeom>
          <a:solidFill>
            <a:srgbClr val="005C78"/>
          </a:solidFill>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Roboto"/>
                <a:ea typeface="+mn-ea"/>
                <a:cs typeface="+mn-cs"/>
              </a:rPr>
              <a:t>WHAT?</a:t>
            </a:r>
            <a:endParaRPr kumimoji="0" lang="en-GB" sz="1400" b="1" i="0" u="none" strike="noStrike" kern="1200" cap="none" spc="0" normalizeH="0" baseline="0" noProof="0">
              <a:ln>
                <a:noFill/>
              </a:ln>
              <a:solidFill>
                <a:srgbClr val="FFFFFF"/>
              </a:solidFill>
              <a:effectLst/>
              <a:uLnTx/>
              <a:uFillTx/>
              <a:latin typeface="Roboto"/>
              <a:ea typeface="+mn-ea"/>
              <a:cs typeface="+mn-cs"/>
            </a:endParaRPr>
          </a:p>
        </p:txBody>
      </p:sp>
      <p:sp>
        <p:nvSpPr>
          <p:cNvPr id="7" name="Arrow: Right 6">
            <a:extLst>
              <a:ext uri="{FF2B5EF4-FFF2-40B4-BE49-F238E27FC236}">
                <a16:creationId xmlns:a16="http://schemas.microsoft.com/office/drawing/2014/main" id="{2C12E360-3530-0960-C341-EF8E467FC33E}"/>
              </a:ext>
            </a:extLst>
          </p:cNvPr>
          <p:cNvSpPr/>
          <p:nvPr/>
        </p:nvSpPr>
        <p:spPr>
          <a:xfrm>
            <a:off x="677983" y="1562471"/>
            <a:ext cx="975360" cy="635541"/>
          </a:xfrm>
          <a:prstGeom prst="rightArrow">
            <a:avLst/>
          </a:prstGeom>
          <a:solidFill>
            <a:srgbClr val="E34F40"/>
          </a:solidFill>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Roboto"/>
                <a:ea typeface="+mn-ea"/>
                <a:cs typeface="+mn-cs"/>
              </a:rPr>
              <a:t>WHY?</a:t>
            </a:r>
            <a:endParaRPr kumimoji="0" lang="en-GB" sz="1400" b="1" i="0" u="none" strike="noStrike" kern="1200" cap="none" spc="0" normalizeH="0" baseline="0" noProof="0">
              <a:ln>
                <a:noFill/>
              </a:ln>
              <a:solidFill>
                <a:srgbClr val="FFFFFF"/>
              </a:solidFill>
              <a:effectLst/>
              <a:uLnTx/>
              <a:uFillTx/>
              <a:latin typeface="Roboto"/>
              <a:ea typeface="+mn-ea"/>
              <a:cs typeface="+mn-cs"/>
            </a:endParaRPr>
          </a:p>
        </p:txBody>
      </p:sp>
      <p:sp>
        <p:nvSpPr>
          <p:cNvPr id="8" name="Arrow: Right 7">
            <a:extLst>
              <a:ext uri="{FF2B5EF4-FFF2-40B4-BE49-F238E27FC236}">
                <a16:creationId xmlns:a16="http://schemas.microsoft.com/office/drawing/2014/main" id="{185FAFB0-F5CA-92E7-12E3-F710DC3A3CA1}"/>
              </a:ext>
            </a:extLst>
          </p:cNvPr>
          <p:cNvSpPr/>
          <p:nvPr/>
        </p:nvSpPr>
        <p:spPr>
          <a:xfrm>
            <a:off x="677983" y="3981532"/>
            <a:ext cx="975360" cy="635541"/>
          </a:xfrm>
          <a:prstGeom prst="rightArrow">
            <a:avLst/>
          </a:prstGeom>
          <a:solidFill>
            <a:srgbClr val="D9AD29"/>
          </a:solidFill>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Roboto"/>
                <a:ea typeface="+mn-ea"/>
                <a:cs typeface="+mn-cs"/>
              </a:rPr>
              <a:t>HOW?</a:t>
            </a:r>
            <a:endParaRPr kumimoji="0" lang="en-GB" sz="1400" b="1" i="0" u="none" strike="noStrike" kern="1200" cap="none" spc="0" normalizeH="0" baseline="0" noProof="0">
              <a:ln>
                <a:noFill/>
              </a:ln>
              <a:solidFill>
                <a:srgbClr val="FFFFFF"/>
              </a:solidFill>
              <a:effectLst/>
              <a:uLnTx/>
              <a:uFillTx/>
              <a:latin typeface="Roboto"/>
              <a:ea typeface="+mn-ea"/>
              <a:cs typeface="+mn-cs"/>
            </a:endParaRPr>
          </a:p>
        </p:txBody>
      </p:sp>
      <p:sp>
        <p:nvSpPr>
          <p:cNvPr id="2" name="TextBox 1">
            <a:extLst>
              <a:ext uri="{FF2B5EF4-FFF2-40B4-BE49-F238E27FC236}">
                <a16:creationId xmlns:a16="http://schemas.microsoft.com/office/drawing/2014/main" id="{6CF2AA9A-369D-F82D-29F9-6FF44DAD3655}"/>
              </a:ext>
            </a:extLst>
          </p:cNvPr>
          <p:cNvSpPr txBox="1"/>
          <p:nvPr/>
        </p:nvSpPr>
        <p:spPr>
          <a:xfrm>
            <a:off x="427576" y="401556"/>
            <a:ext cx="10996638" cy="523220"/>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3D3381"/>
                </a:solidFill>
                <a:effectLst/>
                <a:uLnTx/>
                <a:uFillTx/>
                <a:latin typeface="Arial Black"/>
                <a:ea typeface="+mn-ea"/>
                <a:cs typeface="Arial"/>
              </a:rPr>
              <a:t>RHO Learning and Action Network: purpose</a:t>
            </a:r>
          </a:p>
        </p:txBody>
      </p:sp>
      <p:sp>
        <p:nvSpPr>
          <p:cNvPr id="4" name="Rectangle 3">
            <a:extLst>
              <a:ext uri="{FF2B5EF4-FFF2-40B4-BE49-F238E27FC236}">
                <a16:creationId xmlns:a16="http://schemas.microsoft.com/office/drawing/2014/main" id="{AAC91F76-FF38-8329-6C71-5D18BF1ADD63}"/>
              </a:ext>
            </a:extLst>
          </p:cNvPr>
          <p:cNvSpPr/>
          <p:nvPr/>
        </p:nvSpPr>
        <p:spPr>
          <a:xfrm>
            <a:off x="497150" y="1269507"/>
            <a:ext cx="1544714" cy="257452"/>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Roboto"/>
              <a:ea typeface="+mn-ea"/>
              <a:cs typeface="+mn-cs"/>
            </a:endParaRPr>
          </a:p>
        </p:txBody>
      </p:sp>
    </p:spTree>
    <p:extLst>
      <p:ext uri="{BB962C8B-B14F-4D97-AF65-F5344CB8AC3E}">
        <p14:creationId xmlns:p14="http://schemas.microsoft.com/office/powerpoint/2010/main" val="68054875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a:extLst>
              <a:ext uri="{FF2B5EF4-FFF2-40B4-BE49-F238E27FC236}">
                <a16:creationId xmlns:a16="http://schemas.microsoft.com/office/drawing/2014/main" id="{2D6D1D29-D1EB-FD68-9773-A5A2C0676F79}"/>
              </a:ext>
            </a:extLst>
          </p:cNvPr>
          <p:cNvSpPr txBox="1">
            <a:spLocks/>
          </p:cNvSpPr>
          <p:nvPr/>
        </p:nvSpPr>
        <p:spPr>
          <a:xfrm>
            <a:off x="3649018" y="1483928"/>
            <a:ext cx="7514288" cy="3663755"/>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marR="0" lvl="1"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r>
              <a:rPr kumimoji="0" lang="en-US" sz="1800" b="1" i="0" u="none" strike="noStrike" kern="1200" cap="none" spc="0" normalizeH="0" baseline="0" noProof="0">
                <a:ln>
                  <a:noFill/>
                </a:ln>
                <a:solidFill>
                  <a:srgbClr val="455560"/>
                </a:solidFill>
                <a:effectLst/>
                <a:uLnTx/>
                <a:uFillTx/>
                <a:latin typeface="Arial"/>
                <a:ea typeface="Calibri"/>
                <a:cs typeface="Arial"/>
              </a:rPr>
              <a:t>10 NHS </a:t>
            </a:r>
            <a:r>
              <a:rPr kumimoji="0" lang="en-US" sz="1800" b="1" i="0" u="none" strike="noStrike" kern="1200" cap="none" spc="0" normalizeH="0" baseline="0" noProof="0" err="1">
                <a:ln>
                  <a:noFill/>
                </a:ln>
                <a:solidFill>
                  <a:srgbClr val="455560"/>
                </a:solidFill>
                <a:effectLst/>
                <a:uLnTx/>
                <a:uFillTx/>
                <a:latin typeface="Arial"/>
                <a:ea typeface="Calibri"/>
                <a:cs typeface="Arial"/>
              </a:rPr>
              <a:t>organisations</a:t>
            </a:r>
            <a:r>
              <a:rPr kumimoji="0" lang="en-US" sz="1800" b="1" i="0" u="none" strike="noStrike" kern="1200" cap="none" spc="0" normalizeH="0" baseline="0" noProof="0">
                <a:ln>
                  <a:noFill/>
                </a:ln>
                <a:solidFill>
                  <a:srgbClr val="455560"/>
                </a:solidFill>
                <a:effectLst/>
                <a:uLnTx/>
                <a:uFillTx/>
                <a:latin typeface="Arial"/>
                <a:ea typeface="Calibri"/>
                <a:cs typeface="Arial"/>
              </a:rPr>
              <a:t> across 4 regions in England</a:t>
            </a:r>
            <a:endParaRPr kumimoji="0" lang="en-US" sz="2400" b="0" i="0" u="none" strike="noStrike" kern="1200" cap="none" spc="0" normalizeH="0" baseline="0" noProof="0">
              <a:ln>
                <a:noFill/>
              </a:ln>
              <a:solidFill>
                <a:srgbClr val="455560"/>
              </a:solidFill>
              <a:effectLst/>
              <a:uLnTx/>
              <a:uFillTx/>
              <a:latin typeface="Arial"/>
              <a:ea typeface="+mn-ea"/>
              <a:cs typeface="Arial"/>
            </a:endParaRPr>
          </a:p>
          <a:p>
            <a:pPr marL="457200" marR="0" lvl="1"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endParaRPr kumimoji="0" lang="en-US" sz="1800" b="1" i="0" u="none" strike="noStrike" kern="1200" cap="none" spc="0" normalizeH="0" baseline="0" noProof="0">
              <a:ln>
                <a:noFill/>
              </a:ln>
              <a:solidFill>
                <a:srgbClr val="455560"/>
              </a:solidFill>
              <a:effectLst/>
              <a:uLnTx/>
              <a:uFillTx/>
              <a:latin typeface="Arial"/>
              <a:ea typeface="+mn-ea"/>
              <a:cs typeface="Arial"/>
            </a:endParaRPr>
          </a:p>
          <a:p>
            <a:pPr marL="457200" marR="0" lvl="1"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r>
              <a:rPr kumimoji="0" lang="en-US" sz="1800" b="1" i="0" u="none" strike="noStrike" kern="1200" cap="none" spc="0" normalizeH="0" baseline="0" noProof="0">
                <a:ln>
                  <a:noFill/>
                </a:ln>
                <a:solidFill>
                  <a:srgbClr val="455560"/>
                </a:solidFill>
                <a:effectLst/>
                <a:uLnTx/>
                <a:uFillTx/>
                <a:latin typeface="Arial"/>
                <a:ea typeface="Calibri"/>
                <a:cs typeface="Arial"/>
              </a:rPr>
              <a:t>4 conditions:</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455560"/>
                </a:solidFill>
                <a:effectLst/>
                <a:uLnTx/>
                <a:uFillTx/>
                <a:latin typeface="Arial"/>
                <a:ea typeface="Calibri"/>
                <a:cs typeface="Arial"/>
              </a:rPr>
              <a:t>Post-partum </a:t>
            </a:r>
            <a:r>
              <a:rPr kumimoji="0" lang="en-US" sz="1800" b="0" i="0" u="none" strike="noStrike" kern="1200" cap="none" spc="0" normalizeH="0" baseline="0" noProof="0" err="1">
                <a:ln>
                  <a:noFill/>
                </a:ln>
                <a:solidFill>
                  <a:srgbClr val="455560"/>
                </a:solidFill>
                <a:effectLst/>
                <a:uLnTx/>
                <a:uFillTx/>
                <a:latin typeface="Arial"/>
                <a:ea typeface="Calibri"/>
                <a:cs typeface="Arial"/>
              </a:rPr>
              <a:t>Haemorrhage</a:t>
            </a:r>
            <a:endParaRPr kumimoji="0" lang="en-US" sz="1800" b="0" i="0" u="none" strike="noStrike" kern="1200" cap="none" spc="0" normalizeH="0" baseline="0" noProof="0">
              <a:ln>
                <a:noFill/>
              </a:ln>
              <a:solidFill>
                <a:srgbClr val="455560"/>
              </a:solidFill>
              <a:effectLst/>
              <a:uLnTx/>
              <a:uFillTx/>
              <a:latin typeface="Arial"/>
              <a:ea typeface="Calibri"/>
              <a:cs typeface="Arial"/>
            </a:endParaRP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455560"/>
                </a:solidFill>
                <a:effectLst/>
                <a:uLnTx/>
                <a:uFillTx/>
                <a:latin typeface="Arial"/>
                <a:ea typeface="Calibri"/>
                <a:cs typeface="Arial"/>
              </a:rPr>
              <a:t>Gestational Diabetes</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455560"/>
                </a:solidFill>
                <a:effectLst/>
                <a:uLnTx/>
                <a:uFillTx/>
                <a:latin typeface="Arial"/>
                <a:ea typeface="Calibri"/>
                <a:cs typeface="Arial"/>
              </a:rPr>
              <a:t>Perinatal Mental Health</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455560"/>
                </a:solidFill>
                <a:effectLst/>
                <a:uLnTx/>
                <a:uFillTx/>
                <a:latin typeface="Arial"/>
                <a:ea typeface="Calibri"/>
                <a:cs typeface="Arial"/>
              </a:rPr>
              <a:t>Preterm Birth</a:t>
            </a:r>
          </a:p>
          <a:p>
            <a:pPr marL="914400" marR="0" lvl="2"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endParaRPr kumimoji="0" lang="en-US" sz="1800" b="0" i="0" u="none" strike="noStrike" kern="1200" cap="none" spc="0" normalizeH="0" baseline="0" noProof="0">
              <a:ln>
                <a:noFill/>
              </a:ln>
              <a:solidFill>
                <a:srgbClr val="455560"/>
              </a:solidFill>
              <a:effectLst/>
              <a:uLnTx/>
              <a:uFillTx/>
              <a:latin typeface="Arial"/>
              <a:ea typeface="+mn-ea"/>
              <a:cs typeface="Arial"/>
            </a:endParaRPr>
          </a:p>
          <a:p>
            <a:pPr marL="457200" marR="0" lvl="1"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r>
              <a:rPr kumimoji="0" lang="en-US" sz="1800" b="1" i="0" u="none" strike="noStrike" kern="1200" cap="none" spc="0" normalizeH="0" baseline="0" noProof="0">
                <a:ln>
                  <a:noFill/>
                </a:ln>
                <a:solidFill>
                  <a:srgbClr val="455560"/>
                </a:solidFill>
                <a:effectLst/>
                <a:uLnTx/>
                <a:uFillTx/>
                <a:latin typeface="Arial"/>
                <a:ea typeface="Calibri"/>
                <a:cs typeface="Arial"/>
              </a:rPr>
              <a:t>14 months </a:t>
            </a:r>
            <a:r>
              <a:rPr kumimoji="0" lang="en-US" sz="1800" b="0" i="0" u="none" strike="noStrike" kern="1200" cap="none" spc="0" normalizeH="0" baseline="0" noProof="0">
                <a:ln>
                  <a:noFill/>
                </a:ln>
                <a:solidFill>
                  <a:srgbClr val="455560"/>
                </a:solidFill>
                <a:effectLst/>
                <a:uLnTx/>
                <a:uFillTx/>
                <a:latin typeface="Arial"/>
                <a:ea typeface="Calibri"/>
                <a:cs typeface="Arial"/>
              </a:rPr>
              <a:t>Jan 2024 – Dec 2025</a:t>
            </a:r>
            <a:endParaRPr kumimoji="0" lang="en-US" sz="1800" b="1" i="0" u="none" strike="noStrike" kern="1200" cap="none" spc="0" normalizeH="0" baseline="0" noProof="0">
              <a:ln>
                <a:noFill/>
              </a:ln>
              <a:solidFill>
                <a:srgbClr val="455560"/>
              </a:solidFill>
              <a:effectLst/>
              <a:uLnTx/>
              <a:uFillTx/>
              <a:latin typeface="Arial"/>
              <a:ea typeface="Calibri"/>
              <a:cs typeface="Arial"/>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800" b="1" i="0" u="none" strike="noStrike" kern="1200" cap="none" spc="0" normalizeH="0" baseline="0" noProof="0">
                <a:ln>
                  <a:noFill/>
                </a:ln>
                <a:solidFill>
                  <a:srgbClr val="455560"/>
                </a:solidFill>
                <a:effectLst/>
                <a:uLnTx/>
                <a:uFillTx/>
                <a:latin typeface="Arial"/>
                <a:ea typeface="Calibri"/>
                <a:cs typeface="Arial"/>
              </a:rPr>
              <a:t>        1 aim: </a:t>
            </a:r>
            <a:r>
              <a:rPr kumimoji="0" lang="en-US" sz="1800" b="0" i="0" u="none" strike="noStrike" kern="1200" cap="none" spc="0" normalizeH="0" baseline="0" noProof="0">
                <a:ln>
                  <a:noFill/>
                </a:ln>
                <a:solidFill>
                  <a:srgbClr val="455560"/>
                </a:solidFill>
                <a:effectLst/>
                <a:uLnTx/>
                <a:uFillTx/>
                <a:latin typeface="Arial"/>
                <a:ea typeface="+mn-ea"/>
                <a:cs typeface="Arial"/>
              </a:rPr>
              <a:t>To reduce clinically avoidable severe maternal morbidity, 	perinatal mortality and neonatal morbidity while improving the 	experience of care for pregnant women and people from Black, 	Asian and minority ethnic groups. </a:t>
            </a:r>
            <a:endParaRPr kumimoji="0" lang="en-US" sz="1600" b="1" i="0" u="none" strike="noStrike" kern="1200" cap="none" spc="0" normalizeH="0" baseline="0" noProof="0">
              <a:ln>
                <a:noFill/>
              </a:ln>
              <a:solidFill>
                <a:srgbClr val="455560"/>
              </a:solidFill>
              <a:effectLst/>
              <a:uLnTx/>
              <a:uFillTx/>
              <a:latin typeface="Arial"/>
              <a:ea typeface="+mn-ea"/>
              <a:cs typeface="Arial"/>
            </a:endParaRPr>
          </a:p>
          <a:p>
            <a:pPr marL="457200" marR="0" lvl="1"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endParaRPr kumimoji="0" lang="en-US" sz="1400" b="0" i="0" u="none" strike="noStrike" kern="1200" cap="none" spc="0" normalizeH="0" baseline="0" noProof="0">
              <a:ln>
                <a:noFill/>
              </a:ln>
              <a:solidFill>
                <a:srgbClr val="455560"/>
              </a:solidFill>
              <a:effectLst/>
              <a:uLnTx/>
              <a:uFillTx/>
              <a:latin typeface="Arial"/>
              <a:ea typeface="+mn-ea"/>
              <a:cs typeface="Arial"/>
            </a:endParaRPr>
          </a:p>
        </p:txBody>
      </p:sp>
      <p:pic>
        <p:nvPicPr>
          <p:cNvPr id="2" name="Picture 1">
            <a:extLst>
              <a:ext uri="{FF2B5EF4-FFF2-40B4-BE49-F238E27FC236}">
                <a16:creationId xmlns:a16="http://schemas.microsoft.com/office/drawing/2014/main" id="{F720C68E-CFF4-EC59-2B43-962B8B1058DF}"/>
              </a:ext>
            </a:extLst>
          </p:cNvPr>
          <p:cNvPicPr>
            <a:picLocks noChangeAspect="1"/>
          </p:cNvPicPr>
          <p:nvPr/>
        </p:nvPicPr>
        <p:blipFill>
          <a:blip r:embed="rId2"/>
          <a:stretch>
            <a:fillRect/>
          </a:stretch>
        </p:blipFill>
        <p:spPr>
          <a:xfrm>
            <a:off x="0" y="1104188"/>
            <a:ext cx="3862610" cy="4263888"/>
          </a:xfrm>
          <a:prstGeom prst="rect">
            <a:avLst/>
          </a:prstGeom>
        </p:spPr>
      </p:pic>
      <p:pic>
        <p:nvPicPr>
          <p:cNvPr id="14" name="Picture 13">
            <a:extLst>
              <a:ext uri="{FF2B5EF4-FFF2-40B4-BE49-F238E27FC236}">
                <a16:creationId xmlns:a16="http://schemas.microsoft.com/office/drawing/2014/main" id="{85B46D94-4D3C-042D-D786-3049C3392D17}"/>
              </a:ext>
            </a:extLst>
          </p:cNvPr>
          <p:cNvPicPr>
            <a:picLocks noChangeAspect="1"/>
          </p:cNvPicPr>
          <p:nvPr/>
        </p:nvPicPr>
        <p:blipFill>
          <a:blip r:embed="rId3"/>
          <a:stretch>
            <a:fillRect/>
          </a:stretch>
        </p:blipFill>
        <p:spPr>
          <a:xfrm>
            <a:off x="27901" y="5706836"/>
            <a:ext cx="6276975" cy="800100"/>
          </a:xfrm>
          <a:prstGeom prst="rect">
            <a:avLst/>
          </a:prstGeom>
        </p:spPr>
      </p:pic>
      <p:sp>
        <p:nvSpPr>
          <p:cNvPr id="5" name="TextBox 4">
            <a:extLst>
              <a:ext uri="{FF2B5EF4-FFF2-40B4-BE49-F238E27FC236}">
                <a16:creationId xmlns:a16="http://schemas.microsoft.com/office/drawing/2014/main" id="{4DDA33B0-8481-CA1F-C0B1-D87729775556}"/>
              </a:ext>
            </a:extLst>
          </p:cNvPr>
          <p:cNvSpPr txBox="1"/>
          <p:nvPr/>
        </p:nvSpPr>
        <p:spPr>
          <a:xfrm>
            <a:off x="427576" y="401556"/>
            <a:ext cx="10996638" cy="523220"/>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3D3381"/>
                </a:solidFill>
                <a:effectLst/>
                <a:uLnTx/>
                <a:uFillTx/>
                <a:latin typeface="Arial Black"/>
                <a:ea typeface="+mn-ea"/>
                <a:cs typeface="Arial"/>
              </a:rPr>
              <a:t>RHO Learning and Action Network: overview</a:t>
            </a:r>
          </a:p>
        </p:txBody>
      </p:sp>
    </p:spTree>
    <p:extLst>
      <p:ext uri="{BB962C8B-B14F-4D97-AF65-F5344CB8AC3E}">
        <p14:creationId xmlns:p14="http://schemas.microsoft.com/office/powerpoint/2010/main" val="425327459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1CF171-8856-6CF4-A0FE-506F4E29FA9D}"/>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34A7F4F4-37D3-DF3B-49F3-DD014C4FA843}"/>
              </a:ext>
            </a:extLst>
          </p:cNvPr>
          <p:cNvSpPr txBox="1"/>
          <p:nvPr/>
        </p:nvSpPr>
        <p:spPr>
          <a:xfrm>
            <a:off x="289807" y="390045"/>
            <a:ext cx="11611377" cy="867930"/>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0" normalizeH="0" baseline="0" noProof="0">
                <a:ln>
                  <a:noFill/>
                </a:ln>
                <a:solidFill>
                  <a:srgbClr val="3D3381"/>
                </a:solidFill>
                <a:effectLst/>
                <a:uLnTx/>
                <a:uFillTx/>
                <a:latin typeface="Arial Black"/>
                <a:ea typeface="+mn-ea"/>
                <a:cs typeface="Arial"/>
              </a:rPr>
              <a:t>Imperial College Healthcare NHS Trust : Risk Assessment Awareness Don’t Miss the Signs</a:t>
            </a:r>
          </a:p>
        </p:txBody>
      </p:sp>
      <p:sp>
        <p:nvSpPr>
          <p:cNvPr id="2" name="Rectangle 1">
            <a:extLst>
              <a:ext uri="{FF2B5EF4-FFF2-40B4-BE49-F238E27FC236}">
                <a16:creationId xmlns:a16="http://schemas.microsoft.com/office/drawing/2014/main" id="{4C9D25AB-B387-B45C-E7FB-58825791B3F9}"/>
              </a:ext>
            </a:extLst>
          </p:cNvPr>
          <p:cNvSpPr/>
          <p:nvPr/>
        </p:nvSpPr>
        <p:spPr>
          <a:xfrm>
            <a:off x="497150" y="1269507"/>
            <a:ext cx="1544714" cy="257452"/>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Roboto"/>
              <a:ea typeface="+mn-ea"/>
              <a:cs typeface="+mn-cs"/>
            </a:endParaRPr>
          </a:p>
        </p:txBody>
      </p:sp>
      <p:sp>
        <p:nvSpPr>
          <p:cNvPr id="4" name="Content Placeholder 14">
            <a:extLst>
              <a:ext uri="{FF2B5EF4-FFF2-40B4-BE49-F238E27FC236}">
                <a16:creationId xmlns:a16="http://schemas.microsoft.com/office/drawing/2014/main" id="{D7CC42A6-2623-E78E-A735-B703BD00AAB3}"/>
              </a:ext>
            </a:extLst>
          </p:cNvPr>
          <p:cNvSpPr txBox="1">
            <a:spLocks/>
          </p:cNvSpPr>
          <p:nvPr/>
        </p:nvSpPr>
        <p:spPr>
          <a:xfrm>
            <a:off x="4906978" y="3921917"/>
            <a:ext cx="4836210" cy="2014534"/>
          </a:xfrm>
        </p:spPr>
        <p:txBody>
          <a:bodyPr vert="horz" lIns="91440" tIns="45720" rIns="91440" bIns="45720" rtlCol="0" anchor="ctr">
            <a:noAutofit/>
          </a:bodyPr>
          <a:lstStyle>
            <a:lvl1pPr marL="228600" indent="-228600" algn="l" defTabSz="914400" rtl="0" eaLnBrk="1" latinLnBrk="0" hangingPunct="1">
              <a:lnSpc>
                <a:spcPct val="150000"/>
              </a:lnSpc>
              <a:spcBef>
                <a:spcPts val="1000"/>
              </a:spcBef>
              <a:buFont typeface="Arial" panose="020B0604020202020204" pitchFamily="34" charset="0"/>
              <a:buChar char="•"/>
              <a:tabLst>
                <a:tab pos="571500" algn="l"/>
              </a:tabLst>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05435" marR="0" lvl="0" indent="-305435" algn="l" defTabSz="914400" rtl="0" eaLnBrk="1" fontAlgn="auto" latinLnBrk="0" hangingPunct="1">
              <a:lnSpc>
                <a:spcPct val="150000"/>
              </a:lnSpc>
              <a:spcBef>
                <a:spcPts val="1000"/>
              </a:spcBef>
              <a:spcAft>
                <a:spcPts val="0"/>
              </a:spcAft>
              <a:buClrTx/>
              <a:buSzTx/>
              <a:buFont typeface="Arial" panose="020B0604020202020204" pitchFamily="34" charset="0"/>
              <a:buChar char="•"/>
              <a:tabLst>
                <a:tab pos="571500" algn="l"/>
              </a:tabLst>
              <a:defRPr/>
            </a:pPr>
            <a:r>
              <a:rPr kumimoji="0" lang="en-US" sz="2000" b="0" i="0" u="none" strike="noStrike" kern="1200" cap="none" spc="0" normalizeH="0" baseline="0" noProof="0">
                <a:ln>
                  <a:noFill/>
                </a:ln>
                <a:solidFill>
                  <a:srgbClr val="455560"/>
                </a:solidFill>
                <a:effectLst/>
                <a:uLnTx/>
                <a:uFillTx/>
                <a:latin typeface="Roboto bold"/>
                <a:ea typeface="Roboto bold"/>
                <a:cs typeface="Roboto bold"/>
              </a:rPr>
              <a:t>Pale lips</a:t>
            </a:r>
          </a:p>
          <a:p>
            <a:pPr marL="305435" marR="0" lvl="0" indent="-305435" algn="l" defTabSz="914400" rtl="0" eaLnBrk="1" fontAlgn="auto" latinLnBrk="0" hangingPunct="1">
              <a:lnSpc>
                <a:spcPct val="150000"/>
              </a:lnSpc>
              <a:spcBef>
                <a:spcPts val="1000"/>
              </a:spcBef>
              <a:spcAft>
                <a:spcPts val="0"/>
              </a:spcAft>
              <a:buClrTx/>
              <a:buSzTx/>
              <a:buFont typeface="Arial" panose="020B0604020202020204" pitchFamily="34" charset="0"/>
              <a:buChar char="•"/>
              <a:tabLst>
                <a:tab pos="571500" algn="l"/>
              </a:tabLst>
              <a:defRPr/>
            </a:pPr>
            <a:r>
              <a:rPr kumimoji="0" lang="en-US" sz="2000" b="0" i="0" u="none" strike="noStrike" kern="1200" cap="none" spc="0" normalizeH="0" baseline="0" noProof="0">
                <a:ln>
                  <a:noFill/>
                </a:ln>
                <a:solidFill>
                  <a:srgbClr val="455560"/>
                </a:solidFill>
                <a:effectLst/>
                <a:uLnTx/>
                <a:uFillTx/>
                <a:latin typeface="Roboto bold"/>
                <a:ea typeface="Roboto bold"/>
                <a:cs typeface="Roboto bold"/>
              </a:rPr>
              <a:t>Pale conjunctivae</a:t>
            </a:r>
          </a:p>
          <a:p>
            <a:pPr marL="305435" marR="0" lvl="0" indent="-305435" algn="l" defTabSz="914400" rtl="0" eaLnBrk="1" fontAlgn="auto" latinLnBrk="0" hangingPunct="1">
              <a:lnSpc>
                <a:spcPct val="150000"/>
              </a:lnSpc>
              <a:spcBef>
                <a:spcPts val="1000"/>
              </a:spcBef>
              <a:spcAft>
                <a:spcPts val="0"/>
              </a:spcAft>
              <a:buClrTx/>
              <a:buSzTx/>
              <a:buFont typeface="Arial" panose="020B0604020202020204" pitchFamily="34" charset="0"/>
              <a:buChar char="•"/>
              <a:tabLst>
                <a:tab pos="571500" algn="l"/>
              </a:tabLst>
              <a:defRPr/>
            </a:pPr>
            <a:r>
              <a:rPr kumimoji="0" lang="en-US" sz="2000" b="0" i="0" u="none" strike="noStrike" kern="1200" cap="none" spc="0" normalizeH="0" baseline="0" noProof="0">
                <a:ln>
                  <a:noFill/>
                </a:ln>
                <a:solidFill>
                  <a:srgbClr val="455560"/>
                </a:solidFill>
                <a:effectLst/>
                <a:uLnTx/>
                <a:uFillTx/>
                <a:latin typeface="Roboto bold"/>
                <a:ea typeface="Roboto bold"/>
                <a:cs typeface="Roboto bold"/>
              </a:rPr>
              <a:t>Pale palms</a:t>
            </a:r>
          </a:p>
          <a:p>
            <a:pPr marL="305435" marR="0" lvl="0" indent="-305435" algn="l" defTabSz="914400" rtl="0" eaLnBrk="1" fontAlgn="auto" latinLnBrk="0" hangingPunct="1">
              <a:lnSpc>
                <a:spcPct val="150000"/>
              </a:lnSpc>
              <a:spcBef>
                <a:spcPts val="1000"/>
              </a:spcBef>
              <a:spcAft>
                <a:spcPts val="0"/>
              </a:spcAft>
              <a:buClrTx/>
              <a:buSzTx/>
              <a:buFont typeface="Arial" panose="020B0604020202020204" pitchFamily="34" charset="0"/>
              <a:buChar char="•"/>
              <a:tabLst>
                <a:tab pos="571500" algn="l"/>
              </a:tabLst>
              <a:defRPr/>
            </a:pPr>
            <a:r>
              <a:rPr kumimoji="0" lang="en-US" sz="2000" b="0" i="0" u="none" strike="noStrike" kern="1200" cap="none" spc="0" normalizeH="0" baseline="0" noProof="0">
                <a:ln>
                  <a:noFill/>
                </a:ln>
                <a:solidFill>
                  <a:srgbClr val="455560"/>
                </a:solidFill>
                <a:effectLst/>
                <a:uLnTx/>
                <a:uFillTx/>
                <a:latin typeface="Roboto bold"/>
                <a:ea typeface="Roboto bold"/>
                <a:cs typeface="Roboto bold"/>
              </a:rPr>
              <a:t>Pale nail beds</a:t>
            </a:r>
          </a:p>
        </p:txBody>
      </p:sp>
      <p:pic>
        <p:nvPicPr>
          <p:cNvPr id="5" name="Picture 4" descr="A person with a tube on her face&#10;&#10;Description automatically generated">
            <a:extLst>
              <a:ext uri="{FF2B5EF4-FFF2-40B4-BE49-F238E27FC236}">
                <a16:creationId xmlns:a16="http://schemas.microsoft.com/office/drawing/2014/main" id="{A515102B-E360-46FA-AB44-6D8C1F2502CB}"/>
              </a:ext>
            </a:extLst>
          </p:cNvPr>
          <p:cNvPicPr>
            <a:picLocks noChangeAspect="1"/>
          </p:cNvPicPr>
          <p:nvPr/>
        </p:nvPicPr>
        <p:blipFill>
          <a:blip r:embed="rId2"/>
          <a:srcRect r="-6" b="-6"/>
          <a:stretch/>
        </p:blipFill>
        <p:spPr>
          <a:xfrm>
            <a:off x="2321707" y="1826427"/>
            <a:ext cx="1712199" cy="1712199"/>
          </a:xfrm>
          <a:custGeom>
            <a:avLst/>
            <a:gdLst/>
            <a:ahLst/>
            <a:cxnLst/>
            <a:rect l="l" t="t" r="r" b="b"/>
            <a:pathLst>
              <a:path w="2282932" h="2282932">
                <a:moveTo>
                  <a:pt x="1141466" y="0"/>
                </a:moveTo>
                <a:cubicBezTo>
                  <a:pt x="1771880" y="0"/>
                  <a:pt x="2282932" y="511052"/>
                  <a:pt x="2282932" y="1141466"/>
                </a:cubicBezTo>
                <a:cubicBezTo>
                  <a:pt x="2282932" y="1771880"/>
                  <a:pt x="1771880" y="2282932"/>
                  <a:pt x="1141466" y="2282932"/>
                </a:cubicBezTo>
                <a:cubicBezTo>
                  <a:pt x="511052" y="2282932"/>
                  <a:pt x="0" y="1771880"/>
                  <a:pt x="0" y="1141466"/>
                </a:cubicBezTo>
                <a:cubicBezTo>
                  <a:pt x="0" y="511052"/>
                  <a:pt x="511052" y="0"/>
                  <a:pt x="1141466" y="0"/>
                </a:cubicBezTo>
                <a:close/>
              </a:path>
            </a:pathLst>
          </a:custGeom>
        </p:spPr>
      </p:pic>
      <p:pic>
        <p:nvPicPr>
          <p:cNvPr id="6" name="Content Placeholder 4" descr="A close up of a person&#10;&#10;Description automatically generated">
            <a:extLst>
              <a:ext uri="{FF2B5EF4-FFF2-40B4-BE49-F238E27FC236}">
                <a16:creationId xmlns:a16="http://schemas.microsoft.com/office/drawing/2014/main" id="{9F1BC055-5282-0FB4-E22C-32C5CDF8B0A2}"/>
              </a:ext>
            </a:extLst>
          </p:cNvPr>
          <p:cNvPicPr>
            <a:picLocks noChangeAspect="1"/>
          </p:cNvPicPr>
          <p:nvPr/>
        </p:nvPicPr>
        <p:blipFill>
          <a:blip r:embed="rId3"/>
          <a:srcRect r="-6" b="-6"/>
          <a:stretch/>
        </p:blipFill>
        <p:spPr>
          <a:xfrm>
            <a:off x="4275710" y="1820412"/>
            <a:ext cx="1712199" cy="1712199"/>
          </a:xfrm>
          <a:custGeom>
            <a:avLst/>
            <a:gdLst/>
            <a:ahLst/>
            <a:cxnLst/>
            <a:rect l="l" t="t" r="r" b="b"/>
            <a:pathLst>
              <a:path w="2282932" h="2282932">
                <a:moveTo>
                  <a:pt x="1141466" y="0"/>
                </a:moveTo>
                <a:cubicBezTo>
                  <a:pt x="1771880" y="0"/>
                  <a:pt x="2282932" y="511052"/>
                  <a:pt x="2282932" y="1141466"/>
                </a:cubicBezTo>
                <a:cubicBezTo>
                  <a:pt x="2282932" y="1771880"/>
                  <a:pt x="1771880" y="2282932"/>
                  <a:pt x="1141466" y="2282932"/>
                </a:cubicBezTo>
                <a:cubicBezTo>
                  <a:pt x="511052" y="2282932"/>
                  <a:pt x="0" y="1771880"/>
                  <a:pt x="0" y="1141466"/>
                </a:cubicBezTo>
                <a:cubicBezTo>
                  <a:pt x="0" y="511052"/>
                  <a:pt x="511052" y="0"/>
                  <a:pt x="1141466" y="0"/>
                </a:cubicBezTo>
                <a:close/>
              </a:path>
            </a:pathLst>
          </a:custGeom>
        </p:spPr>
      </p:pic>
      <p:pic>
        <p:nvPicPr>
          <p:cNvPr id="7" name="Picture 6" descr="A close-up of hands&#10;&#10;Description automatically generated">
            <a:extLst>
              <a:ext uri="{FF2B5EF4-FFF2-40B4-BE49-F238E27FC236}">
                <a16:creationId xmlns:a16="http://schemas.microsoft.com/office/drawing/2014/main" id="{61D25FAF-6A15-05D7-C74E-2DDFBC7E8FDE}"/>
              </a:ext>
            </a:extLst>
          </p:cNvPr>
          <p:cNvPicPr>
            <a:picLocks noChangeAspect="1"/>
          </p:cNvPicPr>
          <p:nvPr/>
        </p:nvPicPr>
        <p:blipFill>
          <a:blip r:embed="rId4"/>
          <a:srcRect r="-6" b="-6"/>
          <a:stretch/>
        </p:blipFill>
        <p:spPr>
          <a:xfrm>
            <a:off x="6257501" y="1820412"/>
            <a:ext cx="1712199" cy="1712199"/>
          </a:xfrm>
          <a:custGeom>
            <a:avLst/>
            <a:gdLst/>
            <a:ahLst/>
            <a:cxnLst/>
            <a:rect l="l" t="t" r="r" b="b"/>
            <a:pathLst>
              <a:path w="2282932" h="2282932">
                <a:moveTo>
                  <a:pt x="1141466" y="0"/>
                </a:moveTo>
                <a:cubicBezTo>
                  <a:pt x="1771880" y="0"/>
                  <a:pt x="2282932" y="511052"/>
                  <a:pt x="2282932" y="1141466"/>
                </a:cubicBezTo>
                <a:cubicBezTo>
                  <a:pt x="2282932" y="1771880"/>
                  <a:pt x="1771880" y="2282932"/>
                  <a:pt x="1141466" y="2282932"/>
                </a:cubicBezTo>
                <a:cubicBezTo>
                  <a:pt x="511052" y="2282932"/>
                  <a:pt x="0" y="1771880"/>
                  <a:pt x="0" y="1141466"/>
                </a:cubicBezTo>
                <a:cubicBezTo>
                  <a:pt x="0" y="511052"/>
                  <a:pt x="511052" y="0"/>
                  <a:pt x="1141466" y="0"/>
                </a:cubicBezTo>
                <a:close/>
              </a:path>
            </a:pathLst>
          </a:custGeom>
        </p:spPr>
      </p:pic>
      <p:pic>
        <p:nvPicPr>
          <p:cNvPr id="8" name="Picture 7" descr="A person with her hands over her face&#10;&#10;Description automatically generated">
            <a:extLst>
              <a:ext uri="{FF2B5EF4-FFF2-40B4-BE49-F238E27FC236}">
                <a16:creationId xmlns:a16="http://schemas.microsoft.com/office/drawing/2014/main" id="{7423D054-403B-0C3F-4A8E-E57B792DDA2C}"/>
              </a:ext>
            </a:extLst>
          </p:cNvPr>
          <p:cNvPicPr>
            <a:picLocks noChangeAspect="1"/>
          </p:cNvPicPr>
          <p:nvPr/>
        </p:nvPicPr>
        <p:blipFill>
          <a:blip r:embed="rId5"/>
          <a:srcRect r="-6" b="-6"/>
          <a:stretch/>
        </p:blipFill>
        <p:spPr>
          <a:xfrm>
            <a:off x="8208932" y="1831396"/>
            <a:ext cx="1712199" cy="1712199"/>
          </a:xfrm>
          <a:custGeom>
            <a:avLst/>
            <a:gdLst/>
            <a:ahLst/>
            <a:cxnLst/>
            <a:rect l="l" t="t" r="r" b="b"/>
            <a:pathLst>
              <a:path w="2282932" h="2282932">
                <a:moveTo>
                  <a:pt x="1141466" y="0"/>
                </a:moveTo>
                <a:cubicBezTo>
                  <a:pt x="1771880" y="0"/>
                  <a:pt x="2282932" y="511052"/>
                  <a:pt x="2282932" y="1141466"/>
                </a:cubicBezTo>
                <a:cubicBezTo>
                  <a:pt x="2282932" y="1771880"/>
                  <a:pt x="1771880" y="2282932"/>
                  <a:pt x="1141466" y="2282932"/>
                </a:cubicBezTo>
                <a:cubicBezTo>
                  <a:pt x="511052" y="2282932"/>
                  <a:pt x="0" y="1771880"/>
                  <a:pt x="0" y="1141466"/>
                </a:cubicBezTo>
                <a:cubicBezTo>
                  <a:pt x="0" y="511052"/>
                  <a:pt x="511052" y="0"/>
                  <a:pt x="1141466" y="0"/>
                </a:cubicBezTo>
                <a:close/>
              </a:path>
            </a:pathLst>
          </a:custGeom>
        </p:spPr>
      </p:pic>
    </p:spTree>
    <p:extLst>
      <p:ext uri="{BB962C8B-B14F-4D97-AF65-F5344CB8AC3E}">
        <p14:creationId xmlns:p14="http://schemas.microsoft.com/office/powerpoint/2010/main" val="332098446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07A89E-AA73-BEF5-AFC2-CBBBCA2CF418}"/>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D630C534-B492-F43C-ECFA-0EF07D0E48FC}"/>
              </a:ext>
            </a:extLst>
          </p:cNvPr>
          <p:cNvSpPr txBox="1"/>
          <p:nvPr/>
        </p:nvSpPr>
        <p:spPr>
          <a:xfrm>
            <a:off x="289807" y="390045"/>
            <a:ext cx="11611377" cy="867930"/>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2800" b="0" i="0" u="none" strike="noStrike" kern="1200" cap="none" spc="0" normalizeH="0" baseline="0" noProof="0">
                <a:ln>
                  <a:noFill/>
                </a:ln>
                <a:solidFill>
                  <a:srgbClr val="3D3381"/>
                </a:solidFill>
                <a:effectLst/>
                <a:uLnTx/>
                <a:uFillTx/>
                <a:latin typeface="Arial Black"/>
                <a:ea typeface="+mn-ea"/>
                <a:cs typeface="Arial"/>
              </a:rPr>
              <a:t>Lancashire Teaching Hospitals NHS Trust : Increasing process reliability in postpartum haemorrhage </a:t>
            </a:r>
            <a:endParaRPr kumimoji="0" lang="en-US" sz="2800" b="0" i="0" u="none" strike="noStrike" kern="1200" cap="none" spc="0" normalizeH="0" baseline="0" noProof="0">
              <a:ln>
                <a:noFill/>
              </a:ln>
              <a:solidFill>
                <a:srgbClr val="3D3381"/>
              </a:solidFill>
              <a:effectLst/>
              <a:uLnTx/>
              <a:uFillTx/>
              <a:latin typeface="Arial Black"/>
              <a:ea typeface="+mn-ea"/>
              <a:cs typeface="Arial"/>
            </a:endParaRPr>
          </a:p>
        </p:txBody>
      </p:sp>
      <p:sp>
        <p:nvSpPr>
          <p:cNvPr id="2" name="Rectangle 1">
            <a:extLst>
              <a:ext uri="{FF2B5EF4-FFF2-40B4-BE49-F238E27FC236}">
                <a16:creationId xmlns:a16="http://schemas.microsoft.com/office/drawing/2014/main" id="{662E3A1E-0CCD-1216-52F6-1438279AFFAF}"/>
              </a:ext>
            </a:extLst>
          </p:cNvPr>
          <p:cNvSpPr/>
          <p:nvPr/>
        </p:nvSpPr>
        <p:spPr>
          <a:xfrm>
            <a:off x="497150" y="1269507"/>
            <a:ext cx="1544714" cy="257452"/>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Roboto"/>
              <a:ea typeface="+mn-ea"/>
              <a:cs typeface="+mn-cs"/>
            </a:endParaRPr>
          </a:p>
        </p:txBody>
      </p:sp>
      <p:pic>
        <p:nvPicPr>
          <p:cNvPr id="9" name="x_Picture 1">
            <a:extLst>
              <a:ext uri="{FF2B5EF4-FFF2-40B4-BE49-F238E27FC236}">
                <a16:creationId xmlns:a16="http://schemas.microsoft.com/office/drawing/2014/main" id="{C15ABA80-46C0-ACD2-4FD0-58FA50846A8D}"/>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1332026" y="1670276"/>
            <a:ext cx="9217040" cy="402918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5141726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xml><?xml version="1.0" encoding="utf-8"?>
<p:tagLst xmlns:a="http://schemas.openxmlformats.org/drawingml/2006/main" xmlns:r="http://schemas.openxmlformats.org/officeDocument/2006/relationships" xmlns:p="http://schemas.openxmlformats.org/presentationml/2006/main">
  <p:tag name="SHAPENAME" val="3. Subtitle"/>
</p:tagLst>
</file>

<file path=ppt/tags/tag7.xml><?xml version="1.0" encoding="utf-8"?>
<p:tagLst xmlns:a="http://schemas.openxmlformats.org/drawingml/2006/main" xmlns:r="http://schemas.openxmlformats.org/officeDocument/2006/relationships" xmlns:p="http://schemas.openxmlformats.org/presentationml/2006/main">
  <p:tag name="SHAPENAME" val="5. Source"/>
</p:tagLst>
</file>

<file path=ppt/tags/tag8.xml><?xml version="1.0" encoding="utf-8"?>
<p:tagLst xmlns:a="http://schemas.openxmlformats.org/drawingml/2006/main" xmlns:r="http://schemas.openxmlformats.org/officeDocument/2006/relationships" xmlns:p="http://schemas.openxmlformats.org/presentationml/2006/main">
  <p:tag name="SHAPENAME" val="1. On-page tracker"/>
</p:tagLst>
</file>

<file path=ppt/theme/theme1.xml><?xml version="1.0" encoding="utf-8"?>
<a:theme xmlns:a="http://schemas.openxmlformats.org/drawingml/2006/main" name="Q Community">
  <a:themeElements>
    <a:clrScheme name="Q Community">
      <a:dk1>
        <a:srgbClr val="1E1E1E"/>
      </a:dk1>
      <a:lt1>
        <a:srgbClr val="FFFFFF"/>
      </a:lt1>
      <a:dk2>
        <a:srgbClr val="DD0031"/>
      </a:dk2>
      <a:lt2>
        <a:srgbClr val="E0DAE5"/>
      </a:lt2>
      <a:accent1>
        <a:srgbClr val="C800E8"/>
      </a:accent1>
      <a:accent2>
        <a:srgbClr val="461B48"/>
      </a:accent2>
      <a:accent3>
        <a:srgbClr val="006CFF"/>
      </a:accent3>
      <a:accent4>
        <a:srgbClr val="092A40"/>
      </a:accent4>
      <a:accent5>
        <a:srgbClr val="00CC65"/>
      </a:accent5>
      <a:accent6>
        <a:srgbClr val="004946"/>
      </a:accent6>
      <a:hlink>
        <a:srgbClr val="1E1E1E"/>
      </a:hlink>
      <a:folHlink>
        <a:srgbClr val="DD0031"/>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bodyPr vert="horz" wrap="square" lIns="0" tIns="0" rIns="0" bIns="0" rtlCol="0">
        <a:spAutoFit/>
      </a:bodyPr>
      <a:lstStyle>
        <a:defPPr algn="l">
          <a:lnSpc>
            <a:spcPct val="111000"/>
          </a:lnSpc>
          <a:defRPr sz="1500" dirty="0" err="1" smtClean="0"/>
        </a:defPPr>
      </a:lstStyle>
    </a:txDef>
  </a:objectDefaults>
  <a:extraClrSchemeLst/>
  <a:extLst>
    <a:ext uri="{05A4C25C-085E-4340-85A3-A5531E510DB2}">
      <thm15:themeFamily xmlns:thm15="http://schemas.microsoft.com/office/thememl/2012/main" name="Q Powerpoint template – Presentation" id="{EF7C97B0-B53B-49B3-9A9D-D3DB0F52891D}" vid="{F3F55B0C-1E60-4A94-89B6-418321ED63D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Theme">
      <a:majorFont>
        <a:latin typeface="Aptos Display"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ptos" panose="020B000402020202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IHI Wide">
  <a:themeElements>
    <a:clrScheme name="IHI Colors 1">
      <a:dk1>
        <a:srgbClr val="455560"/>
      </a:dk1>
      <a:lt1>
        <a:srgbClr val="FFFFFF"/>
      </a:lt1>
      <a:dk2>
        <a:srgbClr val="009FC3"/>
      </a:dk2>
      <a:lt2>
        <a:srgbClr val="FFFFFF"/>
      </a:lt2>
      <a:accent1>
        <a:srgbClr val="11D4FF"/>
      </a:accent1>
      <a:accent2>
        <a:srgbClr val="FF4D00"/>
      </a:accent2>
      <a:accent3>
        <a:srgbClr val="F6E70F"/>
      </a:accent3>
      <a:accent4>
        <a:srgbClr val="6F8798"/>
      </a:accent4>
      <a:accent5>
        <a:srgbClr val="D6F8FF"/>
      </a:accent5>
      <a:accent6>
        <a:srgbClr val="A5A5A5"/>
      </a:accent6>
      <a:hlink>
        <a:srgbClr val="11D4FF"/>
      </a:hlink>
      <a:folHlink>
        <a:srgbClr val="A5A5A5"/>
      </a:folHlink>
    </a:clrScheme>
    <a:fontScheme name="IHI Roboto Font">
      <a:majorFont>
        <a:latin typeface="Roboto"/>
        <a:ea typeface=""/>
        <a:cs typeface=""/>
      </a:majorFont>
      <a:minorFont>
        <a:latin typeface="Robot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IHI Wide" id="{7C361CB6-F459-4F93-965A-CD5ACCA678C7}" vid="{720587A3-A003-404C-8D49-F2BF9A3C7D68}"/>
    </a:ext>
  </a:extLst>
</a:theme>
</file>

<file path=ppt/theme/theme4.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7317CCD86932E04D92D9D0D2B7F3EE49" ma:contentTypeVersion="10" ma:contentTypeDescription="Create a new document." ma:contentTypeScope="" ma:versionID="e71d7548c486d4643a529df6435fa4d4">
  <xsd:schema xmlns:xsd="http://www.w3.org/2001/XMLSchema" xmlns:xs="http://www.w3.org/2001/XMLSchema" xmlns:p="http://schemas.microsoft.com/office/2006/metadata/properties" xmlns:ns2="49c54c70-08ed-419a-97d9-559721bbbabd" xmlns:ns3="8e1bffe9-ace7-4749-baab-5bd023c1d5da" targetNamespace="http://schemas.microsoft.com/office/2006/metadata/properties" ma:root="true" ma:fieldsID="bd62ae059762325d961e92b36cd831cd" ns2:_="" ns3:_="">
    <xsd:import namespace="49c54c70-08ed-419a-97d9-559721bbbabd"/>
    <xsd:import namespace="8e1bffe9-ace7-4749-baab-5bd023c1d5da"/>
    <xsd:element name="properties">
      <xsd:complexType>
        <xsd:sequence>
          <xsd:element name="documentManagement">
            <xsd:complexType>
              <xsd:all>
                <xsd:element ref="ns2:MediaServiceObjectDetectorVersions" minOccurs="0"/>
                <xsd:element ref="ns3:SharedWithUsers" minOccurs="0"/>
                <xsd:element ref="ns3:SharedWithDetails" minOccurs="0"/>
                <xsd:element ref="ns2:MediaServiceOCR" minOccurs="0"/>
                <xsd:element ref="ns2:MediaServiceLocation" minOccurs="0"/>
                <xsd:element ref="ns2:MediaServiceSearchProperties" minOccurs="0"/>
                <xsd:element ref="ns2:MediaServiceMetadata" minOccurs="0"/>
                <xsd:element ref="ns2:MediaServiceFastMetadata" minOccurs="0"/>
                <xsd:element ref="ns2:MediaServiceDateTaken"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9c54c70-08ed-419a-97d9-559721bbbabd" elementFormDefault="qualified">
    <xsd:import namespace="http://schemas.microsoft.com/office/2006/documentManagement/types"/>
    <xsd:import namespace="http://schemas.microsoft.com/office/infopath/2007/PartnerControls"/>
    <xsd:element name="MediaServiceObjectDetectorVersions" ma:index="8" nillable="true" ma:displayName="MediaServiceObjectDetectorVersions" ma:hidden="true" ma:indexed="true" ma:internalName="MediaServiceObjectDetectorVersion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Location" ma:index="12" nillable="true" ma:displayName="Location" ma:indexed="true" ma:internalName="MediaServiceLocation" ma:readOnly="true">
      <xsd:simpleType>
        <xsd:restriction base="dms:Text"/>
      </xsd:simpleType>
    </xsd:element>
    <xsd:element name="MediaServiceSearchProperties" ma:index="13" nillable="true" ma:displayName="MediaServiceSearchProperties" ma:hidden="true" ma:internalName="MediaServiceSearchProperties" ma:readOnly="true">
      <xsd:simpleType>
        <xsd:restriction base="dms:Note"/>
      </xsd:simpleType>
    </xsd:element>
    <xsd:element name="MediaServiceMetadata" ma:index="14" nillable="true" ma:displayName="MediaServiceMetadata" ma:hidden="true" ma:internalName="MediaServiceMetadata" ma:readOnly="true">
      <xsd:simpleType>
        <xsd:restriction base="dms:Note"/>
      </xsd:simpleType>
    </xsd:element>
    <xsd:element name="MediaServiceFastMetadata" ma:index="15" nillable="true" ma:displayName="MediaServiceFastMetadata" ma:hidden="true" ma:internalName="MediaServiceFastMetadata" ma:readOnly="true">
      <xsd:simpleType>
        <xsd:restriction base="dms:Note"/>
      </xsd:simpleType>
    </xsd:element>
    <xsd:element name="MediaServiceDateTaken" ma:index="16" nillable="true" ma:displayName="MediaServiceDateTaken" ma:hidden="true" ma:indexed="true" ma:internalName="MediaServiceDateTaken"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8e1bffe9-ace7-4749-baab-5bd023c1d5da" elementFormDefault="qualified">
    <xsd:import namespace="http://schemas.microsoft.com/office/2006/documentManagement/types"/>
    <xsd:import namespace="http://schemas.microsoft.com/office/infopath/2007/PartnerControls"/>
    <xsd:element name="SharedWithUsers" ma:index="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87D2E855-8B5E-40F1-BD88-8E19E24B0C61}">
  <ds:schemaRefs>
    <ds:schemaRef ds:uri="http://schemas.microsoft.com/sharepoint/v3/contenttype/forms"/>
  </ds:schemaRefs>
</ds:datastoreItem>
</file>

<file path=customXml/itemProps2.xml><?xml version="1.0" encoding="utf-8"?>
<ds:datastoreItem xmlns:ds="http://schemas.openxmlformats.org/officeDocument/2006/customXml" ds:itemID="{FAEC69D5-0729-4CCA-A3B1-95FA10E74D03}"/>
</file>

<file path=customXml/itemProps3.xml><?xml version="1.0" encoding="utf-8"?>
<ds:datastoreItem xmlns:ds="http://schemas.openxmlformats.org/officeDocument/2006/customXml" ds:itemID="{4CDEA0CA-B025-4D0A-AA4D-B43A65916DF8}">
  <ds:schemaRefs>
    <ds:schemaRef ds:uri="49c54c70-08ed-419a-97d9-559721bbbabd"/>
    <ds:schemaRef ds:uri="8e1bffe9-ace7-4749-baab-5bd023c1d5da"/>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Q Powerpoint template – For Presentations_Updated NOV 2025</Template>
  <Application>Microsoft Office PowerPoint</Application>
  <PresentationFormat>Widescreen</PresentationFormat>
  <Slides>18</Slides>
  <Notes>4</Notes>
  <HiddenSlides>0</HiddenSlides>
  <ScaleCrop>false</ScaleCrop>
  <HeadingPairs>
    <vt:vector size="4" baseType="variant">
      <vt:variant>
        <vt:lpstr>Theme</vt:lpstr>
      </vt:variant>
      <vt:variant>
        <vt:i4>5</vt:i4>
      </vt:variant>
      <vt:variant>
        <vt:lpstr>Slide Titles</vt:lpstr>
      </vt:variant>
      <vt:variant>
        <vt:i4>18</vt:i4>
      </vt:variant>
    </vt:vector>
  </HeadingPairs>
  <TitlesOfParts>
    <vt:vector size="23" baseType="lpstr">
      <vt:lpstr>Q Community</vt:lpstr>
      <vt:lpstr>office theme</vt:lpstr>
      <vt:lpstr>IHI Wide</vt:lpstr>
      <vt:lpstr>1_Office Theme</vt:lpstr>
      <vt:lpstr>2_Office Them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arah Khoo</dc:creator>
  <cp:revision>5</cp:revision>
  <dcterms:created xsi:type="dcterms:W3CDTF">2026-03-10T14:24:56Z</dcterms:created>
  <dcterms:modified xsi:type="dcterms:W3CDTF">2026-03-30T15:27: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317CCD86932E04D92D9D0D2B7F3EE49</vt:lpwstr>
  </property>
  <property fmtid="{D5CDD505-2E9C-101B-9397-08002B2CF9AE}" pid="3" name="TaxKeyword">
    <vt:lpwstr/>
  </property>
  <property fmtid="{D5CDD505-2E9C-101B-9397-08002B2CF9AE}" pid="4" name="MediaServiceImageTags">
    <vt:lpwstr/>
  </property>
  <property fmtid="{D5CDD505-2E9C-101B-9397-08002B2CF9AE}" pid="5" name="MSIP_Label_d6ffb948-953e-42ec-a310-bd443e7b6908_Enabled">
    <vt:lpwstr>true</vt:lpwstr>
  </property>
  <property fmtid="{D5CDD505-2E9C-101B-9397-08002B2CF9AE}" pid="6" name="MSIP_Label_d6ffb948-953e-42ec-a310-bd443e7b6908_SetDate">
    <vt:lpwstr>2025-11-21T14:22:15Z</vt:lpwstr>
  </property>
  <property fmtid="{D5CDD505-2E9C-101B-9397-08002B2CF9AE}" pid="7" name="MSIP_Label_d6ffb948-953e-42ec-a310-bd443e7b6908_Method">
    <vt:lpwstr>Standard</vt:lpwstr>
  </property>
  <property fmtid="{D5CDD505-2E9C-101B-9397-08002B2CF9AE}" pid="8" name="MSIP_Label_d6ffb948-953e-42ec-a310-bd443e7b6908_Name">
    <vt:lpwstr>Commercial in Confidence</vt:lpwstr>
  </property>
  <property fmtid="{D5CDD505-2E9C-101B-9397-08002B2CF9AE}" pid="9" name="MSIP_Label_d6ffb948-953e-42ec-a310-bd443e7b6908_SiteId">
    <vt:lpwstr>b85e4127-ddf3-45f9-bf62-f1ea78c25bf7</vt:lpwstr>
  </property>
  <property fmtid="{D5CDD505-2E9C-101B-9397-08002B2CF9AE}" pid="10" name="MSIP_Label_d6ffb948-953e-42ec-a310-bd443e7b6908_ActionId">
    <vt:lpwstr>ebc96125-8386-4e16-b719-d02f08209f02</vt:lpwstr>
  </property>
  <property fmtid="{D5CDD505-2E9C-101B-9397-08002B2CF9AE}" pid="11" name="MSIP_Label_d6ffb948-953e-42ec-a310-bd443e7b6908_ContentBits">
    <vt:lpwstr>0</vt:lpwstr>
  </property>
  <property fmtid="{D5CDD505-2E9C-101B-9397-08002B2CF9AE}" pid="12" name="MSIP_Label_d6ffb948-953e-42ec-a310-bd443e7b6908_Tag">
    <vt:lpwstr>10, 3, 0, 1</vt:lpwstr>
  </property>
</Properties>
</file>